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notesSlides/notesSlide2.xml" ContentType="application/vnd.openxmlformats-officedocument.presentationml.notesSlid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9" r:id="rId2"/>
    <p:sldMasterId id="2147483705" r:id="rId3"/>
  </p:sldMasterIdLst>
  <p:notesMasterIdLst>
    <p:notesMasterId r:id="rId17"/>
  </p:notesMasterIdLst>
  <p:sldIdLst>
    <p:sldId id="2145703790" r:id="rId4"/>
    <p:sldId id="2147384409" r:id="rId5"/>
    <p:sldId id="2147384405" r:id="rId6"/>
    <p:sldId id="2147384406" r:id="rId7"/>
    <p:sldId id="2147384418" r:id="rId8"/>
    <p:sldId id="2147384420" r:id="rId9"/>
    <p:sldId id="2147384424" r:id="rId10"/>
    <p:sldId id="2147384425" r:id="rId11"/>
    <p:sldId id="2145703798" r:id="rId12"/>
    <p:sldId id="2147384421" r:id="rId13"/>
    <p:sldId id="2145703804" r:id="rId14"/>
    <p:sldId id="2147384423" r:id="rId15"/>
    <p:sldId id="2145703792" r:id="rId16"/>
  </p:sldIdLst>
  <p:sldSz cx="12192000" cy="6858000"/>
  <p:notesSz cx="6735763" cy="98663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521" userDrawn="1">
          <p15:clr>
            <a:srgbClr val="A4A3A4"/>
          </p15:clr>
        </p15:guide>
        <p15:guide id="2" pos="3817" userDrawn="1">
          <p15:clr>
            <a:srgbClr val="A4A3A4"/>
          </p15:clr>
        </p15:guide>
        <p15:guide id="3" orient="horz" pos="2137"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DF71B0A-8A07-8D2B-79FA-14924F87EC72}" name="Siddharth Iyer" initials="SI" userId="S::siddharth.iyer@equirus.com::b19f3384-a872-4795-84ad-48503a06ae58" providerId="AD"/>
  <p188:author id="{4BDE494E-31DF-8835-F251-B7DAF66524BA}" name="Samyak Dagra" initials="SD" userId="S::samyak.dagra@equirus.com::7ee0ddb6-3d03-47af-9213-d00e3c44a5ca" providerId="AD"/>
  <p188:author id="{F30B7C88-749C-6A7B-5114-F93734F2E9C6}" name="Steve Bert" initials="SB" userId="S::steve.bert@equirus.com::78701835-8745-4423-8fa4-675894161f7b" providerId="AD"/>
  <p188:author id="{60C6EEB1-ED1F-813A-EE4F-37D99A43E9B9}" name="Naman Gupta" initials="NG" userId="S::naman.gupta@equirus.com::21d0324a-8698-4f0c-8922-bc08f29989b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81BC59"/>
    <a:srgbClr val="EEF6E9"/>
    <a:srgbClr val="C0CFB2"/>
    <a:srgbClr val="BDCFC6"/>
    <a:srgbClr val="92D050"/>
    <a:srgbClr val="E6EDE9"/>
    <a:srgbClr val="E4E6D9"/>
    <a:srgbClr val="D7E2DC"/>
    <a:srgbClr val="E4F1D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2F9834F-808B-41B3-8384-2B810DFD556D}" v="48" dt="2025-11-07T12:38:19.96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162" autoAdjust="0"/>
    <p:restoredTop sz="94660"/>
  </p:normalViewPr>
  <p:slideViewPr>
    <p:cSldViewPr snapToGrid="0">
      <p:cViewPr varScale="1">
        <p:scale>
          <a:sx n="77" d="100"/>
          <a:sy n="77" d="100"/>
        </p:scale>
        <p:origin x="576" y="96"/>
      </p:cViewPr>
      <p:guideLst>
        <p:guide orient="horz" pos="3521"/>
        <p:guide pos="3817"/>
        <p:guide orient="horz" pos="2137"/>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tableStyles" Target="tableStyle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slide" Target="slides/slide12.xml"/><Relationship Id="rId23" Type="http://schemas.microsoft.com/office/2018/10/relationships/authors" Target="authors.xml"/><Relationship Id="rId10" Type="http://schemas.openxmlformats.org/officeDocument/2006/relationships/slide" Target="slides/slide7.xml"/><Relationship Id="rId19"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microsoft.com/office/2015/10/relationships/revisionInfo" Target="revisionInfo.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https://equirusindia-my.sharepoint.com/personal/bhavesh_shah_equirus_com/Documents/New%20Equirus%20Work/Equirus%20Work/9.%20Annual%20-%20Monthly/2.%20Healthcare/CY25/Backup%20for%20Conference_vF.xlsx"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oleObject" Target="https://equirusindia-my.sharepoint.com/personal/bhavesh_shah_equirus_com/Documents/New%20Equirus%20Work/Equirus%20Work/9.%20Annual%20-%20Monthly/2.%20Healthcare/CY25/Backup%20for%20Conference_vF.xlsx" TargetMode="External"/><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oleObject" Target="https://equirusindia-my.sharepoint.com/personal/bhavesh_shah_equirus_com/Documents/New%20Equirus%20Work/Equirus%20Work/9.%20Annual%20-%20Monthly/2.%20Healthcare/CY25/Backup%20for%20Conference_vF.xlsx" TargetMode="External"/><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oleObject" Target="https://equirusindia-my.sharepoint.com/personal/bhavesh_shah_equirus_com/Documents/New%20Equirus%20Work/Equirus%20Work/9.%20Annual%20-%20Monthly/2.%20Healthcare/CY25/Backup%20for%20Conference_vF.xlsx" TargetMode="External"/><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37.xml"/><Relationship Id="rId1" Type="http://schemas.microsoft.com/office/2011/relationships/chartStyle" Target="style37.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https://equirusindia-my.sharepoint.com/personal/bhavesh_shah_equirus_com/Documents/New%20Equirus%20Work/Equirus%20Work/9.%20Annual%20-%20Monthly/2.%20Healthcare/CY25/Backup%20for%20Conference_vF.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https://equirusindia-my.sharepoint.com/personal/bhavesh_shah_equirus_com/Documents/New%20Equirus%20Work/Equirus%20Work/9.%20Annual%20-%20Monthly/2.%20Healthcare/CY25/Backup%20for%20Conference_vF.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https://equirusindia-my.sharepoint.com/personal/bhavesh_shah_equirus_com/Documents/New%20Equirus%20Work/Equirus%20Work/9.%20Annual%20-%20Monthly/2.%20Healthcare/CY25/Backup%20for%20Conference_vF.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https://equirusindia-my.sharepoint.com/personal/bhavesh_shah_equirus_com/Documents/New%20Equirus%20Work/Equirus%20Work/9.%20Annual%20-%20Monthly/2.%20Healthcare/CY25/Backup%20for%20Conference_vF.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118685506777401E-2"/>
          <c:y val="5.6553621496367536E-2"/>
          <c:w val="0.83578291712160291"/>
          <c:h val="0.68297829101999741"/>
        </c:manualLayout>
      </c:layout>
      <c:lineChart>
        <c:grouping val="standard"/>
        <c:varyColors val="0"/>
        <c:ser>
          <c:idx val="0"/>
          <c:order val="0"/>
          <c:tx>
            <c:strRef>
              <c:f>Sheet1!$B$1</c:f>
              <c:strCache>
                <c:ptCount val="1"/>
                <c:pt idx="0">
                  <c:v>Healthcare Index</c:v>
                </c:pt>
              </c:strCache>
            </c:strRef>
          </c:tx>
          <c:spPr>
            <a:ln w="25400" cap="rnd">
              <a:solidFill>
                <a:schemeClr val="accent1">
                  <a:lumMod val="50000"/>
                </a:schemeClr>
              </a:solidFill>
              <a:round/>
            </a:ln>
            <a:effectLst/>
          </c:spPr>
          <c:marker>
            <c:symbol val="none"/>
          </c:marker>
          <c:cat>
            <c:numRef>
              <c:f>Sheet1!$A$2:$A$1635</c:f>
              <c:numCache>
                <c:formatCode>m/d/yyyy</c:formatCode>
                <c:ptCount val="1634"/>
                <c:pt idx="0">
                  <c:v>45961</c:v>
                </c:pt>
                <c:pt idx="1">
                  <c:v>45960</c:v>
                </c:pt>
                <c:pt idx="2">
                  <c:v>45959</c:v>
                </c:pt>
                <c:pt idx="3">
                  <c:v>45958</c:v>
                </c:pt>
                <c:pt idx="4">
                  <c:v>45957</c:v>
                </c:pt>
                <c:pt idx="5">
                  <c:v>45954</c:v>
                </c:pt>
                <c:pt idx="6">
                  <c:v>45953</c:v>
                </c:pt>
                <c:pt idx="7">
                  <c:v>45951</c:v>
                </c:pt>
                <c:pt idx="8">
                  <c:v>45950</c:v>
                </c:pt>
                <c:pt idx="9">
                  <c:v>45947</c:v>
                </c:pt>
                <c:pt idx="10">
                  <c:v>45946</c:v>
                </c:pt>
                <c:pt idx="11">
                  <c:v>45945</c:v>
                </c:pt>
                <c:pt idx="12">
                  <c:v>45944</c:v>
                </c:pt>
                <c:pt idx="13">
                  <c:v>45943</c:v>
                </c:pt>
                <c:pt idx="14">
                  <c:v>45940</c:v>
                </c:pt>
                <c:pt idx="15">
                  <c:v>45939</c:v>
                </c:pt>
                <c:pt idx="16">
                  <c:v>45938</c:v>
                </c:pt>
                <c:pt idx="17">
                  <c:v>45937</c:v>
                </c:pt>
                <c:pt idx="18">
                  <c:v>45936</c:v>
                </c:pt>
                <c:pt idx="19">
                  <c:v>45933</c:v>
                </c:pt>
                <c:pt idx="20">
                  <c:v>45931</c:v>
                </c:pt>
                <c:pt idx="21">
                  <c:v>45930</c:v>
                </c:pt>
                <c:pt idx="22">
                  <c:v>45929</c:v>
                </c:pt>
                <c:pt idx="23">
                  <c:v>45926</c:v>
                </c:pt>
                <c:pt idx="24">
                  <c:v>45925</c:v>
                </c:pt>
                <c:pt idx="25">
                  <c:v>45924</c:v>
                </c:pt>
                <c:pt idx="26">
                  <c:v>45923</c:v>
                </c:pt>
                <c:pt idx="27">
                  <c:v>45922</c:v>
                </c:pt>
                <c:pt idx="28">
                  <c:v>45919</c:v>
                </c:pt>
                <c:pt idx="29">
                  <c:v>45918</c:v>
                </c:pt>
                <c:pt idx="30">
                  <c:v>45917</c:v>
                </c:pt>
                <c:pt idx="31">
                  <c:v>45916</c:v>
                </c:pt>
                <c:pt idx="32">
                  <c:v>45915</c:v>
                </c:pt>
                <c:pt idx="33">
                  <c:v>45912</c:v>
                </c:pt>
                <c:pt idx="34">
                  <c:v>45911</c:v>
                </c:pt>
                <c:pt idx="35">
                  <c:v>45910</c:v>
                </c:pt>
                <c:pt idx="36">
                  <c:v>45909</c:v>
                </c:pt>
                <c:pt idx="37">
                  <c:v>45908</c:v>
                </c:pt>
                <c:pt idx="38">
                  <c:v>45905</c:v>
                </c:pt>
                <c:pt idx="39">
                  <c:v>45904</c:v>
                </c:pt>
                <c:pt idx="40">
                  <c:v>45903</c:v>
                </c:pt>
                <c:pt idx="41">
                  <c:v>45902</c:v>
                </c:pt>
                <c:pt idx="42">
                  <c:v>45901</c:v>
                </c:pt>
                <c:pt idx="43">
                  <c:v>45898</c:v>
                </c:pt>
                <c:pt idx="44">
                  <c:v>45897</c:v>
                </c:pt>
                <c:pt idx="45">
                  <c:v>45895</c:v>
                </c:pt>
                <c:pt idx="46">
                  <c:v>45894</c:v>
                </c:pt>
                <c:pt idx="47">
                  <c:v>45891</c:v>
                </c:pt>
                <c:pt idx="48">
                  <c:v>45890</c:v>
                </c:pt>
                <c:pt idx="49">
                  <c:v>45889</c:v>
                </c:pt>
                <c:pt idx="50">
                  <c:v>45888</c:v>
                </c:pt>
                <c:pt idx="51">
                  <c:v>45887</c:v>
                </c:pt>
                <c:pt idx="52">
                  <c:v>45883</c:v>
                </c:pt>
                <c:pt idx="53">
                  <c:v>45882</c:v>
                </c:pt>
                <c:pt idx="54">
                  <c:v>45881</c:v>
                </c:pt>
                <c:pt idx="55">
                  <c:v>45880</c:v>
                </c:pt>
                <c:pt idx="56">
                  <c:v>45877</c:v>
                </c:pt>
                <c:pt idx="57">
                  <c:v>45876</c:v>
                </c:pt>
                <c:pt idx="58">
                  <c:v>45875</c:v>
                </c:pt>
                <c:pt idx="59">
                  <c:v>45874</c:v>
                </c:pt>
                <c:pt idx="60">
                  <c:v>45873</c:v>
                </c:pt>
                <c:pt idx="61">
                  <c:v>45870</c:v>
                </c:pt>
                <c:pt idx="62">
                  <c:v>45869</c:v>
                </c:pt>
                <c:pt idx="63">
                  <c:v>45868</c:v>
                </c:pt>
                <c:pt idx="64">
                  <c:v>45867</c:v>
                </c:pt>
                <c:pt idx="65">
                  <c:v>45866</c:v>
                </c:pt>
                <c:pt idx="66">
                  <c:v>45863</c:v>
                </c:pt>
                <c:pt idx="67">
                  <c:v>45862</c:v>
                </c:pt>
                <c:pt idx="68">
                  <c:v>45861</c:v>
                </c:pt>
                <c:pt idx="69">
                  <c:v>45860</c:v>
                </c:pt>
                <c:pt idx="70">
                  <c:v>45859</c:v>
                </c:pt>
                <c:pt idx="71">
                  <c:v>45856</c:v>
                </c:pt>
                <c:pt idx="72">
                  <c:v>45855</c:v>
                </c:pt>
                <c:pt idx="73">
                  <c:v>45854</c:v>
                </c:pt>
                <c:pt idx="74">
                  <c:v>45853</c:v>
                </c:pt>
                <c:pt idx="75">
                  <c:v>45852</c:v>
                </c:pt>
                <c:pt idx="76">
                  <c:v>45849</c:v>
                </c:pt>
                <c:pt idx="77">
                  <c:v>45848</c:v>
                </c:pt>
                <c:pt idx="78">
                  <c:v>45847</c:v>
                </c:pt>
                <c:pt idx="79">
                  <c:v>45846</c:v>
                </c:pt>
                <c:pt idx="80">
                  <c:v>45845</c:v>
                </c:pt>
                <c:pt idx="81">
                  <c:v>45842</c:v>
                </c:pt>
                <c:pt idx="82">
                  <c:v>45841</c:v>
                </c:pt>
                <c:pt idx="83">
                  <c:v>45840</c:v>
                </c:pt>
                <c:pt idx="84">
                  <c:v>45839</c:v>
                </c:pt>
                <c:pt idx="85">
                  <c:v>45838</c:v>
                </c:pt>
                <c:pt idx="86">
                  <c:v>45835</c:v>
                </c:pt>
                <c:pt idx="87">
                  <c:v>45834</c:v>
                </c:pt>
                <c:pt idx="88">
                  <c:v>45833</c:v>
                </c:pt>
                <c:pt idx="89">
                  <c:v>45832</c:v>
                </c:pt>
                <c:pt idx="90">
                  <c:v>45831</c:v>
                </c:pt>
                <c:pt idx="91">
                  <c:v>45828</c:v>
                </c:pt>
                <c:pt idx="92">
                  <c:v>45827</c:v>
                </c:pt>
                <c:pt idx="93">
                  <c:v>45826</c:v>
                </c:pt>
                <c:pt idx="94">
                  <c:v>45825</c:v>
                </c:pt>
                <c:pt idx="95">
                  <c:v>45824</c:v>
                </c:pt>
                <c:pt idx="96">
                  <c:v>45821</c:v>
                </c:pt>
                <c:pt idx="97">
                  <c:v>45820</c:v>
                </c:pt>
                <c:pt idx="98">
                  <c:v>45819</c:v>
                </c:pt>
                <c:pt idx="99">
                  <c:v>45818</c:v>
                </c:pt>
                <c:pt idx="100">
                  <c:v>45817</c:v>
                </c:pt>
                <c:pt idx="101">
                  <c:v>45814</c:v>
                </c:pt>
                <c:pt idx="102">
                  <c:v>45813</c:v>
                </c:pt>
                <c:pt idx="103">
                  <c:v>45812</c:v>
                </c:pt>
                <c:pt idx="104">
                  <c:v>45811</c:v>
                </c:pt>
                <c:pt idx="105">
                  <c:v>45810</c:v>
                </c:pt>
                <c:pt idx="106">
                  <c:v>45807</c:v>
                </c:pt>
                <c:pt idx="107">
                  <c:v>45806</c:v>
                </c:pt>
                <c:pt idx="108">
                  <c:v>45805</c:v>
                </c:pt>
                <c:pt idx="109">
                  <c:v>45804</c:v>
                </c:pt>
                <c:pt idx="110">
                  <c:v>45803</c:v>
                </c:pt>
                <c:pt idx="111">
                  <c:v>45800</c:v>
                </c:pt>
                <c:pt idx="112">
                  <c:v>45799</c:v>
                </c:pt>
                <c:pt idx="113">
                  <c:v>45798</c:v>
                </c:pt>
                <c:pt idx="114">
                  <c:v>45797</c:v>
                </c:pt>
                <c:pt idx="115">
                  <c:v>45796</c:v>
                </c:pt>
                <c:pt idx="116">
                  <c:v>45793</c:v>
                </c:pt>
                <c:pt idx="117">
                  <c:v>45792</c:v>
                </c:pt>
                <c:pt idx="118">
                  <c:v>45791</c:v>
                </c:pt>
                <c:pt idx="119">
                  <c:v>45790</c:v>
                </c:pt>
                <c:pt idx="120">
                  <c:v>45789</c:v>
                </c:pt>
                <c:pt idx="121">
                  <c:v>45786</c:v>
                </c:pt>
                <c:pt idx="122">
                  <c:v>45785</c:v>
                </c:pt>
                <c:pt idx="123">
                  <c:v>45784</c:v>
                </c:pt>
                <c:pt idx="124">
                  <c:v>45783</c:v>
                </c:pt>
                <c:pt idx="125">
                  <c:v>45782</c:v>
                </c:pt>
                <c:pt idx="126">
                  <c:v>45779</c:v>
                </c:pt>
                <c:pt idx="127">
                  <c:v>45777</c:v>
                </c:pt>
                <c:pt idx="128">
                  <c:v>45776</c:v>
                </c:pt>
                <c:pt idx="129">
                  <c:v>45775</c:v>
                </c:pt>
                <c:pt idx="130">
                  <c:v>45772</c:v>
                </c:pt>
                <c:pt idx="131">
                  <c:v>45771</c:v>
                </c:pt>
                <c:pt idx="132">
                  <c:v>45770</c:v>
                </c:pt>
                <c:pt idx="133">
                  <c:v>45769</c:v>
                </c:pt>
                <c:pt idx="134">
                  <c:v>45768</c:v>
                </c:pt>
                <c:pt idx="135">
                  <c:v>45764</c:v>
                </c:pt>
                <c:pt idx="136">
                  <c:v>45763</c:v>
                </c:pt>
                <c:pt idx="137">
                  <c:v>45762</c:v>
                </c:pt>
                <c:pt idx="138">
                  <c:v>45758</c:v>
                </c:pt>
                <c:pt idx="139">
                  <c:v>45756</c:v>
                </c:pt>
                <c:pt idx="140">
                  <c:v>45755</c:v>
                </c:pt>
                <c:pt idx="141">
                  <c:v>45754</c:v>
                </c:pt>
                <c:pt idx="142">
                  <c:v>45751</c:v>
                </c:pt>
                <c:pt idx="143">
                  <c:v>45750</c:v>
                </c:pt>
                <c:pt idx="144">
                  <c:v>45749</c:v>
                </c:pt>
                <c:pt idx="145">
                  <c:v>45748</c:v>
                </c:pt>
                <c:pt idx="146">
                  <c:v>45744</c:v>
                </c:pt>
                <c:pt idx="147">
                  <c:v>45743</c:v>
                </c:pt>
                <c:pt idx="148">
                  <c:v>45742</c:v>
                </c:pt>
                <c:pt idx="149">
                  <c:v>45741</c:v>
                </c:pt>
                <c:pt idx="150">
                  <c:v>45740</c:v>
                </c:pt>
                <c:pt idx="151">
                  <c:v>45737</c:v>
                </c:pt>
                <c:pt idx="152">
                  <c:v>45736</c:v>
                </c:pt>
                <c:pt idx="153">
                  <c:v>45735</c:v>
                </c:pt>
                <c:pt idx="154">
                  <c:v>45734</c:v>
                </c:pt>
                <c:pt idx="155">
                  <c:v>45733</c:v>
                </c:pt>
                <c:pt idx="156">
                  <c:v>45729</c:v>
                </c:pt>
                <c:pt idx="157">
                  <c:v>45728</c:v>
                </c:pt>
                <c:pt idx="158">
                  <c:v>45727</c:v>
                </c:pt>
                <c:pt idx="159">
                  <c:v>45726</c:v>
                </c:pt>
                <c:pt idx="160">
                  <c:v>45723</c:v>
                </c:pt>
                <c:pt idx="161">
                  <c:v>45722</c:v>
                </c:pt>
                <c:pt idx="162">
                  <c:v>45721</c:v>
                </c:pt>
                <c:pt idx="163">
                  <c:v>45720</c:v>
                </c:pt>
                <c:pt idx="164">
                  <c:v>45719</c:v>
                </c:pt>
                <c:pt idx="165">
                  <c:v>45716</c:v>
                </c:pt>
                <c:pt idx="166">
                  <c:v>45715</c:v>
                </c:pt>
                <c:pt idx="167">
                  <c:v>45713</c:v>
                </c:pt>
                <c:pt idx="168">
                  <c:v>45712</c:v>
                </c:pt>
                <c:pt idx="169">
                  <c:v>45709</c:v>
                </c:pt>
                <c:pt idx="170">
                  <c:v>45708</c:v>
                </c:pt>
                <c:pt idx="171">
                  <c:v>45707</c:v>
                </c:pt>
                <c:pt idx="172">
                  <c:v>45706</c:v>
                </c:pt>
                <c:pt idx="173">
                  <c:v>45705</c:v>
                </c:pt>
                <c:pt idx="174">
                  <c:v>45702</c:v>
                </c:pt>
                <c:pt idx="175">
                  <c:v>45701</c:v>
                </c:pt>
                <c:pt idx="176">
                  <c:v>45700</c:v>
                </c:pt>
                <c:pt idx="177">
                  <c:v>45699</c:v>
                </c:pt>
                <c:pt idx="178">
                  <c:v>45698</c:v>
                </c:pt>
                <c:pt idx="179">
                  <c:v>45695</c:v>
                </c:pt>
                <c:pt idx="180">
                  <c:v>45694</c:v>
                </c:pt>
                <c:pt idx="181">
                  <c:v>45693</c:v>
                </c:pt>
                <c:pt idx="182">
                  <c:v>45692</c:v>
                </c:pt>
                <c:pt idx="183">
                  <c:v>45691</c:v>
                </c:pt>
                <c:pt idx="184">
                  <c:v>45689</c:v>
                </c:pt>
                <c:pt idx="185">
                  <c:v>45688</c:v>
                </c:pt>
                <c:pt idx="186">
                  <c:v>45687</c:v>
                </c:pt>
                <c:pt idx="187">
                  <c:v>45686</c:v>
                </c:pt>
                <c:pt idx="188">
                  <c:v>45685</c:v>
                </c:pt>
                <c:pt idx="189">
                  <c:v>45684</c:v>
                </c:pt>
                <c:pt idx="190">
                  <c:v>45681</c:v>
                </c:pt>
                <c:pt idx="191">
                  <c:v>45680</c:v>
                </c:pt>
                <c:pt idx="192">
                  <c:v>45679</c:v>
                </c:pt>
                <c:pt idx="193">
                  <c:v>45678</c:v>
                </c:pt>
                <c:pt idx="194">
                  <c:v>45677</c:v>
                </c:pt>
                <c:pt idx="195">
                  <c:v>45674</c:v>
                </c:pt>
                <c:pt idx="196">
                  <c:v>45673</c:v>
                </c:pt>
                <c:pt idx="197">
                  <c:v>45672</c:v>
                </c:pt>
                <c:pt idx="198">
                  <c:v>45671</c:v>
                </c:pt>
                <c:pt idx="199">
                  <c:v>45670</c:v>
                </c:pt>
                <c:pt idx="200">
                  <c:v>45667</c:v>
                </c:pt>
                <c:pt idx="201">
                  <c:v>45666</c:v>
                </c:pt>
                <c:pt idx="202">
                  <c:v>45665</c:v>
                </c:pt>
                <c:pt idx="203">
                  <c:v>45664</c:v>
                </c:pt>
                <c:pt idx="204">
                  <c:v>45663</c:v>
                </c:pt>
                <c:pt idx="205">
                  <c:v>45660</c:v>
                </c:pt>
                <c:pt idx="206">
                  <c:v>45659</c:v>
                </c:pt>
                <c:pt idx="207">
                  <c:v>45658</c:v>
                </c:pt>
                <c:pt idx="208">
                  <c:v>45657</c:v>
                </c:pt>
                <c:pt idx="209">
                  <c:v>45656</c:v>
                </c:pt>
                <c:pt idx="210">
                  <c:v>45653</c:v>
                </c:pt>
                <c:pt idx="211">
                  <c:v>45652</c:v>
                </c:pt>
                <c:pt idx="212">
                  <c:v>45650</c:v>
                </c:pt>
                <c:pt idx="213">
                  <c:v>45649</c:v>
                </c:pt>
                <c:pt idx="214">
                  <c:v>45646</c:v>
                </c:pt>
                <c:pt idx="215">
                  <c:v>45645</c:v>
                </c:pt>
                <c:pt idx="216">
                  <c:v>45644</c:v>
                </c:pt>
                <c:pt idx="217">
                  <c:v>45643</c:v>
                </c:pt>
                <c:pt idx="218">
                  <c:v>45642</c:v>
                </c:pt>
                <c:pt idx="219">
                  <c:v>45639</c:v>
                </c:pt>
                <c:pt idx="220">
                  <c:v>45638</c:v>
                </c:pt>
                <c:pt idx="221">
                  <c:v>45637</c:v>
                </c:pt>
                <c:pt idx="222">
                  <c:v>45636</c:v>
                </c:pt>
                <c:pt idx="223">
                  <c:v>45635</c:v>
                </c:pt>
                <c:pt idx="224">
                  <c:v>45632</c:v>
                </c:pt>
                <c:pt idx="225">
                  <c:v>45631</c:v>
                </c:pt>
                <c:pt idx="226">
                  <c:v>45630</c:v>
                </c:pt>
                <c:pt idx="227">
                  <c:v>45629</c:v>
                </c:pt>
                <c:pt idx="228">
                  <c:v>45628</c:v>
                </c:pt>
                <c:pt idx="229">
                  <c:v>45625</c:v>
                </c:pt>
                <c:pt idx="230">
                  <c:v>45624</c:v>
                </c:pt>
                <c:pt idx="231">
                  <c:v>45623</c:v>
                </c:pt>
                <c:pt idx="232">
                  <c:v>45622</c:v>
                </c:pt>
                <c:pt idx="233">
                  <c:v>45621</c:v>
                </c:pt>
                <c:pt idx="234">
                  <c:v>45618</c:v>
                </c:pt>
                <c:pt idx="235">
                  <c:v>45617</c:v>
                </c:pt>
                <c:pt idx="236">
                  <c:v>45615</c:v>
                </c:pt>
                <c:pt idx="237">
                  <c:v>45614</c:v>
                </c:pt>
                <c:pt idx="238">
                  <c:v>45610</c:v>
                </c:pt>
                <c:pt idx="239">
                  <c:v>45609</c:v>
                </c:pt>
                <c:pt idx="240">
                  <c:v>45608</c:v>
                </c:pt>
                <c:pt idx="241">
                  <c:v>45607</c:v>
                </c:pt>
                <c:pt idx="242">
                  <c:v>45604</c:v>
                </c:pt>
                <c:pt idx="243">
                  <c:v>45603</c:v>
                </c:pt>
                <c:pt idx="244">
                  <c:v>45602</c:v>
                </c:pt>
                <c:pt idx="245">
                  <c:v>45601</c:v>
                </c:pt>
                <c:pt idx="246">
                  <c:v>45600</c:v>
                </c:pt>
                <c:pt idx="247">
                  <c:v>45597</c:v>
                </c:pt>
                <c:pt idx="248">
                  <c:v>45596</c:v>
                </c:pt>
                <c:pt idx="249">
                  <c:v>45595</c:v>
                </c:pt>
                <c:pt idx="250">
                  <c:v>45594</c:v>
                </c:pt>
                <c:pt idx="251">
                  <c:v>45593</c:v>
                </c:pt>
                <c:pt idx="252">
                  <c:v>45590</c:v>
                </c:pt>
                <c:pt idx="253">
                  <c:v>45589</c:v>
                </c:pt>
                <c:pt idx="254">
                  <c:v>45588</c:v>
                </c:pt>
                <c:pt idx="255">
                  <c:v>45587</c:v>
                </c:pt>
                <c:pt idx="256">
                  <c:v>45586</c:v>
                </c:pt>
                <c:pt idx="257">
                  <c:v>45583</c:v>
                </c:pt>
                <c:pt idx="258">
                  <c:v>45582</c:v>
                </c:pt>
                <c:pt idx="259">
                  <c:v>45581</c:v>
                </c:pt>
                <c:pt idx="260">
                  <c:v>45580</c:v>
                </c:pt>
                <c:pt idx="261">
                  <c:v>45579</c:v>
                </c:pt>
                <c:pt idx="262">
                  <c:v>45576</c:v>
                </c:pt>
                <c:pt idx="263">
                  <c:v>45575</c:v>
                </c:pt>
                <c:pt idx="264">
                  <c:v>45574</c:v>
                </c:pt>
                <c:pt idx="265">
                  <c:v>45573</c:v>
                </c:pt>
                <c:pt idx="266">
                  <c:v>45572</c:v>
                </c:pt>
                <c:pt idx="267">
                  <c:v>45569</c:v>
                </c:pt>
                <c:pt idx="268">
                  <c:v>45568</c:v>
                </c:pt>
                <c:pt idx="269">
                  <c:v>45566</c:v>
                </c:pt>
                <c:pt idx="270">
                  <c:v>45565</c:v>
                </c:pt>
                <c:pt idx="271">
                  <c:v>45562</c:v>
                </c:pt>
                <c:pt idx="272">
                  <c:v>45561</c:v>
                </c:pt>
                <c:pt idx="273">
                  <c:v>45560</c:v>
                </c:pt>
                <c:pt idx="274">
                  <c:v>45559</c:v>
                </c:pt>
                <c:pt idx="275">
                  <c:v>45558</c:v>
                </c:pt>
                <c:pt idx="276">
                  <c:v>45555</c:v>
                </c:pt>
                <c:pt idx="277">
                  <c:v>45554</c:v>
                </c:pt>
                <c:pt idx="278">
                  <c:v>45553</c:v>
                </c:pt>
                <c:pt idx="279">
                  <c:v>45552</c:v>
                </c:pt>
                <c:pt idx="280">
                  <c:v>45551</c:v>
                </c:pt>
                <c:pt idx="281">
                  <c:v>45548</c:v>
                </c:pt>
                <c:pt idx="282">
                  <c:v>45547</c:v>
                </c:pt>
                <c:pt idx="283">
                  <c:v>45546</c:v>
                </c:pt>
                <c:pt idx="284">
                  <c:v>45545</c:v>
                </c:pt>
                <c:pt idx="285">
                  <c:v>45544</c:v>
                </c:pt>
                <c:pt idx="286">
                  <c:v>45541</c:v>
                </c:pt>
                <c:pt idx="287">
                  <c:v>45540</c:v>
                </c:pt>
                <c:pt idx="288">
                  <c:v>45539</c:v>
                </c:pt>
                <c:pt idx="289">
                  <c:v>45538</c:v>
                </c:pt>
                <c:pt idx="290">
                  <c:v>45537</c:v>
                </c:pt>
                <c:pt idx="291">
                  <c:v>45534</c:v>
                </c:pt>
                <c:pt idx="292">
                  <c:v>45533</c:v>
                </c:pt>
                <c:pt idx="293">
                  <c:v>45532</c:v>
                </c:pt>
                <c:pt idx="294">
                  <c:v>45531</c:v>
                </c:pt>
                <c:pt idx="295">
                  <c:v>45530</c:v>
                </c:pt>
                <c:pt idx="296">
                  <c:v>45527</c:v>
                </c:pt>
                <c:pt idx="297">
                  <c:v>45526</c:v>
                </c:pt>
                <c:pt idx="298">
                  <c:v>45525</c:v>
                </c:pt>
                <c:pt idx="299">
                  <c:v>45524</c:v>
                </c:pt>
                <c:pt idx="300">
                  <c:v>45523</c:v>
                </c:pt>
                <c:pt idx="301">
                  <c:v>45520</c:v>
                </c:pt>
                <c:pt idx="302">
                  <c:v>45518</c:v>
                </c:pt>
                <c:pt idx="303">
                  <c:v>45517</c:v>
                </c:pt>
                <c:pt idx="304">
                  <c:v>45516</c:v>
                </c:pt>
                <c:pt idx="305">
                  <c:v>45513</c:v>
                </c:pt>
                <c:pt idx="306">
                  <c:v>45512</c:v>
                </c:pt>
                <c:pt idx="307">
                  <c:v>45511</c:v>
                </c:pt>
                <c:pt idx="308">
                  <c:v>45510</c:v>
                </c:pt>
                <c:pt idx="309">
                  <c:v>45509</c:v>
                </c:pt>
                <c:pt idx="310">
                  <c:v>45506</c:v>
                </c:pt>
                <c:pt idx="311">
                  <c:v>45505</c:v>
                </c:pt>
                <c:pt idx="312">
                  <c:v>45504</c:v>
                </c:pt>
                <c:pt idx="313">
                  <c:v>45503</c:v>
                </c:pt>
                <c:pt idx="314">
                  <c:v>45502</c:v>
                </c:pt>
                <c:pt idx="315">
                  <c:v>45499</c:v>
                </c:pt>
                <c:pt idx="316">
                  <c:v>45498</c:v>
                </c:pt>
                <c:pt idx="317">
                  <c:v>45497</c:v>
                </c:pt>
                <c:pt idx="318">
                  <c:v>45496</c:v>
                </c:pt>
                <c:pt idx="319">
                  <c:v>45495</c:v>
                </c:pt>
                <c:pt idx="320">
                  <c:v>45492</c:v>
                </c:pt>
                <c:pt idx="321">
                  <c:v>45491</c:v>
                </c:pt>
                <c:pt idx="322">
                  <c:v>45489</c:v>
                </c:pt>
                <c:pt idx="323">
                  <c:v>45488</c:v>
                </c:pt>
                <c:pt idx="324">
                  <c:v>45485</c:v>
                </c:pt>
                <c:pt idx="325">
                  <c:v>45484</c:v>
                </c:pt>
                <c:pt idx="326">
                  <c:v>45483</c:v>
                </c:pt>
                <c:pt idx="327">
                  <c:v>45482</c:v>
                </c:pt>
                <c:pt idx="328">
                  <c:v>45481</c:v>
                </c:pt>
                <c:pt idx="329">
                  <c:v>45478</c:v>
                </c:pt>
                <c:pt idx="330">
                  <c:v>45477</c:v>
                </c:pt>
                <c:pt idx="331">
                  <c:v>45476</c:v>
                </c:pt>
                <c:pt idx="332">
                  <c:v>45475</c:v>
                </c:pt>
                <c:pt idx="333">
                  <c:v>45474</c:v>
                </c:pt>
                <c:pt idx="334">
                  <c:v>45471</c:v>
                </c:pt>
                <c:pt idx="335">
                  <c:v>45470</c:v>
                </c:pt>
                <c:pt idx="336">
                  <c:v>45469</c:v>
                </c:pt>
                <c:pt idx="337">
                  <c:v>45468</c:v>
                </c:pt>
                <c:pt idx="338">
                  <c:v>45467</c:v>
                </c:pt>
                <c:pt idx="339">
                  <c:v>45464</c:v>
                </c:pt>
                <c:pt idx="340">
                  <c:v>45463</c:v>
                </c:pt>
                <c:pt idx="341">
                  <c:v>45462</c:v>
                </c:pt>
                <c:pt idx="342">
                  <c:v>45461</c:v>
                </c:pt>
                <c:pt idx="343">
                  <c:v>45457</c:v>
                </c:pt>
                <c:pt idx="344">
                  <c:v>45456</c:v>
                </c:pt>
                <c:pt idx="345">
                  <c:v>45455</c:v>
                </c:pt>
                <c:pt idx="346">
                  <c:v>45454</c:v>
                </c:pt>
                <c:pt idx="347">
                  <c:v>45453</c:v>
                </c:pt>
                <c:pt idx="348">
                  <c:v>45450</c:v>
                </c:pt>
                <c:pt idx="349">
                  <c:v>45449</c:v>
                </c:pt>
                <c:pt idx="350">
                  <c:v>45448</c:v>
                </c:pt>
                <c:pt idx="351">
                  <c:v>45447</c:v>
                </c:pt>
                <c:pt idx="352">
                  <c:v>45446</c:v>
                </c:pt>
                <c:pt idx="353">
                  <c:v>45443</c:v>
                </c:pt>
                <c:pt idx="354">
                  <c:v>45442</c:v>
                </c:pt>
                <c:pt idx="355">
                  <c:v>45441</c:v>
                </c:pt>
                <c:pt idx="356">
                  <c:v>45440</c:v>
                </c:pt>
                <c:pt idx="357">
                  <c:v>45439</c:v>
                </c:pt>
                <c:pt idx="358">
                  <c:v>45436</c:v>
                </c:pt>
                <c:pt idx="359">
                  <c:v>45435</c:v>
                </c:pt>
                <c:pt idx="360">
                  <c:v>45434</c:v>
                </c:pt>
                <c:pt idx="361">
                  <c:v>45433</c:v>
                </c:pt>
                <c:pt idx="362">
                  <c:v>45430</c:v>
                </c:pt>
                <c:pt idx="363">
                  <c:v>45429</c:v>
                </c:pt>
                <c:pt idx="364">
                  <c:v>45428</c:v>
                </c:pt>
                <c:pt idx="365">
                  <c:v>45427</c:v>
                </c:pt>
                <c:pt idx="366">
                  <c:v>45426</c:v>
                </c:pt>
                <c:pt idx="367">
                  <c:v>45425</c:v>
                </c:pt>
                <c:pt idx="368">
                  <c:v>45422</c:v>
                </c:pt>
                <c:pt idx="369">
                  <c:v>45421</c:v>
                </c:pt>
                <c:pt idx="370">
                  <c:v>45420</c:v>
                </c:pt>
                <c:pt idx="371">
                  <c:v>45419</c:v>
                </c:pt>
                <c:pt idx="372">
                  <c:v>45418</c:v>
                </c:pt>
                <c:pt idx="373">
                  <c:v>45415</c:v>
                </c:pt>
                <c:pt idx="374">
                  <c:v>45414</c:v>
                </c:pt>
                <c:pt idx="375">
                  <c:v>45412</c:v>
                </c:pt>
                <c:pt idx="376">
                  <c:v>45411</c:v>
                </c:pt>
                <c:pt idx="377">
                  <c:v>45408</c:v>
                </c:pt>
                <c:pt idx="378">
                  <c:v>45407</c:v>
                </c:pt>
                <c:pt idx="379">
                  <c:v>45406</c:v>
                </c:pt>
                <c:pt idx="380">
                  <c:v>45405</c:v>
                </c:pt>
                <c:pt idx="381">
                  <c:v>45404</c:v>
                </c:pt>
                <c:pt idx="382">
                  <c:v>45401</c:v>
                </c:pt>
                <c:pt idx="383">
                  <c:v>45400</c:v>
                </c:pt>
                <c:pt idx="384">
                  <c:v>45398</c:v>
                </c:pt>
                <c:pt idx="385">
                  <c:v>45397</c:v>
                </c:pt>
                <c:pt idx="386">
                  <c:v>45394</c:v>
                </c:pt>
                <c:pt idx="387">
                  <c:v>45392</c:v>
                </c:pt>
                <c:pt idx="388">
                  <c:v>45391</c:v>
                </c:pt>
                <c:pt idx="389">
                  <c:v>45390</c:v>
                </c:pt>
                <c:pt idx="390">
                  <c:v>45387</c:v>
                </c:pt>
                <c:pt idx="391">
                  <c:v>45386</c:v>
                </c:pt>
                <c:pt idx="392">
                  <c:v>45385</c:v>
                </c:pt>
                <c:pt idx="393">
                  <c:v>45384</c:v>
                </c:pt>
                <c:pt idx="394">
                  <c:v>45383</c:v>
                </c:pt>
                <c:pt idx="395">
                  <c:v>45379</c:v>
                </c:pt>
                <c:pt idx="396">
                  <c:v>45378</c:v>
                </c:pt>
                <c:pt idx="397">
                  <c:v>45377</c:v>
                </c:pt>
                <c:pt idx="398">
                  <c:v>45373</c:v>
                </c:pt>
                <c:pt idx="399">
                  <c:v>45372</c:v>
                </c:pt>
                <c:pt idx="400">
                  <c:v>45371</c:v>
                </c:pt>
                <c:pt idx="401">
                  <c:v>45370</c:v>
                </c:pt>
                <c:pt idx="402">
                  <c:v>45369</c:v>
                </c:pt>
                <c:pt idx="403">
                  <c:v>45366</c:v>
                </c:pt>
                <c:pt idx="404">
                  <c:v>45365</c:v>
                </c:pt>
                <c:pt idx="405">
                  <c:v>45364</c:v>
                </c:pt>
                <c:pt idx="406">
                  <c:v>45363</c:v>
                </c:pt>
                <c:pt idx="407">
                  <c:v>45362</c:v>
                </c:pt>
                <c:pt idx="408">
                  <c:v>45358</c:v>
                </c:pt>
                <c:pt idx="409">
                  <c:v>45357</c:v>
                </c:pt>
                <c:pt idx="410">
                  <c:v>45356</c:v>
                </c:pt>
                <c:pt idx="411">
                  <c:v>45355</c:v>
                </c:pt>
                <c:pt idx="412">
                  <c:v>45353</c:v>
                </c:pt>
                <c:pt idx="413">
                  <c:v>45352</c:v>
                </c:pt>
                <c:pt idx="414">
                  <c:v>45351</c:v>
                </c:pt>
                <c:pt idx="415">
                  <c:v>45350</c:v>
                </c:pt>
                <c:pt idx="416">
                  <c:v>45349</c:v>
                </c:pt>
                <c:pt idx="417">
                  <c:v>45348</c:v>
                </c:pt>
                <c:pt idx="418">
                  <c:v>45345</c:v>
                </c:pt>
                <c:pt idx="419">
                  <c:v>45344</c:v>
                </c:pt>
                <c:pt idx="420">
                  <c:v>45343</c:v>
                </c:pt>
                <c:pt idx="421">
                  <c:v>45342</c:v>
                </c:pt>
                <c:pt idx="422">
                  <c:v>45341</c:v>
                </c:pt>
                <c:pt idx="423">
                  <c:v>45338</c:v>
                </c:pt>
                <c:pt idx="424">
                  <c:v>45337</c:v>
                </c:pt>
                <c:pt idx="425">
                  <c:v>45336</c:v>
                </c:pt>
                <c:pt idx="426">
                  <c:v>45335</c:v>
                </c:pt>
                <c:pt idx="427">
                  <c:v>45334</c:v>
                </c:pt>
                <c:pt idx="428">
                  <c:v>45331</c:v>
                </c:pt>
                <c:pt idx="429">
                  <c:v>45330</c:v>
                </c:pt>
                <c:pt idx="430">
                  <c:v>45329</c:v>
                </c:pt>
                <c:pt idx="431">
                  <c:v>45328</c:v>
                </c:pt>
                <c:pt idx="432">
                  <c:v>45327</c:v>
                </c:pt>
                <c:pt idx="433">
                  <c:v>45324</c:v>
                </c:pt>
                <c:pt idx="434">
                  <c:v>45323</c:v>
                </c:pt>
                <c:pt idx="435">
                  <c:v>45322</c:v>
                </c:pt>
                <c:pt idx="436">
                  <c:v>45321</c:v>
                </c:pt>
                <c:pt idx="437">
                  <c:v>45320</c:v>
                </c:pt>
                <c:pt idx="438">
                  <c:v>45316</c:v>
                </c:pt>
                <c:pt idx="439">
                  <c:v>45315</c:v>
                </c:pt>
                <c:pt idx="440">
                  <c:v>45314</c:v>
                </c:pt>
                <c:pt idx="441">
                  <c:v>45311</c:v>
                </c:pt>
                <c:pt idx="442">
                  <c:v>45310</c:v>
                </c:pt>
                <c:pt idx="443">
                  <c:v>45309</c:v>
                </c:pt>
                <c:pt idx="444">
                  <c:v>45308</c:v>
                </c:pt>
                <c:pt idx="445">
                  <c:v>45307</c:v>
                </c:pt>
                <c:pt idx="446">
                  <c:v>45306</c:v>
                </c:pt>
                <c:pt idx="447">
                  <c:v>45303</c:v>
                </c:pt>
                <c:pt idx="448">
                  <c:v>45302</c:v>
                </c:pt>
                <c:pt idx="449">
                  <c:v>45301</c:v>
                </c:pt>
                <c:pt idx="450">
                  <c:v>45300</c:v>
                </c:pt>
                <c:pt idx="451">
                  <c:v>45299</c:v>
                </c:pt>
                <c:pt idx="452">
                  <c:v>45296</c:v>
                </c:pt>
                <c:pt idx="453">
                  <c:v>45295</c:v>
                </c:pt>
                <c:pt idx="454">
                  <c:v>45294</c:v>
                </c:pt>
                <c:pt idx="455">
                  <c:v>45293</c:v>
                </c:pt>
                <c:pt idx="456">
                  <c:v>45292</c:v>
                </c:pt>
                <c:pt idx="457">
                  <c:v>45289</c:v>
                </c:pt>
                <c:pt idx="458">
                  <c:v>45288</c:v>
                </c:pt>
                <c:pt idx="459">
                  <c:v>45287</c:v>
                </c:pt>
                <c:pt idx="460">
                  <c:v>45286</c:v>
                </c:pt>
                <c:pt idx="461">
                  <c:v>45282</c:v>
                </c:pt>
                <c:pt idx="462">
                  <c:v>45281</c:v>
                </c:pt>
                <c:pt idx="463">
                  <c:v>45280</c:v>
                </c:pt>
                <c:pt idx="464">
                  <c:v>45279</c:v>
                </c:pt>
                <c:pt idx="465">
                  <c:v>45278</c:v>
                </c:pt>
                <c:pt idx="466">
                  <c:v>45275</c:v>
                </c:pt>
                <c:pt idx="467">
                  <c:v>45274</c:v>
                </c:pt>
                <c:pt idx="468">
                  <c:v>45273</c:v>
                </c:pt>
                <c:pt idx="469">
                  <c:v>45272</c:v>
                </c:pt>
                <c:pt idx="470">
                  <c:v>45271</c:v>
                </c:pt>
                <c:pt idx="471">
                  <c:v>45268</c:v>
                </c:pt>
                <c:pt idx="472">
                  <c:v>45267</c:v>
                </c:pt>
                <c:pt idx="473">
                  <c:v>45266</c:v>
                </c:pt>
                <c:pt idx="474">
                  <c:v>45265</c:v>
                </c:pt>
                <c:pt idx="475">
                  <c:v>45264</c:v>
                </c:pt>
                <c:pt idx="476">
                  <c:v>45261</c:v>
                </c:pt>
                <c:pt idx="477">
                  <c:v>45260</c:v>
                </c:pt>
                <c:pt idx="478">
                  <c:v>45259</c:v>
                </c:pt>
                <c:pt idx="479">
                  <c:v>45258</c:v>
                </c:pt>
                <c:pt idx="480">
                  <c:v>45254</c:v>
                </c:pt>
                <c:pt idx="481">
                  <c:v>45253</c:v>
                </c:pt>
                <c:pt idx="482">
                  <c:v>45252</c:v>
                </c:pt>
                <c:pt idx="483">
                  <c:v>45251</c:v>
                </c:pt>
                <c:pt idx="484">
                  <c:v>45250</c:v>
                </c:pt>
                <c:pt idx="485">
                  <c:v>45247</c:v>
                </c:pt>
                <c:pt idx="486">
                  <c:v>45246</c:v>
                </c:pt>
                <c:pt idx="487">
                  <c:v>45245</c:v>
                </c:pt>
                <c:pt idx="488">
                  <c:v>45243</c:v>
                </c:pt>
                <c:pt idx="489">
                  <c:v>45242</c:v>
                </c:pt>
                <c:pt idx="490">
                  <c:v>45240</c:v>
                </c:pt>
                <c:pt idx="491">
                  <c:v>45239</c:v>
                </c:pt>
                <c:pt idx="492">
                  <c:v>45238</c:v>
                </c:pt>
                <c:pt idx="493">
                  <c:v>45237</c:v>
                </c:pt>
                <c:pt idx="494">
                  <c:v>45236</c:v>
                </c:pt>
                <c:pt idx="495">
                  <c:v>45233</c:v>
                </c:pt>
                <c:pt idx="496">
                  <c:v>45232</c:v>
                </c:pt>
                <c:pt idx="497">
                  <c:v>45231</c:v>
                </c:pt>
                <c:pt idx="498">
                  <c:v>45230</c:v>
                </c:pt>
                <c:pt idx="499">
                  <c:v>45229</c:v>
                </c:pt>
                <c:pt idx="500">
                  <c:v>45226</c:v>
                </c:pt>
                <c:pt idx="501">
                  <c:v>45225</c:v>
                </c:pt>
                <c:pt idx="502">
                  <c:v>45224</c:v>
                </c:pt>
                <c:pt idx="503">
                  <c:v>45222</c:v>
                </c:pt>
                <c:pt idx="504">
                  <c:v>45219</c:v>
                </c:pt>
                <c:pt idx="505">
                  <c:v>45218</c:v>
                </c:pt>
                <c:pt idx="506">
                  <c:v>45217</c:v>
                </c:pt>
                <c:pt idx="507">
                  <c:v>45216</c:v>
                </c:pt>
                <c:pt idx="508">
                  <c:v>45215</c:v>
                </c:pt>
                <c:pt idx="509">
                  <c:v>45212</c:v>
                </c:pt>
                <c:pt idx="510">
                  <c:v>45211</c:v>
                </c:pt>
                <c:pt idx="511">
                  <c:v>45210</c:v>
                </c:pt>
                <c:pt idx="512">
                  <c:v>45209</c:v>
                </c:pt>
                <c:pt idx="513">
                  <c:v>45208</c:v>
                </c:pt>
                <c:pt idx="514">
                  <c:v>45205</c:v>
                </c:pt>
                <c:pt idx="515">
                  <c:v>45204</c:v>
                </c:pt>
                <c:pt idx="516">
                  <c:v>45203</c:v>
                </c:pt>
                <c:pt idx="517">
                  <c:v>45202</c:v>
                </c:pt>
                <c:pt idx="518">
                  <c:v>45198</c:v>
                </c:pt>
                <c:pt idx="519">
                  <c:v>45197</c:v>
                </c:pt>
                <c:pt idx="520">
                  <c:v>45196</c:v>
                </c:pt>
                <c:pt idx="521">
                  <c:v>45195</c:v>
                </c:pt>
                <c:pt idx="522">
                  <c:v>45194</c:v>
                </c:pt>
                <c:pt idx="523">
                  <c:v>45191</c:v>
                </c:pt>
                <c:pt idx="524">
                  <c:v>45190</c:v>
                </c:pt>
                <c:pt idx="525">
                  <c:v>45189</c:v>
                </c:pt>
                <c:pt idx="526">
                  <c:v>45187</c:v>
                </c:pt>
                <c:pt idx="527">
                  <c:v>45184</c:v>
                </c:pt>
                <c:pt idx="528">
                  <c:v>45183</c:v>
                </c:pt>
                <c:pt idx="529">
                  <c:v>45182</c:v>
                </c:pt>
                <c:pt idx="530">
                  <c:v>45181</c:v>
                </c:pt>
                <c:pt idx="531">
                  <c:v>45180</c:v>
                </c:pt>
                <c:pt idx="532">
                  <c:v>45177</c:v>
                </c:pt>
                <c:pt idx="533">
                  <c:v>45176</c:v>
                </c:pt>
                <c:pt idx="534">
                  <c:v>45175</c:v>
                </c:pt>
                <c:pt idx="535">
                  <c:v>45174</c:v>
                </c:pt>
                <c:pt idx="536">
                  <c:v>45173</c:v>
                </c:pt>
                <c:pt idx="537">
                  <c:v>45170</c:v>
                </c:pt>
                <c:pt idx="538">
                  <c:v>45169</c:v>
                </c:pt>
                <c:pt idx="539">
                  <c:v>45168</c:v>
                </c:pt>
                <c:pt idx="540">
                  <c:v>45167</c:v>
                </c:pt>
                <c:pt idx="541">
                  <c:v>45166</c:v>
                </c:pt>
                <c:pt idx="542">
                  <c:v>45163</c:v>
                </c:pt>
                <c:pt idx="543">
                  <c:v>45162</c:v>
                </c:pt>
                <c:pt idx="544">
                  <c:v>45161</c:v>
                </c:pt>
                <c:pt idx="545">
                  <c:v>45160</c:v>
                </c:pt>
                <c:pt idx="546">
                  <c:v>45159</c:v>
                </c:pt>
                <c:pt idx="547">
                  <c:v>45156</c:v>
                </c:pt>
                <c:pt idx="548">
                  <c:v>45155</c:v>
                </c:pt>
                <c:pt idx="549">
                  <c:v>45154</c:v>
                </c:pt>
                <c:pt idx="550">
                  <c:v>45152</c:v>
                </c:pt>
                <c:pt idx="551">
                  <c:v>45149</c:v>
                </c:pt>
                <c:pt idx="552">
                  <c:v>45148</c:v>
                </c:pt>
                <c:pt idx="553">
                  <c:v>45147</c:v>
                </c:pt>
                <c:pt idx="554">
                  <c:v>45146</c:v>
                </c:pt>
                <c:pt idx="555">
                  <c:v>45145</c:v>
                </c:pt>
                <c:pt idx="556">
                  <c:v>45142</c:v>
                </c:pt>
                <c:pt idx="557">
                  <c:v>45141</c:v>
                </c:pt>
                <c:pt idx="558">
                  <c:v>45140</c:v>
                </c:pt>
                <c:pt idx="559">
                  <c:v>45139</c:v>
                </c:pt>
                <c:pt idx="560">
                  <c:v>45138</c:v>
                </c:pt>
                <c:pt idx="561">
                  <c:v>45135</c:v>
                </c:pt>
                <c:pt idx="562">
                  <c:v>45134</c:v>
                </c:pt>
                <c:pt idx="563">
                  <c:v>45133</c:v>
                </c:pt>
                <c:pt idx="564">
                  <c:v>45132</c:v>
                </c:pt>
                <c:pt idx="565">
                  <c:v>45131</c:v>
                </c:pt>
                <c:pt idx="566">
                  <c:v>45128</c:v>
                </c:pt>
                <c:pt idx="567">
                  <c:v>45127</c:v>
                </c:pt>
                <c:pt idx="568">
                  <c:v>45126</c:v>
                </c:pt>
                <c:pt idx="569">
                  <c:v>45125</c:v>
                </c:pt>
                <c:pt idx="570">
                  <c:v>45124</c:v>
                </c:pt>
                <c:pt idx="571">
                  <c:v>45121</c:v>
                </c:pt>
                <c:pt idx="572">
                  <c:v>45120</c:v>
                </c:pt>
                <c:pt idx="573">
                  <c:v>45119</c:v>
                </c:pt>
                <c:pt idx="574">
                  <c:v>45118</c:v>
                </c:pt>
                <c:pt idx="575">
                  <c:v>45117</c:v>
                </c:pt>
                <c:pt idx="576">
                  <c:v>45114</c:v>
                </c:pt>
                <c:pt idx="577">
                  <c:v>45113</c:v>
                </c:pt>
                <c:pt idx="578">
                  <c:v>45112</c:v>
                </c:pt>
                <c:pt idx="579">
                  <c:v>45111</c:v>
                </c:pt>
                <c:pt idx="580">
                  <c:v>45110</c:v>
                </c:pt>
                <c:pt idx="581">
                  <c:v>45107</c:v>
                </c:pt>
                <c:pt idx="582">
                  <c:v>45105</c:v>
                </c:pt>
                <c:pt idx="583">
                  <c:v>45104</c:v>
                </c:pt>
                <c:pt idx="584">
                  <c:v>45103</c:v>
                </c:pt>
                <c:pt idx="585">
                  <c:v>45100</c:v>
                </c:pt>
                <c:pt idx="586">
                  <c:v>45099</c:v>
                </c:pt>
                <c:pt idx="587">
                  <c:v>45098</c:v>
                </c:pt>
                <c:pt idx="588">
                  <c:v>45097</c:v>
                </c:pt>
                <c:pt idx="589">
                  <c:v>45096</c:v>
                </c:pt>
                <c:pt idx="590">
                  <c:v>45093</c:v>
                </c:pt>
                <c:pt idx="591">
                  <c:v>45092</c:v>
                </c:pt>
                <c:pt idx="592">
                  <c:v>45091</c:v>
                </c:pt>
                <c:pt idx="593">
                  <c:v>45090</c:v>
                </c:pt>
                <c:pt idx="594">
                  <c:v>45089</c:v>
                </c:pt>
                <c:pt idx="595">
                  <c:v>45086</c:v>
                </c:pt>
                <c:pt idx="596">
                  <c:v>45085</c:v>
                </c:pt>
                <c:pt idx="597">
                  <c:v>45084</c:v>
                </c:pt>
                <c:pt idx="598">
                  <c:v>45083</c:v>
                </c:pt>
                <c:pt idx="599">
                  <c:v>45082</c:v>
                </c:pt>
                <c:pt idx="600">
                  <c:v>45079</c:v>
                </c:pt>
                <c:pt idx="601">
                  <c:v>45078</c:v>
                </c:pt>
                <c:pt idx="602">
                  <c:v>45077</c:v>
                </c:pt>
                <c:pt idx="603">
                  <c:v>45076</c:v>
                </c:pt>
                <c:pt idx="604">
                  <c:v>45075</c:v>
                </c:pt>
                <c:pt idx="605">
                  <c:v>45072</c:v>
                </c:pt>
                <c:pt idx="606">
                  <c:v>45071</c:v>
                </c:pt>
                <c:pt idx="607">
                  <c:v>45070</c:v>
                </c:pt>
                <c:pt idx="608">
                  <c:v>45069</c:v>
                </c:pt>
                <c:pt idx="609">
                  <c:v>45068</c:v>
                </c:pt>
                <c:pt idx="610">
                  <c:v>45065</c:v>
                </c:pt>
                <c:pt idx="611">
                  <c:v>45064</c:v>
                </c:pt>
                <c:pt idx="612">
                  <c:v>45063</c:v>
                </c:pt>
                <c:pt idx="613">
                  <c:v>45062</c:v>
                </c:pt>
                <c:pt idx="614">
                  <c:v>45061</c:v>
                </c:pt>
                <c:pt idx="615">
                  <c:v>45058</c:v>
                </c:pt>
                <c:pt idx="616">
                  <c:v>45057</c:v>
                </c:pt>
                <c:pt idx="617">
                  <c:v>45056</c:v>
                </c:pt>
                <c:pt idx="618">
                  <c:v>45055</c:v>
                </c:pt>
                <c:pt idx="619">
                  <c:v>45054</c:v>
                </c:pt>
                <c:pt idx="620">
                  <c:v>45051</c:v>
                </c:pt>
                <c:pt idx="621">
                  <c:v>45050</c:v>
                </c:pt>
                <c:pt idx="622">
                  <c:v>45049</c:v>
                </c:pt>
                <c:pt idx="623">
                  <c:v>45048</c:v>
                </c:pt>
                <c:pt idx="624">
                  <c:v>45044</c:v>
                </c:pt>
                <c:pt idx="625">
                  <c:v>45043</c:v>
                </c:pt>
                <c:pt idx="626">
                  <c:v>45042</c:v>
                </c:pt>
                <c:pt idx="627">
                  <c:v>45041</c:v>
                </c:pt>
                <c:pt idx="628">
                  <c:v>45040</c:v>
                </c:pt>
                <c:pt idx="629">
                  <c:v>45037</c:v>
                </c:pt>
                <c:pt idx="630">
                  <c:v>45036</c:v>
                </c:pt>
                <c:pt idx="631">
                  <c:v>45035</c:v>
                </c:pt>
                <c:pt idx="632">
                  <c:v>45034</c:v>
                </c:pt>
                <c:pt idx="633">
                  <c:v>45033</c:v>
                </c:pt>
                <c:pt idx="634">
                  <c:v>45029</c:v>
                </c:pt>
                <c:pt idx="635">
                  <c:v>45028</c:v>
                </c:pt>
                <c:pt idx="636">
                  <c:v>45027</c:v>
                </c:pt>
                <c:pt idx="637">
                  <c:v>45026</c:v>
                </c:pt>
                <c:pt idx="638">
                  <c:v>45022</c:v>
                </c:pt>
                <c:pt idx="639">
                  <c:v>45021</c:v>
                </c:pt>
                <c:pt idx="640">
                  <c:v>45019</c:v>
                </c:pt>
                <c:pt idx="641">
                  <c:v>45016</c:v>
                </c:pt>
                <c:pt idx="642">
                  <c:v>45014</c:v>
                </c:pt>
                <c:pt idx="643">
                  <c:v>45013</c:v>
                </c:pt>
                <c:pt idx="644">
                  <c:v>45012</c:v>
                </c:pt>
                <c:pt idx="645">
                  <c:v>45009</c:v>
                </c:pt>
                <c:pt idx="646">
                  <c:v>45008</c:v>
                </c:pt>
                <c:pt idx="647">
                  <c:v>45007</c:v>
                </c:pt>
                <c:pt idx="648">
                  <c:v>45006</c:v>
                </c:pt>
                <c:pt idx="649">
                  <c:v>45005</c:v>
                </c:pt>
                <c:pt idx="650">
                  <c:v>45002</c:v>
                </c:pt>
                <c:pt idx="651">
                  <c:v>45001</c:v>
                </c:pt>
                <c:pt idx="652">
                  <c:v>45000</c:v>
                </c:pt>
                <c:pt idx="653">
                  <c:v>44999</c:v>
                </c:pt>
                <c:pt idx="654">
                  <c:v>44998</c:v>
                </c:pt>
                <c:pt idx="655">
                  <c:v>44995</c:v>
                </c:pt>
                <c:pt idx="656">
                  <c:v>44994</c:v>
                </c:pt>
                <c:pt idx="657">
                  <c:v>44993</c:v>
                </c:pt>
                <c:pt idx="658">
                  <c:v>44991</c:v>
                </c:pt>
                <c:pt idx="659">
                  <c:v>44988</c:v>
                </c:pt>
                <c:pt idx="660">
                  <c:v>44987</c:v>
                </c:pt>
                <c:pt idx="661">
                  <c:v>44986</c:v>
                </c:pt>
                <c:pt idx="662">
                  <c:v>44985</c:v>
                </c:pt>
                <c:pt idx="663">
                  <c:v>44984</c:v>
                </c:pt>
                <c:pt idx="664">
                  <c:v>44981</c:v>
                </c:pt>
                <c:pt idx="665">
                  <c:v>44980</c:v>
                </c:pt>
                <c:pt idx="666">
                  <c:v>44979</c:v>
                </c:pt>
                <c:pt idx="667">
                  <c:v>44978</c:v>
                </c:pt>
                <c:pt idx="668">
                  <c:v>44977</c:v>
                </c:pt>
                <c:pt idx="669">
                  <c:v>44974</c:v>
                </c:pt>
                <c:pt idx="670">
                  <c:v>44973</c:v>
                </c:pt>
                <c:pt idx="671">
                  <c:v>44972</c:v>
                </c:pt>
                <c:pt idx="672">
                  <c:v>44971</c:v>
                </c:pt>
                <c:pt idx="673">
                  <c:v>44970</c:v>
                </c:pt>
                <c:pt idx="674">
                  <c:v>44967</c:v>
                </c:pt>
                <c:pt idx="675">
                  <c:v>44966</c:v>
                </c:pt>
                <c:pt idx="676">
                  <c:v>44965</c:v>
                </c:pt>
                <c:pt idx="677">
                  <c:v>44964</c:v>
                </c:pt>
                <c:pt idx="678">
                  <c:v>44963</c:v>
                </c:pt>
                <c:pt idx="679">
                  <c:v>44960</c:v>
                </c:pt>
                <c:pt idx="680">
                  <c:v>44959</c:v>
                </c:pt>
                <c:pt idx="681">
                  <c:v>44958</c:v>
                </c:pt>
                <c:pt idx="682">
                  <c:v>44957</c:v>
                </c:pt>
                <c:pt idx="683">
                  <c:v>44956</c:v>
                </c:pt>
                <c:pt idx="684">
                  <c:v>44953</c:v>
                </c:pt>
                <c:pt idx="685">
                  <c:v>44951</c:v>
                </c:pt>
                <c:pt idx="686">
                  <c:v>44950</c:v>
                </c:pt>
                <c:pt idx="687">
                  <c:v>44949</c:v>
                </c:pt>
                <c:pt idx="688">
                  <c:v>44946</c:v>
                </c:pt>
                <c:pt idx="689">
                  <c:v>44945</c:v>
                </c:pt>
                <c:pt idx="690">
                  <c:v>44944</c:v>
                </c:pt>
                <c:pt idx="691">
                  <c:v>44943</c:v>
                </c:pt>
                <c:pt idx="692">
                  <c:v>44942</c:v>
                </c:pt>
                <c:pt idx="693">
                  <c:v>44939</c:v>
                </c:pt>
                <c:pt idx="694">
                  <c:v>44938</c:v>
                </c:pt>
                <c:pt idx="695">
                  <c:v>44937</c:v>
                </c:pt>
                <c:pt idx="696">
                  <c:v>44936</c:v>
                </c:pt>
                <c:pt idx="697">
                  <c:v>44935</c:v>
                </c:pt>
                <c:pt idx="698">
                  <c:v>44932</c:v>
                </c:pt>
                <c:pt idx="699">
                  <c:v>44931</c:v>
                </c:pt>
                <c:pt idx="700">
                  <c:v>44930</c:v>
                </c:pt>
                <c:pt idx="701">
                  <c:v>44929</c:v>
                </c:pt>
                <c:pt idx="702">
                  <c:v>44928</c:v>
                </c:pt>
                <c:pt idx="703">
                  <c:v>44925</c:v>
                </c:pt>
                <c:pt idx="704">
                  <c:v>44924</c:v>
                </c:pt>
                <c:pt idx="705">
                  <c:v>44923</c:v>
                </c:pt>
                <c:pt idx="706">
                  <c:v>44922</c:v>
                </c:pt>
                <c:pt idx="707">
                  <c:v>44921</c:v>
                </c:pt>
                <c:pt idx="708">
                  <c:v>44918</c:v>
                </c:pt>
                <c:pt idx="709">
                  <c:v>44917</c:v>
                </c:pt>
                <c:pt idx="710">
                  <c:v>44916</c:v>
                </c:pt>
                <c:pt idx="711">
                  <c:v>44915</c:v>
                </c:pt>
                <c:pt idx="712">
                  <c:v>44914</c:v>
                </c:pt>
                <c:pt idx="713">
                  <c:v>44911</c:v>
                </c:pt>
                <c:pt idx="714">
                  <c:v>44910</c:v>
                </c:pt>
                <c:pt idx="715">
                  <c:v>44909</c:v>
                </c:pt>
                <c:pt idx="716">
                  <c:v>44908</c:v>
                </c:pt>
                <c:pt idx="717">
                  <c:v>44907</c:v>
                </c:pt>
                <c:pt idx="718">
                  <c:v>44904</c:v>
                </c:pt>
                <c:pt idx="719">
                  <c:v>44903</c:v>
                </c:pt>
                <c:pt idx="720">
                  <c:v>44902</c:v>
                </c:pt>
                <c:pt idx="721">
                  <c:v>44901</c:v>
                </c:pt>
                <c:pt idx="722">
                  <c:v>44900</c:v>
                </c:pt>
                <c:pt idx="723">
                  <c:v>44897</c:v>
                </c:pt>
                <c:pt idx="724">
                  <c:v>44896</c:v>
                </c:pt>
                <c:pt idx="725">
                  <c:v>44895</c:v>
                </c:pt>
                <c:pt idx="726">
                  <c:v>44894</c:v>
                </c:pt>
                <c:pt idx="727">
                  <c:v>44893</c:v>
                </c:pt>
                <c:pt idx="728">
                  <c:v>44890</c:v>
                </c:pt>
                <c:pt idx="729">
                  <c:v>44889</c:v>
                </c:pt>
                <c:pt idx="730">
                  <c:v>44888</c:v>
                </c:pt>
                <c:pt idx="731">
                  <c:v>44887</c:v>
                </c:pt>
                <c:pt idx="732">
                  <c:v>44886</c:v>
                </c:pt>
                <c:pt idx="733">
                  <c:v>44883</c:v>
                </c:pt>
                <c:pt idx="734">
                  <c:v>44882</c:v>
                </c:pt>
                <c:pt idx="735">
                  <c:v>44881</c:v>
                </c:pt>
                <c:pt idx="736">
                  <c:v>44880</c:v>
                </c:pt>
                <c:pt idx="737">
                  <c:v>44879</c:v>
                </c:pt>
                <c:pt idx="738">
                  <c:v>44876</c:v>
                </c:pt>
                <c:pt idx="739">
                  <c:v>44875</c:v>
                </c:pt>
                <c:pt idx="740">
                  <c:v>44874</c:v>
                </c:pt>
                <c:pt idx="741">
                  <c:v>44872</c:v>
                </c:pt>
                <c:pt idx="742">
                  <c:v>44869</c:v>
                </c:pt>
                <c:pt idx="743">
                  <c:v>44868</c:v>
                </c:pt>
                <c:pt idx="744">
                  <c:v>44867</c:v>
                </c:pt>
                <c:pt idx="745">
                  <c:v>44866</c:v>
                </c:pt>
                <c:pt idx="746">
                  <c:v>44865</c:v>
                </c:pt>
                <c:pt idx="747">
                  <c:v>44862</c:v>
                </c:pt>
                <c:pt idx="748">
                  <c:v>44861</c:v>
                </c:pt>
                <c:pt idx="749">
                  <c:v>44859</c:v>
                </c:pt>
                <c:pt idx="750">
                  <c:v>44858</c:v>
                </c:pt>
                <c:pt idx="751">
                  <c:v>44855</c:v>
                </c:pt>
                <c:pt idx="752">
                  <c:v>44854</c:v>
                </c:pt>
                <c:pt idx="753">
                  <c:v>44853</c:v>
                </c:pt>
                <c:pt idx="754">
                  <c:v>44852</c:v>
                </c:pt>
                <c:pt idx="755">
                  <c:v>44851</c:v>
                </c:pt>
                <c:pt idx="756">
                  <c:v>44848</c:v>
                </c:pt>
                <c:pt idx="757">
                  <c:v>44847</c:v>
                </c:pt>
                <c:pt idx="758">
                  <c:v>44846</c:v>
                </c:pt>
                <c:pt idx="759">
                  <c:v>44845</c:v>
                </c:pt>
                <c:pt idx="760">
                  <c:v>44844</c:v>
                </c:pt>
                <c:pt idx="761">
                  <c:v>44841</c:v>
                </c:pt>
                <c:pt idx="762">
                  <c:v>44840</c:v>
                </c:pt>
                <c:pt idx="763">
                  <c:v>44838</c:v>
                </c:pt>
                <c:pt idx="764">
                  <c:v>44837</c:v>
                </c:pt>
                <c:pt idx="765">
                  <c:v>44834</c:v>
                </c:pt>
                <c:pt idx="766">
                  <c:v>44833</c:v>
                </c:pt>
                <c:pt idx="767">
                  <c:v>44832</c:v>
                </c:pt>
                <c:pt idx="768">
                  <c:v>44831</c:v>
                </c:pt>
                <c:pt idx="769">
                  <c:v>44830</c:v>
                </c:pt>
                <c:pt idx="770">
                  <c:v>44827</c:v>
                </c:pt>
                <c:pt idx="771">
                  <c:v>44826</c:v>
                </c:pt>
                <c:pt idx="772">
                  <c:v>44825</c:v>
                </c:pt>
                <c:pt idx="773">
                  <c:v>44824</c:v>
                </c:pt>
                <c:pt idx="774">
                  <c:v>44823</c:v>
                </c:pt>
                <c:pt idx="775">
                  <c:v>44820</c:v>
                </c:pt>
                <c:pt idx="776">
                  <c:v>44819</c:v>
                </c:pt>
                <c:pt idx="777">
                  <c:v>44818</c:v>
                </c:pt>
                <c:pt idx="778">
                  <c:v>44817</c:v>
                </c:pt>
                <c:pt idx="779">
                  <c:v>44816</c:v>
                </c:pt>
                <c:pt idx="780">
                  <c:v>44813</c:v>
                </c:pt>
                <c:pt idx="781">
                  <c:v>44812</c:v>
                </c:pt>
                <c:pt idx="782">
                  <c:v>44811</c:v>
                </c:pt>
                <c:pt idx="783">
                  <c:v>44810</c:v>
                </c:pt>
                <c:pt idx="784">
                  <c:v>44809</c:v>
                </c:pt>
                <c:pt idx="785">
                  <c:v>44806</c:v>
                </c:pt>
                <c:pt idx="786">
                  <c:v>44805</c:v>
                </c:pt>
                <c:pt idx="787">
                  <c:v>44803</c:v>
                </c:pt>
                <c:pt idx="788">
                  <c:v>44802</c:v>
                </c:pt>
                <c:pt idx="789">
                  <c:v>44799</c:v>
                </c:pt>
                <c:pt idx="790">
                  <c:v>44798</c:v>
                </c:pt>
                <c:pt idx="791">
                  <c:v>44797</c:v>
                </c:pt>
                <c:pt idx="792">
                  <c:v>44796</c:v>
                </c:pt>
                <c:pt idx="793">
                  <c:v>44795</c:v>
                </c:pt>
                <c:pt idx="794">
                  <c:v>44792</c:v>
                </c:pt>
                <c:pt idx="795">
                  <c:v>44791</c:v>
                </c:pt>
                <c:pt idx="796">
                  <c:v>44790</c:v>
                </c:pt>
                <c:pt idx="797">
                  <c:v>44789</c:v>
                </c:pt>
                <c:pt idx="798">
                  <c:v>44785</c:v>
                </c:pt>
                <c:pt idx="799">
                  <c:v>44784</c:v>
                </c:pt>
                <c:pt idx="800">
                  <c:v>44783</c:v>
                </c:pt>
                <c:pt idx="801">
                  <c:v>44781</c:v>
                </c:pt>
                <c:pt idx="802">
                  <c:v>44778</c:v>
                </c:pt>
                <c:pt idx="803">
                  <c:v>44777</c:v>
                </c:pt>
                <c:pt idx="804">
                  <c:v>44776</c:v>
                </c:pt>
                <c:pt idx="805">
                  <c:v>44775</c:v>
                </c:pt>
                <c:pt idx="806">
                  <c:v>44774</c:v>
                </c:pt>
                <c:pt idx="807">
                  <c:v>44771</c:v>
                </c:pt>
                <c:pt idx="808">
                  <c:v>44770</c:v>
                </c:pt>
                <c:pt idx="809">
                  <c:v>44769</c:v>
                </c:pt>
                <c:pt idx="810">
                  <c:v>44768</c:v>
                </c:pt>
                <c:pt idx="811">
                  <c:v>44767</c:v>
                </c:pt>
                <c:pt idx="812">
                  <c:v>44764</c:v>
                </c:pt>
                <c:pt idx="813">
                  <c:v>44763</c:v>
                </c:pt>
                <c:pt idx="814">
                  <c:v>44762</c:v>
                </c:pt>
                <c:pt idx="815">
                  <c:v>44761</c:v>
                </c:pt>
                <c:pt idx="816">
                  <c:v>44760</c:v>
                </c:pt>
                <c:pt idx="817">
                  <c:v>44757</c:v>
                </c:pt>
                <c:pt idx="818">
                  <c:v>44756</c:v>
                </c:pt>
                <c:pt idx="819">
                  <c:v>44755</c:v>
                </c:pt>
                <c:pt idx="820">
                  <c:v>44754</c:v>
                </c:pt>
                <c:pt idx="821">
                  <c:v>44753</c:v>
                </c:pt>
                <c:pt idx="822">
                  <c:v>44750</c:v>
                </c:pt>
                <c:pt idx="823">
                  <c:v>44749</c:v>
                </c:pt>
                <c:pt idx="824">
                  <c:v>44748</c:v>
                </c:pt>
                <c:pt idx="825">
                  <c:v>44747</c:v>
                </c:pt>
                <c:pt idx="826">
                  <c:v>44746</c:v>
                </c:pt>
                <c:pt idx="827">
                  <c:v>44743</c:v>
                </c:pt>
                <c:pt idx="828">
                  <c:v>44742</c:v>
                </c:pt>
                <c:pt idx="829">
                  <c:v>44741</c:v>
                </c:pt>
                <c:pt idx="830">
                  <c:v>44740</c:v>
                </c:pt>
                <c:pt idx="831">
                  <c:v>44739</c:v>
                </c:pt>
                <c:pt idx="832">
                  <c:v>44736</c:v>
                </c:pt>
                <c:pt idx="833">
                  <c:v>44735</c:v>
                </c:pt>
                <c:pt idx="834">
                  <c:v>44734</c:v>
                </c:pt>
                <c:pt idx="835">
                  <c:v>44733</c:v>
                </c:pt>
                <c:pt idx="836">
                  <c:v>44732</c:v>
                </c:pt>
                <c:pt idx="837">
                  <c:v>44729</c:v>
                </c:pt>
                <c:pt idx="838">
                  <c:v>44728</c:v>
                </c:pt>
                <c:pt idx="839">
                  <c:v>44727</c:v>
                </c:pt>
                <c:pt idx="840">
                  <c:v>44726</c:v>
                </c:pt>
                <c:pt idx="841">
                  <c:v>44725</c:v>
                </c:pt>
                <c:pt idx="842">
                  <c:v>44722</c:v>
                </c:pt>
                <c:pt idx="843">
                  <c:v>44721</c:v>
                </c:pt>
                <c:pt idx="844">
                  <c:v>44720</c:v>
                </c:pt>
                <c:pt idx="845">
                  <c:v>44719</c:v>
                </c:pt>
                <c:pt idx="846">
                  <c:v>44718</c:v>
                </c:pt>
                <c:pt idx="847">
                  <c:v>44715</c:v>
                </c:pt>
                <c:pt idx="848">
                  <c:v>44714</c:v>
                </c:pt>
                <c:pt idx="849">
                  <c:v>44713</c:v>
                </c:pt>
                <c:pt idx="850">
                  <c:v>44712</c:v>
                </c:pt>
                <c:pt idx="851">
                  <c:v>44711</c:v>
                </c:pt>
                <c:pt idx="852">
                  <c:v>44708</c:v>
                </c:pt>
                <c:pt idx="853">
                  <c:v>44707</c:v>
                </c:pt>
                <c:pt idx="854">
                  <c:v>44706</c:v>
                </c:pt>
                <c:pt idx="855">
                  <c:v>44705</c:v>
                </c:pt>
                <c:pt idx="856">
                  <c:v>44704</c:v>
                </c:pt>
                <c:pt idx="857">
                  <c:v>44701</c:v>
                </c:pt>
                <c:pt idx="858">
                  <c:v>44700</c:v>
                </c:pt>
                <c:pt idx="859">
                  <c:v>44699</c:v>
                </c:pt>
                <c:pt idx="860">
                  <c:v>44698</c:v>
                </c:pt>
                <c:pt idx="861">
                  <c:v>44697</c:v>
                </c:pt>
                <c:pt idx="862">
                  <c:v>44694</c:v>
                </c:pt>
                <c:pt idx="863">
                  <c:v>44693</c:v>
                </c:pt>
                <c:pt idx="864">
                  <c:v>44692</c:v>
                </c:pt>
                <c:pt idx="865">
                  <c:v>44691</c:v>
                </c:pt>
                <c:pt idx="866">
                  <c:v>44690</c:v>
                </c:pt>
                <c:pt idx="867">
                  <c:v>44687</c:v>
                </c:pt>
                <c:pt idx="868">
                  <c:v>44686</c:v>
                </c:pt>
                <c:pt idx="869">
                  <c:v>44685</c:v>
                </c:pt>
                <c:pt idx="870">
                  <c:v>44683</c:v>
                </c:pt>
                <c:pt idx="871">
                  <c:v>44680</c:v>
                </c:pt>
                <c:pt idx="872">
                  <c:v>44679</c:v>
                </c:pt>
                <c:pt idx="873">
                  <c:v>44678</c:v>
                </c:pt>
                <c:pt idx="874">
                  <c:v>44677</c:v>
                </c:pt>
                <c:pt idx="875">
                  <c:v>44676</c:v>
                </c:pt>
                <c:pt idx="876">
                  <c:v>44673</c:v>
                </c:pt>
                <c:pt idx="877">
                  <c:v>44672</c:v>
                </c:pt>
                <c:pt idx="878">
                  <c:v>44671</c:v>
                </c:pt>
                <c:pt idx="879">
                  <c:v>44670</c:v>
                </c:pt>
                <c:pt idx="880">
                  <c:v>44669</c:v>
                </c:pt>
                <c:pt idx="881">
                  <c:v>44664</c:v>
                </c:pt>
                <c:pt idx="882">
                  <c:v>44663</c:v>
                </c:pt>
                <c:pt idx="883">
                  <c:v>44662</c:v>
                </c:pt>
                <c:pt idx="884">
                  <c:v>44659</c:v>
                </c:pt>
                <c:pt idx="885">
                  <c:v>44658</c:v>
                </c:pt>
                <c:pt idx="886">
                  <c:v>44657</c:v>
                </c:pt>
                <c:pt idx="887">
                  <c:v>44656</c:v>
                </c:pt>
                <c:pt idx="888">
                  <c:v>44655</c:v>
                </c:pt>
                <c:pt idx="889">
                  <c:v>44652</c:v>
                </c:pt>
                <c:pt idx="890">
                  <c:v>44651</c:v>
                </c:pt>
                <c:pt idx="891">
                  <c:v>44650</c:v>
                </c:pt>
                <c:pt idx="892">
                  <c:v>44649</c:v>
                </c:pt>
                <c:pt idx="893">
                  <c:v>44648</c:v>
                </c:pt>
                <c:pt idx="894">
                  <c:v>44645</c:v>
                </c:pt>
                <c:pt idx="895">
                  <c:v>44644</c:v>
                </c:pt>
                <c:pt idx="896">
                  <c:v>44643</c:v>
                </c:pt>
                <c:pt idx="897">
                  <c:v>44642</c:v>
                </c:pt>
                <c:pt idx="898">
                  <c:v>44641</c:v>
                </c:pt>
                <c:pt idx="899">
                  <c:v>44637</c:v>
                </c:pt>
                <c:pt idx="900">
                  <c:v>44636</c:v>
                </c:pt>
                <c:pt idx="901">
                  <c:v>44635</c:v>
                </c:pt>
                <c:pt idx="902">
                  <c:v>44634</c:v>
                </c:pt>
                <c:pt idx="903">
                  <c:v>44631</c:v>
                </c:pt>
                <c:pt idx="904">
                  <c:v>44630</c:v>
                </c:pt>
                <c:pt idx="905">
                  <c:v>44629</c:v>
                </c:pt>
                <c:pt idx="906">
                  <c:v>44628</c:v>
                </c:pt>
                <c:pt idx="907">
                  <c:v>44627</c:v>
                </c:pt>
                <c:pt idx="908">
                  <c:v>44624</c:v>
                </c:pt>
                <c:pt idx="909">
                  <c:v>44623</c:v>
                </c:pt>
                <c:pt idx="910">
                  <c:v>44622</c:v>
                </c:pt>
                <c:pt idx="911">
                  <c:v>44620</c:v>
                </c:pt>
                <c:pt idx="912">
                  <c:v>44617</c:v>
                </c:pt>
                <c:pt idx="913">
                  <c:v>44616</c:v>
                </c:pt>
                <c:pt idx="914">
                  <c:v>44615</c:v>
                </c:pt>
                <c:pt idx="915">
                  <c:v>44614</c:v>
                </c:pt>
                <c:pt idx="916">
                  <c:v>44613</c:v>
                </c:pt>
                <c:pt idx="917">
                  <c:v>44610</c:v>
                </c:pt>
                <c:pt idx="918">
                  <c:v>44609</c:v>
                </c:pt>
                <c:pt idx="919">
                  <c:v>44608</c:v>
                </c:pt>
                <c:pt idx="920">
                  <c:v>44607</c:v>
                </c:pt>
                <c:pt idx="921">
                  <c:v>44606</c:v>
                </c:pt>
                <c:pt idx="922">
                  <c:v>44603</c:v>
                </c:pt>
                <c:pt idx="923">
                  <c:v>44602</c:v>
                </c:pt>
                <c:pt idx="924">
                  <c:v>44601</c:v>
                </c:pt>
                <c:pt idx="925">
                  <c:v>44600</c:v>
                </c:pt>
                <c:pt idx="926">
                  <c:v>44599</c:v>
                </c:pt>
                <c:pt idx="927">
                  <c:v>44596</c:v>
                </c:pt>
                <c:pt idx="928">
                  <c:v>44595</c:v>
                </c:pt>
                <c:pt idx="929">
                  <c:v>44594</c:v>
                </c:pt>
                <c:pt idx="930">
                  <c:v>44593</c:v>
                </c:pt>
                <c:pt idx="931">
                  <c:v>44592</c:v>
                </c:pt>
                <c:pt idx="932">
                  <c:v>44589</c:v>
                </c:pt>
                <c:pt idx="933">
                  <c:v>44588</c:v>
                </c:pt>
                <c:pt idx="934">
                  <c:v>44586</c:v>
                </c:pt>
                <c:pt idx="935">
                  <c:v>44585</c:v>
                </c:pt>
                <c:pt idx="936">
                  <c:v>44582</c:v>
                </c:pt>
                <c:pt idx="937">
                  <c:v>44581</c:v>
                </c:pt>
                <c:pt idx="938">
                  <c:v>44580</c:v>
                </c:pt>
                <c:pt idx="939">
                  <c:v>44579</c:v>
                </c:pt>
                <c:pt idx="940">
                  <c:v>44578</c:v>
                </c:pt>
                <c:pt idx="941">
                  <c:v>44575</c:v>
                </c:pt>
                <c:pt idx="942">
                  <c:v>44574</c:v>
                </c:pt>
                <c:pt idx="943">
                  <c:v>44573</c:v>
                </c:pt>
                <c:pt idx="944">
                  <c:v>44572</c:v>
                </c:pt>
                <c:pt idx="945">
                  <c:v>44571</c:v>
                </c:pt>
                <c:pt idx="946">
                  <c:v>44568</c:v>
                </c:pt>
                <c:pt idx="947">
                  <c:v>44567</c:v>
                </c:pt>
                <c:pt idx="948">
                  <c:v>44566</c:v>
                </c:pt>
                <c:pt idx="949">
                  <c:v>44565</c:v>
                </c:pt>
                <c:pt idx="950">
                  <c:v>44564</c:v>
                </c:pt>
                <c:pt idx="951">
                  <c:v>44561</c:v>
                </c:pt>
                <c:pt idx="952">
                  <c:v>44560</c:v>
                </c:pt>
                <c:pt idx="953">
                  <c:v>44559</c:v>
                </c:pt>
                <c:pt idx="954">
                  <c:v>44558</c:v>
                </c:pt>
                <c:pt idx="955">
                  <c:v>44557</c:v>
                </c:pt>
                <c:pt idx="956">
                  <c:v>44554</c:v>
                </c:pt>
                <c:pt idx="957">
                  <c:v>44553</c:v>
                </c:pt>
                <c:pt idx="958">
                  <c:v>44552</c:v>
                </c:pt>
                <c:pt idx="959">
                  <c:v>44551</c:v>
                </c:pt>
                <c:pt idx="960">
                  <c:v>44550</c:v>
                </c:pt>
                <c:pt idx="961">
                  <c:v>44547</c:v>
                </c:pt>
                <c:pt idx="962">
                  <c:v>44546</c:v>
                </c:pt>
                <c:pt idx="963">
                  <c:v>44545</c:v>
                </c:pt>
                <c:pt idx="964">
                  <c:v>44544</c:v>
                </c:pt>
                <c:pt idx="965">
                  <c:v>44543</c:v>
                </c:pt>
                <c:pt idx="966">
                  <c:v>44540</c:v>
                </c:pt>
                <c:pt idx="967">
                  <c:v>44539</c:v>
                </c:pt>
                <c:pt idx="968">
                  <c:v>44538</c:v>
                </c:pt>
                <c:pt idx="969">
                  <c:v>44537</c:v>
                </c:pt>
                <c:pt idx="970">
                  <c:v>44536</c:v>
                </c:pt>
                <c:pt idx="971">
                  <c:v>44533</c:v>
                </c:pt>
                <c:pt idx="972">
                  <c:v>44532</c:v>
                </c:pt>
                <c:pt idx="973">
                  <c:v>44531</c:v>
                </c:pt>
                <c:pt idx="974">
                  <c:v>44530</c:v>
                </c:pt>
                <c:pt idx="975">
                  <c:v>44529</c:v>
                </c:pt>
                <c:pt idx="976">
                  <c:v>44526</c:v>
                </c:pt>
                <c:pt idx="977">
                  <c:v>44525</c:v>
                </c:pt>
                <c:pt idx="978">
                  <c:v>44524</c:v>
                </c:pt>
                <c:pt idx="979">
                  <c:v>44523</c:v>
                </c:pt>
                <c:pt idx="980">
                  <c:v>44522</c:v>
                </c:pt>
                <c:pt idx="981">
                  <c:v>44518</c:v>
                </c:pt>
                <c:pt idx="982">
                  <c:v>44517</c:v>
                </c:pt>
                <c:pt idx="983">
                  <c:v>44516</c:v>
                </c:pt>
                <c:pt idx="984">
                  <c:v>44515</c:v>
                </c:pt>
                <c:pt idx="985">
                  <c:v>44512</c:v>
                </c:pt>
                <c:pt idx="986">
                  <c:v>44511</c:v>
                </c:pt>
                <c:pt idx="987">
                  <c:v>44510</c:v>
                </c:pt>
                <c:pt idx="988">
                  <c:v>44509</c:v>
                </c:pt>
                <c:pt idx="989">
                  <c:v>44508</c:v>
                </c:pt>
                <c:pt idx="990">
                  <c:v>44504</c:v>
                </c:pt>
                <c:pt idx="991">
                  <c:v>44503</c:v>
                </c:pt>
                <c:pt idx="992">
                  <c:v>44502</c:v>
                </c:pt>
                <c:pt idx="993">
                  <c:v>44501</c:v>
                </c:pt>
                <c:pt idx="994">
                  <c:v>44498</c:v>
                </c:pt>
                <c:pt idx="995">
                  <c:v>44497</c:v>
                </c:pt>
                <c:pt idx="996">
                  <c:v>44496</c:v>
                </c:pt>
                <c:pt idx="997">
                  <c:v>44495</c:v>
                </c:pt>
                <c:pt idx="998">
                  <c:v>44494</c:v>
                </c:pt>
                <c:pt idx="999">
                  <c:v>44491</c:v>
                </c:pt>
                <c:pt idx="1000">
                  <c:v>44490</c:v>
                </c:pt>
                <c:pt idx="1001">
                  <c:v>44489</c:v>
                </c:pt>
                <c:pt idx="1002">
                  <c:v>44488</c:v>
                </c:pt>
                <c:pt idx="1003">
                  <c:v>44487</c:v>
                </c:pt>
                <c:pt idx="1004">
                  <c:v>44483</c:v>
                </c:pt>
                <c:pt idx="1005">
                  <c:v>44482</c:v>
                </c:pt>
                <c:pt idx="1006">
                  <c:v>44481</c:v>
                </c:pt>
                <c:pt idx="1007">
                  <c:v>44480</c:v>
                </c:pt>
                <c:pt idx="1008">
                  <c:v>44477</c:v>
                </c:pt>
                <c:pt idx="1009">
                  <c:v>44476</c:v>
                </c:pt>
                <c:pt idx="1010">
                  <c:v>44475</c:v>
                </c:pt>
                <c:pt idx="1011">
                  <c:v>44474</c:v>
                </c:pt>
                <c:pt idx="1012">
                  <c:v>44473</c:v>
                </c:pt>
                <c:pt idx="1013">
                  <c:v>44470</c:v>
                </c:pt>
                <c:pt idx="1014">
                  <c:v>44469</c:v>
                </c:pt>
                <c:pt idx="1015">
                  <c:v>44468</c:v>
                </c:pt>
                <c:pt idx="1016">
                  <c:v>44467</c:v>
                </c:pt>
                <c:pt idx="1017">
                  <c:v>44466</c:v>
                </c:pt>
                <c:pt idx="1018">
                  <c:v>44463</c:v>
                </c:pt>
                <c:pt idx="1019">
                  <c:v>44462</c:v>
                </c:pt>
                <c:pt idx="1020">
                  <c:v>44461</c:v>
                </c:pt>
                <c:pt idx="1021">
                  <c:v>44460</c:v>
                </c:pt>
                <c:pt idx="1022">
                  <c:v>44459</c:v>
                </c:pt>
                <c:pt idx="1023">
                  <c:v>44456</c:v>
                </c:pt>
                <c:pt idx="1024">
                  <c:v>44455</c:v>
                </c:pt>
                <c:pt idx="1025">
                  <c:v>44454</c:v>
                </c:pt>
                <c:pt idx="1026">
                  <c:v>44453</c:v>
                </c:pt>
                <c:pt idx="1027">
                  <c:v>44452</c:v>
                </c:pt>
                <c:pt idx="1028">
                  <c:v>44448</c:v>
                </c:pt>
                <c:pt idx="1029">
                  <c:v>44447</c:v>
                </c:pt>
                <c:pt idx="1030">
                  <c:v>44446</c:v>
                </c:pt>
                <c:pt idx="1031">
                  <c:v>44445</c:v>
                </c:pt>
                <c:pt idx="1032">
                  <c:v>44442</c:v>
                </c:pt>
                <c:pt idx="1033">
                  <c:v>44441</c:v>
                </c:pt>
                <c:pt idx="1034">
                  <c:v>44440</c:v>
                </c:pt>
                <c:pt idx="1035">
                  <c:v>44439</c:v>
                </c:pt>
                <c:pt idx="1036">
                  <c:v>44438</c:v>
                </c:pt>
                <c:pt idx="1037">
                  <c:v>44435</c:v>
                </c:pt>
                <c:pt idx="1038">
                  <c:v>44434</c:v>
                </c:pt>
                <c:pt idx="1039">
                  <c:v>44433</c:v>
                </c:pt>
                <c:pt idx="1040">
                  <c:v>44432</c:v>
                </c:pt>
                <c:pt idx="1041">
                  <c:v>44431</c:v>
                </c:pt>
                <c:pt idx="1042">
                  <c:v>44428</c:v>
                </c:pt>
                <c:pt idx="1043">
                  <c:v>44426</c:v>
                </c:pt>
                <c:pt idx="1044">
                  <c:v>44425</c:v>
                </c:pt>
                <c:pt idx="1045">
                  <c:v>44424</c:v>
                </c:pt>
                <c:pt idx="1046">
                  <c:v>44421</c:v>
                </c:pt>
                <c:pt idx="1047">
                  <c:v>44420</c:v>
                </c:pt>
                <c:pt idx="1048">
                  <c:v>44419</c:v>
                </c:pt>
                <c:pt idx="1049">
                  <c:v>44418</c:v>
                </c:pt>
                <c:pt idx="1050">
                  <c:v>44417</c:v>
                </c:pt>
                <c:pt idx="1051">
                  <c:v>44414</c:v>
                </c:pt>
                <c:pt idx="1052">
                  <c:v>44413</c:v>
                </c:pt>
                <c:pt idx="1053">
                  <c:v>44412</c:v>
                </c:pt>
                <c:pt idx="1054">
                  <c:v>44411</c:v>
                </c:pt>
                <c:pt idx="1055">
                  <c:v>44410</c:v>
                </c:pt>
                <c:pt idx="1056">
                  <c:v>44407</c:v>
                </c:pt>
                <c:pt idx="1057">
                  <c:v>44406</c:v>
                </c:pt>
                <c:pt idx="1058">
                  <c:v>44405</c:v>
                </c:pt>
                <c:pt idx="1059">
                  <c:v>44404</c:v>
                </c:pt>
                <c:pt idx="1060">
                  <c:v>44403</c:v>
                </c:pt>
                <c:pt idx="1061">
                  <c:v>44400</c:v>
                </c:pt>
                <c:pt idx="1062">
                  <c:v>44399</c:v>
                </c:pt>
                <c:pt idx="1063">
                  <c:v>44397</c:v>
                </c:pt>
                <c:pt idx="1064">
                  <c:v>44396</c:v>
                </c:pt>
                <c:pt idx="1065">
                  <c:v>44393</c:v>
                </c:pt>
                <c:pt idx="1066">
                  <c:v>44392</c:v>
                </c:pt>
                <c:pt idx="1067">
                  <c:v>44391</c:v>
                </c:pt>
                <c:pt idx="1068">
                  <c:v>44390</c:v>
                </c:pt>
                <c:pt idx="1069">
                  <c:v>44389</c:v>
                </c:pt>
                <c:pt idx="1070">
                  <c:v>44386</c:v>
                </c:pt>
                <c:pt idx="1071">
                  <c:v>44385</c:v>
                </c:pt>
                <c:pt idx="1072">
                  <c:v>44384</c:v>
                </c:pt>
                <c:pt idx="1073">
                  <c:v>44383</c:v>
                </c:pt>
                <c:pt idx="1074">
                  <c:v>44382</c:v>
                </c:pt>
                <c:pt idx="1075">
                  <c:v>44379</c:v>
                </c:pt>
                <c:pt idx="1076">
                  <c:v>44378</c:v>
                </c:pt>
                <c:pt idx="1077">
                  <c:v>44377</c:v>
                </c:pt>
                <c:pt idx="1078">
                  <c:v>44376</c:v>
                </c:pt>
                <c:pt idx="1079">
                  <c:v>44375</c:v>
                </c:pt>
                <c:pt idx="1080">
                  <c:v>44372</c:v>
                </c:pt>
                <c:pt idx="1081">
                  <c:v>44371</c:v>
                </c:pt>
                <c:pt idx="1082">
                  <c:v>44370</c:v>
                </c:pt>
                <c:pt idx="1083">
                  <c:v>44369</c:v>
                </c:pt>
                <c:pt idx="1084">
                  <c:v>44368</c:v>
                </c:pt>
                <c:pt idx="1085">
                  <c:v>44365</c:v>
                </c:pt>
                <c:pt idx="1086">
                  <c:v>44364</c:v>
                </c:pt>
                <c:pt idx="1087">
                  <c:v>44363</c:v>
                </c:pt>
                <c:pt idx="1088">
                  <c:v>44362</c:v>
                </c:pt>
                <c:pt idx="1089">
                  <c:v>44361</c:v>
                </c:pt>
                <c:pt idx="1090">
                  <c:v>44358</c:v>
                </c:pt>
                <c:pt idx="1091">
                  <c:v>44357</c:v>
                </c:pt>
                <c:pt idx="1092">
                  <c:v>44356</c:v>
                </c:pt>
                <c:pt idx="1093">
                  <c:v>44355</c:v>
                </c:pt>
                <c:pt idx="1094">
                  <c:v>44354</c:v>
                </c:pt>
                <c:pt idx="1095">
                  <c:v>44351</c:v>
                </c:pt>
                <c:pt idx="1096">
                  <c:v>44350</c:v>
                </c:pt>
                <c:pt idx="1097">
                  <c:v>44349</c:v>
                </c:pt>
                <c:pt idx="1098">
                  <c:v>44348</c:v>
                </c:pt>
                <c:pt idx="1099">
                  <c:v>44347</c:v>
                </c:pt>
                <c:pt idx="1100">
                  <c:v>44344</c:v>
                </c:pt>
                <c:pt idx="1101">
                  <c:v>44343</c:v>
                </c:pt>
                <c:pt idx="1102">
                  <c:v>44342</c:v>
                </c:pt>
                <c:pt idx="1103">
                  <c:v>44341</c:v>
                </c:pt>
                <c:pt idx="1104">
                  <c:v>44340</c:v>
                </c:pt>
                <c:pt idx="1105">
                  <c:v>44337</c:v>
                </c:pt>
                <c:pt idx="1106">
                  <c:v>44336</c:v>
                </c:pt>
                <c:pt idx="1107">
                  <c:v>44335</c:v>
                </c:pt>
                <c:pt idx="1108">
                  <c:v>44334</c:v>
                </c:pt>
                <c:pt idx="1109">
                  <c:v>44333</c:v>
                </c:pt>
                <c:pt idx="1110">
                  <c:v>44330</c:v>
                </c:pt>
                <c:pt idx="1111">
                  <c:v>44328</c:v>
                </c:pt>
                <c:pt idx="1112">
                  <c:v>44327</c:v>
                </c:pt>
                <c:pt idx="1113">
                  <c:v>44326</c:v>
                </c:pt>
                <c:pt idx="1114">
                  <c:v>44323</c:v>
                </c:pt>
                <c:pt idx="1115">
                  <c:v>44322</c:v>
                </c:pt>
                <c:pt idx="1116">
                  <c:v>44321</c:v>
                </c:pt>
                <c:pt idx="1117">
                  <c:v>44320</c:v>
                </c:pt>
                <c:pt idx="1118">
                  <c:v>44319</c:v>
                </c:pt>
                <c:pt idx="1119">
                  <c:v>44316</c:v>
                </c:pt>
                <c:pt idx="1120">
                  <c:v>44315</c:v>
                </c:pt>
                <c:pt idx="1121">
                  <c:v>44314</c:v>
                </c:pt>
                <c:pt idx="1122">
                  <c:v>44313</c:v>
                </c:pt>
                <c:pt idx="1123">
                  <c:v>44312</c:v>
                </c:pt>
                <c:pt idx="1124">
                  <c:v>44309</c:v>
                </c:pt>
                <c:pt idx="1125">
                  <c:v>44308</c:v>
                </c:pt>
                <c:pt idx="1126">
                  <c:v>44306</c:v>
                </c:pt>
                <c:pt idx="1127">
                  <c:v>44305</c:v>
                </c:pt>
                <c:pt idx="1128">
                  <c:v>44302</c:v>
                </c:pt>
                <c:pt idx="1129">
                  <c:v>44301</c:v>
                </c:pt>
                <c:pt idx="1130">
                  <c:v>44299</c:v>
                </c:pt>
                <c:pt idx="1131">
                  <c:v>44298</c:v>
                </c:pt>
                <c:pt idx="1132">
                  <c:v>44295</c:v>
                </c:pt>
                <c:pt idx="1133">
                  <c:v>44294</c:v>
                </c:pt>
                <c:pt idx="1134">
                  <c:v>44293</c:v>
                </c:pt>
                <c:pt idx="1135">
                  <c:v>44292</c:v>
                </c:pt>
                <c:pt idx="1136">
                  <c:v>44291</c:v>
                </c:pt>
                <c:pt idx="1137">
                  <c:v>44287</c:v>
                </c:pt>
                <c:pt idx="1138">
                  <c:v>44286</c:v>
                </c:pt>
                <c:pt idx="1139">
                  <c:v>44285</c:v>
                </c:pt>
                <c:pt idx="1140">
                  <c:v>44281</c:v>
                </c:pt>
                <c:pt idx="1141">
                  <c:v>44280</c:v>
                </c:pt>
                <c:pt idx="1142">
                  <c:v>44279</c:v>
                </c:pt>
                <c:pt idx="1143">
                  <c:v>44278</c:v>
                </c:pt>
                <c:pt idx="1144">
                  <c:v>44277</c:v>
                </c:pt>
                <c:pt idx="1145">
                  <c:v>44274</c:v>
                </c:pt>
                <c:pt idx="1146">
                  <c:v>44273</c:v>
                </c:pt>
                <c:pt idx="1147">
                  <c:v>44272</c:v>
                </c:pt>
                <c:pt idx="1148">
                  <c:v>44271</c:v>
                </c:pt>
                <c:pt idx="1149">
                  <c:v>44270</c:v>
                </c:pt>
                <c:pt idx="1150">
                  <c:v>44267</c:v>
                </c:pt>
                <c:pt idx="1151">
                  <c:v>44265</c:v>
                </c:pt>
                <c:pt idx="1152">
                  <c:v>44264</c:v>
                </c:pt>
                <c:pt idx="1153">
                  <c:v>44263</c:v>
                </c:pt>
                <c:pt idx="1154">
                  <c:v>44260</c:v>
                </c:pt>
                <c:pt idx="1155">
                  <c:v>44259</c:v>
                </c:pt>
                <c:pt idx="1156">
                  <c:v>44258</c:v>
                </c:pt>
                <c:pt idx="1157">
                  <c:v>44257</c:v>
                </c:pt>
                <c:pt idx="1158">
                  <c:v>44256</c:v>
                </c:pt>
                <c:pt idx="1159">
                  <c:v>44253</c:v>
                </c:pt>
                <c:pt idx="1160">
                  <c:v>44252</c:v>
                </c:pt>
                <c:pt idx="1161">
                  <c:v>44251</c:v>
                </c:pt>
                <c:pt idx="1162">
                  <c:v>44250</c:v>
                </c:pt>
                <c:pt idx="1163">
                  <c:v>44249</c:v>
                </c:pt>
                <c:pt idx="1164">
                  <c:v>44246</c:v>
                </c:pt>
                <c:pt idx="1165">
                  <c:v>44245</c:v>
                </c:pt>
                <c:pt idx="1166">
                  <c:v>44244</c:v>
                </c:pt>
                <c:pt idx="1167">
                  <c:v>44243</c:v>
                </c:pt>
                <c:pt idx="1168">
                  <c:v>44242</c:v>
                </c:pt>
                <c:pt idx="1169">
                  <c:v>44239</c:v>
                </c:pt>
                <c:pt idx="1170">
                  <c:v>44238</c:v>
                </c:pt>
                <c:pt idx="1171">
                  <c:v>44237</c:v>
                </c:pt>
                <c:pt idx="1172">
                  <c:v>44236</c:v>
                </c:pt>
                <c:pt idx="1173">
                  <c:v>44235</c:v>
                </c:pt>
                <c:pt idx="1174">
                  <c:v>44232</c:v>
                </c:pt>
                <c:pt idx="1175">
                  <c:v>44231</c:v>
                </c:pt>
                <c:pt idx="1176">
                  <c:v>44230</c:v>
                </c:pt>
                <c:pt idx="1177">
                  <c:v>44229</c:v>
                </c:pt>
                <c:pt idx="1178">
                  <c:v>44228</c:v>
                </c:pt>
                <c:pt idx="1179">
                  <c:v>44225</c:v>
                </c:pt>
                <c:pt idx="1180">
                  <c:v>44224</c:v>
                </c:pt>
                <c:pt idx="1181">
                  <c:v>44223</c:v>
                </c:pt>
                <c:pt idx="1182">
                  <c:v>44221</c:v>
                </c:pt>
                <c:pt idx="1183">
                  <c:v>44218</c:v>
                </c:pt>
                <c:pt idx="1184">
                  <c:v>44217</c:v>
                </c:pt>
                <c:pt idx="1185">
                  <c:v>44216</c:v>
                </c:pt>
                <c:pt idx="1186">
                  <c:v>44215</c:v>
                </c:pt>
                <c:pt idx="1187">
                  <c:v>44214</c:v>
                </c:pt>
                <c:pt idx="1188">
                  <c:v>44211</c:v>
                </c:pt>
                <c:pt idx="1189">
                  <c:v>44210</c:v>
                </c:pt>
                <c:pt idx="1190">
                  <c:v>44209</c:v>
                </c:pt>
                <c:pt idx="1191">
                  <c:v>44208</c:v>
                </c:pt>
                <c:pt idx="1192">
                  <c:v>44207</c:v>
                </c:pt>
                <c:pt idx="1193">
                  <c:v>44204</c:v>
                </c:pt>
                <c:pt idx="1194">
                  <c:v>44203</c:v>
                </c:pt>
                <c:pt idx="1195">
                  <c:v>44202</c:v>
                </c:pt>
                <c:pt idx="1196">
                  <c:v>44201</c:v>
                </c:pt>
                <c:pt idx="1197">
                  <c:v>44200</c:v>
                </c:pt>
                <c:pt idx="1198">
                  <c:v>44197</c:v>
                </c:pt>
                <c:pt idx="1199">
                  <c:v>44196</c:v>
                </c:pt>
                <c:pt idx="1200">
                  <c:v>44195</c:v>
                </c:pt>
                <c:pt idx="1201">
                  <c:v>44194</c:v>
                </c:pt>
                <c:pt idx="1202">
                  <c:v>44193</c:v>
                </c:pt>
                <c:pt idx="1203">
                  <c:v>44189</c:v>
                </c:pt>
                <c:pt idx="1204">
                  <c:v>44188</c:v>
                </c:pt>
                <c:pt idx="1205">
                  <c:v>44187</c:v>
                </c:pt>
                <c:pt idx="1206">
                  <c:v>44186</c:v>
                </c:pt>
                <c:pt idx="1207">
                  <c:v>44183</c:v>
                </c:pt>
                <c:pt idx="1208">
                  <c:v>44182</c:v>
                </c:pt>
                <c:pt idx="1209">
                  <c:v>44181</c:v>
                </c:pt>
                <c:pt idx="1210">
                  <c:v>44180</c:v>
                </c:pt>
                <c:pt idx="1211">
                  <c:v>44179</c:v>
                </c:pt>
                <c:pt idx="1212">
                  <c:v>44176</c:v>
                </c:pt>
                <c:pt idx="1213">
                  <c:v>44175</c:v>
                </c:pt>
                <c:pt idx="1214">
                  <c:v>44174</c:v>
                </c:pt>
                <c:pt idx="1215">
                  <c:v>44173</c:v>
                </c:pt>
                <c:pt idx="1216">
                  <c:v>44172</c:v>
                </c:pt>
                <c:pt idx="1217">
                  <c:v>44169</c:v>
                </c:pt>
                <c:pt idx="1218">
                  <c:v>44168</c:v>
                </c:pt>
                <c:pt idx="1219">
                  <c:v>44167</c:v>
                </c:pt>
                <c:pt idx="1220">
                  <c:v>44166</c:v>
                </c:pt>
                <c:pt idx="1221">
                  <c:v>44162</c:v>
                </c:pt>
                <c:pt idx="1222">
                  <c:v>44161</c:v>
                </c:pt>
                <c:pt idx="1223">
                  <c:v>44160</c:v>
                </c:pt>
                <c:pt idx="1224">
                  <c:v>44159</c:v>
                </c:pt>
                <c:pt idx="1225">
                  <c:v>44158</c:v>
                </c:pt>
                <c:pt idx="1226">
                  <c:v>44155</c:v>
                </c:pt>
                <c:pt idx="1227">
                  <c:v>44154</c:v>
                </c:pt>
                <c:pt idx="1228">
                  <c:v>44153</c:v>
                </c:pt>
                <c:pt idx="1229">
                  <c:v>44152</c:v>
                </c:pt>
                <c:pt idx="1230">
                  <c:v>44149</c:v>
                </c:pt>
                <c:pt idx="1231">
                  <c:v>44148</c:v>
                </c:pt>
                <c:pt idx="1232">
                  <c:v>44147</c:v>
                </c:pt>
                <c:pt idx="1233">
                  <c:v>44146</c:v>
                </c:pt>
                <c:pt idx="1234">
                  <c:v>44145</c:v>
                </c:pt>
                <c:pt idx="1235">
                  <c:v>44144</c:v>
                </c:pt>
                <c:pt idx="1236">
                  <c:v>44141</c:v>
                </c:pt>
                <c:pt idx="1237">
                  <c:v>44140</c:v>
                </c:pt>
                <c:pt idx="1238">
                  <c:v>44139</c:v>
                </c:pt>
                <c:pt idx="1239">
                  <c:v>44138</c:v>
                </c:pt>
                <c:pt idx="1240">
                  <c:v>44137</c:v>
                </c:pt>
                <c:pt idx="1241">
                  <c:v>44134</c:v>
                </c:pt>
                <c:pt idx="1242">
                  <c:v>44133</c:v>
                </c:pt>
                <c:pt idx="1243">
                  <c:v>44132</c:v>
                </c:pt>
                <c:pt idx="1244">
                  <c:v>44131</c:v>
                </c:pt>
                <c:pt idx="1245">
                  <c:v>44130</c:v>
                </c:pt>
                <c:pt idx="1246">
                  <c:v>44127</c:v>
                </c:pt>
                <c:pt idx="1247">
                  <c:v>44126</c:v>
                </c:pt>
                <c:pt idx="1248">
                  <c:v>44125</c:v>
                </c:pt>
                <c:pt idx="1249">
                  <c:v>44124</c:v>
                </c:pt>
                <c:pt idx="1250">
                  <c:v>44123</c:v>
                </c:pt>
                <c:pt idx="1251">
                  <c:v>44120</c:v>
                </c:pt>
                <c:pt idx="1252">
                  <c:v>44119</c:v>
                </c:pt>
                <c:pt idx="1253">
                  <c:v>44118</c:v>
                </c:pt>
                <c:pt idx="1254">
                  <c:v>44117</c:v>
                </c:pt>
                <c:pt idx="1255">
                  <c:v>44116</c:v>
                </c:pt>
                <c:pt idx="1256">
                  <c:v>44113</c:v>
                </c:pt>
                <c:pt idx="1257">
                  <c:v>44112</c:v>
                </c:pt>
                <c:pt idx="1258">
                  <c:v>44111</c:v>
                </c:pt>
                <c:pt idx="1259">
                  <c:v>44110</c:v>
                </c:pt>
                <c:pt idx="1260">
                  <c:v>44109</c:v>
                </c:pt>
                <c:pt idx="1261">
                  <c:v>44105</c:v>
                </c:pt>
                <c:pt idx="1262">
                  <c:v>44104</c:v>
                </c:pt>
                <c:pt idx="1263">
                  <c:v>44103</c:v>
                </c:pt>
                <c:pt idx="1264">
                  <c:v>44102</c:v>
                </c:pt>
                <c:pt idx="1265">
                  <c:v>44099</c:v>
                </c:pt>
                <c:pt idx="1266">
                  <c:v>44098</c:v>
                </c:pt>
                <c:pt idx="1267">
                  <c:v>44097</c:v>
                </c:pt>
                <c:pt idx="1268">
                  <c:v>44096</c:v>
                </c:pt>
                <c:pt idx="1269">
                  <c:v>44095</c:v>
                </c:pt>
                <c:pt idx="1270">
                  <c:v>44092</c:v>
                </c:pt>
                <c:pt idx="1271">
                  <c:v>44091</c:v>
                </c:pt>
                <c:pt idx="1272">
                  <c:v>44090</c:v>
                </c:pt>
                <c:pt idx="1273">
                  <c:v>44089</c:v>
                </c:pt>
                <c:pt idx="1274">
                  <c:v>44088</c:v>
                </c:pt>
                <c:pt idx="1275">
                  <c:v>44085</c:v>
                </c:pt>
                <c:pt idx="1276">
                  <c:v>44084</c:v>
                </c:pt>
                <c:pt idx="1277">
                  <c:v>44083</c:v>
                </c:pt>
                <c:pt idx="1278">
                  <c:v>44082</c:v>
                </c:pt>
                <c:pt idx="1279">
                  <c:v>44081</c:v>
                </c:pt>
                <c:pt idx="1280">
                  <c:v>44078</c:v>
                </c:pt>
                <c:pt idx="1281">
                  <c:v>44077</c:v>
                </c:pt>
                <c:pt idx="1282">
                  <c:v>44076</c:v>
                </c:pt>
                <c:pt idx="1283">
                  <c:v>44075</c:v>
                </c:pt>
                <c:pt idx="1284">
                  <c:v>44074</c:v>
                </c:pt>
                <c:pt idx="1285">
                  <c:v>44071</c:v>
                </c:pt>
                <c:pt idx="1286">
                  <c:v>44070</c:v>
                </c:pt>
                <c:pt idx="1287">
                  <c:v>44069</c:v>
                </c:pt>
                <c:pt idx="1288">
                  <c:v>44068</c:v>
                </c:pt>
                <c:pt idx="1289">
                  <c:v>44067</c:v>
                </c:pt>
                <c:pt idx="1290">
                  <c:v>44064</c:v>
                </c:pt>
                <c:pt idx="1291">
                  <c:v>44063</c:v>
                </c:pt>
                <c:pt idx="1292">
                  <c:v>44062</c:v>
                </c:pt>
                <c:pt idx="1293">
                  <c:v>44061</c:v>
                </c:pt>
                <c:pt idx="1294">
                  <c:v>44060</c:v>
                </c:pt>
                <c:pt idx="1295">
                  <c:v>44057</c:v>
                </c:pt>
                <c:pt idx="1296">
                  <c:v>44056</c:v>
                </c:pt>
                <c:pt idx="1297">
                  <c:v>44055</c:v>
                </c:pt>
                <c:pt idx="1298">
                  <c:v>44054</c:v>
                </c:pt>
                <c:pt idx="1299">
                  <c:v>44053</c:v>
                </c:pt>
                <c:pt idx="1300">
                  <c:v>44050</c:v>
                </c:pt>
                <c:pt idx="1301">
                  <c:v>44049</c:v>
                </c:pt>
                <c:pt idx="1302">
                  <c:v>44048</c:v>
                </c:pt>
                <c:pt idx="1303">
                  <c:v>44047</c:v>
                </c:pt>
                <c:pt idx="1304">
                  <c:v>44046</c:v>
                </c:pt>
                <c:pt idx="1305">
                  <c:v>44043</c:v>
                </c:pt>
                <c:pt idx="1306">
                  <c:v>44042</c:v>
                </c:pt>
                <c:pt idx="1307">
                  <c:v>44041</c:v>
                </c:pt>
                <c:pt idx="1308">
                  <c:v>44040</c:v>
                </c:pt>
                <c:pt idx="1309">
                  <c:v>44039</c:v>
                </c:pt>
                <c:pt idx="1310">
                  <c:v>44036</c:v>
                </c:pt>
                <c:pt idx="1311">
                  <c:v>44035</c:v>
                </c:pt>
                <c:pt idx="1312">
                  <c:v>44034</c:v>
                </c:pt>
                <c:pt idx="1313">
                  <c:v>44033</c:v>
                </c:pt>
                <c:pt idx="1314">
                  <c:v>44032</c:v>
                </c:pt>
                <c:pt idx="1315">
                  <c:v>44029</c:v>
                </c:pt>
                <c:pt idx="1316">
                  <c:v>44028</c:v>
                </c:pt>
                <c:pt idx="1317">
                  <c:v>44027</c:v>
                </c:pt>
                <c:pt idx="1318">
                  <c:v>44026</c:v>
                </c:pt>
                <c:pt idx="1319">
                  <c:v>44025</c:v>
                </c:pt>
                <c:pt idx="1320">
                  <c:v>44022</c:v>
                </c:pt>
                <c:pt idx="1321">
                  <c:v>44021</c:v>
                </c:pt>
                <c:pt idx="1322">
                  <c:v>44020</c:v>
                </c:pt>
                <c:pt idx="1323">
                  <c:v>44019</c:v>
                </c:pt>
                <c:pt idx="1324">
                  <c:v>44018</c:v>
                </c:pt>
                <c:pt idx="1325">
                  <c:v>44015</c:v>
                </c:pt>
                <c:pt idx="1326">
                  <c:v>44014</c:v>
                </c:pt>
                <c:pt idx="1327">
                  <c:v>44013</c:v>
                </c:pt>
                <c:pt idx="1328">
                  <c:v>44012</c:v>
                </c:pt>
                <c:pt idx="1329">
                  <c:v>44011</c:v>
                </c:pt>
                <c:pt idx="1330">
                  <c:v>44008</c:v>
                </c:pt>
                <c:pt idx="1331">
                  <c:v>44007</c:v>
                </c:pt>
                <c:pt idx="1332">
                  <c:v>44006</c:v>
                </c:pt>
                <c:pt idx="1333">
                  <c:v>44005</c:v>
                </c:pt>
                <c:pt idx="1334">
                  <c:v>44004</c:v>
                </c:pt>
                <c:pt idx="1335">
                  <c:v>44001</c:v>
                </c:pt>
                <c:pt idx="1336">
                  <c:v>44000</c:v>
                </c:pt>
                <c:pt idx="1337">
                  <c:v>43999</c:v>
                </c:pt>
                <c:pt idx="1338">
                  <c:v>43998</c:v>
                </c:pt>
                <c:pt idx="1339">
                  <c:v>43997</c:v>
                </c:pt>
                <c:pt idx="1340">
                  <c:v>43994</c:v>
                </c:pt>
                <c:pt idx="1341">
                  <c:v>43993</c:v>
                </c:pt>
                <c:pt idx="1342">
                  <c:v>43992</c:v>
                </c:pt>
                <c:pt idx="1343">
                  <c:v>43991</c:v>
                </c:pt>
                <c:pt idx="1344">
                  <c:v>43990</c:v>
                </c:pt>
                <c:pt idx="1345">
                  <c:v>43987</c:v>
                </c:pt>
                <c:pt idx="1346">
                  <c:v>43986</c:v>
                </c:pt>
                <c:pt idx="1347">
                  <c:v>43985</c:v>
                </c:pt>
                <c:pt idx="1348">
                  <c:v>43984</c:v>
                </c:pt>
                <c:pt idx="1349">
                  <c:v>43983</c:v>
                </c:pt>
                <c:pt idx="1350">
                  <c:v>43980</c:v>
                </c:pt>
                <c:pt idx="1351">
                  <c:v>43979</c:v>
                </c:pt>
                <c:pt idx="1352">
                  <c:v>43978</c:v>
                </c:pt>
                <c:pt idx="1353">
                  <c:v>43977</c:v>
                </c:pt>
                <c:pt idx="1354">
                  <c:v>43973</c:v>
                </c:pt>
                <c:pt idx="1355">
                  <c:v>43972</c:v>
                </c:pt>
                <c:pt idx="1356">
                  <c:v>43971</c:v>
                </c:pt>
                <c:pt idx="1357">
                  <c:v>43970</c:v>
                </c:pt>
                <c:pt idx="1358">
                  <c:v>43969</c:v>
                </c:pt>
                <c:pt idx="1359">
                  <c:v>43966</c:v>
                </c:pt>
                <c:pt idx="1360">
                  <c:v>43965</c:v>
                </c:pt>
                <c:pt idx="1361">
                  <c:v>43964</c:v>
                </c:pt>
                <c:pt idx="1362">
                  <c:v>43963</c:v>
                </c:pt>
                <c:pt idx="1363">
                  <c:v>43962</c:v>
                </c:pt>
                <c:pt idx="1364">
                  <c:v>43959</c:v>
                </c:pt>
                <c:pt idx="1365">
                  <c:v>43958</c:v>
                </c:pt>
                <c:pt idx="1366">
                  <c:v>43957</c:v>
                </c:pt>
                <c:pt idx="1367">
                  <c:v>43956</c:v>
                </c:pt>
                <c:pt idx="1368">
                  <c:v>43955</c:v>
                </c:pt>
                <c:pt idx="1369">
                  <c:v>43951</c:v>
                </c:pt>
                <c:pt idx="1370">
                  <c:v>43950</c:v>
                </c:pt>
                <c:pt idx="1371">
                  <c:v>43949</c:v>
                </c:pt>
                <c:pt idx="1372">
                  <c:v>43948</c:v>
                </c:pt>
                <c:pt idx="1373">
                  <c:v>43945</c:v>
                </c:pt>
                <c:pt idx="1374">
                  <c:v>43944</c:v>
                </c:pt>
                <c:pt idx="1375">
                  <c:v>43943</c:v>
                </c:pt>
                <c:pt idx="1376">
                  <c:v>43942</c:v>
                </c:pt>
                <c:pt idx="1377">
                  <c:v>43941</c:v>
                </c:pt>
                <c:pt idx="1378">
                  <c:v>43938</c:v>
                </c:pt>
                <c:pt idx="1379">
                  <c:v>43937</c:v>
                </c:pt>
                <c:pt idx="1380">
                  <c:v>43936</c:v>
                </c:pt>
                <c:pt idx="1381">
                  <c:v>43934</c:v>
                </c:pt>
                <c:pt idx="1382">
                  <c:v>43930</c:v>
                </c:pt>
                <c:pt idx="1383">
                  <c:v>43929</c:v>
                </c:pt>
                <c:pt idx="1384">
                  <c:v>43928</c:v>
                </c:pt>
                <c:pt idx="1385">
                  <c:v>43924</c:v>
                </c:pt>
                <c:pt idx="1386">
                  <c:v>43922</c:v>
                </c:pt>
                <c:pt idx="1387">
                  <c:v>43921</c:v>
                </c:pt>
                <c:pt idx="1388">
                  <c:v>43920</c:v>
                </c:pt>
                <c:pt idx="1389">
                  <c:v>43917</c:v>
                </c:pt>
                <c:pt idx="1390">
                  <c:v>43916</c:v>
                </c:pt>
                <c:pt idx="1391">
                  <c:v>43915</c:v>
                </c:pt>
                <c:pt idx="1392">
                  <c:v>43914</c:v>
                </c:pt>
                <c:pt idx="1393">
                  <c:v>43913</c:v>
                </c:pt>
                <c:pt idx="1394">
                  <c:v>43910</c:v>
                </c:pt>
                <c:pt idx="1395">
                  <c:v>43909</c:v>
                </c:pt>
                <c:pt idx="1396">
                  <c:v>43908</c:v>
                </c:pt>
                <c:pt idx="1397">
                  <c:v>43907</c:v>
                </c:pt>
                <c:pt idx="1398">
                  <c:v>43906</c:v>
                </c:pt>
                <c:pt idx="1399">
                  <c:v>43903</c:v>
                </c:pt>
                <c:pt idx="1400">
                  <c:v>43902</c:v>
                </c:pt>
                <c:pt idx="1401">
                  <c:v>43901</c:v>
                </c:pt>
                <c:pt idx="1402">
                  <c:v>43899</c:v>
                </c:pt>
                <c:pt idx="1403">
                  <c:v>43896</c:v>
                </c:pt>
                <c:pt idx="1404">
                  <c:v>43895</c:v>
                </c:pt>
                <c:pt idx="1405">
                  <c:v>43894</c:v>
                </c:pt>
                <c:pt idx="1406">
                  <c:v>43893</c:v>
                </c:pt>
                <c:pt idx="1407">
                  <c:v>43892</c:v>
                </c:pt>
                <c:pt idx="1408">
                  <c:v>43889</c:v>
                </c:pt>
                <c:pt idx="1409">
                  <c:v>43888</c:v>
                </c:pt>
                <c:pt idx="1410">
                  <c:v>43887</c:v>
                </c:pt>
                <c:pt idx="1411">
                  <c:v>43886</c:v>
                </c:pt>
                <c:pt idx="1412">
                  <c:v>43885</c:v>
                </c:pt>
                <c:pt idx="1413">
                  <c:v>43881</c:v>
                </c:pt>
                <c:pt idx="1414">
                  <c:v>43880</c:v>
                </c:pt>
                <c:pt idx="1415">
                  <c:v>43879</c:v>
                </c:pt>
                <c:pt idx="1416">
                  <c:v>43878</c:v>
                </c:pt>
                <c:pt idx="1417">
                  <c:v>43875</c:v>
                </c:pt>
                <c:pt idx="1418">
                  <c:v>43874</c:v>
                </c:pt>
                <c:pt idx="1419">
                  <c:v>43873</c:v>
                </c:pt>
                <c:pt idx="1420">
                  <c:v>43872</c:v>
                </c:pt>
                <c:pt idx="1421">
                  <c:v>43871</c:v>
                </c:pt>
                <c:pt idx="1422">
                  <c:v>43868</c:v>
                </c:pt>
                <c:pt idx="1423">
                  <c:v>43867</c:v>
                </c:pt>
                <c:pt idx="1424">
                  <c:v>43866</c:v>
                </c:pt>
                <c:pt idx="1425">
                  <c:v>43865</c:v>
                </c:pt>
                <c:pt idx="1426">
                  <c:v>43864</c:v>
                </c:pt>
                <c:pt idx="1427">
                  <c:v>43862</c:v>
                </c:pt>
                <c:pt idx="1428">
                  <c:v>43861</c:v>
                </c:pt>
                <c:pt idx="1429">
                  <c:v>43860</c:v>
                </c:pt>
                <c:pt idx="1430">
                  <c:v>43859</c:v>
                </c:pt>
                <c:pt idx="1431">
                  <c:v>43858</c:v>
                </c:pt>
                <c:pt idx="1432">
                  <c:v>43857</c:v>
                </c:pt>
                <c:pt idx="1433">
                  <c:v>43854</c:v>
                </c:pt>
                <c:pt idx="1434">
                  <c:v>43853</c:v>
                </c:pt>
                <c:pt idx="1435">
                  <c:v>43852</c:v>
                </c:pt>
                <c:pt idx="1436">
                  <c:v>43851</c:v>
                </c:pt>
                <c:pt idx="1437">
                  <c:v>43850</c:v>
                </c:pt>
                <c:pt idx="1438">
                  <c:v>43847</c:v>
                </c:pt>
                <c:pt idx="1439">
                  <c:v>43846</c:v>
                </c:pt>
                <c:pt idx="1440">
                  <c:v>43845</c:v>
                </c:pt>
                <c:pt idx="1441">
                  <c:v>43844</c:v>
                </c:pt>
                <c:pt idx="1442">
                  <c:v>43843</c:v>
                </c:pt>
                <c:pt idx="1443">
                  <c:v>43840</c:v>
                </c:pt>
                <c:pt idx="1444">
                  <c:v>43839</c:v>
                </c:pt>
                <c:pt idx="1445">
                  <c:v>43838</c:v>
                </c:pt>
                <c:pt idx="1446">
                  <c:v>43837</c:v>
                </c:pt>
                <c:pt idx="1447">
                  <c:v>43836</c:v>
                </c:pt>
                <c:pt idx="1448">
                  <c:v>43833</c:v>
                </c:pt>
                <c:pt idx="1449">
                  <c:v>43832</c:v>
                </c:pt>
                <c:pt idx="1450">
                  <c:v>43831</c:v>
                </c:pt>
                <c:pt idx="1451">
                  <c:v>43830</c:v>
                </c:pt>
                <c:pt idx="1452">
                  <c:v>43829</c:v>
                </c:pt>
                <c:pt idx="1453">
                  <c:v>43826</c:v>
                </c:pt>
                <c:pt idx="1454">
                  <c:v>43825</c:v>
                </c:pt>
                <c:pt idx="1455">
                  <c:v>43823</c:v>
                </c:pt>
                <c:pt idx="1456">
                  <c:v>43822</c:v>
                </c:pt>
                <c:pt idx="1457">
                  <c:v>43819</c:v>
                </c:pt>
                <c:pt idx="1458">
                  <c:v>43818</c:v>
                </c:pt>
                <c:pt idx="1459">
                  <c:v>43817</c:v>
                </c:pt>
                <c:pt idx="1460">
                  <c:v>43816</c:v>
                </c:pt>
                <c:pt idx="1461">
                  <c:v>43815</c:v>
                </c:pt>
                <c:pt idx="1462">
                  <c:v>43812</c:v>
                </c:pt>
                <c:pt idx="1463">
                  <c:v>43811</c:v>
                </c:pt>
                <c:pt idx="1464">
                  <c:v>43810</c:v>
                </c:pt>
                <c:pt idx="1465">
                  <c:v>43809</c:v>
                </c:pt>
                <c:pt idx="1466">
                  <c:v>43808</c:v>
                </c:pt>
                <c:pt idx="1467">
                  <c:v>43805</c:v>
                </c:pt>
                <c:pt idx="1468">
                  <c:v>43804</c:v>
                </c:pt>
                <c:pt idx="1469">
                  <c:v>43803</c:v>
                </c:pt>
                <c:pt idx="1470">
                  <c:v>43802</c:v>
                </c:pt>
                <c:pt idx="1471">
                  <c:v>43801</c:v>
                </c:pt>
                <c:pt idx="1472">
                  <c:v>43798</c:v>
                </c:pt>
                <c:pt idx="1473">
                  <c:v>43797</c:v>
                </c:pt>
                <c:pt idx="1474">
                  <c:v>43796</c:v>
                </c:pt>
                <c:pt idx="1475">
                  <c:v>43795</c:v>
                </c:pt>
                <c:pt idx="1476">
                  <c:v>43794</c:v>
                </c:pt>
                <c:pt idx="1477">
                  <c:v>43791</c:v>
                </c:pt>
                <c:pt idx="1478">
                  <c:v>43790</c:v>
                </c:pt>
                <c:pt idx="1479">
                  <c:v>43789</c:v>
                </c:pt>
                <c:pt idx="1480">
                  <c:v>43788</c:v>
                </c:pt>
                <c:pt idx="1481">
                  <c:v>43787</c:v>
                </c:pt>
                <c:pt idx="1482">
                  <c:v>43784</c:v>
                </c:pt>
                <c:pt idx="1483">
                  <c:v>43783</c:v>
                </c:pt>
                <c:pt idx="1484">
                  <c:v>43782</c:v>
                </c:pt>
                <c:pt idx="1485">
                  <c:v>43780</c:v>
                </c:pt>
                <c:pt idx="1486">
                  <c:v>43777</c:v>
                </c:pt>
                <c:pt idx="1487">
                  <c:v>43776</c:v>
                </c:pt>
                <c:pt idx="1488">
                  <c:v>43775</c:v>
                </c:pt>
                <c:pt idx="1489">
                  <c:v>43774</c:v>
                </c:pt>
                <c:pt idx="1490">
                  <c:v>43773</c:v>
                </c:pt>
                <c:pt idx="1491">
                  <c:v>43770</c:v>
                </c:pt>
                <c:pt idx="1492">
                  <c:v>43769</c:v>
                </c:pt>
                <c:pt idx="1493">
                  <c:v>43768</c:v>
                </c:pt>
                <c:pt idx="1494">
                  <c:v>43767</c:v>
                </c:pt>
                <c:pt idx="1495">
                  <c:v>43765</c:v>
                </c:pt>
                <c:pt idx="1496">
                  <c:v>43763</c:v>
                </c:pt>
                <c:pt idx="1497">
                  <c:v>43762</c:v>
                </c:pt>
                <c:pt idx="1498">
                  <c:v>43761</c:v>
                </c:pt>
                <c:pt idx="1499">
                  <c:v>43760</c:v>
                </c:pt>
                <c:pt idx="1500">
                  <c:v>43756</c:v>
                </c:pt>
                <c:pt idx="1501">
                  <c:v>43755</c:v>
                </c:pt>
                <c:pt idx="1502">
                  <c:v>43754</c:v>
                </c:pt>
                <c:pt idx="1503">
                  <c:v>43753</c:v>
                </c:pt>
                <c:pt idx="1504">
                  <c:v>43752</c:v>
                </c:pt>
                <c:pt idx="1505">
                  <c:v>43749</c:v>
                </c:pt>
                <c:pt idx="1506">
                  <c:v>43748</c:v>
                </c:pt>
                <c:pt idx="1507">
                  <c:v>43747</c:v>
                </c:pt>
                <c:pt idx="1508">
                  <c:v>43745</c:v>
                </c:pt>
                <c:pt idx="1509">
                  <c:v>43742</c:v>
                </c:pt>
                <c:pt idx="1510">
                  <c:v>43741</c:v>
                </c:pt>
                <c:pt idx="1511">
                  <c:v>43739</c:v>
                </c:pt>
                <c:pt idx="1512">
                  <c:v>43738</c:v>
                </c:pt>
                <c:pt idx="1513">
                  <c:v>43735</c:v>
                </c:pt>
                <c:pt idx="1514">
                  <c:v>43734</c:v>
                </c:pt>
                <c:pt idx="1515">
                  <c:v>43733</c:v>
                </c:pt>
                <c:pt idx="1516">
                  <c:v>43732</c:v>
                </c:pt>
                <c:pt idx="1517">
                  <c:v>43731</c:v>
                </c:pt>
                <c:pt idx="1518">
                  <c:v>43728</c:v>
                </c:pt>
                <c:pt idx="1519">
                  <c:v>43727</c:v>
                </c:pt>
                <c:pt idx="1520">
                  <c:v>43726</c:v>
                </c:pt>
                <c:pt idx="1521">
                  <c:v>43725</c:v>
                </c:pt>
                <c:pt idx="1522">
                  <c:v>43724</c:v>
                </c:pt>
                <c:pt idx="1523">
                  <c:v>43721</c:v>
                </c:pt>
                <c:pt idx="1524">
                  <c:v>43720</c:v>
                </c:pt>
                <c:pt idx="1525">
                  <c:v>43719</c:v>
                </c:pt>
                <c:pt idx="1526">
                  <c:v>43717</c:v>
                </c:pt>
                <c:pt idx="1527">
                  <c:v>43714</c:v>
                </c:pt>
                <c:pt idx="1528">
                  <c:v>43713</c:v>
                </c:pt>
                <c:pt idx="1529">
                  <c:v>43712</c:v>
                </c:pt>
                <c:pt idx="1530">
                  <c:v>43711</c:v>
                </c:pt>
                <c:pt idx="1531">
                  <c:v>43707</c:v>
                </c:pt>
                <c:pt idx="1532">
                  <c:v>43706</c:v>
                </c:pt>
                <c:pt idx="1533">
                  <c:v>43705</c:v>
                </c:pt>
                <c:pt idx="1534">
                  <c:v>43704</c:v>
                </c:pt>
                <c:pt idx="1535">
                  <c:v>43703</c:v>
                </c:pt>
                <c:pt idx="1536">
                  <c:v>43700</c:v>
                </c:pt>
                <c:pt idx="1537">
                  <c:v>43699</c:v>
                </c:pt>
                <c:pt idx="1538">
                  <c:v>43698</c:v>
                </c:pt>
                <c:pt idx="1539">
                  <c:v>43697</c:v>
                </c:pt>
                <c:pt idx="1540">
                  <c:v>43696</c:v>
                </c:pt>
                <c:pt idx="1541">
                  <c:v>43693</c:v>
                </c:pt>
                <c:pt idx="1542">
                  <c:v>43691</c:v>
                </c:pt>
                <c:pt idx="1543">
                  <c:v>43690</c:v>
                </c:pt>
                <c:pt idx="1544">
                  <c:v>43686</c:v>
                </c:pt>
                <c:pt idx="1545">
                  <c:v>43685</c:v>
                </c:pt>
                <c:pt idx="1546">
                  <c:v>43684</c:v>
                </c:pt>
                <c:pt idx="1547">
                  <c:v>43683</c:v>
                </c:pt>
                <c:pt idx="1548">
                  <c:v>43682</c:v>
                </c:pt>
                <c:pt idx="1549">
                  <c:v>43679</c:v>
                </c:pt>
                <c:pt idx="1550">
                  <c:v>43678</c:v>
                </c:pt>
                <c:pt idx="1551">
                  <c:v>43677</c:v>
                </c:pt>
                <c:pt idx="1552">
                  <c:v>43676</c:v>
                </c:pt>
                <c:pt idx="1553">
                  <c:v>43675</c:v>
                </c:pt>
                <c:pt idx="1554">
                  <c:v>43672</c:v>
                </c:pt>
                <c:pt idx="1555">
                  <c:v>43671</c:v>
                </c:pt>
                <c:pt idx="1556">
                  <c:v>43670</c:v>
                </c:pt>
                <c:pt idx="1557">
                  <c:v>43669</c:v>
                </c:pt>
                <c:pt idx="1558">
                  <c:v>43668</c:v>
                </c:pt>
                <c:pt idx="1559">
                  <c:v>43665</c:v>
                </c:pt>
                <c:pt idx="1560">
                  <c:v>43664</c:v>
                </c:pt>
                <c:pt idx="1561">
                  <c:v>43663</c:v>
                </c:pt>
                <c:pt idx="1562">
                  <c:v>43662</c:v>
                </c:pt>
                <c:pt idx="1563">
                  <c:v>43661</c:v>
                </c:pt>
                <c:pt idx="1564">
                  <c:v>43658</c:v>
                </c:pt>
                <c:pt idx="1565">
                  <c:v>43657</c:v>
                </c:pt>
                <c:pt idx="1566">
                  <c:v>43656</c:v>
                </c:pt>
                <c:pt idx="1567">
                  <c:v>43655</c:v>
                </c:pt>
                <c:pt idx="1568">
                  <c:v>43654</c:v>
                </c:pt>
                <c:pt idx="1569">
                  <c:v>43651</c:v>
                </c:pt>
                <c:pt idx="1570">
                  <c:v>43650</c:v>
                </c:pt>
                <c:pt idx="1571">
                  <c:v>43649</c:v>
                </c:pt>
                <c:pt idx="1572">
                  <c:v>43648</c:v>
                </c:pt>
                <c:pt idx="1573">
                  <c:v>43647</c:v>
                </c:pt>
                <c:pt idx="1574">
                  <c:v>43644</c:v>
                </c:pt>
                <c:pt idx="1575">
                  <c:v>43643</c:v>
                </c:pt>
                <c:pt idx="1576">
                  <c:v>43642</c:v>
                </c:pt>
                <c:pt idx="1577">
                  <c:v>43641</c:v>
                </c:pt>
                <c:pt idx="1578">
                  <c:v>43640</c:v>
                </c:pt>
                <c:pt idx="1579">
                  <c:v>43637</c:v>
                </c:pt>
                <c:pt idx="1580">
                  <c:v>43636</c:v>
                </c:pt>
                <c:pt idx="1581">
                  <c:v>43635</c:v>
                </c:pt>
                <c:pt idx="1582">
                  <c:v>43634</c:v>
                </c:pt>
                <c:pt idx="1583">
                  <c:v>43633</c:v>
                </c:pt>
                <c:pt idx="1584">
                  <c:v>43630</c:v>
                </c:pt>
                <c:pt idx="1585">
                  <c:v>43629</c:v>
                </c:pt>
                <c:pt idx="1586">
                  <c:v>43628</c:v>
                </c:pt>
                <c:pt idx="1587">
                  <c:v>43627</c:v>
                </c:pt>
                <c:pt idx="1588">
                  <c:v>43626</c:v>
                </c:pt>
                <c:pt idx="1589">
                  <c:v>43623</c:v>
                </c:pt>
                <c:pt idx="1590">
                  <c:v>43622</c:v>
                </c:pt>
                <c:pt idx="1591">
                  <c:v>43620</c:v>
                </c:pt>
                <c:pt idx="1592">
                  <c:v>43619</c:v>
                </c:pt>
                <c:pt idx="1593">
                  <c:v>43616</c:v>
                </c:pt>
                <c:pt idx="1594">
                  <c:v>43615</c:v>
                </c:pt>
                <c:pt idx="1595">
                  <c:v>43614</c:v>
                </c:pt>
                <c:pt idx="1596">
                  <c:v>43613</c:v>
                </c:pt>
                <c:pt idx="1597">
                  <c:v>43612</c:v>
                </c:pt>
                <c:pt idx="1598">
                  <c:v>43609</c:v>
                </c:pt>
                <c:pt idx="1599">
                  <c:v>43608</c:v>
                </c:pt>
                <c:pt idx="1600">
                  <c:v>43607</c:v>
                </c:pt>
                <c:pt idx="1601">
                  <c:v>43606</c:v>
                </c:pt>
                <c:pt idx="1602">
                  <c:v>43605</c:v>
                </c:pt>
                <c:pt idx="1603">
                  <c:v>43602</c:v>
                </c:pt>
                <c:pt idx="1604">
                  <c:v>43601</c:v>
                </c:pt>
                <c:pt idx="1605">
                  <c:v>43600</c:v>
                </c:pt>
                <c:pt idx="1606">
                  <c:v>43599</c:v>
                </c:pt>
                <c:pt idx="1607">
                  <c:v>43598</c:v>
                </c:pt>
                <c:pt idx="1608">
                  <c:v>43595</c:v>
                </c:pt>
                <c:pt idx="1609">
                  <c:v>43594</c:v>
                </c:pt>
                <c:pt idx="1610">
                  <c:v>43593</c:v>
                </c:pt>
                <c:pt idx="1611">
                  <c:v>43592</c:v>
                </c:pt>
                <c:pt idx="1612">
                  <c:v>43591</c:v>
                </c:pt>
                <c:pt idx="1613">
                  <c:v>43588</c:v>
                </c:pt>
                <c:pt idx="1614">
                  <c:v>43587</c:v>
                </c:pt>
                <c:pt idx="1615">
                  <c:v>43585</c:v>
                </c:pt>
                <c:pt idx="1616">
                  <c:v>43581</c:v>
                </c:pt>
                <c:pt idx="1617">
                  <c:v>43580</c:v>
                </c:pt>
                <c:pt idx="1618">
                  <c:v>43579</c:v>
                </c:pt>
                <c:pt idx="1619">
                  <c:v>43578</c:v>
                </c:pt>
                <c:pt idx="1620">
                  <c:v>43577</c:v>
                </c:pt>
                <c:pt idx="1621">
                  <c:v>43573</c:v>
                </c:pt>
                <c:pt idx="1622">
                  <c:v>43571</c:v>
                </c:pt>
                <c:pt idx="1623">
                  <c:v>43570</c:v>
                </c:pt>
                <c:pt idx="1624">
                  <c:v>43567</c:v>
                </c:pt>
                <c:pt idx="1625">
                  <c:v>43566</c:v>
                </c:pt>
                <c:pt idx="1626">
                  <c:v>43565</c:v>
                </c:pt>
                <c:pt idx="1627">
                  <c:v>43564</c:v>
                </c:pt>
                <c:pt idx="1628">
                  <c:v>43563</c:v>
                </c:pt>
                <c:pt idx="1629">
                  <c:v>43560</c:v>
                </c:pt>
                <c:pt idx="1630">
                  <c:v>43559</c:v>
                </c:pt>
                <c:pt idx="1631">
                  <c:v>43558</c:v>
                </c:pt>
                <c:pt idx="1632">
                  <c:v>43557</c:v>
                </c:pt>
                <c:pt idx="1633">
                  <c:v>43556</c:v>
                </c:pt>
              </c:numCache>
            </c:numRef>
          </c:cat>
          <c:val>
            <c:numRef>
              <c:f>Sheet1!$B$2:$B$1635</c:f>
              <c:numCache>
                <c:formatCode>_ * #,##0_ ;_ * \-#,##0_ ;_ * "-"??_ ;_ @_ </c:formatCode>
                <c:ptCount val="1634"/>
                <c:pt idx="0">
                  <c:v>336.18860791890029</c:v>
                </c:pt>
                <c:pt idx="1">
                  <c:v>336.29753543392127</c:v>
                </c:pt>
                <c:pt idx="2">
                  <c:v>337.27006177487721</c:v>
                </c:pt>
                <c:pt idx="3">
                  <c:v>335.00602673262239</c:v>
                </c:pt>
                <c:pt idx="4">
                  <c:v>335.47341419502652</c:v>
                </c:pt>
                <c:pt idx="5">
                  <c:v>335.77732896414324</c:v>
                </c:pt>
                <c:pt idx="6">
                  <c:v>337.83937731869429</c:v>
                </c:pt>
                <c:pt idx="7">
                  <c:v>339.29591986928318</c:v>
                </c:pt>
                <c:pt idx="8">
                  <c:v>337.99673708543753</c:v>
                </c:pt>
                <c:pt idx="9">
                  <c:v>336.02903065908248</c:v>
                </c:pt>
                <c:pt idx="10">
                  <c:v>334.88966411416396</c:v>
                </c:pt>
                <c:pt idx="11">
                  <c:v>333.33369788290349</c:v>
                </c:pt>
                <c:pt idx="12">
                  <c:v>332.78682227987849</c:v>
                </c:pt>
                <c:pt idx="13">
                  <c:v>335.08881338388301</c:v>
                </c:pt>
                <c:pt idx="14">
                  <c:v>335.55382793865977</c:v>
                </c:pt>
                <c:pt idx="15">
                  <c:v>332.3774052050195</c:v>
                </c:pt>
                <c:pt idx="16">
                  <c:v>329.72679314516932</c:v>
                </c:pt>
                <c:pt idx="17">
                  <c:v>330.93274646327245</c:v>
                </c:pt>
                <c:pt idx="18">
                  <c:v>330.32173096246106</c:v>
                </c:pt>
                <c:pt idx="19">
                  <c:v>327.26844312111939</c:v>
                </c:pt>
                <c:pt idx="20">
                  <c:v>327.31504968859696</c:v>
                </c:pt>
                <c:pt idx="21">
                  <c:v>323.67924055461475</c:v>
                </c:pt>
                <c:pt idx="22">
                  <c:v>323.98617952010841</c:v>
                </c:pt>
                <c:pt idx="23">
                  <c:v>323.63170335510057</c:v>
                </c:pt>
                <c:pt idx="24">
                  <c:v>330.68545511801841</c:v>
                </c:pt>
                <c:pt idx="25">
                  <c:v>332.87709435309523</c:v>
                </c:pt>
                <c:pt idx="26">
                  <c:v>334.92533177606919</c:v>
                </c:pt>
                <c:pt idx="27">
                  <c:v>336.35050091126294</c:v>
                </c:pt>
                <c:pt idx="28">
                  <c:v>340.04200314058608</c:v>
                </c:pt>
                <c:pt idx="29">
                  <c:v>338.94118479234476</c:v>
                </c:pt>
                <c:pt idx="30">
                  <c:v>336.26127408794025</c:v>
                </c:pt>
                <c:pt idx="31">
                  <c:v>336.10723058782656</c:v>
                </c:pt>
                <c:pt idx="32">
                  <c:v>335.75624049942974</c:v>
                </c:pt>
                <c:pt idx="33">
                  <c:v>336.92154837632654</c:v>
                </c:pt>
                <c:pt idx="34">
                  <c:v>336.28106527403014</c:v>
                </c:pt>
                <c:pt idx="35">
                  <c:v>335.40364580743312</c:v>
                </c:pt>
                <c:pt idx="36">
                  <c:v>333.94490814126448</c:v>
                </c:pt>
                <c:pt idx="37">
                  <c:v>332.23220073708393</c:v>
                </c:pt>
                <c:pt idx="38">
                  <c:v>332.86058961364768</c:v>
                </c:pt>
                <c:pt idx="39">
                  <c:v>333.27586324338455</c:v>
                </c:pt>
                <c:pt idx="40">
                  <c:v>333.12762611223263</c:v>
                </c:pt>
                <c:pt idx="41">
                  <c:v>329.14339358739585</c:v>
                </c:pt>
                <c:pt idx="42">
                  <c:v>329.30650011175157</c:v>
                </c:pt>
                <c:pt idx="43">
                  <c:v>328.33765311256553</c:v>
                </c:pt>
                <c:pt idx="44">
                  <c:v>328.87651110365653</c:v>
                </c:pt>
                <c:pt idx="45">
                  <c:v>332.08204252711454</c:v>
                </c:pt>
                <c:pt idx="46">
                  <c:v>337.7891623084239</c:v>
                </c:pt>
                <c:pt idx="47">
                  <c:v>337.32193952693427</c:v>
                </c:pt>
                <c:pt idx="48">
                  <c:v>336.97027644145805</c:v>
                </c:pt>
                <c:pt idx="49">
                  <c:v>335.1767608027738</c:v>
                </c:pt>
                <c:pt idx="50">
                  <c:v>335.6762988362533</c:v>
                </c:pt>
                <c:pt idx="51">
                  <c:v>335.16737102483017</c:v>
                </c:pt>
                <c:pt idx="52">
                  <c:v>334.66465960803203</c:v>
                </c:pt>
                <c:pt idx="53">
                  <c:v>334.66043078914339</c:v>
                </c:pt>
                <c:pt idx="54">
                  <c:v>329.40649131523696</c:v>
                </c:pt>
                <c:pt idx="55">
                  <c:v>328.35881284515375</c:v>
                </c:pt>
                <c:pt idx="56">
                  <c:v>325.2496037864521</c:v>
                </c:pt>
                <c:pt idx="57">
                  <c:v>328.57807309406564</c:v>
                </c:pt>
                <c:pt idx="58">
                  <c:v>326.92798852520042</c:v>
                </c:pt>
                <c:pt idx="59">
                  <c:v>332.81904414383678</c:v>
                </c:pt>
                <c:pt idx="60">
                  <c:v>334.44693721057911</c:v>
                </c:pt>
                <c:pt idx="61">
                  <c:v>333.57579455660317</c:v>
                </c:pt>
                <c:pt idx="62">
                  <c:v>341.93864496677202</c:v>
                </c:pt>
                <c:pt idx="63">
                  <c:v>345.40969837856346</c:v>
                </c:pt>
                <c:pt idx="64">
                  <c:v>344.83987588605044</c:v>
                </c:pt>
                <c:pt idx="65">
                  <c:v>340.62826726311908</c:v>
                </c:pt>
                <c:pt idx="66">
                  <c:v>341.35671748280043</c:v>
                </c:pt>
                <c:pt idx="67">
                  <c:v>341.14115022589476</c:v>
                </c:pt>
                <c:pt idx="68">
                  <c:v>339.67812708156464</c:v>
                </c:pt>
                <c:pt idx="69">
                  <c:v>337.67487895417889</c:v>
                </c:pt>
                <c:pt idx="70">
                  <c:v>339.75041132058408</c:v>
                </c:pt>
                <c:pt idx="71">
                  <c:v>340.84883155762947</c:v>
                </c:pt>
                <c:pt idx="72">
                  <c:v>342.7818831692382</c:v>
                </c:pt>
                <c:pt idx="73">
                  <c:v>341.63016091921452</c:v>
                </c:pt>
                <c:pt idx="74">
                  <c:v>341.9897270545967</c:v>
                </c:pt>
                <c:pt idx="75">
                  <c:v>338.60470724237524</c:v>
                </c:pt>
                <c:pt idx="76">
                  <c:v>334.84208886811643</c:v>
                </c:pt>
                <c:pt idx="77">
                  <c:v>334.00982264067488</c:v>
                </c:pt>
                <c:pt idx="78">
                  <c:v>335.47495481878974</c:v>
                </c:pt>
                <c:pt idx="79">
                  <c:v>334.77004109467197</c:v>
                </c:pt>
                <c:pt idx="80">
                  <c:v>337.19240121555646</c:v>
                </c:pt>
                <c:pt idx="81">
                  <c:v>337.60128938279894</c:v>
                </c:pt>
                <c:pt idx="82">
                  <c:v>335.56082499914413</c:v>
                </c:pt>
                <c:pt idx="83">
                  <c:v>333.24743525104896</c:v>
                </c:pt>
                <c:pt idx="84">
                  <c:v>332.89644074212083</c:v>
                </c:pt>
                <c:pt idx="85">
                  <c:v>333.57653896992548</c:v>
                </c:pt>
                <c:pt idx="86">
                  <c:v>331.50751218202885</c:v>
                </c:pt>
                <c:pt idx="87">
                  <c:v>328.48083209514414</c:v>
                </c:pt>
                <c:pt idx="88">
                  <c:v>327.63204401783958</c:v>
                </c:pt>
                <c:pt idx="89">
                  <c:v>324.28600313246142</c:v>
                </c:pt>
                <c:pt idx="90">
                  <c:v>323.04514873599953</c:v>
                </c:pt>
                <c:pt idx="91">
                  <c:v>323.28577085739369</c:v>
                </c:pt>
                <c:pt idx="92">
                  <c:v>321.62679795554266</c:v>
                </c:pt>
                <c:pt idx="93">
                  <c:v>325.15837627347457</c:v>
                </c:pt>
                <c:pt idx="94">
                  <c:v>326.83106765436412</c:v>
                </c:pt>
                <c:pt idx="95">
                  <c:v>332.05755799308184</c:v>
                </c:pt>
                <c:pt idx="96">
                  <c:v>330.71746727576476</c:v>
                </c:pt>
                <c:pt idx="97">
                  <c:v>330.77884218844218</c:v>
                </c:pt>
                <c:pt idx="98">
                  <c:v>330.95132851038534</c:v>
                </c:pt>
                <c:pt idx="99">
                  <c:v>328.65536735813208</c:v>
                </c:pt>
                <c:pt idx="100">
                  <c:v>327.0367870891663</c:v>
                </c:pt>
                <c:pt idx="101">
                  <c:v>324.97671809339568</c:v>
                </c:pt>
                <c:pt idx="102">
                  <c:v>324.46445083991762</c:v>
                </c:pt>
                <c:pt idx="103">
                  <c:v>321.70158619733797</c:v>
                </c:pt>
                <c:pt idx="104">
                  <c:v>320.47221267849648</c:v>
                </c:pt>
                <c:pt idx="105">
                  <c:v>321.09740770309418</c:v>
                </c:pt>
                <c:pt idx="106">
                  <c:v>321.19279706956593</c:v>
                </c:pt>
                <c:pt idx="107">
                  <c:v>321.88348330801693</c:v>
                </c:pt>
                <c:pt idx="108">
                  <c:v>320.40240027171518</c:v>
                </c:pt>
                <c:pt idx="109">
                  <c:v>321.42998743054034</c:v>
                </c:pt>
                <c:pt idx="110">
                  <c:v>319.70969233270716</c:v>
                </c:pt>
                <c:pt idx="111">
                  <c:v>318.33687332193404</c:v>
                </c:pt>
                <c:pt idx="112">
                  <c:v>318.57967776396362</c:v>
                </c:pt>
                <c:pt idx="113">
                  <c:v>319.48726434013878</c:v>
                </c:pt>
                <c:pt idx="114">
                  <c:v>316.27715424175614</c:v>
                </c:pt>
                <c:pt idx="115">
                  <c:v>319.87866211468133</c:v>
                </c:pt>
                <c:pt idx="116">
                  <c:v>318.07964619426542</c:v>
                </c:pt>
                <c:pt idx="117">
                  <c:v>318.68987330004029</c:v>
                </c:pt>
                <c:pt idx="118">
                  <c:v>316.62322422094127</c:v>
                </c:pt>
                <c:pt idx="119">
                  <c:v>314.42296922933036</c:v>
                </c:pt>
                <c:pt idx="120">
                  <c:v>310.70689252232233</c:v>
                </c:pt>
                <c:pt idx="121">
                  <c:v>308.4724298999862</c:v>
                </c:pt>
                <c:pt idx="122">
                  <c:v>309.23220653114885</c:v>
                </c:pt>
                <c:pt idx="123">
                  <c:v>313.89510684362114</c:v>
                </c:pt>
                <c:pt idx="124">
                  <c:v>313.75947645475128</c:v>
                </c:pt>
                <c:pt idx="125">
                  <c:v>316.68045319253383</c:v>
                </c:pt>
                <c:pt idx="126">
                  <c:v>313.87979286709856</c:v>
                </c:pt>
                <c:pt idx="127">
                  <c:v>315.81150470777169</c:v>
                </c:pt>
                <c:pt idx="128">
                  <c:v>315.6811242289794</c:v>
                </c:pt>
                <c:pt idx="129">
                  <c:v>317.84863072024399</c:v>
                </c:pt>
                <c:pt idx="130">
                  <c:v>313.24833878761581</c:v>
                </c:pt>
                <c:pt idx="131">
                  <c:v>320.58289807287929</c:v>
                </c:pt>
                <c:pt idx="132">
                  <c:v>318.93554523860234</c:v>
                </c:pt>
                <c:pt idx="133">
                  <c:v>315.74285075095867</c:v>
                </c:pt>
                <c:pt idx="134">
                  <c:v>313.95760856684024</c:v>
                </c:pt>
                <c:pt idx="135">
                  <c:v>312.16516515510932</c:v>
                </c:pt>
                <c:pt idx="136">
                  <c:v>309.13388079064174</c:v>
                </c:pt>
                <c:pt idx="137">
                  <c:v>308.84034148108805</c:v>
                </c:pt>
                <c:pt idx="138">
                  <c:v>301.67125096349633</c:v>
                </c:pt>
                <c:pt idx="139">
                  <c:v>294.98423611166493</c:v>
                </c:pt>
                <c:pt idx="140">
                  <c:v>299.42476635877199</c:v>
                </c:pt>
                <c:pt idx="141">
                  <c:v>293.65021820004262</c:v>
                </c:pt>
                <c:pt idx="142">
                  <c:v>303.265982385325</c:v>
                </c:pt>
                <c:pt idx="143">
                  <c:v>313.13526960354932</c:v>
                </c:pt>
                <c:pt idx="144">
                  <c:v>308.03739947412168</c:v>
                </c:pt>
                <c:pt idx="145">
                  <c:v>306.54590387896832</c:v>
                </c:pt>
                <c:pt idx="146">
                  <c:v>311.14653464750893</c:v>
                </c:pt>
                <c:pt idx="147">
                  <c:v>311.22377534477732</c:v>
                </c:pt>
                <c:pt idx="148">
                  <c:v>310.58587602002848</c:v>
                </c:pt>
                <c:pt idx="149">
                  <c:v>314.28155574135263</c:v>
                </c:pt>
                <c:pt idx="150">
                  <c:v>316.79146495524827</c:v>
                </c:pt>
                <c:pt idx="151">
                  <c:v>315.32974969407491</c:v>
                </c:pt>
                <c:pt idx="152">
                  <c:v>310.50997045951948</c:v>
                </c:pt>
                <c:pt idx="153">
                  <c:v>306.76805413853197</c:v>
                </c:pt>
                <c:pt idx="154">
                  <c:v>303.45151867697751</c:v>
                </c:pt>
                <c:pt idx="155">
                  <c:v>298.00013034151038</c:v>
                </c:pt>
                <c:pt idx="156">
                  <c:v>295.65830257093444</c:v>
                </c:pt>
                <c:pt idx="157">
                  <c:v>296.40866292056864</c:v>
                </c:pt>
                <c:pt idx="158">
                  <c:v>296.16426206362928</c:v>
                </c:pt>
                <c:pt idx="159">
                  <c:v>295.35979707109908</c:v>
                </c:pt>
                <c:pt idx="160">
                  <c:v>297.92973895674407</c:v>
                </c:pt>
                <c:pt idx="161">
                  <c:v>298.84758983341641</c:v>
                </c:pt>
                <c:pt idx="162">
                  <c:v>295.4156780149242</c:v>
                </c:pt>
                <c:pt idx="163">
                  <c:v>290.43648312902377</c:v>
                </c:pt>
                <c:pt idx="164">
                  <c:v>288.70722360537064</c:v>
                </c:pt>
                <c:pt idx="165">
                  <c:v>287.37248489115109</c:v>
                </c:pt>
                <c:pt idx="166">
                  <c:v>293.70134536117223</c:v>
                </c:pt>
                <c:pt idx="167">
                  <c:v>296.14779068394466</c:v>
                </c:pt>
                <c:pt idx="168">
                  <c:v>296.46742508702698</c:v>
                </c:pt>
                <c:pt idx="169">
                  <c:v>297.67501833033498</c:v>
                </c:pt>
                <c:pt idx="170">
                  <c:v>302.38524318003635</c:v>
                </c:pt>
                <c:pt idx="171">
                  <c:v>301.13714422523788</c:v>
                </c:pt>
                <c:pt idx="172">
                  <c:v>301.38607429551445</c:v>
                </c:pt>
                <c:pt idx="173">
                  <c:v>302.14668569001981</c:v>
                </c:pt>
                <c:pt idx="174">
                  <c:v>298.65156591866651</c:v>
                </c:pt>
                <c:pt idx="175">
                  <c:v>307.36348874199325</c:v>
                </c:pt>
                <c:pt idx="176">
                  <c:v>305.73883539680963</c:v>
                </c:pt>
                <c:pt idx="177">
                  <c:v>307.1438035466258</c:v>
                </c:pt>
                <c:pt idx="178">
                  <c:v>315.77959179409891</c:v>
                </c:pt>
                <c:pt idx="179">
                  <c:v>322.81408762592764</c:v>
                </c:pt>
                <c:pt idx="180">
                  <c:v>322.87391794648858</c:v>
                </c:pt>
                <c:pt idx="181">
                  <c:v>321.08801436897153</c:v>
                </c:pt>
                <c:pt idx="182">
                  <c:v>317.50848173631488</c:v>
                </c:pt>
                <c:pt idx="183">
                  <c:v>313.41366637988421</c:v>
                </c:pt>
                <c:pt idx="184">
                  <c:v>312.88563210800271</c:v>
                </c:pt>
                <c:pt idx="185">
                  <c:v>312.70494290201816</c:v>
                </c:pt>
                <c:pt idx="186">
                  <c:v>311.43764667341742</c:v>
                </c:pt>
                <c:pt idx="187">
                  <c:v>308.17180487630725</c:v>
                </c:pt>
                <c:pt idx="188">
                  <c:v>301.38798284968209</c:v>
                </c:pt>
                <c:pt idx="189">
                  <c:v>307.78770634558168</c:v>
                </c:pt>
                <c:pt idx="190">
                  <c:v>316.23655078636961</c:v>
                </c:pt>
                <c:pt idx="191">
                  <c:v>323.11552516840237</c:v>
                </c:pt>
                <c:pt idx="192">
                  <c:v>318.79550467812908</c:v>
                </c:pt>
                <c:pt idx="193">
                  <c:v>319.16049858721317</c:v>
                </c:pt>
                <c:pt idx="194">
                  <c:v>322.57363145515194</c:v>
                </c:pt>
                <c:pt idx="195">
                  <c:v>320.14337174380773</c:v>
                </c:pt>
                <c:pt idx="196">
                  <c:v>319.02882141444911</c:v>
                </c:pt>
                <c:pt idx="197">
                  <c:v>318.58844477611035</c:v>
                </c:pt>
                <c:pt idx="198">
                  <c:v>322.46075941874705</c:v>
                </c:pt>
                <c:pt idx="199">
                  <c:v>318.84537250158019</c:v>
                </c:pt>
                <c:pt idx="200">
                  <c:v>327.11494244821148</c:v>
                </c:pt>
                <c:pt idx="201">
                  <c:v>334.86653652300197</c:v>
                </c:pt>
                <c:pt idx="202">
                  <c:v>337.2744116547164</c:v>
                </c:pt>
                <c:pt idx="203">
                  <c:v>340.46616244491184</c:v>
                </c:pt>
                <c:pt idx="204">
                  <c:v>336.24443779476525</c:v>
                </c:pt>
                <c:pt idx="205">
                  <c:v>339.46917777307078</c:v>
                </c:pt>
                <c:pt idx="206">
                  <c:v>341.56444748647789</c:v>
                </c:pt>
                <c:pt idx="207">
                  <c:v>340.03646897246841</c:v>
                </c:pt>
                <c:pt idx="208">
                  <c:v>338.76946842433409</c:v>
                </c:pt>
                <c:pt idx="209">
                  <c:v>337.55168201438096</c:v>
                </c:pt>
                <c:pt idx="210">
                  <c:v>334.62002516568083</c:v>
                </c:pt>
                <c:pt idx="211">
                  <c:v>332.10623779209226</c:v>
                </c:pt>
                <c:pt idx="212">
                  <c:v>330.08541282611407</c:v>
                </c:pt>
                <c:pt idx="213">
                  <c:v>329.62218770901751</c:v>
                </c:pt>
                <c:pt idx="214">
                  <c:v>329.06225325331332</c:v>
                </c:pt>
                <c:pt idx="215">
                  <c:v>333.13676449383661</c:v>
                </c:pt>
                <c:pt idx="216">
                  <c:v>328.47962092748429</c:v>
                </c:pt>
                <c:pt idx="217">
                  <c:v>326.11171718956956</c:v>
                </c:pt>
                <c:pt idx="218">
                  <c:v>327.67627429075196</c:v>
                </c:pt>
                <c:pt idx="219">
                  <c:v>326.57833325735118</c:v>
                </c:pt>
                <c:pt idx="220">
                  <c:v>327.72795825652577</c:v>
                </c:pt>
                <c:pt idx="221">
                  <c:v>330.01519480730803</c:v>
                </c:pt>
                <c:pt idx="222">
                  <c:v>329.20809808667269</c:v>
                </c:pt>
                <c:pt idx="223">
                  <c:v>329.30504268807624</c:v>
                </c:pt>
                <c:pt idx="224">
                  <c:v>330.4000468936818</c:v>
                </c:pt>
                <c:pt idx="225">
                  <c:v>331.6652142263984</c:v>
                </c:pt>
                <c:pt idx="226">
                  <c:v>330.97800319862415</c:v>
                </c:pt>
                <c:pt idx="227">
                  <c:v>330.09198327714756</c:v>
                </c:pt>
                <c:pt idx="228">
                  <c:v>329.60438068503709</c:v>
                </c:pt>
                <c:pt idx="229">
                  <c:v>325.84772433173049</c:v>
                </c:pt>
                <c:pt idx="230">
                  <c:v>319.24482170994145</c:v>
                </c:pt>
                <c:pt idx="231">
                  <c:v>320.75967431004131</c:v>
                </c:pt>
                <c:pt idx="232">
                  <c:v>321.676235852302</c:v>
                </c:pt>
                <c:pt idx="233">
                  <c:v>323.20534791078342</c:v>
                </c:pt>
                <c:pt idx="234">
                  <c:v>319.80897758271794</c:v>
                </c:pt>
                <c:pt idx="235">
                  <c:v>316.25219225843927</c:v>
                </c:pt>
                <c:pt idx="236">
                  <c:v>316.32517535395124</c:v>
                </c:pt>
                <c:pt idx="237">
                  <c:v>314.1084776714527</c:v>
                </c:pt>
                <c:pt idx="238">
                  <c:v>316.8292725692724</c:v>
                </c:pt>
                <c:pt idx="239">
                  <c:v>316.00776678795978</c:v>
                </c:pt>
                <c:pt idx="240">
                  <c:v>320.18223092381231</c:v>
                </c:pt>
                <c:pt idx="241">
                  <c:v>322.17883663492916</c:v>
                </c:pt>
                <c:pt idx="242">
                  <c:v>325.77894292286254</c:v>
                </c:pt>
                <c:pt idx="243">
                  <c:v>326.66450885548119</c:v>
                </c:pt>
                <c:pt idx="244">
                  <c:v>329.80194928002254</c:v>
                </c:pt>
                <c:pt idx="245">
                  <c:v>325.85977383617433</c:v>
                </c:pt>
                <c:pt idx="246">
                  <c:v>325.63239348293371</c:v>
                </c:pt>
                <c:pt idx="247">
                  <c:v>327.98540604405702</c:v>
                </c:pt>
                <c:pt idx="248">
                  <c:v>326.35617594517396</c:v>
                </c:pt>
                <c:pt idx="249">
                  <c:v>321.10263008913131</c:v>
                </c:pt>
                <c:pt idx="250">
                  <c:v>321.21384677846419</c:v>
                </c:pt>
                <c:pt idx="251">
                  <c:v>322.52829284707042</c:v>
                </c:pt>
                <c:pt idx="252">
                  <c:v>318.79109378231783</c:v>
                </c:pt>
                <c:pt idx="253">
                  <c:v>319.67006094494855</c:v>
                </c:pt>
                <c:pt idx="254">
                  <c:v>318.26104585912896</c:v>
                </c:pt>
                <c:pt idx="255">
                  <c:v>320.87772905590816</c:v>
                </c:pt>
                <c:pt idx="256">
                  <c:v>326.81818049266639</c:v>
                </c:pt>
                <c:pt idx="257">
                  <c:v>329.58126769675772</c:v>
                </c:pt>
                <c:pt idx="258">
                  <c:v>328.77328529293266</c:v>
                </c:pt>
                <c:pt idx="259">
                  <c:v>332.67339602749297</c:v>
                </c:pt>
                <c:pt idx="260">
                  <c:v>333.48580060479958</c:v>
                </c:pt>
                <c:pt idx="261">
                  <c:v>332.65907093884698</c:v>
                </c:pt>
                <c:pt idx="262">
                  <c:v>331.72850101072174</c:v>
                </c:pt>
                <c:pt idx="263">
                  <c:v>328.65215091379258</c:v>
                </c:pt>
                <c:pt idx="264">
                  <c:v>333.19466383605612</c:v>
                </c:pt>
                <c:pt idx="265">
                  <c:v>327.62658960166988</c:v>
                </c:pt>
                <c:pt idx="266">
                  <c:v>321.60824217532206</c:v>
                </c:pt>
                <c:pt idx="267">
                  <c:v>324.99135569612554</c:v>
                </c:pt>
                <c:pt idx="268">
                  <c:v>325.87938812639635</c:v>
                </c:pt>
                <c:pt idx="269">
                  <c:v>329.16335723888068</c:v>
                </c:pt>
                <c:pt idx="270">
                  <c:v>328.60988543325885</c:v>
                </c:pt>
                <c:pt idx="271">
                  <c:v>330.22665901400927</c:v>
                </c:pt>
                <c:pt idx="272">
                  <c:v>328.08210323647631</c:v>
                </c:pt>
                <c:pt idx="273">
                  <c:v>328.58527798866521</c:v>
                </c:pt>
                <c:pt idx="274">
                  <c:v>328.85242550989608</c:v>
                </c:pt>
                <c:pt idx="275">
                  <c:v>328.3853082370656</c:v>
                </c:pt>
                <c:pt idx="276">
                  <c:v>327.49256864901417</c:v>
                </c:pt>
                <c:pt idx="277">
                  <c:v>324.51550301823244</c:v>
                </c:pt>
                <c:pt idx="278">
                  <c:v>325.77294345383837</c:v>
                </c:pt>
                <c:pt idx="279">
                  <c:v>329.92214449321244</c:v>
                </c:pt>
                <c:pt idx="280">
                  <c:v>330.72203793682297</c:v>
                </c:pt>
                <c:pt idx="281">
                  <c:v>330.8192802002776</c:v>
                </c:pt>
                <c:pt idx="282">
                  <c:v>330.74171518770407</c:v>
                </c:pt>
                <c:pt idx="283">
                  <c:v>327.72431732141393</c:v>
                </c:pt>
                <c:pt idx="284">
                  <c:v>327.88743078020224</c:v>
                </c:pt>
                <c:pt idx="285">
                  <c:v>324.38597115477336</c:v>
                </c:pt>
                <c:pt idx="286">
                  <c:v>324.84959726264714</c:v>
                </c:pt>
                <c:pt idx="287">
                  <c:v>325.85924060343348</c:v>
                </c:pt>
                <c:pt idx="288">
                  <c:v>324.66266025944282</c:v>
                </c:pt>
                <c:pt idx="289">
                  <c:v>321.34023810293024</c:v>
                </c:pt>
                <c:pt idx="290">
                  <c:v>320.75809928241688</c:v>
                </c:pt>
                <c:pt idx="291">
                  <c:v>322.45926367069768</c:v>
                </c:pt>
                <c:pt idx="292">
                  <c:v>318.09958633239967</c:v>
                </c:pt>
                <c:pt idx="293">
                  <c:v>319.16024198032238</c:v>
                </c:pt>
                <c:pt idx="294">
                  <c:v>316.42057860899894</c:v>
                </c:pt>
                <c:pt idx="295">
                  <c:v>314.68526890210546</c:v>
                </c:pt>
                <c:pt idx="296">
                  <c:v>314.88480218201909</c:v>
                </c:pt>
                <c:pt idx="297">
                  <c:v>314.60008501999698</c:v>
                </c:pt>
                <c:pt idx="298">
                  <c:v>314.20925710078512</c:v>
                </c:pt>
                <c:pt idx="299">
                  <c:v>311.45179835478632</c:v>
                </c:pt>
                <c:pt idx="300">
                  <c:v>310.03630146354374</c:v>
                </c:pt>
                <c:pt idx="301">
                  <c:v>308.06151113186655</c:v>
                </c:pt>
                <c:pt idx="302">
                  <c:v>304.83094603826783</c:v>
                </c:pt>
                <c:pt idx="303">
                  <c:v>306.61307448820116</c:v>
                </c:pt>
                <c:pt idx="304">
                  <c:v>307.15886248010617</c:v>
                </c:pt>
                <c:pt idx="305">
                  <c:v>307.41116847741029</c:v>
                </c:pt>
                <c:pt idx="306">
                  <c:v>306.21901977130818</c:v>
                </c:pt>
                <c:pt idx="307">
                  <c:v>305.62737491449798</c:v>
                </c:pt>
                <c:pt idx="308">
                  <c:v>299.34151289617029</c:v>
                </c:pt>
                <c:pt idx="309">
                  <c:v>299.16137261801123</c:v>
                </c:pt>
                <c:pt idx="310">
                  <c:v>304.39582885314337</c:v>
                </c:pt>
                <c:pt idx="311">
                  <c:v>302.99216821427837</c:v>
                </c:pt>
                <c:pt idx="312">
                  <c:v>302.31262165326456</c:v>
                </c:pt>
                <c:pt idx="313">
                  <c:v>299.33522250324052</c:v>
                </c:pt>
                <c:pt idx="314">
                  <c:v>300.14672358623199</c:v>
                </c:pt>
                <c:pt idx="315">
                  <c:v>299.06228473881106</c:v>
                </c:pt>
                <c:pt idx="316">
                  <c:v>293.78342998457765</c:v>
                </c:pt>
                <c:pt idx="317">
                  <c:v>291.55578816050371</c:v>
                </c:pt>
                <c:pt idx="318">
                  <c:v>288.59971896162881</c:v>
                </c:pt>
                <c:pt idx="319">
                  <c:v>286.82833422965899</c:v>
                </c:pt>
                <c:pt idx="320">
                  <c:v>284.19978203561908</c:v>
                </c:pt>
                <c:pt idx="321">
                  <c:v>288.98913969862519</c:v>
                </c:pt>
                <c:pt idx="322">
                  <c:v>288.64820431244448</c:v>
                </c:pt>
                <c:pt idx="323">
                  <c:v>288.71027142448668</c:v>
                </c:pt>
                <c:pt idx="324">
                  <c:v>285.94485548109367</c:v>
                </c:pt>
                <c:pt idx="325">
                  <c:v>286.33431291654796</c:v>
                </c:pt>
                <c:pt idx="326">
                  <c:v>287.53675051174167</c:v>
                </c:pt>
                <c:pt idx="327">
                  <c:v>286.43525894331719</c:v>
                </c:pt>
                <c:pt idx="328">
                  <c:v>283.46500658969399</c:v>
                </c:pt>
                <c:pt idx="329">
                  <c:v>285.01716163823261</c:v>
                </c:pt>
                <c:pt idx="330">
                  <c:v>282.45455249080044</c:v>
                </c:pt>
                <c:pt idx="331">
                  <c:v>279.00308883849652</c:v>
                </c:pt>
                <c:pt idx="332">
                  <c:v>277.05399787980127</c:v>
                </c:pt>
                <c:pt idx="333">
                  <c:v>277.43276128411452</c:v>
                </c:pt>
                <c:pt idx="334">
                  <c:v>276.23547491183439</c:v>
                </c:pt>
                <c:pt idx="335">
                  <c:v>274.0520963726708</c:v>
                </c:pt>
                <c:pt idx="336">
                  <c:v>274.13689176433451</c:v>
                </c:pt>
                <c:pt idx="337">
                  <c:v>274.11318158761856</c:v>
                </c:pt>
                <c:pt idx="338">
                  <c:v>274.06261309511314</c:v>
                </c:pt>
                <c:pt idx="339">
                  <c:v>274.34268241075313</c:v>
                </c:pt>
                <c:pt idx="340">
                  <c:v>274.77668022654905</c:v>
                </c:pt>
                <c:pt idx="341">
                  <c:v>275.31028225327049</c:v>
                </c:pt>
                <c:pt idx="342">
                  <c:v>277.51444786570596</c:v>
                </c:pt>
                <c:pt idx="343">
                  <c:v>278.3851294468638</c:v>
                </c:pt>
                <c:pt idx="344">
                  <c:v>276.596142428115</c:v>
                </c:pt>
                <c:pt idx="345">
                  <c:v>276.02310798935969</c:v>
                </c:pt>
                <c:pt idx="346">
                  <c:v>274.37700785364035</c:v>
                </c:pt>
                <c:pt idx="347">
                  <c:v>275.04641732192425</c:v>
                </c:pt>
                <c:pt idx="348">
                  <c:v>272.40244025613396</c:v>
                </c:pt>
                <c:pt idx="349">
                  <c:v>268.04502951833041</c:v>
                </c:pt>
                <c:pt idx="350">
                  <c:v>267.09728509420444</c:v>
                </c:pt>
                <c:pt idx="351">
                  <c:v>257.85659605786026</c:v>
                </c:pt>
                <c:pt idx="352">
                  <c:v>262.55771525327617</c:v>
                </c:pt>
                <c:pt idx="353">
                  <c:v>262.27476498996543</c:v>
                </c:pt>
                <c:pt idx="354">
                  <c:v>263.43629166442128</c:v>
                </c:pt>
                <c:pt idx="355">
                  <c:v>267.61805269127331</c:v>
                </c:pt>
                <c:pt idx="356">
                  <c:v>266.81292264935871</c:v>
                </c:pt>
                <c:pt idx="357">
                  <c:v>266.03859237742552</c:v>
                </c:pt>
                <c:pt idx="358">
                  <c:v>265.96398209098095</c:v>
                </c:pt>
                <c:pt idx="359">
                  <c:v>267.54424673206739</c:v>
                </c:pt>
                <c:pt idx="360">
                  <c:v>268.49178104100372</c:v>
                </c:pt>
                <c:pt idx="361">
                  <c:v>268.09562064959226</c:v>
                </c:pt>
                <c:pt idx="362">
                  <c:v>268.2877690240901</c:v>
                </c:pt>
                <c:pt idx="363">
                  <c:v>266.37436977320812</c:v>
                </c:pt>
                <c:pt idx="364">
                  <c:v>265.39236347169327</c:v>
                </c:pt>
                <c:pt idx="365">
                  <c:v>263.91455498406464</c:v>
                </c:pt>
                <c:pt idx="366">
                  <c:v>263.75070490757912</c:v>
                </c:pt>
                <c:pt idx="367">
                  <c:v>263.25502808265708</c:v>
                </c:pt>
                <c:pt idx="368">
                  <c:v>260.76100832027356</c:v>
                </c:pt>
                <c:pt idx="369">
                  <c:v>258.08327114140968</c:v>
                </c:pt>
                <c:pt idx="370">
                  <c:v>263.02324396518844</c:v>
                </c:pt>
                <c:pt idx="371">
                  <c:v>262.76916313073144</c:v>
                </c:pt>
                <c:pt idx="372">
                  <c:v>267.69847511585851</c:v>
                </c:pt>
                <c:pt idx="373">
                  <c:v>266.61126113021027</c:v>
                </c:pt>
                <c:pt idx="374">
                  <c:v>266.32387893089964</c:v>
                </c:pt>
                <c:pt idx="375">
                  <c:v>265.42715085828189</c:v>
                </c:pt>
                <c:pt idx="376">
                  <c:v>266.73665489131383</c:v>
                </c:pt>
                <c:pt idx="377">
                  <c:v>265.7666335376033</c:v>
                </c:pt>
                <c:pt idx="378">
                  <c:v>264.62708479399936</c:v>
                </c:pt>
                <c:pt idx="379">
                  <c:v>262.24883825531452</c:v>
                </c:pt>
                <c:pt idx="380">
                  <c:v>260.21152106410426</c:v>
                </c:pt>
                <c:pt idx="381">
                  <c:v>262.13503693858183</c:v>
                </c:pt>
                <c:pt idx="382">
                  <c:v>259.27092185920003</c:v>
                </c:pt>
                <c:pt idx="383">
                  <c:v>260.63841357961479</c:v>
                </c:pt>
                <c:pt idx="384">
                  <c:v>262.72641752072144</c:v>
                </c:pt>
                <c:pt idx="385">
                  <c:v>261.88389312020308</c:v>
                </c:pt>
                <c:pt idx="386">
                  <c:v>264.65085470163609</c:v>
                </c:pt>
                <c:pt idx="387">
                  <c:v>268.14849741034772</c:v>
                </c:pt>
                <c:pt idx="388">
                  <c:v>268.09304681226075</c:v>
                </c:pt>
                <c:pt idx="389">
                  <c:v>267.90196658885878</c:v>
                </c:pt>
                <c:pt idx="390">
                  <c:v>267.27436320990404</c:v>
                </c:pt>
                <c:pt idx="391">
                  <c:v>266.52362987174354</c:v>
                </c:pt>
                <c:pt idx="392">
                  <c:v>266.36656645689078</c:v>
                </c:pt>
                <c:pt idx="393">
                  <c:v>266.82120750013615</c:v>
                </c:pt>
                <c:pt idx="394">
                  <c:v>266.67332610432328</c:v>
                </c:pt>
                <c:pt idx="395">
                  <c:v>263.68982204034324</c:v>
                </c:pt>
                <c:pt idx="396">
                  <c:v>260.72643950460991</c:v>
                </c:pt>
                <c:pt idx="397">
                  <c:v>260.05265863011732</c:v>
                </c:pt>
                <c:pt idx="398">
                  <c:v>259.23903533058905</c:v>
                </c:pt>
                <c:pt idx="399">
                  <c:v>256.22232673713091</c:v>
                </c:pt>
                <c:pt idx="400">
                  <c:v>253.6832105842951</c:v>
                </c:pt>
                <c:pt idx="401">
                  <c:v>253.23990935803852</c:v>
                </c:pt>
                <c:pt idx="402">
                  <c:v>257.15628077877511</c:v>
                </c:pt>
                <c:pt idx="403">
                  <c:v>255.1472772238877</c:v>
                </c:pt>
                <c:pt idx="404">
                  <c:v>256.87731346175269</c:v>
                </c:pt>
                <c:pt idx="405">
                  <c:v>253.24689995283345</c:v>
                </c:pt>
                <c:pt idx="406">
                  <c:v>259.40103888588095</c:v>
                </c:pt>
                <c:pt idx="407">
                  <c:v>262.47912293002645</c:v>
                </c:pt>
                <c:pt idx="408">
                  <c:v>262.55355613764249</c:v>
                </c:pt>
                <c:pt idx="409">
                  <c:v>261.81029368741548</c:v>
                </c:pt>
                <c:pt idx="410">
                  <c:v>261.39671335060137</c:v>
                </c:pt>
                <c:pt idx="411">
                  <c:v>261.78747550474031</c:v>
                </c:pt>
                <c:pt idx="412">
                  <c:v>262.98043215955306</c:v>
                </c:pt>
                <c:pt idx="413">
                  <c:v>261.58198536876284</c:v>
                </c:pt>
                <c:pt idx="414">
                  <c:v>263.91219370769505</c:v>
                </c:pt>
                <c:pt idx="415">
                  <c:v>264.53333901882326</c:v>
                </c:pt>
                <c:pt idx="416">
                  <c:v>267.01262555965968</c:v>
                </c:pt>
                <c:pt idx="417">
                  <c:v>265.88957213663696</c:v>
                </c:pt>
                <c:pt idx="418">
                  <c:v>267.81329116998711</c:v>
                </c:pt>
                <c:pt idx="419">
                  <c:v>267.38393299647936</c:v>
                </c:pt>
                <c:pt idx="420">
                  <c:v>266.73043493600994</c:v>
                </c:pt>
                <c:pt idx="421">
                  <c:v>267.51249581476918</c:v>
                </c:pt>
                <c:pt idx="422">
                  <c:v>267.28951256915622</c:v>
                </c:pt>
                <c:pt idx="423">
                  <c:v>266.08289000815091</c:v>
                </c:pt>
                <c:pt idx="424">
                  <c:v>262.6018466913896</c:v>
                </c:pt>
                <c:pt idx="425">
                  <c:v>262.33042222691034</c:v>
                </c:pt>
                <c:pt idx="426">
                  <c:v>263.67102268440885</c:v>
                </c:pt>
                <c:pt idx="427">
                  <c:v>262.22973844035874</c:v>
                </c:pt>
                <c:pt idx="428">
                  <c:v>261.76522492546292</c:v>
                </c:pt>
                <c:pt idx="429">
                  <c:v>261.1259482098701</c:v>
                </c:pt>
                <c:pt idx="430">
                  <c:v>260.75458261670832</c:v>
                </c:pt>
                <c:pt idx="431">
                  <c:v>259.67122777107556</c:v>
                </c:pt>
                <c:pt idx="432">
                  <c:v>255.85626091411953</c:v>
                </c:pt>
                <c:pt idx="433">
                  <c:v>252.69829594295487</c:v>
                </c:pt>
                <c:pt idx="434">
                  <c:v>251.63383782909412</c:v>
                </c:pt>
                <c:pt idx="435">
                  <c:v>252.42357601886869</c:v>
                </c:pt>
                <c:pt idx="436">
                  <c:v>246.67200625265724</c:v>
                </c:pt>
                <c:pt idx="437">
                  <c:v>247.89362163616335</c:v>
                </c:pt>
                <c:pt idx="438">
                  <c:v>246.31015292549253</c:v>
                </c:pt>
                <c:pt idx="439">
                  <c:v>248.80303386322893</c:v>
                </c:pt>
                <c:pt idx="440">
                  <c:v>246.83376314776166</c:v>
                </c:pt>
                <c:pt idx="441">
                  <c:v>245.09830163909106</c:v>
                </c:pt>
                <c:pt idx="442">
                  <c:v>246.17676841878273</c:v>
                </c:pt>
                <c:pt idx="443">
                  <c:v>244.65267213137651</c:v>
                </c:pt>
                <c:pt idx="444">
                  <c:v>243.44390913888213</c:v>
                </c:pt>
                <c:pt idx="445">
                  <c:v>244.91735076429552</c:v>
                </c:pt>
                <c:pt idx="446">
                  <c:v>246.72188507183665</c:v>
                </c:pt>
                <c:pt idx="447">
                  <c:v>245.37902670776336</c:v>
                </c:pt>
                <c:pt idx="448">
                  <c:v>246.15395298113503</c:v>
                </c:pt>
                <c:pt idx="449">
                  <c:v>244.73125366095121</c:v>
                </c:pt>
                <c:pt idx="450">
                  <c:v>243.47337443782203</c:v>
                </c:pt>
                <c:pt idx="451">
                  <c:v>241.40054839107279</c:v>
                </c:pt>
                <c:pt idx="452">
                  <c:v>243.87105034585738</c:v>
                </c:pt>
                <c:pt idx="453">
                  <c:v>244.12284587875706</c:v>
                </c:pt>
                <c:pt idx="454">
                  <c:v>243.17966375795467</c:v>
                </c:pt>
                <c:pt idx="455">
                  <c:v>241.15560096686528</c:v>
                </c:pt>
                <c:pt idx="456">
                  <c:v>236.19388247052854</c:v>
                </c:pt>
                <c:pt idx="457">
                  <c:v>235.27962472421746</c:v>
                </c:pt>
                <c:pt idx="458">
                  <c:v>234.89163365676237</c:v>
                </c:pt>
                <c:pt idx="459">
                  <c:v>233.18925797423256</c:v>
                </c:pt>
                <c:pt idx="460">
                  <c:v>231.76199060724656</c:v>
                </c:pt>
                <c:pt idx="461">
                  <c:v>229.63991197276093</c:v>
                </c:pt>
                <c:pt idx="462">
                  <c:v>226.46782719337395</c:v>
                </c:pt>
                <c:pt idx="463">
                  <c:v>224.15661953199236</c:v>
                </c:pt>
                <c:pt idx="464">
                  <c:v>228.62808735938711</c:v>
                </c:pt>
                <c:pt idx="465">
                  <c:v>227.92548816836265</c:v>
                </c:pt>
                <c:pt idx="466">
                  <c:v>226.20278685833392</c:v>
                </c:pt>
                <c:pt idx="467">
                  <c:v>225.84058021814184</c:v>
                </c:pt>
                <c:pt idx="468">
                  <c:v>225.55235228164398</c:v>
                </c:pt>
                <c:pt idx="469">
                  <c:v>223.37285501315628</c:v>
                </c:pt>
                <c:pt idx="470">
                  <c:v>224.82635985776824</c:v>
                </c:pt>
                <c:pt idx="471">
                  <c:v>225.57567125425905</c:v>
                </c:pt>
                <c:pt idx="472">
                  <c:v>227.34836898699675</c:v>
                </c:pt>
                <c:pt idx="473">
                  <c:v>226.02288085654411</c:v>
                </c:pt>
                <c:pt idx="474">
                  <c:v>227.27877348788562</c:v>
                </c:pt>
                <c:pt idx="475">
                  <c:v>227.38218996584251</c:v>
                </c:pt>
                <c:pt idx="476">
                  <c:v>226.97275085437556</c:v>
                </c:pt>
                <c:pt idx="477">
                  <c:v>225.99537224453059</c:v>
                </c:pt>
                <c:pt idx="478">
                  <c:v>222.77232834896847</c:v>
                </c:pt>
                <c:pt idx="479">
                  <c:v>221.19079749995663</c:v>
                </c:pt>
                <c:pt idx="480">
                  <c:v>221.90233002837388</c:v>
                </c:pt>
                <c:pt idx="481">
                  <c:v>220.97947320007273</c:v>
                </c:pt>
                <c:pt idx="482">
                  <c:v>222.88079873012316</c:v>
                </c:pt>
                <c:pt idx="483">
                  <c:v>221.96203761479109</c:v>
                </c:pt>
                <c:pt idx="484">
                  <c:v>220.8663740336734</c:v>
                </c:pt>
                <c:pt idx="485">
                  <c:v>219.91459254108872</c:v>
                </c:pt>
                <c:pt idx="486">
                  <c:v>217.80060650807005</c:v>
                </c:pt>
                <c:pt idx="487">
                  <c:v>216.03716659257441</c:v>
                </c:pt>
                <c:pt idx="488">
                  <c:v>215.28127080903403</c:v>
                </c:pt>
                <c:pt idx="489">
                  <c:v>216.54250756180502</c:v>
                </c:pt>
                <c:pt idx="490">
                  <c:v>215.31177636875358</c:v>
                </c:pt>
                <c:pt idx="491">
                  <c:v>214.59240392600978</c:v>
                </c:pt>
                <c:pt idx="492">
                  <c:v>213.69659457820708</c:v>
                </c:pt>
                <c:pt idx="493">
                  <c:v>211.00507791597101</c:v>
                </c:pt>
                <c:pt idx="494">
                  <c:v>208.50278024667887</c:v>
                </c:pt>
                <c:pt idx="495">
                  <c:v>206.35040557022273</c:v>
                </c:pt>
                <c:pt idx="496">
                  <c:v>205.01683531295686</c:v>
                </c:pt>
                <c:pt idx="497">
                  <c:v>202.45872753523636</c:v>
                </c:pt>
                <c:pt idx="498">
                  <c:v>201.85459259343634</c:v>
                </c:pt>
                <c:pt idx="499">
                  <c:v>202.75757012675822</c:v>
                </c:pt>
                <c:pt idx="500">
                  <c:v>202.1742134186652</c:v>
                </c:pt>
                <c:pt idx="501">
                  <c:v>199.74139068509683</c:v>
                </c:pt>
                <c:pt idx="502">
                  <c:v>202.01921235569523</c:v>
                </c:pt>
                <c:pt idx="503">
                  <c:v>203.11722270956324</c:v>
                </c:pt>
                <c:pt idx="504">
                  <c:v>206.80598765943563</c:v>
                </c:pt>
                <c:pt idx="505">
                  <c:v>208.53160470467586</c:v>
                </c:pt>
                <c:pt idx="506">
                  <c:v>209.17614696788672</c:v>
                </c:pt>
                <c:pt idx="507">
                  <c:v>208.88654827675254</c:v>
                </c:pt>
                <c:pt idx="508">
                  <c:v>208.57729806192191</c:v>
                </c:pt>
                <c:pt idx="509">
                  <c:v>209.27032557856032</c:v>
                </c:pt>
                <c:pt idx="510">
                  <c:v>208.52722877312971</c:v>
                </c:pt>
                <c:pt idx="511">
                  <c:v>208.06618866759268</c:v>
                </c:pt>
                <c:pt idx="512">
                  <c:v>207.28132325525124</c:v>
                </c:pt>
                <c:pt idx="513">
                  <c:v>207.02498770905007</c:v>
                </c:pt>
                <c:pt idx="514">
                  <c:v>207.95149812493477</c:v>
                </c:pt>
                <c:pt idx="515">
                  <c:v>206.58327494346352</c:v>
                </c:pt>
                <c:pt idx="516">
                  <c:v>207.29427562720005</c:v>
                </c:pt>
                <c:pt idx="517">
                  <c:v>210.08584332531822</c:v>
                </c:pt>
                <c:pt idx="518">
                  <c:v>210.58116607173443</c:v>
                </c:pt>
                <c:pt idx="519">
                  <c:v>205.87382637762511</c:v>
                </c:pt>
                <c:pt idx="520">
                  <c:v>206.94592451098751</c:v>
                </c:pt>
                <c:pt idx="521">
                  <c:v>204.77691919972528</c:v>
                </c:pt>
                <c:pt idx="522">
                  <c:v>205.12406275739303</c:v>
                </c:pt>
                <c:pt idx="523">
                  <c:v>205.01578036481109</c:v>
                </c:pt>
                <c:pt idx="524">
                  <c:v>207.38052000231338</c:v>
                </c:pt>
                <c:pt idx="525">
                  <c:v>209.00021436373419</c:v>
                </c:pt>
                <c:pt idx="526">
                  <c:v>210.15720686750581</c:v>
                </c:pt>
                <c:pt idx="527">
                  <c:v>211.44370866146647</c:v>
                </c:pt>
                <c:pt idx="528">
                  <c:v>210.62613972590086</c:v>
                </c:pt>
                <c:pt idx="529">
                  <c:v>209.89326611058297</c:v>
                </c:pt>
                <c:pt idx="530">
                  <c:v>208.26493330021614</c:v>
                </c:pt>
                <c:pt idx="531">
                  <c:v>209.19088032923639</c:v>
                </c:pt>
                <c:pt idx="532">
                  <c:v>208.22589021540267</c:v>
                </c:pt>
                <c:pt idx="533">
                  <c:v>208.91415584856676</c:v>
                </c:pt>
                <c:pt idx="534">
                  <c:v>209.19215105387468</c:v>
                </c:pt>
                <c:pt idx="535">
                  <c:v>207.53253822743127</c:v>
                </c:pt>
                <c:pt idx="536">
                  <c:v>204.81484879522276</c:v>
                </c:pt>
                <c:pt idx="537">
                  <c:v>204.16346127533538</c:v>
                </c:pt>
                <c:pt idx="538">
                  <c:v>205.73255202029566</c:v>
                </c:pt>
                <c:pt idx="539">
                  <c:v>205.77818978034321</c:v>
                </c:pt>
                <c:pt idx="540">
                  <c:v>205.36728879052075</c:v>
                </c:pt>
                <c:pt idx="541">
                  <c:v>205.64075536769798</c:v>
                </c:pt>
                <c:pt idx="542">
                  <c:v>204.23593344775452</c:v>
                </c:pt>
                <c:pt idx="543">
                  <c:v>206.1648640147763</c:v>
                </c:pt>
                <c:pt idx="544">
                  <c:v>207.34252869624891</c:v>
                </c:pt>
                <c:pt idx="545">
                  <c:v>207.49331195495796</c:v>
                </c:pt>
                <c:pt idx="546">
                  <c:v>207.20239521551454</c:v>
                </c:pt>
                <c:pt idx="547">
                  <c:v>205.93321160818289</c:v>
                </c:pt>
                <c:pt idx="548">
                  <c:v>206.72214519771609</c:v>
                </c:pt>
                <c:pt idx="549">
                  <c:v>207.25714950371975</c:v>
                </c:pt>
                <c:pt idx="550">
                  <c:v>205.83722795315344</c:v>
                </c:pt>
                <c:pt idx="551">
                  <c:v>206.74539949023313</c:v>
                </c:pt>
                <c:pt idx="552">
                  <c:v>209.49126495136397</c:v>
                </c:pt>
                <c:pt idx="553">
                  <c:v>210.32557356506857</c:v>
                </c:pt>
                <c:pt idx="554">
                  <c:v>209.23863209291341</c:v>
                </c:pt>
                <c:pt idx="555">
                  <c:v>209.08659831117444</c:v>
                </c:pt>
                <c:pt idx="556">
                  <c:v>206.51688418261207</c:v>
                </c:pt>
                <c:pt idx="557">
                  <c:v>205.45005854533309</c:v>
                </c:pt>
                <c:pt idx="558">
                  <c:v>202.97886642898681</c:v>
                </c:pt>
                <c:pt idx="559">
                  <c:v>204.31254638116283</c:v>
                </c:pt>
                <c:pt idx="560">
                  <c:v>204.62643419691773</c:v>
                </c:pt>
                <c:pt idx="561">
                  <c:v>204.98680076952257</c:v>
                </c:pt>
                <c:pt idx="562">
                  <c:v>204.41893903226739</c:v>
                </c:pt>
                <c:pt idx="563">
                  <c:v>199.80106948522467</c:v>
                </c:pt>
                <c:pt idx="564">
                  <c:v>199.67938081058091</c:v>
                </c:pt>
                <c:pt idx="565">
                  <c:v>198.68686650739849</c:v>
                </c:pt>
                <c:pt idx="566">
                  <c:v>198.08385722161177</c:v>
                </c:pt>
                <c:pt idx="567">
                  <c:v>198.44986559706595</c:v>
                </c:pt>
                <c:pt idx="568">
                  <c:v>196.44895460248347</c:v>
                </c:pt>
                <c:pt idx="569">
                  <c:v>195.3604927788023</c:v>
                </c:pt>
                <c:pt idx="570">
                  <c:v>195.92118368186107</c:v>
                </c:pt>
                <c:pt idx="571">
                  <c:v>194.50454879449441</c:v>
                </c:pt>
                <c:pt idx="572">
                  <c:v>193.48928586825252</c:v>
                </c:pt>
                <c:pt idx="573">
                  <c:v>194.89307089704403</c:v>
                </c:pt>
                <c:pt idx="574">
                  <c:v>193.55084599689619</c:v>
                </c:pt>
                <c:pt idx="575">
                  <c:v>191.45663115584011</c:v>
                </c:pt>
                <c:pt idx="576">
                  <c:v>191.54859505221719</c:v>
                </c:pt>
                <c:pt idx="577">
                  <c:v>192.67822096061954</c:v>
                </c:pt>
                <c:pt idx="578">
                  <c:v>190.96624819905708</c:v>
                </c:pt>
                <c:pt idx="579">
                  <c:v>189.74272879387357</c:v>
                </c:pt>
                <c:pt idx="580">
                  <c:v>189.27381995741536</c:v>
                </c:pt>
                <c:pt idx="581">
                  <c:v>190.5644932577564</c:v>
                </c:pt>
                <c:pt idx="582">
                  <c:v>189.1784338177082</c:v>
                </c:pt>
                <c:pt idx="583">
                  <c:v>187.30994279325958</c:v>
                </c:pt>
                <c:pt idx="584">
                  <c:v>186.36487498172963</c:v>
                </c:pt>
                <c:pt idx="585">
                  <c:v>183.95070420466297</c:v>
                </c:pt>
                <c:pt idx="586">
                  <c:v>184.34564858272273</c:v>
                </c:pt>
                <c:pt idx="587">
                  <c:v>185.5596139336626</c:v>
                </c:pt>
                <c:pt idx="588">
                  <c:v>185.61478410328365</c:v>
                </c:pt>
                <c:pt idx="589">
                  <c:v>185.42515161892797</c:v>
                </c:pt>
                <c:pt idx="590">
                  <c:v>184.51615095142813</c:v>
                </c:pt>
                <c:pt idx="591">
                  <c:v>183.41483029531662</c:v>
                </c:pt>
                <c:pt idx="592">
                  <c:v>181.04285708467995</c:v>
                </c:pt>
                <c:pt idx="593">
                  <c:v>179.83255926348548</c:v>
                </c:pt>
                <c:pt idx="594">
                  <c:v>177.97937195712646</c:v>
                </c:pt>
                <c:pt idx="595">
                  <c:v>177.88006485115096</c:v>
                </c:pt>
                <c:pt idx="596">
                  <c:v>178.01145653792187</c:v>
                </c:pt>
                <c:pt idx="597">
                  <c:v>179.6990805937368</c:v>
                </c:pt>
                <c:pt idx="598">
                  <c:v>178.38383674371343</c:v>
                </c:pt>
                <c:pt idx="599">
                  <c:v>176.95882299646189</c:v>
                </c:pt>
                <c:pt idx="600">
                  <c:v>176.89714737779659</c:v>
                </c:pt>
                <c:pt idx="601">
                  <c:v>175.47242754302405</c:v>
                </c:pt>
                <c:pt idx="602">
                  <c:v>174.13037470625267</c:v>
                </c:pt>
                <c:pt idx="603">
                  <c:v>172.75344960550265</c:v>
                </c:pt>
                <c:pt idx="604">
                  <c:v>173.03316385740047</c:v>
                </c:pt>
                <c:pt idx="605">
                  <c:v>172.5948030880175</c:v>
                </c:pt>
                <c:pt idx="606">
                  <c:v>171.13922783786995</c:v>
                </c:pt>
                <c:pt idx="607">
                  <c:v>170.71912287290863</c:v>
                </c:pt>
                <c:pt idx="608">
                  <c:v>169.69016192772537</c:v>
                </c:pt>
                <c:pt idx="609">
                  <c:v>169.06827028706633</c:v>
                </c:pt>
                <c:pt idx="610">
                  <c:v>167.27098895652989</c:v>
                </c:pt>
                <c:pt idx="611">
                  <c:v>168.49637429642164</c:v>
                </c:pt>
                <c:pt idx="612">
                  <c:v>169.91104424960943</c:v>
                </c:pt>
                <c:pt idx="613">
                  <c:v>170.14373118187584</c:v>
                </c:pt>
                <c:pt idx="614">
                  <c:v>170.99680157300222</c:v>
                </c:pt>
                <c:pt idx="615">
                  <c:v>170.42734892036998</c:v>
                </c:pt>
                <c:pt idx="616">
                  <c:v>170.46715126000908</c:v>
                </c:pt>
                <c:pt idx="617">
                  <c:v>171.27006742660978</c:v>
                </c:pt>
                <c:pt idx="618">
                  <c:v>171.3027249050603</c:v>
                </c:pt>
                <c:pt idx="619">
                  <c:v>171.18870340910232</c:v>
                </c:pt>
                <c:pt idx="620">
                  <c:v>170.30209674612018</c:v>
                </c:pt>
                <c:pt idx="621">
                  <c:v>170.59943905599727</c:v>
                </c:pt>
                <c:pt idx="622">
                  <c:v>169.74092179991968</c:v>
                </c:pt>
                <c:pt idx="623">
                  <c:v>169.83854717308856</c:v>
                </c:pt>
                <c:pt idx="624">
                  <c:v>169.91228926635063</c:v>
                </c:pt>
                <c:pt idx="625">
                  <c:v>168.40402194050327</c:v>
                </c:pt>
                <c:pt idx="626">
                  <c:v>167.51530188862696</c:v>
                </c:pt>
                <c:pt idx="627">
                  <c:v>167.62558745820095</c:v>
                </c:pt>
                <c:pt idx="628">
                  <c:v>167.68945586866465</c:v>
                </c:pt>
                <c:pt idx="629">
                  <c:v>168.43489051453648</c:v>
                </c:pt>
                <c:pt idx="630">
                  <c:v>167.90985672822333</c:v>
                </c:pt>
                <c:pt idx="631">
                  <c:v>169.262772381405</c:v>
                </c:pt>
                <c:pt idx="632">
                  <c:v>168.74897528535055</c:v>
                </c:pt>
                <c:pt idx="633">
                  <c:v>166.86847769115303</c:v>
                </c:pt>
                <c:pt idx="634">
                  <c:v>167.4642902798505</c:v>
                </c:pt>
                <c:pt idx="635">
                  <c:v>168.1555556484696</c:v>
                </c:pt>
                <c:pt idx="636">
                  <c:v>164.98824262541476</c:v>
                </c:pt>
                <c:pt idx="637">
                  <c:v>164.76040019332595</c:v>
                </c:pt>
                <c:pt idx="638">
                  <c:v>164.09946836765238</c:v>
                </c:pt>
                <c:pt idx="639">
                  <c:v>162.89810765636958</c:v>
                </c:pt>
                <c:pt idx="640">
                  <c:v>161.79848276542543</c:v>
                </c:pt>
                <c:pt idx="641">
                  <c:v>161.4475208730706</c:v>
                </c:pt>
                <c:pt idx="642">
                  <c:v>160.59576055565344</c:v>
                </c:pt>
                <c:pt idx="643">
                  <c:v>159.57723211587148</c:v>
                </c:pt>
                <c:pt idx="644">
                  <c:v>159.81444454659535</c:v>
                </c:pt>
                <c:pt idx="645">
                  <c:v>158.72039573332788</c:v>
                </c:pt>
                <c:pt idx="646">
                  <c:v>159.6005306141719</c:v>
                </c:pt>
                <c:pt idx="647">
                  <c:v>159.27550923998035</c:v>
                </c:pt>
                <c:pt idx="648">
                  <c:v>157.92231157179822</c:v>
                </c:pt>
                <c:pt idx="649">
                  <c:v>158.30759231372983</c:v>
                </c:pt>
                <c:pt idx="650">
                  <c:v>158.4425671554346</c:v>
                </c:pt>
                <c:pt idx="651">
                  <c:v>159.17890782081233</c:v>
                </c:pt>
                <c:pt idx="652">
                  <c:v>158.32131334937455</c:v>
                </c:pt>
                <c:pt idx="653">
                  <c:v>157.96701781128729</c:v>
                </c:pt>
                <c:pt idx="654">
                  <c:v>158.06684467254956</c:v>
                </c:pt>
                <c:pt idx="655">
                  <c:v>159.27364344918647</c:v>
                </c:pt>
                <c:pt idx="656">
                  <c:v>159.6975659861252</c:v>
                </c:pt>
                <c:pt idx="657">
                  <c:v>159.96269718643413</c:v>
                </c:pt>
                <c:pt idx="658">
                  <c:v>160.58838939744086</c:v>
                </c:pt>
                <c:pt idx="659">
                  <c:v>159.93832159493329</c:v>
                </c:pt>
                <c:pt idx="660">
                  <c:v>159.72182508765491</c:v>
                </c:pt>
                <c:pt idx="661">
                  <c:v>159.87281013602919</c:v>
                </c:pt>
                <c:pt idx="662">
                  <c:v>159.37433535092532</c:v>
                </c:pt>
                <c:pt idx="663">
                  <c:v>160.46661717848835</c:v>
                </c:pt>
                <c:pt idx="664">
                  <c:v>161.63647390229571</c:v>
                </c:pt>
                <c:pt idx="665">
                  <c:v>161.39194527698299</c:v>
                </c:pt>
                <c:pt idx="666">
                  <c:v>161.53344104320317</c:v>
                </c:pt>
                <c:pt idx="667">
                  <c:v>162.27903259931</c:v>
                </c:pt>
                <c:pt idx="668">
                  <c:v>162.60064693453438</c:v>
                </c:pt>
                <c:pt idx="669">
                  <c:v>163.27488452634174</c:v>
                </c:pt>
                <c:pt idx="670">
                  <c:v>164.63672197795384</c:v>
                </c:pt>
                <c:pt idx="671">
                  <c:v>163.0320011706489</c:v>
                </c:pt>
                <c:pt idx="672">
                  <c:v>162.73520017815522</c:v>
                </c:pt>
                <c:pt idx="673">
                  <c:v>163.41573687571886</c:v>
                </c:pt>
                <c:pt idx="674">
                  <c:v>164.29008390909445</c:v>
                </c:pt>
                <c:pt idx="675">
                  <c:v>164.00706484118268</c:v>
                </c:pt>
                <c:pt idx="676">
                  <c:v>164.82434531415927</c:v>
                </c:pt>
                <c:pt idx="677">
                  <c:v>162.79848597615862</c:v>
                </c:pt>
                <c:pt idx="678">
                  <c:v>162.85607572677469</c:v>
                </c:pt>
                <c:pt idx="679">
                  <c:v>162.184375762645</c:v>
                </c:pt>
                <c:pt idx="680">
                  <c:v>163.5001674994526</c:v>
                </c:pt>
                <c:pt idx="681">
                  <c:v>164.08466752656167</c:v>
                </c:pt>
                <c:pt idx="682">
                  <c:v>164.83345891453044</c:v>
                </c:pt>
                <c:pt idx="683">
                  <c:v>165.31061940083376</c:v>
                </c:pt>
                <c:pt idx="684">
                  <c:v>165.80576676154445</c:v>
                </c:pt>
                <c:pt idx="685">
                  <c:v>165.47659156406206</c:v>
                </c:pt>
                <c:pt idx="686">
                  <c:v>167.24645514797874</c:v>
                </c:pt>
                <c:pt idx="687">
                  <c:v>168.91562277319568</c:v>
                </c:pt>
                <c:pt idx="688">
                  <c:v>167.6697273150495</c:v>
                </c:pt>
                <c:pt idx="689">
                  <c:v>169.02889926730455</c:v>
                </c:pt>
                <c:pt idx="690">
                  <c:v>169.61934085251892</c:v>
                </c:pt>
                <c:pt idx="691">
                  <c:v>168.61888014286282</c:v>
                </c:pt>
                <c:pt idx="692">
                  <c:v>168.84661678119667</c:v>
                </c:pt>
                <c:pt idx="693">
                  <c:v>169.19737723576748</c:v>
                </c:pt>
                <c:pt idx="694">
                  <c:v>169.3462940153984</c:v>
                </c:pt>
                <c:pt idx="695">
                  <c:v>169.49740336727766</c:v>
                </c:pt>
                <c:pt idx="696">
                  <c:v>170.45217207371425</c:v>
                </c:pt>
                <c:pt idx="697">
                  <c:v>170.15020042333316</c:v>
                </c:pt>
                <c:pt idx="698">
                  <c:v>168.77837842247698</c:v>
                </c:pt>
                <c:pt idx="699">
                  <c:v>170.15945242323565</c:v>
                </c:pt>
                <c:pt idx="700">
                  <c:v>168.99441435998537</c:v>
                </c:pt>
                <c:pt idx="701">
                  <c:v>169.4775142066554</c:v>
                </c:pt>
                <c:pt idx="702">
                  <c:v>168.37326852546596</c:v>
                </c:pt>
                <c:pt idx="703">
                  <c:v>168.74147589509104</c:v>
                </c:pt>
                <c:pt idx="704">
                  <c:v>169.33059891620221</c:v>
                </c:pt>
                <c:pt idx="705">
                  <c:v>168.95332521715326</c:v>
                </c:pt>
                <c:pt idx="706">
                  <c:v>169.6105519567223</c:v>
                </c:pt>
                <c:pt idx="707">
                  <c:v>169.53693130482026</c:v>
                </c:pt>
                <c:pt idx="708">
                  <c:v>170.07444318578271</c:v>
                </c:pt>
                <c:pt idx="709">
                  <c:v>172.06425982706043</c:v>
                </c:pt>
                <c:pt idx="710">
                  <c:v>172.41209846933566</c:v>
                </c:pt>
                <c:pt idx="711">
                  <c:v>168.84667000121595</c:v>
                </c:pt>
                <c:pt idx="712">
                  <c:v>169.03920386155934</c:v>
                </c:pt>
                <c:pt idx="713">
                  <c:v>169.14468473729943</c:v>
                </c:pt>
                <c:pt idx="714">
                  <c:v>171.06862362685433</c:v>
                </c:pt>
                <c:pt idx="715">
                  <c:v>171.87842906268455</c:v>
                </c:pt>
                <c:pt idx="716">
                  <c:v>171.08244916595066</c:v>
                </c:pt>
                <c:pt idx="717">
                  <c:v>171.0524152699081</c:v>
                </c:pt>
                <c:pt idx="718">
                  <c:v>171.12833954180624</c:v>
                </c:pt>
                <c:pt idx="719">
                  <c:v>170.9729568915435</c:v>
                </c:pt>
                <c:pt idx="720">
                  <c:v>172.42119125235467</c:v>
                </c:pt>
                <c:pt idx="721">
                  <c:v>173.48628419192354</c:v>
                </c:pt>
                <c:pt idx="722">
                  <c:v>174.40232898978596</c:v>
                </c:pt>
                <c:pt idx="723">
                  <c:v>175.02875094139858</c:v>
                </c:pt>
                <c:pt idx="724">
                  <c:v>175.27492543903224</c:v>
                </c:pt>
                <c:pt idx="725">
                  <c:v>175.20419283671328</c:v>
                </c:pt>
                <c:pt idx="726">
                  <c:v>174.67937831972537</c:v>
                </c:pt>
                <c:pt idx="727">
                  <c:v>173.63608480774133</c:v>
                </c:pt>
                <c:pt idx="728">
                  <c:v>173.22413817816042</c:v>
                </c:pt>
                <c:pt idx="729">
                  <c:v>172.47867008862775</c:v>
                </c:pt>
                <c:pt idx="730">
                  <c:v>171.84404150055488</c:v>
                </c:pt>
                <c:pt idx="731">
                  <c:v>171.00219482373811</c:v>
                </c:pt>
                <c:pt idx="732">
                  <c:v>170.86597134456449</c:v>
                </c:pt>
                <c:pt idx="733">
                  <c:v>171.50808731676528</c:v>
                </c:pt>
                <c:pt idx="734">
                  <c:v>172.06539956707616</c:v>
                </c:pt>
                <c:pt idx="735">
                  <c:v>173.09986448257544</c:v>
                </c:pt>
                <c:pt idx="736">
                  <c:v>174.15333909880528</c:v>
                </c:pt>
                <c:pt idx="737">
                  <c:v>174.12112435229116</c:v>
                </c:pt>
                <c:pt idx="738">
                  <c:v>173.24614596192617</c:v>
                </c:pt>
                <c:pt idx="739">
                  <c:v>172.97938345413345</c:v>
                </c:pt>
                <c:pt idx="740">
                  <c:v>174.57792378869888</c:v>
                </c:pt>
                <c:pt idx="741">
                  <c:v>176.57649616155726</c:v>
                </c:pt>
                <c:pt idx="742">
                  <c:v>178.28657634565627</c:v>
                </c:pt>
                <c:pt idx="743">
                  <c:v>179.57650482509615</c:v>
                </c:pt>
                <c:pt idx="744">
                  <c:v>179.30349784158875</c:v>
                </c:pt>
                <c:pt idx="745">
                  <c:v>178.23987490803469</c:v>
                </c:pt>
                <c:pt idx="746">
                  <c:v>175.47648010287085</c:v>
                </c:pt>
                <c:pt idx="747">
                  <c:v>173.16710843257067</c:v>
                </c:pt>
                <c:pt idx="748">
                  <c:v>174.29108210292458</c:v>
                </c:pt>
                <c:pt idx="749">
                  <c:v>173.05265219207664</c:v>
                </c:pt>
                <c:pt idx="750">
                  <c:v>172.271098036697</c:v>
                </c:pt>
                <c:pt idx="751">
                  <c:v>171.46708124459855</c:v>
                </c:pt>
                <c:pt idx="752">
                  <c:v>172.31513385044522</c:v>
                </c:pt>
                <c:pt idx="753">
                  <c:v>171.86263810883918</c:v>
                </c:pt>
                <c:pt idx="754">
                  <c:v>171.68903199306033</c:v>
                </c:pt>
                <c:pt idx="755">
                  <c:v>171.29226488855491</c:v>
                </c:pt>
                <c:pt idx="756">
                  <c:v>171.27224123964132</c:v>
                </c:pt>
                <c:pt idx="757">
                  <c:v>170.46456959716755</c:v>
                </c:pt>
                <c:pt idx="758">
                  <c:v>170.25656270453433</c:v>
                </c:pt>
                <c:pt idx="759">
                  <c:v>170.05988739073709</c:v>
                </c:pt>
                <c:pt idx="760">
                  <c:v>172.4008924128141</c:v>
                </c:pt>
                <c:pt idx="761">
                  <c:v>173.62664801309217</c:v>
                </c:pt>
                <c:pt idx="762">
                  <c:v>174.45034335608554</c:v>
                </c:pt>
                <c:pt idx="763">
                  <c:v>174.29960134164872</c:v>
                </c:pt>
                <c:pt idx="764">
                  <c:v>172.81200455597491</c:v>
                </c:pt>
                <c:pt idx="765">
                  <c:v>171.63530928664727</c:v>
                </c:pt>
                <c:pt idx="766">
                  <c:v>170.37547537165375</c:v>
                </c:pt>
                <c:pt idx="767">
                  <c:v>167.92087194955522</c:v>
                </c:pt>
                <c:pt idx="768">
                  <c:v>167.01871934158495</c:v>
                </c:pt>
                <c:pt idx="769">
                  <c:v>165.98027958437768</c:v>
                </c:pt>
                <c:pt idx="770">
                  <c:v>168.15631234178846</c:v>
                </c:pt>
                <c:pt idx="771">
                  <c:v>168.8871376963385</c:v>
                </c:pt>
                <c:pt idx="772">
                  <c:v>168.96783378936158</c:v>
                </c:pt>
                <c:pt idx="773">
                  <c:v>170.40200290086486</c:v>
                </c:pt>
                <c:pt idx="774">
                  <c:v>166.14288769045342</c:v>
                </c:pt>
                <c:pt idx="775">
                  <c:v>166.08586811036878</c:v>
                </c:pt>
                <c:pt idx="776">
                  <c:v>168.47492402215016</c:v>
                </c:pt>
                <c:pt idx="777">
                  <c:v>169.97631612381309</c:v>
                </c:pt>
                <c:pt idx="778">
                  <c:v>170.74531388352429</c:v>
                </c:pt>
                <c:pt idx="779">
                  <c:v>170.34676256895875</c:v>
                </c:pt>
                <c:pt idx="780">
                  <c:v>169.93990206977173</c:v>
                </c:pt>
                <c:pt idx="781">
                  <c:v>169.76375268635104</c:v>
                </c:pt>
                <c:pt idx="782">
                  <c:v>169.59803323150669</c:v>
                </c:pt>
                <c:pt idx="783">
                  <c:v>168.2351518521404</c:v>
                </c:pt>
                <c:pt idx="784">
                  <c:v>167.64545089644477</c:v>
                </c:pt>
                <c:pt idx="785">
                  <c:v>167.3111721526827</c:v>
                </c:pt>
                <c:pt idx="786">
                  <c:v>167.89086049259421</c:v>
                </c:pt>
                <c:pt idx="787">
                  <c:v>169.10181128382902</c:v>
                </c:pt>
                <c:pt idx="788">
                  <c:v>167.30125153141989</c:v>
                </c:pt>
                <c:pt idx="789">
                  <c:v>167.50316278009814</c:v>
                </c:pt>
                <c:pt idx="790">
                  <c:v>167.54270448408465</c:v>
                </c:pt>
                <c:pt idx="791">
                  <c:v>167.96484268520007</c:v>
                </c:pt>
                <c:pt idx="792">
                  <c:v>167.65832463944253</c:v>
                </c:pt>
                <c:pt idx="793">
                  <c:v>166.73135180566354</c:v>
                </c:pt>
                <c:pt idx="794">
                  <c:v>169.17096554726669</c:v>
                </c:pt>
                <c:pt idx="795">
                  <c:v>170.93147028745139</c:v>
                </c:pt>
                <c:pt idx="796">
                  <c:v>171.23255887157615</c:v>
                </c:pt>
                <c:pt idx="797">
                  <c:v>170.94018312088934</c:v>
                </c:pt>
                <c:pt idx="798">
                  <c:v>169.58352334607594</c:v>
                </c:pt>
                <c:pt idx="799">
                  <c:v>171.15868102555189</c:v>
                </c:pt>
                <c:pt idx="800">
                  <c:v>170.59908381714629</c:v>
                </c:pt>
                <c:pt idx="801">
                  <c:v>170.95994573204791</c:v>
                </c:pt>
                <c:pt idx="802">
                  <c:v>170.5172408141901</c:v>
                </c:pt>
                <c:pt idx="803">
                  <c:v>171.04559402188121</c:v>
                </c:pt>
                <c:pt idx="804">
                  <c:v>168.00461036620939</c:v>
                </c:pt>
                <c:pt idx="805">
                  <c:v>169.29543975331822</c:v>
                </c:pt>
                <c:pt idx="806">
                  <c:v>169.20421752402692</c:v>
                </c:pt>
                <c:pt idx="807">
                  <c:v>168.93056425612909</c:v>
                </c:pt>
                <c:pt idx="808">
                  <c:v>166.9400107286441</c:v>
                </c:pt>
                <c:pt idx="809">
                  <c:v>166.52857016373855</c:v>
                </c:pt>
                <c:pt idx="810">
                  <c:v>163.98176390316092</c:v>
                </c:pt>
                <c:pt idx="811">
                  <c:v>165.68246400541898</c:v>
                </c:pt>
                <c:pt idx="812">
                  <c:v>166.84640653213646</c:v>
                </c:pt>
                <c:pt idx="813">
                  <c:v>167.44732120317903</c:v>
                </c:pt>
                <c:pt idx="814">
                  <c:v>167.76311301565099</c:v>
                </c:pt>
                <c:pt idx="815">
                  <c:v>167.42214624043945</c:v>
                </c:pt>
                <c:pt idx="816">
                  <c:v>167.30725373189722</c:v>
                </c:pt>
                <c:pt idx="817">
                  <c:v>166.86152516807371</c:v>
                </c:pt>
                <c:pt idx="818">
                  <c:v>166.3127096754545</c:v>
                </c:pt>
                <c:pt idx="819">
                  <c:v>165.20508918754155</c:v>
                </c:pt>
                <c:pt idx="820">
                  <c:v>163.68114507502273</c:v>
                </c:pt>
                <c:pt idx="821">
                  <c:v>164.82758109413132</c:v>
                </c:pt>
                <c:pt idx="822">
                  <c:v>163.88194979903849</c:v>
                </c:pt>
                <c:pt idx="823">
                  <c:v>163.31566301496701</c:v>
                </c:pt>
                <c:pt idx="824">
                  <c:v>162.3733805972067</c:v>
                </c:pt>
                <c:pt idx="825">
                  <c:v>161.25721874070157</c:v>
                </c:pt>
                <c:pt idx="826">
                  <c:v>161.03757481352898</c:v>
                </c:pt>
                <c:pt idx="827">
                  <c:v>161.18466164594508</c:v>
                </c:pt>
                <c:pt idx="828">
                  <c:v>160.19913009117457</c:v>
                </c:pt>
                <c:pt idx="829">
                  <c:v>160.49184466534112</c:v>
                </c:pt>
                <c:pt idx="830">
                  <c:v>160.83017642238906</c:v>
                </c:pt>
                <c:pt idx="831">
                  <c:v>160.94455302393089</c:v>
                </c:pt>
                <c:pt idx="832">
                  <c:v>160.48207834873543</c:v>
                </c:pt>
                <c:pt idx="833">
                  <c:v>159.52409466919718</c:v>
                </c:pt>
                <c:pt idx="834">
                  <c:v>157.39347740228678</c:v>
                </c:pt>
                <c:pt idx="835">
                  <c:v>159.0563789167463</c:v>
                </c:pt>
                <c:pt idx="836">
                  <c:v>156.01529003375475</c:v>
                </c:pt>
                <c:pt idx="837">
                  <c:v>155.73574411617113</c:v>
                </c:pt>
                <c:pt idx="838">
                  <c:v>158.11183358684565</c:v>
                </c:pt>
                <c:pt idx="839">
                  <c:v>160.68479709893663</c:v>
                </c:pt>
                <c:pt idx="840">
                  <c:v>160.10033402510481</c:v>
                </c:pt>
                <c:pt idx="841">
                  <c:v>159.966210481856</c:v>
                </c:pt>
                <c:pt idx="842">
                  <c:v>163.00370024590521</c:v>
                </c:pt>
                <c:pt idx="843">
                  <c:v>163.55795310507463</c:v>
                </c:pt>
                <c:pt idx="844">
                  <c:v>162.01134514299466</c:v>
                </c:pt>
                <c:pt idx="845">
                  <c:v>161.74226701904331</c:v>
                </c:pt>
                <c:pt idx="846">
                  <c:v>163.0592077021856</c:v>
                </c:pt>
                <c:pt idx="847">
                  <c:v>163.124056329225</c:v>
                </c:pt>
                <c:pt idx="848">
                  <c:v>164.42533258951016</c:v>
                </c:pt>
                <c:pt idx="849">
                  <c:v>164.03907052533788</c:v>
                </c:pt>
                <c:pt idx="850">
                  <c:v>165.86241835985427</c:v>
                </c:pt>
                <c:pt idx="851">
                  <c:v>166.49489676964549</c:v>
                </c:pt>
                <c:pt idx="852">
                  <c:v>166.15873945484043</c:v>
                </c:pt>
                <c:pt idx="853">
                  <c:v>164.10372756258099</c:v>
                </c:pt>
                <c:pt idx="854">
                  <c:v>162.98105740036152</c:v>
                </c:pt>
                <c:pt idx="855">
                  <c:v>165.27365621755774</c:v>
                </c:pt>
                <c:pt idx="856">
                  <c:v>167.72548350952439</c:v>
                </c:pt>
                <c:pt idx="857">
                  <c:v>169.46841377652245</c:v>
                </c:pt>
                <c:pt idx="858">
                  <c:v>164.86206004276448</c:v>
                </c:pt>
                <c:pt idx="859">
                  <c:v>168.37011347373453</c:v>
                </c:pt>
                <c:pt idx="860">
                  <c:v>167.46979573915897</c:v>
                </c:pt>
                <c:pt idx="861">
                  <c:v>165.29814693866476</c:v>
                </c:pt>
                <c:pt idx="862">
                  <c:v>165.07597217278715</c:v>
                </c:pt>
                <c:pt idx="863">
                  <c:v>162.61649238259287</c:v>
                </c:pt>
                <c:pt idx="864">
                  <c:v>164.48557794580378</c:v>
                </c:pt>
                <c:pt idx="865">
                  <c:v>165.56347940522201</c:v>
                </c:pt>
                <c:pt idx="866">
                  <c:v>168.36529808391825</c:v>
                </c:pt>
                <c:pt idx="867">
                  <c:v>169.40781159332906</c:v>
                </c:pt>
                <c:pt idx="868">
                  <c:v>172.24379184199572</c:v>
                </c:pt>
                <c:pt idx="869">
                  <c:v>173.04593363493601</c:v>
                </c:pt>
                <c:pt idx="870">
                  <c:v>178.05487228665913</c:v>
                </c:pt>
                <c:pt idx="871">
                  <c:v>179.16250427221834</c:v>
                </c:pt>
                <c:pt idx="872">
                  <c:v>179.58286277518584</c:v>
                </c:pt>
                <c:pt idx="873">
                  <c:v>178.58094271931358</c:v>
                </c:pt>
                <c:pt idx="874">
                  <c:v>179.7885309608516</c:v>
                </c:pt>
                <c:pt idx="875">
                  <c:v>178.41742959989719</c:v>
                </c:pt>
                <c:pt idx="876">
                  <c:v>181.35332541051645</c:v>
                </c:pt>
                <c:pt idx="877">
                  <c:v>184.0692704889378</c:v>
                </c:pt>
                <c:pt idx="878">
                  <c:v>181.71629635969558</c:v>
                </c:pt>
                <c:pt idx="879">
                  <c:v>179.76369453887128</c:v>
                </c:pt>
                <c:pt idx="880">
                  <c:v>181.41793404228156</c:v>
                </c:pt>
                <c:pt idx="881">
                  <c:v>182.70473568662456</c:v>
                </c:pt>
                <c:pt idx="882">
                  <c:v>182.15265401845525</c:v>
                </c:pt>
                <c:pt idx="883">
                  <c:v>183.85349119179111</c:v>
                </c:pt>
                <c:pt idx="884">
                  <c:v>183.42610176347833</c:v>
                </c:pt>
                <c:pt idx="885">
                  <c:v>182.74817190445668</c:v>
                </c:pt>
                <c:pt idx="886">
                  <c:v>182.02259284299114</c:v>
                </c:pt>
                <c:pt idx="887">
                  <c:v>182.84735176310934</c:v>
                </c:pt>
                <c:pt idx="888">
                  <c:v>181.89992966398262</c:v>
                </c:pt>
                <c:pt idx="889">
                  <c:v>179.26356759235082</c:v>
                </c:pt>
                <c:pt idx="890">
                  <c:v>178.94898286249423</c:v>
                </c:pt>
                <c:pt idx="891">
                  <c:v>180.43501938733667</c:v>
                </c:pt>
                <c:pt idx="892">
                  <c:v>180.49890542481793</c:v>
                </c:pt>
                <c:pt idx="893">
                  <c:v>177.86023502441216</c:v>
                </c:pt>
                <c:pt idx="894">
                  <c:v>178.34276404865713</c:v>
                </c:pt>
                <c:pt idx="895">
                  <c:v>179.56458143966734</c:v>
                </c:pt>
                <c:pt idx="896">
                  <c:v>178.23699856876706</c:v>
                </c:pt>
                <c:pt idx="897">
                  <c:v>177.36494731837834</c:v>
                </c:pt>
                <c:pt idx="898">
                  <c:v>178.21609589327372</c:v>
                </c:pt>
                <c:pt idx="899">
                  <c:v>178.2710748990765</c:v>
                </c:pt>
                <c:pt idx="900">
                  <c:v>176.71539987914326</c:v>
                </c:pt>
                <c:pt idx="901">
                  <c:v>175.52013871188831</c:v>
                </c:pt>
                <c:pt idx="902">
                  <c:v>176.2971185355533</c:v>
                </c:pt>
                <c:pt idx="903">
                  <c:v>176.91488793469227</c:v>
                </c:pt>
                <c:pt idx="904">
                  <c:v>173.7443742519377</c:v>
                </c:pt>
                <c:pt idx="905">
                  <c:v>173.22897517203259</c:v>
                </c:pt>
                <c:pt idx="906">
                  <c:v>170.16196684360293</c:v>
                </c:pt>
                <c:pt idx="907">
                  <c:v>167.13569127682121</c:v>
                </c:pt>
                <c:pt idx="908">
                  <c:v>168.46274773727663</c:v>
                </c:pt>
                <c:pt idx="909">
                  <c:v>170.12257856128022</c:v>
                </c:pt>
                <c:pt idx="910">
                  <c:v>170.01144671581517</c:v>
                </c:pt>
                <c:pt idx="911">
                  <c:v>171.97551836163885</c:v>
                </c:pt>
                <c:pt idx="912">
                  <c:v>171.16193243669733</c:v>
                </c:pt>
                <c:pt idx="913">
                  <c:v>166.13229902842863</c:v>
                </c:pt>
                <c:pt idx="914">
                  <c:v>172.95809989204824</c:v>
                </c:pt>
                <c:pt idx="915">
                  <c:v>172.14570539528847</c:v>
                </c:pt>
                <c:pt idx="916">
                  <c:v>172.9562592790065</c:v>
                </c:pt>
                <c:pt idx="917">
                  <c:v>175.56580310434532</c:v>
                </c:pt>
                <c:pt idx="918">
                  <c:v>177.29164884191195</c:v>
                </c:pt>
                <c:pt idx="919">
                  <c:v>178.5528790043673</c:v>
                </c:pt>
                <c:pt idx="920">
                  <c:v>177.78467711353824</c:v>
                </c:pt>
                <c:pt idx="921">
                  <c:v>176.02519731605886</c:v>
                </c:pt>
                <c:pt idx="922">
                  <c:v>179.79775196300113</c:v>
                </c:pt>
                <c:pt idx="923">
                  <c:v>181.46677771265851</c:v>
                </c:pt>
                <c:pt idx="924">
                  <c:v>181.05397335340854</c:v>
                </c:pt>
                <c:pt idx="925">
                  <c:v>179.54836292030598</c:v>
                </c:pt>
                <c:pt idx="926">
                  <c:v>179.4036713445648</c:v>
                </c:pt>
                <c:pt idx="927">
                  <c:v>182.11469327515286</c:v>
                </c:pt>
                <c:pt idx="928">
                  <c:v>182.62004966758863</c:v>
                </c:pt>
                <c:pt idx="929">
                  <c:v>183.36564478692623</c:v>
                </c:pt>
                <c:pt idx="930">
                  <c:v>180.84299478287517</c:v>
                </c:pt>
                <c:pt idx="931">
                  <c:v>177.8623909495835</c:v>
                </c:pt>
                <c:pt idx="932">
                  <c:v>175.83880265716772</c:v>
                </c:pt>
                <c:pt idx="933">
                  <c:v>174.40861072912514</c:v>
                </c:pt>
                <c:pt idx="934">
                  <c:v>177.81015486304989</c:v>
                </c:pt>
                <c:pt idx="935">
                  <c:v>176.53308691176375</c:v>
                </c:pt>
                <c:pt idx="936">
                  <c:v>181.01783430690293</c:v>
                </c:pt>
                <c:pt idx="937">
                  <c:v>183.61454152075757</c:v>
                </c:pt>
                <c:pt idx="938">
                  <c:v>185.51321881523083</c:v>
                </c:pt>
                <c:pt idx="939">
                  <c:v>186.12410322124401</c:v>
                </c:pt>
                <c:pt idx="940">
                  <c:v>188.96412057572036</c:v>
                </c:pt>
                <c:pt idx="941">
                  <c:v>190.30088173081026</c:v>
                </c:pt>
                <c:pt idx="942">
                  <c:v>191.41441989172776</c:v>
                </c:pt>
                <c:pt idx="943">
                  <c:v>189.32145463690935</c:v>
                </c:pt>
                <c:pt idx="944">
                  <c:v>189.36645311916385</c:v>
                </c:pt>
                <c:pt idx="945">
                  <c:v>189.73738608161617</c:v>
                </c:pt>
                <c:pt idx="946">
                  <c:v>189.48695150202701</c:v>
                </c:pt>
                <c:pt idx="947">
                  <c:v>190.20818407810253</c:v>
                </c:pt>
                <c:pt idx="948">
                  <c:v>191.25331653084666</c:v>
                </c:pt>
                <c:pt idx="949">
                  <c:v>191.89280368493507</c:v>
                </c:pt>
                <c:pt idx="950">
                  <c:v>193.36195643781986</c:v>
                </c:pt>
                <c:pt idx="951">
                  <c:v>193.75937079783102</c:v>
                </c:pt>
                <c:pt idx="952">
                  <c:v>192.12325925739594</c:v>
                </c:pt>
                <c:pt idx="953">
                  <c:v>191.01118624319474</c:v>
                </c:pt>
                <c:pt idx="954">
                  <c:v>187.74531128034292</c:v>
                </c:pt>
                <c:pt idx="955">
                  <c:v>186.21022172025985</c:v>
                </c:pt>
                <c:pt idx="956">
                  <c:v>183.95216169804078</c:v>
                </c:pt>
                <c:pt idx="957">
                  <c:v>185.75741993735326</c:v>
                </c:pt>
                <c:pt idx="958">
                  <c:v>184.09584619446386</c:v>
                </c:pt>
                <c:pt idx="959">
                  <c:v>181.38341915416825</c:v>
                </c:pt>
                <c:pt idx="960">
                  <c:v>179.5131518809342</c:v>
                </c:pt>
                <c:pt idx="961">
                  <c:v>181.3524153658382</c:v>
                </c:pt>
                <c:pt idx="962">
                  <c:v>184.38920691137409</c:v>
                </c:pt>
                <c:pt idx="963">
                  <c:v>185.64881861217864</c:v>
                </c:pt>
                <c:pt idx="964">
                  <c:v>186.37396214844409</c:v>
                </c:pt>
                <c:pt idx="965">
                  <c:v>185.23577741057187</c:v>
                </c:pt>
                <c:pt idx="966">
                  <c:v>185.40331626314682</c:v>
                </c:pt>
                <c:pt idx="967">
                  <c:v>185.19903162227871</c:v>
                </c:pt>
                <c:pt idx="968">
                  <c:v>184.85800681031188</c:v>
                </c:pt>
                <c:pt idx="969">
                  <c:v>182.4983272836773</c:v>
                </c:pt>
                <c:pt idx="970">
                  <c:v>181.97974127874701</c:v>
                </c:pt>
                <c:pt idx="971">
                  <c:v>185.18419945925493</c:v>
                </c:pt>
                <c:pt idx="972">
                  <c:v>186.23799222254658</c:v>
                </c:pt>
                <c:pt idx="973">
                  <c:v>184.71797093475408</c:v>
                </c:pt>
                <c:pt idx="974">
                  <c:v>187.10718734465334</c:v>
                </c:pt>
                <c:pt idx="975">
                  <c:v>186.85876748361406</c:v>
                </c:pt>
                <c:pt idx="976">
                  <c:v>188.10210748722352</c:v>
                </c:pt>
                <c:pt idx="977">
                  <c:v>186.07987314719091</c:v>
                </c:pt>
                <c:pt idx="978">
                  <c:v>183.27116051048398</c:v>
                </c:pt>
                <c:pt idx="979">
                  <c:v>184.20123850424784</c:v>
                </c:pt>
                <c:pt idx="980">
                  <c:v>181.72273716560801</c:v>
                </c:pt>
                <c:pt idx="981">
                  <c:v>185.53636882162516</c:v>
                </c:pt>
                <c:pt idx="982">
                  <c:v>187.94964727694367</c:v>
                </c:pt>
                <c:pt idx="983">
                  <c:v>187.94036538648714</c:v>
                </c:pt>
                <c:pt idx="984">
                  <c:v>189.55771173587061</c:v>
                </c:pt>
                <c:pt idx="985">
                  <c:v>185.95679286457525</c:v>
                </c:pt>
                <c:pt idx="986">
                  <c:v>185.11921665633386</c:v>
                </c:pt>
                <c:pt idx="987">
                  <c:v>187.20508116938578</c:v>
                </c:pt>
                <c:pt idx="988">
                  <c:v>186.93574383902896</c:v>
                </c:pt>
                <c:pt idx="989">
                  <c:v>186.43473285323626</c:v>
                </c:pt>
                <c:pt idx="990">
                  <c:v>187.26543427638151</c:v>
                </c:pt>
                <c:pt idx="991">
                  <c:v>186.26591583707614</c:v>
                </c:pt>
                <c:pt idx="992">
                  <c:v>187.17664214814539</c:v>
                </c:pt>
                <c:pt idx="993">
                  <c:v>187.64857659615711</c:v>
                </c:pt>
                <c:pt idx="994">
                  <c:v>185.33640932000554</c:v>
                </c:pt>
                <c:pt idx="995">
                  <c:v>184.5229723505019</c:v>
                </c:pt>
                <c:pt idx="996">
                  <c:v>187.35332167215913</c:v>
                </c:pt>
                <c:pt idx="997">
                  <c:v>186.42338018988826</c:v>
                </c:pt>
                <c:pt idx="998">
                  <c:v>185.67778256277998</c:v>
                </c:pt>
                <c:pt idx="999">
                  <c:v>186.05738940032288</c:v>
                </c:pt>
                <c:pt idx="1000">
                  <c:v>188.98294645998479</c:v>
                </c:pt>
                <c:pt idx="1001">
                  <c:v>188.94460098416539</c:v>
                </c:pt>
                <c:pt idx="1002">
                  <c:v>191.56275197958163</c:v>
                </c:pt>
                <c:pt idx="1003">
                  <c:v>194.27228817936012</c:v>
                </c:pt>
                <c:pt idx="1004">
                  <c:v>195.71930596673334</c:v>
                </c:pt>
                <c:pt idx="1005">
                  <c:v>195.34392853419794</c:v>
                </c:pt>
                <c:pt idx="1006">
                  <c:v>194.65228464191478</c:v>
                </c:pt>
                <c:pt idx="1007">
                  <c:v>195.05223814458549</c:v>
                </c:pt>
                <c:pt idx="1008">
                  <c:v>194.15825918573813</c:v>
                </c:pt>
                <c:pt idx="1009">
                  <c:v>194.56160182042183</c:v>
                </c:pt>
                <c:pt idx="1010">
                  <c:v>193.45659175937266</c:v>
                </c:pt>
                <c:pt idx="1011">
                  <c:v>196.91669616414015</c:v>
                </c:pt>
                <c:pt idx="1012">
                  <c:v>197.36345513961396</c:v>
                </c:pt>
                <c:pt idx="1013">
                  <c:v>194.25206757838282</c:v>
                </c:pt>
                <c:pt idx="1014">
                  <c:v>192.89426233819444</c:v>
                </c:pt>
                <c:pt idx="1015">
                  <c:v>192.21447138800301</c:v>
                </c:pt>
                <c:pt idx="1016">
                  <c:v>190.88131458269305</c:v>
                </c:pt>
                <c:pt idx="1017">
                  <c:v>192.00482950998293</c:v>
                </c:pt>
                <c:pt idx="1018">
                  <c:v>194.0310650543978</c:v>
                </c:pt>
                <c:pt idx="1019">
                  <c:v>196.48605341313126</c:v>
                </c:pt>
                <c:pt idx="1020">
                  <c:v>195.20701304478965</c:v>
                </c:pt>
                <c:pt idx="1021">
                  <c:v>194.03101307996192</c:v>
                </c:pt>
                <c:pt idx="1022">
                  <c:v>192.80723982567829</c:v>
                </c:pt>
                <c:pt idx="1023">
                  <c:v>195.92053545093259</c:v>
                </c:pt>
                <c:pt idx="1024">
                  <c:v>198.59237400091143</c:v>
                </c:pt>
                <c:pt idx="1025">
                  <c:v>198.63248701441489</c:v>
                </c:pt>
                <c:pt idx="1026">
                  <c:v>197.33241477045402</c:v>
                </c:pt>
                <c:pt idx="1027">
                  <c:v>195.62924228272038</c:v>
                </c:pt>
                <c:pt idx="1028">
                  <c:v>194.80784271132626</c:v>
                </c:pt>
                <c:pt idx="1029">
                  <c:v>194.723545563562</c:v>
                </c:pt>
                <c:pt idx="1030">
                  <c:v>194.94852101683395</c:v>
                </c:pt>
                <c:pt idx="1031">
                  <c:v>196.34111543493754</c:v>
                </c:pt>
                <c:pt idx="1032">
                  <c:v>196.37681891797828</c:v>
                </c:pt>
                <c:pt idx="1033">
                  <c:v>195.98824663807159</c:v>
                </c:pt>
                <c:pt idx="1034">
                  <c:v>195.29511556638548</c:v>
                </c:pt>
                <c:pt idx="1035">
                  <c:v>195.13998868008426</c:v>
                </c:pt>
                <c:pt idx="1036">
                  <c:v>192.8740600951428</c:v>
                </c:pt>
                <c:pt idx="1037">
                  <c:v>190.06743747532954</c:v>
                </c:pt>
                <c:pt idx="1038">
                  <c:v>188.31010116941002</c:v>
                </c:pt>
                <c:pt idx="1039">
                  <c:v>188.8726535943612</c:v>
                </c:pt>
                <c:pt idx="1040">
                  <c:v>188.95308848133641</c:v>
                </c:pt>
                <c:pt idx="1041">
                  <c:v>187.50056995052074</c:v>
                </c:pt>
                <c:pt idx="1042">
                  <c:v>188.87123805633789</c:v>
                </c:pt>
                <c:pt idx="1043">
                  <c:v>192.69213775998858</c:v>
                </c:pt>
                <c:pt idx="1044">
                  <c:v>192.52516700876598</c:v>
                </c:pt>
                <c:pt idx="1045">
                  <c:v>190.38359796580482</c:v>
                </c:pt>
                <c:pt idx="1046">
                  <c:v>191.1111062850112</c:v>
                </c:pt>
                <c:pt idx="1047">
                  <c:v>192.16115918563602</c:v>
                </c:pt>
                <c:pt idx="1048">
                  <c:v>191.57047101937349</c:v>
                </c:pt>
                <c:pt idx="1049">
                  <c:v>194.04607365440512</c:v>
                </c:pt>
                <c:pt idx="1050">
                  <c:v>193.73712288680949</c:v>
                </c:pt>
                <c:pt idx="1051">
                  <c:v>193.8200815990736</c:v>
                </c:pt>
                <c:pt idx="1052">
                  <c:v>194.16391723931281</c:v>
                </c:pt>
                <c:pt idx="1053">
                  <c:v>193.92934788883849</c:v>
                </c:pt>
                <c:pt idx="1054">
                  <c:v>195.44649980489828</c:v>
                </c:pt>
                <c:pt idx="1055">
                  <c:v>193.78339469510351</c:v>
                </c:pt>
                <c:pt idx="1056">
                  <c:v>192.68732538024526</c:v>
                </c:pt>
                <c:pt idx="1057">
                  <c:v>188.60623526272985</c:v>
                </c:pt>
                <c:pt idx="1058">
                  <c:v>188.41616113192165</c:v>
                </c:pt>
                <c:pt idx="1059">
                  <c:v>188.99361479250172</c:v>
                </c:pt>
                <c:pt idx="1060">
                  <c:v>193.88080063263345</c:v>
                </c:pt>
                <c:pt idx="1061">
                  <c:v>192.92601338227553</c:v>
                </c:pt>
                <c:pt idx="1062">
                  <c:v>192.85842791503228</c:v>
                </c:pt>
                <c:pt idx="1063">
                  <c:v>190.77293042861203</c:v>
                </c:pt>
                <c:pt idx="1064">
                  <c:v>192.97666121754852</c:v>
                </c:pt>
                <c:pt idx="1065">
                  <c:v>192.84473571935004</c:v>
                </c:pt>
                <c:pt idx="1066">
                  <c:v>190.47191970507532</c:v>
                </c:pt>
                <c:pt idx="1067">
                  <c:v>190.88967066690796</c:v>
                </c:pt>
                <c:pt idx="1068">
                  <c:v>190.15455174091622</c:v>
                </c:pt>
                <c:pt idx="1069">
                  <c:v>189.35308401716813</c:v>
                </c:pt>
                <c:pt idx="1070">
                  <c:v>189.08700481407243</c:v>
                </c:pt>
                <c:pt idx="1071">
                  <c:v>188.02826664565166</c:v>
                </c:pt>
                <c:pt idx="1072">
                  <c:v>189.35342454290713</c:v>
                </c:pt>
                <c:pt idx="1073">
                  <c:v>188.80858228545526</c:v>
                </c:pt>
                <c:pt idx="1074">
                  <c:v>189.97568681182739</c:v>
                </c:pt>
                <c:pt idx="1075">
                  <c:v>189.58121969587549</c:v>
                </c:pt>
                <c:pt idx="1076">
                  <c:v>187.84029792649295</c:v>
                </c:pt>
                <c:pt idx="1077">
                  <c:v>187.01640854367224</c:v>
                </c:pt>
                <c:pt idx="1078">
                  <c:v>186.62876664372229</c:v>
                </c:pt>
                <c:pt idx="1079">
                  <c:v>185.53992539225482</c:v>
                </c:pt>
                <c:pt idx="1080">
                  <c:v>183.69773188883039</c:v>
                </c:pt>
                <c:pt idx="1081">
                  <c:v>181.99503685880913</c:v>
                </c:pt>
                <c:pt idx="1082">
                  <c:v>182.64849175299111</c:v>
                </c:pt>
                <c:pt idx="1083">
                  <c:v>183.36219391402454</c:v>
                </c:pt>
                <c:pt idx="1084">
                  <c:v>182.93131997542889</c:v>
                </c:pt>
                <c:pt idx="1085">
                  <c:v>181.93057736343445</c:v>
                </c:pt>
                <c:pt idx="1086">
                  <c:v>182.88454959969485</c:v>
                </c:pt>
                <c:pt idx="1087">
                  <c:v>184.68017714853582</c:v>
                </c:pt>
                <c:pt idx="1088">
                  <c:v>185.8600385352542</c:v>
                </c:pt>
                <c:pt idx="1089">
                  <c:v>187.08737168718972</c:v>
                </c:pt>
                <c:pt idx="1090">
                  <c:v>186.89114146206435</c:v>
                </c:pt>
                <c:pt idx="1091">
                  <c:v>185.27753953044606</c:v>
                </c:pt>
                <c:pt idx="1092">
                  <c:v>182.70394916300864</c:v>
                </c:pt>
                <c:pt idx="1093">
                  <c:v>183.81899074992384</c:v>
                </c:pt>
                <c:pt idx="1094">
                  <c:v>182.24428212932312</c:v>
                </c:pt>
                <c:pt idx="1095">
                  <c:v>182.05493674783847</c:v>
                </c:pt>
                <c:pt idx="1096">
                  <c:v>182.19257345565541</c:v>
                </c:pt>
                <c:pt idx="1097">
                  <c:v>181.7995656846997</c:v>
                </c:pt>
                <c:pt idx="1098">
                  <c:v>180.31040448301707</c:v>
                </c:pt>
                <c:pt idx="1099">
                  <c:v>180.37682766975863</c:v>
                </c:pt>
                <c:pt idx="1100">
                  <c:v>179.81447552471917</c:v>
                </c:pt>
                <c:pt idx="1101">
                  <c:v>181.59818625331184</c:v>
                </c:pt>
                <c:pt idx="1102">
                  <c:v>181.92537483065678</c:v>
                </c:pt>
                <c:pt idx="1103">
                  <c:v>181.27089635388268</c:v>
                </c:pt>
                <c:pt idx="1104">
                  <c:v>180.97781681406045</c:v>
                </c:pt>
                <c:pt idx="1105">
                  <c:v>180.20047139611194</c:v>
                </c:pt>
                <c:pt idx="1106">
                  <c:v>179.50198040952054</c:v>
                </c:pt>
                <c:pt idx="1107">
                  <c:v>180.41760256943286</c:v>
                </c:pt>
                <c:pt idx="1108">
                  <c:v>178.19693221961779</c:v>
                </c:pt>
                <c:pt idx="1109">
                  <c:v>177.5239886141166</c:v>
                </c:pt>
                <c:pt idx="1110">
                  <c:v>177.46532645618657</c:v>
                </c:pt>
                <c:pt idx="1111">
                  <c:v>179.65240887102453</c:v>
                </c:pt>
                <c:pt idx="1112">
                  <c:v>180.55245596740568</c:v>
                </c:pt>
                <c:pt idx="1113">
                  <c:v>180.76952676426532</c:v>
                </c:pt>
                <c:pt idx="1114">
                  <c:v>176.67800275875075</c:v>
                </c:pt>
                <c:pt idx="1115">
                  <c:v>176.58815512511734</c:v>
                </c:pt>
                <c:pt idx="1116">
                  <c:v>176.44487740993731</c:v>
                </c:pt>
                <c:pt idx="1117">
                  <c:v>171.32574408572503</c:v>
                </c:pt>
                <c:pt idx="1118">
                  <c:v>173.70350562474937</c:v>
                </c:pt>
                <c:pt idx="1119">
                  <c:v>172.7119390649963</c:v>
                </c:pt>
                <c:pt idx="1120">
                  <c:v>171.57256498653783</c:v>
                </c:pt>
                <c:pt idx="1121">
                  <c:v>171.61444534640728</c:v>
                </c:pt>
                <c:pt idx="1122">
                  <c:v>171.94223059749046</c:v>
                </c:pt>
                <c:pt idx="1123">
                  <c:v>170.7726134406926</c:v>
                </c:pt>
                <c:pt idx="1124">
                  <c:v>171.5602293374175</c:v>
                </c:pt>
                <c:pt idx="1125">
                  <c:v>172.01915666565753</c:v>
                </c:pt>
                <c:pt idx="1126">
                  <c:v>171.74192480092435</c:v>
                </c:pt>
                <c:pt idx="1127">
                  <c:v>170.08095650879801</c:v>
                </c:pt>
                <c:pt idx="1128">
                  <c:v>169.46810001324542</c:v>
                </c:pt>
                <c:pt idx="1129">
                  <c:v>166.57849362655185</c:v>
                </c:pt>
                <c:pt idx="1130">
                  <c:v>165.4549054551498</c:v>
                </c:pt>
                <c:pt idx="1131">
                  <c:v>166.38101541430981</c:v>
                </c:pt>
                <c:pt idx="1132">
                  <c:v>168.20593962289428</c:v>
                </c:pt>
                <c:pt idx="1133">
                  <c:v>164.3739010556537</c:v>
                </c:pt>
                <c:pt idx="1134">
                  <c:v>164.03525311326996</c:v>
                </c:pt>
                <c:pt idx="1135">
                  <c:v>163.09797447059239</c:v>
                </c:pt>
                <c:pt idx="1136">
                  <c:v>160.88974599658886</c:v>
                </c:pt>
                <c:pt idx="1137">
                  <c:v>160.75006566049828</c:v>
                </c:pt>
                <c:pt idx="1138">
                  <c:v>159.070340275695</c:v>
                </c:pt>
                <c:pt idx="1139">
                  <c:v>158.35695691752082</c:v>
                </c:pt>
                <c:pt idx="1140">
                  <c:v>154.5484924524861</c:v>
                </c:pt>
                <c:pt idx="1141">
                  <c:v>153.48808973489687</c:v>
                </c:pt>
                <c:pt idx="1142">
                  <c:v>155.08605354570142</c:v>
                </c:pt>
                <c:pt idx="1143">
                  <c:v>155.44720127673719</c:v>
                </c:pt>
                <c:pt idx="1144">
                  <c:v>154.33627656501071</c:v>
                </c:pt>
                <c:pt idx="1145">
                  <c:v>152.93802105846254</c:v>
                </c:pt>
                <c:pt idx="1146">
                  <c:v>151.1786099284862</c:v>
                </c:pt>
                <c:pt idx="1147">
                  <c:v>153.9491270877823</c:v>
                </c:pt>
                <c:pt idx="1148">
                  <c:v>157.01389163587845</c:v>
                </c:pt>
                <c:pt idx="1149">
                  <c:v>156.38945038379325</c:v>
                </c:pt>
                <c:pt idx="1150">
                  <c:v>157.69731852484188</c:v>
                </c:pt>
                <c:pt idx="1151">
                  <c:v>158.27066260678259</c:v>
                </c:pt>
                <c:pt idx="1152">
                  <c:v>156.63003809882588</c:v>
                </c:pt>
                <c:pt idx="1153">
                  <c:v>157.29850280912063</c:v>
                </c:pt>
                <c:pt idx="1154">
                  <c:v>156.76306205113943</c:v>
                </c:pt>
                <c:pt idx="1155">
                  <c:v>158.96482250828518</c:v>
                </c:pt>
                <c:pt idx="1156">
                  <c:v>158.44360577881284</c:v>
                </c:pt>
                <c:pt idx="1157">
                  <c:v>157.09374837720375</c:v>
                </c:pt>
                <c:pt idx="1158">
                  <c:v>155.53296112516261</c:v>
                </c:pt>
                <c:pt idx="1159">
                  <c:v>153.62132530155708</c:v>
                </c:pt>
                <c:pt idx="1160">
                  <c:v>155.4139717498316</c:v>
                </c:pt>
                <c:pt idx="1161">
                  <c:v>154.51294910394526</c:v>
                </c:pt>
                <c:pt idx="1162">
                  <c:v>153.97146166144253</c:v>
                </c:pt>
                <c:pt idx="1163">
                  <c:v>154.19464502758828</c:v>
                </c:pt>
                <c:pt idx="1164">
                  <c:v>157.15188744755255</c:v>
                </c:pt>
                <c:pt idx="1165">
                  <c:v>159.33445630068579</c:v>
                </c:pt>
                <c:pt idx="1166">
                  <c:v>160.14304075278147</c:v>
                </c:pt>
                <c:pt idx="1167">
                  <c:v>161.22185566481471</c:v>
                </c:pt>
                <c:pt idx="1168">
                  <c:v>160.41490040853111</c:v>
                </c:pt>
                <c:pt idx="1169">
                  <c:v>159.85998160794446</c:v>
                </c:pt>
                <c:pt idx="1170">
                  <c:v>161.27105355492839</c:v>
                </c:pt>
                <c:pt idx="1171">
                  <c:v>160.7468917011021</c:v>
                </c:pt>
                <c:pt idx="1172">
                  <c:v>160.34077265735021</c:v>
                </c:pt>
                <c:pt idx="1173">
                  <c:v>161.564200950908</c:v>
                </c:pt>
                <c:pt idx="1174">
                  <c:v>161.05099321598485</c:v>
                </c:pt>
                <c:pt idx="1175">
                  <c:v>159.66836273651896</c:v>
                </c:pt>
                <c:pt idx="1176">
                  <c:v>159.23199139867813</c:v>
                </c:pt>
                <c:pt idx="1177">
                  <c:v>155.63643433658459</c:v>
                </c:pt>
                <c:pt idx="1178">
                  <c:v>153.30956959507179</c:v>
                </c:pt>
                <c:pt idx="1179">
                  <c:v>153.06646474232471</c:v>
                </c:pt>
                <c:pt idx="1180">
                  <c:v>155.21096277132813</c:v>
                </c:pt>
                <c:pt idx="1181">
                  <c:v>156.39960397398613</c:v>
                </c:pt>
                <c:pt idx="1182">
                  <c:v>158.58454817803727</c:v>
                </c:pt>
                <c:pt idx="1183">
                  <c:v>157.44348944214451</c:v>
                </c:pt>
                <c:pt idx="1184">
                  <c:v>159.18392915016886</c:v>
                </c:pt>
                <c:pt idx="1185">
                  <c:v>161.44473092069009</c:v>
                </c:pt>
                <c:pt idx="1186">
                  <c:v>161.42869152594983</c:v>
                </c:pt>
                <c:pt idx="1187">
                  <c:v>159.19339582594938</c:v>
                </c:pt>
                <c:pt idx="1188">
                  <c:v>162.79399050597169</c:v>
                </c:pt>
                <c:pt idx="1189">
                  <c:v>164.50296307811018</c:v>
                </c:pt>
                <c:pt idx="1190">
                  <c:v>162.80742245069837</c:v>
                </c:pt>
                <c:pt idx="1191">
                  <c:v>164.22835107838992</c:v>
                </c:pt>
                <c:pt idx="1192">
                  <c:v>165.44338730986385</c:v>
                </c:pt>
                <c:pt idx="1193">
                  <c:v>164.79563839714888</c:v>
                </c:pt>
                <c:pt idx="1194">
                  <c:v>162.99499068300332</c:v>
                </c:pt>
                <c:pt idx="1195">
                  <c:v>163.20660676911564</c:v>
                </c:pt>
                <c:pt idx="1196">
                  <c:v>163.98219640259768</c:v>
                </c:pt>
                <c:pt idx="1197">
                  <c:v>163.55040536731536</c:v>
                </c:pt>
                <c:pt idx="1198">
                  <c:v>162.06052548041839</c:v>
                </c:pt>
                <c:pt idx="1199">
                  <c:v>160.91171689944568</c:v>
                </c:pt>
                <c:pt idx="1200">
                  <c:v>160.05921519877802</c:v>
                </c:pt>
                <c:pt idx="1201">
                  <c:v>160.0694243426824</c:v>
                </c:pt>
                <c:pt idx="1202">
                  <c:v>160.76600378772571</c:v>
                </c:pt>
                <c:pt idx="1203">
                  <c:v>160.62379449920698</c:v>
                </c:pt>
                <c:pt idx="1204">
                  <c:v>158.85140439803502</c:v>
                </c:pt>
                <c:pt idx="1205">
                  <c:v>156.3374476895151</c:v>
                </c:pt>
                <c:pt idx="1206">
                  <c:v>153.80731308738683</c:v>
                </c:pt>
                <c:pt idx="1207">
                  <c:v>159.20942408129733</c:v>
                </c:pt>
                <c:pt idx="1208">
                  <c:v>158.1523958867372</c:v>
                </c:pt>
                <c:pt idx="1209">
                  <c:v>158.01624772711429</c:v>
                </c:pt>
                <c:pt idx="1210">
                  <c:v>156.879828254795</c:v>
                </c:pt>
                <c:pt idx="1211">
                  <c:v>157.0330272768937</c:v>
                </c:pt>
                <c:pt idx="1212">
                  <c:v>156.17124124404361</c:v>
                </c:pt>
                <c:pt idx="1213">
                  <c:v>156.53003723653529</c:v>
                </c:pt>
                <c:pt idx="1214">
                  <c:v>156.91509928851008</c:v>
                </c:pt>
                <c:pt idx="1215">
                  <c:v>156.81613084597186</c:v>
                </c:pt>
                <c:pt idx="1216">
                  <c:v>157.94220607258984</c:v>
                </c:pt>
                <c:pt idx="1217">
                  <c:v>155.13978010357266</c:v>
                </c:pt>
                <c:pt idx="1218">
                  <c:v>153.63067961136102</c:v>
                </c:pt>
                <c:pt idx="1219">
                  <c:v>152.70854412666461</c:v>
                </c:pt>
                <c:pt idx="1220">
                  <c:v>152.49945956465891</c:v>
                </c:pt>
                <c:pt idx="1221">
                  <c:v>150.51859608098664</c:v>
                </c:pt>
                <c:pt idx="1222">
                  <c:v>148.74289817376442</c:v>
                </c:pt>
                <c:pt idx="1223">
                  <c:v>147.16167552406711</c:v>
                </c:pt>
                <c:pt idx="1224">
                  <c:v>149.72719673877972</c:v>
                </c:pt>
                <c:pt idx="1225">
                  <c:v>148.48706878738946</c:v>
                </c:pt>
                <c:pt idx="1226">
                  <c:v>145.59419012064387</c:v>
                </c:pt>
                <c:pt idx="1227">
                  <c:v>142.75767156019475</c:v>
                </c:pt>
                <c:pt idx="1228">
                  <c:v>142.93469588025201</c:v>
                </c:pt>
                <c:pt idx="1229">
                  <c:v>143.71940380208761</c:v>
                </c:pt>
                <c:pt idx="1230">
                  <c:v>144.64655191130257</c:v>
                </c:pt>
                <c:pt idx="1231">
                  <c:v>143.74596148352043</c:v>
                </c:pt>
                <c:pt idx="1232">
                  <c:v>141.98522646562634</c:v>
                </c:pt>
                <c:pt idx="1233">
                  <c:v>141.16460120771529</c:v>
                </c:pt>
                <c:pt idx="1234">
                  <c:v>137.41989339797479</c:v>
                </c:pt>
                <c:pt idx="1235">
                  <c:v>142.4708901491951</c:v>
                </c:pt>
                <c:pt idx="1236">
                  <c:v>142.50181185734809</c:v>
                </c:pt>
                <c:pt idx="1237">
                  <c:v>143.32791842925363</c:v>
                </c:pt>
                <c:pt idx="1238">
                  <c:v>142.18725892448799</c:v>
                </c:pt>
                <c:pt idx="1239">
                  <c:v>140.39184662807415</c:v>
                </c:pt>
                <c:pt idx="1240">
                  <c:v>138.46862912600756</c:v>
                </c:pt>
                <c:pt idx="1241">
                  <c:v>139.49336003891125</c:v>
                </c:pt>
                <c:pt idx="1242">
                  <c:v>139.4204440695361</c:v>
                </c:pt>
                <c:pt idx="1243">
                  <c:v>140.4529922285661</c:v>
                </c:pt>
                <c:pt idx="1244">
                  <c:v>142.18923912416</c:v>
                </c:pt>
                <c:pt idx="1245">
                  <c:v>140.40329092606692</c:v>
                </c:pt>
                <c:pt idx="1246">
                  <c:v>142.15954436240821</c:v>
                </c:pt>
                <c:pt idx="1247">
                  <c:v>142.45673563981876</c:v>
                </c:pt>
                <c:pt idx="1248">
                  <c:v>143.06868227339777</c:v>
                </c:pt>
                <c:pt idx="1249">
                  <c:v>143.1252320696924</c:v>
                </c:pt>
                <c:pt idx="1250">
                  <c:v>142.83229123965378</c:v>
                </c:pt>
                <c:pt idx="1251">
                  <c:v>144.12421309645705</c:v>
                </c:pt>
                <c:pt idx="1252">
                  <c:v>142.36909867785079</c:v>
                </c:pt>
                <c:pt idx="1253">
                  <c:v>144.74461120753969</c:v>
                </c:pt>
                <c:pt idx="1254">
                  <c:v>145.83195625400202</c:v>
                </c:pt>
                <c:pt idx="1255">
                  <c:v>147.64737802355793</c:v>
                </c:pt>
                <c:pt idx="1256">
                  <c:v>147.02518631793197</c:v>
                </c:pt>
                <c:pt idx="1257">
                  <c:v>148.54886089578437</c:v>
                </c:pt>
                <c:pt idx="1258">
                  <c:v>146.58809370940355</c:v>
                </c:pt>
                <c:pt idx="1259">
                  <c:v>146.56775732433675</c:v>
                </c:pt>
                <c:pt idx="1260">
                  <c:v>146.24353881968088</c:v>
                </c:pt>
                <c:pt idx="1261">
                  <c:v>144.26837582220824</c:v>
                </c:pt>
                <c:pt idx="1262">
                  <c:v>143.64908354513636</c:v>
                </c:pt>
                <c:pt idx="1263">
                  <c:v>143.1567285047521</c:v>
                </c:pt>
                <c:pt idx="1264">
                  <c:v>144.04123566991549</c:v>
                </c:pt>
                <c:pt idx="1265">
                  <c:v>140.89231027251918</c:v>
                </c:pt>
                <c:pt idx="1266">
                  <c:v>137.89401536000477</c:v>
                </c:pt>
                <c:pt idx="1267">
                  <c:v>140.82860605664109</c:v>
                </c:pt>
                <c:pt idx="1268">
                  <c:v>142.30273245722341</c:v>
                </c:pt>
                <c:pt idx="1269">
                  <c:v>142.58592755298324</c:v>
                </c:pt>
                <c:pt idx="1270">
                  <c:v>148.0741391165673</c:v>
                </c:pt>
                <c:pt idx="1271">
                  <c:v>143.79064593622905</c:v>
                </c:pt>
                <c:pt idx="1272">
                  <c:v>143.51630706787935</c:v>
                </c:pt>
                <c:pt idx="1273">
                  <c:v>141.77259263581189</c:v>
                </c:pt>
                <c:pt idx="1274">
                  <c:v>139.1626456963231</c:v>
                </c:pt>
                <c:pt idx="1275">
                  <c:v>138.10964469229245</c:v>
                </c:pt>
                <c:pt idx="1276">
                  <c:v>137.42845596194582</c:v>
                </c:pt>
                <c:pt idx="1277">
                  <c:v>137.03740898729743</c:v>
                </c:pt>
                <c:pt idx="1278">
                  <c:v>135.66045184331327</c:v>
                </c:pt>
                <c:pt idx="1279">
                  <c:v>137.34818031572141</c:v>
                </c:pt>
                <c:pt idx="1280">
                  <c:v>137.14958076364744</c:v>
                </c:pt>
                <c:pt idx="1281">
                  <c:v>138.97957846551589</c:v>
                </c:pt>
                <c:pt idx="1282">
                  <c:v>137.71985926215777</c:v>
                </c:pt>
                <c:pt idx="1283">
                  <c:v>136.40182381938055</c:v>
                </c:pt>
                <c:pt idx="1284">
                  <c:v>134.23052091862661</c:v>
                </c:pt>
                <c:pt idx="1285">
                  <c:v>140.31234123368409</c:v>
                </c:pt>
                <c:pt idx="1286">
                  <c:v>140.49172449256452</c:v>
                </c:pt>
                <c:pt idx="1287">
                  <c:v>139.7764654168642</c:v>
                </c:pt>
                <c:pt idx="1288">
                  <c:v>139.95896817378429</c:v>
                </c:pt>
                <c:pt idx="1289">
                  <c:v>140.53701427840167</c:v>
                </c:pt>
                <c:pt idx="1290">
                  <c:v>140.1202743696235</c:v>
                </c:pt>
                <c:pt idx="1291">
                  <c:v>139.11119345008552</c:v>
                </c:pt>
                <c:pt idx="1292">
                  <c:v>138.87648059666324</c:v>
                </c:pt>
                <c:pt idx="1293">
                  <c:v>139.00525041876475</c:v>
                </c:pt>
                <c:pt idx="1294">
                  <c:v>139.07477441225831</c:v>
                </c:pt>
                <c:pt idx="1295">
                  <c:v>139.16706486655013</c:v>
                </c:pt>
                <c:pt idx="1296">
                  <c:v>138.12884931248149</c:v>
                </c:pt>
                <c:pt idx="1297">
                  <c:v>138.84028117015691</c:v>
                </c:pt>
                <c:pt idx="1298">
                  <c:v>140.76112616089739</c:v>
                </c:pt>
                <c:pt idx="1299">
                  <c:v>142.76390928507735</c:v>
                </c:pt>
                <c:pt idx="1300">
                  <c:v>136.72445501943645</c:v>
                </c:pt>
                <c:pt idx="1301">
                  <c:v>137.02940313023333</c:v>
                </c:pt>
                <c:pt idx="1302">
                  <c:v>135.47693975817924</c:v>
                </c:pt>
                <c:pt idx="1303">
                  <c:v>135.68444393249976</c:v>
                </c:pt>
                <c:pt idx="1304">
                  <c:v>133.8081793772057</c:v>
                </c:pt>
                <c:pt idx="1305">
                  <c:v>132.59247195083202</c:v>
                </c:pt>
                <c:pt idx="1306">
                  <c:v>128.22768665148266</c:v>
                </c:pt>
                <c:pt idx="1307">
                  <c:v>125.71069396446254</c:v>
                </c:pt>
                <c:pt idx="1308">
                  <c:v>123.23198603488902</c:v>
                </c:pt>
                <c:pt idx="1309">
                  <c:v>122.48324005339354</c:v>
                </c:pt>
                <c:pt idx="1310">
                  <c:v>124.18304224554271</c:v>
                </c:pt>
                <c:pt idx="1311">
                  <c:v>124.73946956308568</c:v>
                </c:pt>
                <c:pt idx="1312">
                  <c:v>122.70808375249439</c:v>
                </c:pt>
                <c:pt idx="1313">
                  <c:v>122.66700108878096</c:v>
                </c:pt>
                <c:pt idx="1314">
                  <c:v>124.00053981071339</c:v>
                </c:pt>
                <c:pt idx="1315">
                  <c:v>124.92909453534884</c:v>
                </c:pt>
                <c:pt idx="1316">
                  <c:v>123.68377434791039</c:v>
                </c:pt>
                <c:pt idx="1317">
                  <c:v>122.27804294894531</c:v>
                </c:pt>
                <c:pt idx="1318">
                  <c:v>121.76456328925462</c:v>
                </c:pt>
                <c:pt idx="1319">
                  <c:v>121.53133845913764</c:v>
                </c:pt>
                <c:pt idx="1320">
                  <c:v>120.9046117315134</c:v>
                </c:pt>
                <c:pt idx="1321">
                  <c:v>120.05713667365086</c:v>
                </c:pt>
                <c:pt idx="1322">
                  <c:v>119.37817416700685</c:v>
                </c:pt>
                <c:pt idx="1323">
                  <c:v>118.91863986720314</c:v>
                </c:pt>
                <c:pt idx="1324">
                  <c:v>119.05259328241817</c:v>
                </c:pt>
                <c:pt idx="1325">
                  <c:v>119.23465416818503</c:v>
                </c:pt>
                <c:pt idx="1326">
                  <c:v>118.74771227508049</c:v>
                </c:pt>
                <c:pt idx="1327">
                  <c:v>117.97537016211574</c:v>
                </c:pt>
                <c:pt idx="1328">
                  <c:v>118.72366073717343</c:v>
                </c:pt>
                <c:pt idx="1329">
                  <c:v>120.14822962121436</c:v>
                </c:pt>
                <c:pt idx="1330">
                  <c:v>120.59787052588155</c:v>
                </c:pt>
                <c:pt idx="1331">
                  <c:v>121.27975916747232</c:v>
                </c:pt>
                <c:pt idx="1332">
                  <c:v>120.32361587702799</c:v>
                </c:pt>
                <c:pt idx="1333">
                  <c:v>123.16837916157313</c:v>
                </c:pt>
                <c:pt idx="1334">
                  <c:v>121.4331472428585</c:v>
                </c:pt>
                <c:pt idx="1335">
                  <c:v>118.96950302314892</c:v>
                </c:pt>
                <c:pt idx="1336">
                  <c:v>119.02527005064169</c:v>
                </c:pt>
                <c:pt idx="1337">
                  <c:v>119.23059329801337</c:v>
                </c:pt>
                <c:pt idx="1338">
                  <c:v>118.84441340671309</c:v>
                </c:pt>
                <c:pt idx="1339">
                  <c:v>119.14535783822245</c:v>
                </c:pt>
                <c:pt idx="1340">
                  <c:v>118.6378823459068</c:v>
                </c:pt>
                <c:pt idx="1341">
                  <c:v>118.11144109449286</c:v>
                </c:pt>
                <c:pt idx="1342">
                  <c:v>120.12730600995998</c:v>
                </c:pt>
                <c:pt idx="1343">
                  <c:v>118.94503722540775</c:v>
                </c:pt>
                <c:pt idx="1344">
                  <c:v>117.75752651283092</c:v>
                </c:pt>
                <c:pt idx="1345">
                  <c:v>118.71116100578698</c:v>
                </c:pt>
                <c:pt idx="1346">
                  <c:v>118.37790408747888</c:v>
                </c:pt>
                <c:pt idx="1347">
                  <c:v>116.4357334088394</c:v>
                </c:pt>
                <c:pt idx="1348">
                  <c:v>116.14610207155222</c:v>
                </c:pt>
                <c:pt idx="1349">
                  <c:v>115.41469654784684</c:v>
                </c:pt>
                <c:pt idx="1350">
                  <c:v>115.03151276548354</c:v>
                </c:pt>
                <c:pt idx="1351">
                  <c:v>112.80432675880893</c:v>
                </c:pt>
                <c:pt idx="1352">
                  <c:v>112.72854817811306</c:v>
                </c:pt>
                <c:pt idx="1353">
                  <c:v>114.22563487827453</c:v>
                </c:pt>
                <c:pt idx="1354">
                  <c:v>114.83341316415974</c:v>
                </c:pt>
                <c:pt idx="1355">
                  <c:v>114.53108199409745</c:v>
                </c:pt>
                <c:pt idx="1356">
                  <c:v>113.56429434550502</c:v>
                </c:pt>
                <c:pt idx="1357">
                  <c:v>110.41029905751694</c:v>
                </c:pt>
                <c:pt idx="1358">
                  <c:v>110.6652218481826</c:v>
                </c:pt>
                <c:pt idx="1359">
                  <c:v>111.83814001037516</c:v>
                </c:pt>
                <c:pt idx="1360">
                  <c:v>112.4942172029814</c:v>
                </c:pt>
                <c:pt idx="1361">
                  <c:v>111.6432425056224</c:v>
                </c:pt>
                <c:pt idx="1362">
                  <c:v>112.58330413938823</c:v>
                </c:pt>
                <c:pt idx="1363">
                  <c:v>113.07767436693678</c:v>
                </c:pt>
                <c:pt idx="1364">
                  <c:v>113.17611910203091</c:v>
                </c:pt>
                <c:pt idx="1365">
                  <c:v>111.79912466789717</c:v>
                </c:pt>
                <c:pt idx="1366">
                  <c:v>112.49734968481458</c:v>
                </c:pt>
                <c:pt idx="1367">
                  <c:v>112.40458458664388</c:v>
                </c:pt>
                <c:pt idx="1368">
                  <c:v>114.05304419707527</c:v>
                </c:pt>
                <c:pt idx="1369">
                  <c:v>113.28760508870089</c:v>
                </c:pt>
                <c:pt idx="1370">
                  <c:v>114.22099457763304</c:v>
                </c:pt>
                <c:pt idx="1371">
                  <c:v>113.98014995074365</c:v>
                </c:pt>
                <c:pt idx="1372">
                  <c:v>116.07219418245872</c:v>
                </c:pt>
                <c:pt idx="1373">
                  <c:v>114.26456506050204</c:v>
                </c:pt>
                <c:pt idx="1374">
                  <c:v>112.38461722671377</c:v>
                </c:pt>
                <c:pt idx="1375">
                  <c:v>111.90645380820725</c:v>
                </c:pt>
                <c:pt idx="1376">
                  <c:v>111.92435113855763</c:v>
                </c:pt>
                <c:pt idx="1377">
                  <c:v>110.54854958098215</c:v>
                </c:pt>
                <c:pt idx="1378">
                  <c:v>110.1951527177323</c:v>
                </c:pt>
                <c:pt idx="1379">
                  <c:v>111.16208835737272</c:v>
                </c:pt>
                <c:pt idx="1380">
                  <c:v>109.40143816043454</c:v>
                </c:pt>
                <c:pt idx="1381">
                  <c:v>109.84518134280796</c:v>
                </c:pt>
                <c:pt idx="1382">
                  <c:v>108.53127694950135</c:v>
                </c:pt>
                <c:pt idx="1383">
                  <c:v>104.65396286761282</c:v>
                </c:pt>
                <c:pt idx="1384">
                  <c:v>100.41214231158344</c:v>
                </c:pt>
                <c:pt idx="1385">
                  <c:v>92.209294334763783</c:v>
                </c:pt>
                <c:pt idx="1386">
                  <c:v>89.062267214688049</c:v>
                </c:pt>
                <c:pt idx="1387">
                  <c:v>90.339644990650925</c:v>
                </c:pt>
                <c:pt idx="1388">
                  <c:v>87.56468334848897</c:v>
                </c:pt>
                <c:pt idx="1389">
                  <c:v>86.805853004808569</c:v>
                </c:pt>
                <c:pt idx="1390">
                  <c:v>86.691947656614332</c:v>
                </c:pt>
                <c:pt idx="1391">
                  <c:v>85.914517520385516</c:v>
                </c:pt>
                <c:pt idx="1392">
                  <c:v>84.703936004013116</c:v>
                </c:pt>
                <c:pt idx="1393">
                  <c:v>82.799338691195331</c:v>
                </c:pt>
                <c:pt idx="1394">
                  <c:v>90.274307863761237</c:v>
                </c:pt>
                <c:pt idx="1395">
                  <c:v>85.577697529250926</c:v>
                </c:pt>
                <c:pt idx="1396">
                  <c:v>87.302035242875604</c:v>
                </c:pt>
                <c:pt idx="1397">
                  <c:v>91.324842956251047</c:v>
                </c:pt>
                <c:pt idx="1398">
                  <c:v>91.294232670386464</c:v>
                </c:pt>
                <c:pt idx="1399">
                  <c:v>94.465510750927891</c:v>
                </c:pt>
                <c:pt idx="1400">
                  <c:v>91.306103669147504</c:v>
                </c:pt>
                <c:pt idx="1401">
                  <c:v>99.032055263909555</c:v>
                </c:pt>
                <c:pt idx="1402">
                  <c:v>99.985850359677244</c:v>
                </c:pt>
                <c:pt idx="1403">
                  <c:v>103.24916120335739</c:v>
                </c:pt>
                <c:pt idx="1404">
                  <c:v>103.96390689119758</c:v>
                </c:pt>
                <c:pt idx="1405">
                  <c:v>103.34727914651131</c:v>
                </c:pt>
                <c:pt idx="1406">
                  <c:v>102.56960686414973</c:v>
                </c:pt>
                <c:pt idx="1407">
                  <c:v>99.351786165525894</c:v>
                </c:pt>
                <c:pt idx="1408">
                  <c:v>100.01902435966315</c:v>
                </c:pt>
                <c:pt idx="1409">
                  <c:v>102.73666448088119</c:v>
                </c:pt>
                <c:pt idx="1410">
                  <c:v>102.50601753658383</c:v>
                </c:pt>
                <c:pt idx="1411">
                  <c:v>103.21515963138336</c:v>
                </c:pt>
                <c:pt idx="1412">
                  <c:v>103.9880373964256</c:v>
                </c:pt>
                <c:pt idx="1413">
                  <c:v>106.23144592679189</c:v>
                </c:pt>
                <c:pt idx="1414">
                  <c:v>105.95099812756901</c:v>
                </c:pt>
                <c:pt idx="1415">
                  <c:v>103.79284285616497</c:v>
                </c:pt>
                <c:pt idx="1416">
                  <c:v>103.53918618190833</c:v>
                </c:pt>
                <c:pt idx="1417">
                  <c:v>105.27204464820089</c:v>
                </c:pt>
                <c:pt idx="1418">
                  <c:v>105.65647176349577</c:v>
                </c:pt>
                <c:pt idx="1419">
                  <c:v>104.72657226504565</c:v>
                </c:pt>
                <c:pt idx="1420">
                  <c:v>104.72690380369863</c:v>
                </c:pt>
                <c:pt idx="1421">
                  <c:v>104.22758043765381</c:v>
                </c:pt>
                <c:pt idx="1422">
                  <c:v>104.11638378364457</c:v>
                </c:pt>
                <c:pt idx="1423">
                  <c:v>102.24155045484892</c:v>
                </c:pt>
                <c:pt idx="1424">
                  <c:v>101.87532684993715</c:v>
                </c:pt>
                <c:pt idx="1425">
                  <c:v>101.35759708205777</c:v>
                </c:pt>
                <c:pt idx="1426">
                  <c:v>100.84768590138714</c:v>
                </c:pt>
                <c:pt idx="1427">
                  <c:v>100.42824538903548</c:v>
                </c:pt>
                <c:pt idx="1428">
                  <c:v>101.81156862289717</c:v>
                </c:pt>
                <c:pt idx="1429">
                  <c:v>102.527663202829</c:v>
                </c:pt>
                <c:pt idx="1430">
                  <c:v>103.61238119934859</c:v>
                </c:pt>
                <c:pt idx="1431">
                  <c:v>103.4152611032524</c:v>
                </c:pt>
                <c:pt idx="1432">
                  <c:v>103.61419485312098</c:v>
                </c:pt>
                <c:pt idx="1433">
                  <c:v>102.35832480028398</c:v>
                </c:pt>
                <c:pt idx="1434">
                  <c:v>102.108788753601</c:v>
                </c:pt>
                <c:pt idx="1435">
                  <c:v>101.65238152722796</c:v>
                </c:pt>
                <c:pt idx="1436">
                  <c:v>101.73138558762381</c:v>
                </c:pt>
                <c:pt idx="1437">
                  <c:v>102.32633909033414</c:v>
                </c:pt>
                <c:pt idx="1438">
                  <c:v>102.48108839278422</c:v>
                </c:pt>
                <c:pt idx="1439">
                  <c:v>101.52976663677001</c:v>
                </c:pt>
                <c:pt idx="1440">
                  <c:v>100.87272047180466</c:v>
                </c:pt>
                <c:pt idx="1441">
                  <c:v>100.46854936670864</c:v>
                </c:pt>
                <c:pt idx="1442">
                  <c:v>100.04145739029363</c:v>
                </c:pt>
                <c:pt idx="1443">
                  <c:v>99.517963405074923</c:v>
                </c:pt>
                <c:pt idx="1444">
                  <c:v>99.091302443444107</c:v>
                </c:pt>
                <c:pt idx="1445">
                  <c:v>98.367135831156503</c:v>
                </c:pt>
                <c:pt idx="1446">
                  <c:v>98.412669298642129</c:v>
                </c:pt>
                <c:pt idx="1447">
                  <c:v>97.882503137635496</c:v>
                </c:pt>
                <c:pt idx="1448">
                  <c:v>99.327095782996281</c:v>
                </c:pt>
                <c:pt idx="1449">
                  <c:v>98.822850863742033</c:v>
                </c:pt>
                <c:pt idx="1450">
                  <c:v>98.368693382088821</c:v>
                </c:pt>
                <c:pt idx="1451">
                  <c:v>98.027769033272392</c:v>
                </c:pt>
                <c:pt idx="1452">
                  <c:v>98.042775838427403</c:v>
                </c:pt>
                <c:pt idx="1453">
                  <c:v>97.665880588152461</c:v>
                </c:pt>
                <c:pt idx="1454">
                  <c:v>96.954517912715872</c:v>
                </c:pt>
                <c:pt idx="1455">
                  <c:v>97.457657405490039</c:v>
                </c:pt>
                <c:pt idx="1456">
                  <c:v>97.497334913088679</c:v>
                </c:pt>
                <c:pt idx="1457">
                  <c:v>97.72188179266945</c:v>
                </c:pt>
                <c:pt idx="1458">
                  <c:v>98.142125318094202</c:v>
                </c:pt>
                <c:pt idx="1459">
                  <c:v>98.100619648345798</c:v>
                </c:pt>
                <c:pt idx="1460">
                  <c:v>97.439778357054479</c:v>
                </c:pt>
                <c:pt idx="1461">
                  <c:v>97.781709861601357</c:v>
                </c:pt>
                <c:pt idx="1462">
                  <c:v>97.641294528863739</c:v>
                </c:pt>
                <c:pt idx="1463">
                  <c:v>97.457724418832129</c:v>
                </c:pt>
                <c:pt idx="1464">
                  <c:v>96.853784191311817</c:v>
                </c:pt>
                <c:pt idx="1465">
                  <c:v>96.474016798198022</c:v>
                </c:pt>
                <c:pt idx="1466">
                  <c:v>97.174016114951613</c:v>
                </c:pt>
                <c:pt idx="1467">
                  <c:v>97.281706500424889</c:v>
                </c:pt>
                <c:pt idx="1468">
                  <c:v>97.976384728330146</c:v>
                </c:pt>
                <c:pt idx="1469">
                  <c:v>98.703096627685639</c:v>
                </c:pt>
                <c:pt idx="1470">
                  <c:v>97.794617591340895</c:v>
                </c:pt>
                <c:pt idx="1471">
                  <c:v>97.948950834925654</c:v>
                </c:pt>
                <c:pt idx="1472">
                  <c:v>98.497507034030036</c:v>
                </c:pt>
                <c:pt idx="1473">
                  <c:v>99.00234842497828</c:v>
                </c:pt>
                <c:pt idx="1474">
                  <c:v>98.746803292410561</c:v>
                </c:pt>
                <c:pt idx="1475">
                  <c:v>97.946507071307494</c:v>
                </c:pt>
                <c:pt idx="1476">
                  <c:v>98.043386199591069</c:v>
                </c:pt>
                <c:pt idx="1477">
                  <c:v>96.842333319049686</c:v>
                </c:pt>
                <c:pt idx="1478">
                  <c:v>97.033272980816193</c:v>
                </c:pt>
                <c:pt idx="1479">
                  <c:v>97.442983316129343</c:v>
                </c:pt>
                <c:pt idx="1480">
                  <c:v>95.773703690467869</c:v>
                </c:pt>
                <c:pt idx="1481">
                  <c:v>95.496490512064241</c:v>
                </c:pt>
                <c:pt idx="1482">
                  <c:v>94.128110808730725</c:v>
                </c:pt>
                <c:pt idx="1483">
                  <c:v>93.511348445661483</c:v>
                </c:pt>
                <c:pt idx="1484">
                  <c:v>93.526751258513968</c:v>
                </c:pt>
                <c:pt idx="1485">
                  <c:v>94.67584461865529</c:v>
                </c:pt>
                <c:pt idx="1486">
                  <c:v>94.421158503601703</c:v>
                </c:pt>
                <c:pt idx="1487">
                  <c:v>95.879822891110763</c:v>
                </c:pt>
                <c:pt idx="1488">
                  <c:v>95.461400330947967</c:v>
                </c:pt>
                <c:pt idx="1489">
                  <c:v>95.359074282320336</c:v>
                </c:pt>
                <c:pt idx="1490">
                  <c:v>96.322726987242874</c:v>
                </c:pt>
                <c:pt idx="1491">
                  <c:v>96.103487675589875</c:v>
                </c:pt>
                <c:pt idx="1492">
                  <c:v>95.782218782524126</c:v>
                </c:pt>
                <c:pt idx="1493">
                  <c:v>94.807184721451037</c:v>
                </c:pt>
                <c:pt idx="1494">
                  <c:v>94.775069217421006</c:v>
                </c:pt>
                <c:pt idx="1495">
                  <c:v>93.93957617423716</c:v>
                </c:pt>
                <c:pt idx="1496">
                  <c:v>93.133752555548085</c:v>
                </c:pt>
                <c:pt idx="1497">
                  <c:v>92.454467008358009</c:v>
                </c:pt>
                <c:pt idx="1498">
                  <c:v>92.235374381981501</c:v>
                </c:pt>
                <c:pt idx="1499">
                  <c:v>92.074093914321438</c:v>
                </c:pt>
                <c:pt idx="1500">
                  <c:v>91.125712383418076</c:v>
                </c:pt>
                <c:pt idx="1501">
                  <c:v>90.456704848242168</c:v>
                </c:pt>
                <c:pt idx="1502">
                  <c:v>89.912901545270657</c:v>
                </c:pt>
                <c:pt idx="1503">
                  <c:v>89.637254801435645</c:v>
                </c:pt>
                <c:pt idx="1504">
                  <c:v>89.099818976555738</c:v>
                </c:pt>
                <c:pt idx="1505">
                  <c:v>88.221812616866089</c:v>
                </c:pt>
                <c:pt idx="1506">
                  <c:v>87.841101715617143</c:v>
                </c:pt>
                <c:pt idx="1507">
                  <c:v>87.699366483826822</c:v>
                </c:pt>
                <c:pt idx="1508">
                  <c:v>86.564441237794526</c:v>
                </c:pt>
                <c:pt idx="1509">
                  <c:v>88.419964139221335</c:v>
                </c:pt>
                <c:pt idx="1510">
                  <c:v>88.897613448336415</c:v>
                </c:pt>
                <c:pt idx="1511">
                  <c:v>88.714763301664718</c:v>
                </c:pt>
                <c:pt idx="1512">
                  <c:v>89.759055296067032</c:v>
                </c:pt>
                <c:pt idx="1513">
                  <c:v>90.84706298113025</c:v>
                </c:pt>
                <c:pt idx="1514">
                  <c:v>91.895155916573557</c:v>
                </c:pt>
                <c:pt idx="1515">
                  <c:v>91.411461499763575</c:v>
                </c:pt>
                <c:pt idx="1516">
                  <c:v>92.690611215640203</c:v>
                </c:pt>
                <c:pt idx="1517">
                  <c:v>92.466738267935284</c:v>
                </c:pt>
                <c:pt idx="1518">
                  <c:v>92.49225714528086</c:v>
                </c:pt>
                <c:pt idx="1519">
                  <c:v>90.573013289340579</c:v>
                </c:pt>
                <c:pt idx="1520">
                  <c:v>91.606735937252807</c:v>
                </c:pt>
                <c:pt idx="1521">
                  <c:v>91.205915956781141</c:v>
                </c:pt>
                <c:pt idx="1522">
                  <c:v>92.710864471229243</c:v>
                </c:pt>
                <c:pt idx="1523">
                  <c:v>92.333947868549984</c:v>
                </c:pt>
                <c:pt idx="1524">
                  <c:v>92.400894741188054</c:v>
                </c:pt>
                <c:pt idx="1525">
                  <c:v>92.21303433770963</c:v>
                </c:pt>
                <c:pt idx="1526">
                  <c:v>92.077042576816154</c:v>
                </c:pt>
                <c:pt idx="1527">
                  <c:v>91.582393405434956</c:v>
                </c:pt>
                <c:pt idx="1528">
                  <c:v>91.036359776923206</c:v>
                </c:pt>
                <c:pt idx="1529">
                  <c:v>90.104314991041178</c:v>
                </c:pt>
                <c:pt idx="1530">
                  <c:v>90.07542998872168</c:v>
                </c:pt>
                <c:pt idx="1531">
                  <c:v>90.476570571948798</c:v>
                </c:pt>
                <c:pt idx="1532">
                  <c:v>88.91098895473138</c:v>
                </c:pt>
                <c:pt idx="1533">
                  <c:v>87.858505175124662</c:v>
                </c:pt>
                <c:pt idx="1534">
                  <c:v>88.243680550033176</c:v>
                </c:pt>
                <c:pt idx="1535">
                  <c:v>88.332553923978168</c:v>
                </c:pt>
                <c:pt idx="1536">
                  <c:v>88.046446538766403</c:v>
                </c:pt>
                <c:pt idx="1537">
                  <c:v>87.361015566511043</c:v>
                </c:pt>
                <c:pt idx="1538">
                  <c:v>87.597575459420128</c:v>
                </c:pt>
                <c:pt idx="1539">
                  <c:v>88.431428599074351</c:v>
                </c:pt>
                <c:pt idx="1540">
                  <c:v>88.578337178676563</c:v>
                </c:pt>
                <c:pt idx="1541">
                  <c:v>88.174694690030691</c:v>
                </c:pt>
                <c:pt idx="1542">
                  <c:v>88.574981639373704</c:v>
                </c:pt>
                <c:pt idx="1543">
                  <c:v>89.254533485010882</c:v>
                </c:pt>
                <c:pt idx="1544">
                  <c:v>89.850210232586363</c:v>
                </c:pt>
                <c:pt idx="1545">
                  <c:v>89.961461662547109</c:v>
                </c:pt>
                <c:pt idx="1546">
                  <c:v>89.011493188927446</c:v>
                </c:pt>
                <c:pt idx="1547">
                  <c:v>88.450334481728206</c:v>
                </c:pt>
                <c:pt idx="1548">
                  <c:v>87.96379843156727</c:v>
                </c:pt>
                <c:pt idx="1549">
                  <c:v>88.730827549651764</c:v>
                </c:pt>
                <c:pt idx="1550">
                  <c:v>88.880648660371605</c:v>
                </c:pt>
                <c:pt idx="1551">
                  <c:v>89.505029441960474</c:v>
                </c:pt>
                <c:pt idx="1552">
                  <c:v>88.68098526171751</c:v>
                </c:pt>
                <c:pt idx="1553">
                  <c:v>90.211735706390343</c:v>
                </c:pt>
                <c:pt idx="1554">
                  <c:v>91.351502050784589</c:v>
                </c:pt>
                <c:pt idx="1555">
                  <c:v>90.675592333489206</c:v>
                </c:pt>
                <c:pt idx="1556">
                  <c:v>89.2532217232487</c:v>
                </c:pt>
                <c:pt idx="1557">
                  <c:v>89.885623524929699</c:v>
                </c:pt>
                <c:pt idx="1558">
                  <c:v>90.052267700892031</c:v>
                </c:pt>
                <c:pt idx="1559">
                  <c:v>89.601454804009862</c:v>
                </c:pt>
                <c:pt idx="1560">
                  <c:v>91.015600042545969</c:v>
                </c:pt>
                <c:pt idx="1561">
                  <c:v>91.87613935983822</c:v>
                </c:pt>
                <c:pt idx="1562">
                  <c:v>92.141278502691094</c:v>
                </c:pt>
                <c:pt idx="1563">
                  <c:v>90.819108067785336</c:v>
                </c:pt>
                <c:pt idx="1564">
                  <c:v>90.535730496165883</c:v>
                </c:pt>
                <c:pt idx="1565">
                  <c:v>89.987409880219431</c:v>
                </c:pt>
                <c:pt idx="1566">
                  <c:v>89.349820014126081</c:v>
                </c:pt>
                <c:pt idx="1567">
                  <c:v>89.342084397042626</c:v>
                </c:pt>
                <c:pt idx="1568">
                  <c:v>87.922676355326345</c:v>
                </c:pt>
                <c:pt idx="1569">
                  <c:v>88.939888017474829</c:v>
                </c:pt>
                <c:pt idx="1570">
                  <c:v>90.413963249857972</c:v>
                </c:pt>
                <c:pt idx="1571">
                  <c:v>90.428047311966637</c:v>
                </c:pt>
                <c:pt idx="1572">
                  <c:v>90.661973562811269</c:v>
                </c:pt>
                <c:pt idx="1573">
                  <c:v>91.14499887871338</c:v>
                </c:pt>
                <c:pt idx="1574">
                  <c:v>90.464507584375298</c:v>
                </c:pt>
                <c:pt idx="1575">
                  <c:v>90.367327130714358</c:v>
                </c:pt>
                <c:pt idx="1576">
                  <c:v>90.440174310085169</c:v>
                </c:pt>
                <c:pt idx="1577">
                  <c:v>89.424785408472985</c:v>
                </c:pt>
                <c:pt idx="1578">
                  <c:v>89.029270758963733</c:v>
                </c:pt>
                <c:pt idx="1579">
                  <c:v>89.127310885438064</c:v>
                </c:pt>
                <c:pt idx="1580">
                  <c:v>89.84389726977966</c:v>
                </c:pt>
                <c:pt idx="1581">
                  <c:v>88.279818920491962</c:v>
                </c:pt>
                <c:pt idx="1582">
                  <c:v>88.941444688347488</c:v>
                </c:pt>
                <c:pt idx="1583">
                  <c:v>89.231320319816078</c:v>
                </c:pt>
                <c:pt idx="1584">
                  <c:v>90.09616537965212</c:v>
                </c:pt>
                <c:pt idx="1585">
                  <c:v>90.91985580926027</c:v>
                </c:pt>
                <c:pt idx="1586">
                  <c:v>90.935945816122953</c:v>
                </c:pt>
                <c:pt idx="1587">
                  <c:v>91.490139728541735</c:v>
                </c:pt>
                <c:pt idx="1588">
                  <c:v>91.295516244469084</c:v>
                </c:pt>
                <c:pt idx="1589">
                  <c:v>90.939963983169918</c:v>
                </c:pt>
                <c:pt idx="1590">
                  <c:v>91.439553794363505</c:v>
                </c:pt>
                <c:pt idx="1591">
                  <c:v>92.460949984919793</c:v>
                </c:pt>
                <c:pt idx="1592">
                  <c:v>93.333980902001969</c:v>
                </c:pt>
                <c:pt idx="1593">
                  <c:v>92.610947640456374</c:v>
                </c:pt>
                <c:pt idx="1594">
                  <c:v>92.884044956955591</c:v>
                </c:pt>
                <c:pt idx="1595">
                  <c:v>93.030336064372278</c:v>
                </c:pt>
                <c:pt idx="1596">
                  <c:v>93.105357424084019</c:v>
                </c:pt>
                <c:pt idx="1597">
                  <c:v>93.030889954545145</c:v>
                </c:pt>
                <c:pt idx="1598">
                  <c:v>93.194564262019568</c:v>
                </c:pt>
                <c:pt idx="1599">
                  <c:v>92.06871389854156</c:v>
                </c:pt>
                <c:pt idx="1600">
                  <c:v>92.586484351106648</c:v>
                </c:pt>
                <c:pt idx="1601">
                  <c:v>92.281438474865084</c:v>
                </c:pt>
                <c:pt idx="1602">
                  <c:v>92.76199406080579</c:v>
                </c:pt>
                <c:pt idx="1603">
                  <c:v>92.052684924866838</c:v>
                </c:pt>
                <c:pt idx="1604">
                  <c:v>93.104331594745645</c:v>
                </c:pt>
                <c:pt idx="1605">
                  <c:v>92.989089547501749</c:v>
                </c:pt>
                <c:pt idx="1606">
                  <c:v>93.627224355906449</c:v>
                </c:pt>
                <c:pt idx="1607">
                  <c:v>92.833508014073658</c:v>
                </c:pt>
                <c:pt idx="1608">
                  <c:v>96.08140206463753</c:v>
                </c:pt>
                <c:pt idx="1609">
                  <c:v>96.228438074507778</c:v>
                </c:pt>
                <c:pt idx="1610">
                  <c:v>96.467307560921881</c:v>
                </c:pt>
                <c:pt idx="1611">
                  <c:v>97.657356013979211</c:v>
                </c:pt>
                <c:pt idx="1612">
                  <c:v>98.247392239313598</c:v>
                </c:pt>
                <c:pt idx="1613">
                  <c:v>98.551110888028404</c:v>
                </c:pt>
                <c:pt idx="1614">
                  <c:v>99.232320001748604</c:v>
                </c:pt>
                <c:pt idx="1615">
                  <c:v>100.2467230007841</c:v>
                </c:pt>
                <c:pt idx="1616">
                  <c:v>100.78888420098203</c:v>
                </c:pt>
                <c:pt idx="1617">
                  <c:v>100.21157946058696</c:v>
                </c:pt>
                <c:pt idx="1618">
                  <c:v>100.61317473202894</c:v>
                </c:pt>
                <c:pt idx="1619">
                  <c:v>100.34740281658597</c:v>
                </c:pt>
                <c:pt idx="1620">
                  <c:v>99.630118828011348</c:v>
                </c:pt>
                <c:pt idx="1621">
                  <c:v>100.67309702457435</c:v>
                </c:pt>
                <c:pt idx="1622">
                  <c:v>100.88132853355731</c:v>
                </c:pt>
                <c:pt idx="1623">
                  <c:v>100.78616614680966</c:v>
                </c:pt>
                <c:pt idx="1624">
                  <c:v>100.04376470081793</c:v>
                </c:pt>
                <c:pt idx="1625">
                  <c:v>99.72453519382276</c:v>
                </c:pt>
                <c:pt idx="1626">
                  <c:v>99.849651411966349</c:v>
                </c:pt>
                <c:pt idx="1627">
                  <c:v>99.501921053646029</c:v>
                </c:pt>
                <c:pt idx="1628">
                  <c:v>98.690803396722131</c:v>
                </c:pt>
                <c:pt idx="1629">
                  <c:v>99.193461977029287</c:v>
                </c:pt>
                <c:pt idx="1630">
                  <c:v>99.160419135053459</c:v>
                </c:pt>
                <c:pt idx="1631">
                  <c:v>98.597658808451911</c:v>
                </c:pt>
                <c:pt idx="1632">
                  <c:v>99.463903674375757</c:v>
                </c:pt>
                <c:pt idx="1633">
                  <c:v>100</c:v>
                </c:pt>
              </c:numCache>
            </c:numRef>
          </c:val>
          <c:smooth val="0"/>
          <c:extLst>
            <c:ext xmlns:c16="http://schemas.microsoft.com/office/drawing/2014/chart" uri="{C3380CC4-5D6E-409C-BE32-E72D297353CC}">
              <c16:uniqueId val="{00000000-0DCD-49DB-A820-2B10403DC6C0}"/>
            </c:ext>
          </c:extLst>
        </c:ser>
        <c:ser>
          <c:idx val="1"/>
          <c:order val="1"/>
          <c:tx>
            <c:strRef>
              <c:f>Sheet1!$C$1</c:f>
              <c:strCache>
                <c:ptCount val="1"/>
                <c:pt idx="0">
                  <c:v>Nifty 50</c:v>
                </c:pt>
              </c:strCache>
            </c:strRef>
          </c:tx>
          <c:spPr>
            <a:ln w="25400" cap="rnd">
              <a:solidFill>
                <a:schemeClr val="accent4">
                  <a:lumMod val="25000"/>
                </a:schemeClr>
              </a:solidFill>
              <a:round/>
            </a:ln>
            <a:effectLst/>
          </c:spPr>
          <c:marker>
            <c:symbol val="none"/>
          </c:marker>
          <c:cat>
            <c:numRef>
              <c:f>Sheet1!$A$2:$A$1635</c:f>
              <c:numCache>
                <c:formatCode>m/d/yyyy</c:formatCode>
                <c:ptCount val="1634"/>
                <c:pt idx="0">
                  <c:v>45961</c:v>
                </c:pt>
                <c:pt idx="1">
                  <c:v>45960</c:v>
                </c:pt>
                <c:pt idx="2">
                  <c:v>45959</c:v>
                </c:pt>
                <c:pt idx="3">
                  <c:v>45958</c:v>
                </c:pt>
                <c:pt idx="4">
                  <c:v>45957</c:v>
                </c:pt>
                <c:pt idx="5">
                  <c:v>45954</c:v>
                </c:pt>
                <c:pt idx="6">
                  <c:v>45953</c:v>
                </c:pt>
                <c:pt idx="7">
                  <c:v>45951</c:v>
                </c:pt>
                <c:pt idx="8">
                  <c:v>45950</c:v>
                </c:pt>
                <c:pt idx="9">
                  <c:v>45947</c:v>
                </c:pt>
                <c:pt idx="10">
                  <c:v>45946</c:v>
                </c:pt>
                <c:pt idx="11">
                  <c:v>45945</c:v>
                </c:pt>
                <c:pt idx="12">
                  <c:v>45944</c:v>
                </c:pt>
                <c:pt idx="13">
                  <c:v>45943</c:v>
                </c:pt>
                <c:pt idx="14">
                  <c:v>45940</c:v>
                </c:pt>
                <c:pt idx="15">
                  <c:v>45939</c:v>
                </c:pt>
                <c:pt idx="16">
                  <c:v>45938</c:v>
                </c:pt>
                <c:pt idx="17">
                  <c:v>45937</c:v>
                </c:pt>
                <c:pt idx="18">
                  <c:v>45936</c:v>
                </c:pt>
                <c:pt idx="19">
                  <c:v>45933</c:v>
                </c:pt>
                <c:pt idx="20">
                  <c:v>45931</c:v>
                </c:pt>
                <c:pt idx="21">
                  <c:v>45930</c:v>
                </c:pt>
                <c:pt idx="22">
                  <c:v>45929</c:v>
                </c:pt>
                <c:pt idx="23">
                  <c:v>45926</c:v>
                </c:pt>
                <c:pt idx="24">
                  <c:v>45925</c:v>
                </c:pt>
                <c:pt idx="25">
                  <c:v>45924</c:v>
                </c:pt>
                <c:pt idx="26">
                  <c:v>45923</c:v>
                </c:pt>
                <c:pt idx="27">
                  <c:v>45922</c:v>
                </c:pt>
                <c:pt idx="28">
                  <c:v>45919</c:v>
                </c:pt>
                <c:pt idx="29">
                  <c:v>45918</c:v>
                </c:pt>
                <c:pt idx="30">
                  <c:v>45917</c:v>
                </c:pt>
                <c:pt idx="31">
                  <c:v>45916</c:v>
                </c:pt>
                <c:pt idx="32">
                  <c:v>45915</c:v>
                </c:pt>
                <c:pt idx="33">
                  <c:v>45912</c:v>
                </c:pt>
                <c:pt idx="34">
                  <c:v>45911</c:v>
                </c:pt>
                <c:pt idx="35">
                  <c:v>45910</c:v>
                </c:pt>
                <c:pt idx="36">
                  <c:v>45909</c:v>
                </c:pt>
                <c:pt idx="37">
                  <c:v>45908</c:v>
                </c:pt>
                <c:pt idx="38">
                  <c:v>45905</c:v>
                </c:pt>
                <c:pt idx="39">
                  <c:v>45904</c:v>
                </c:pt>
                <c:pt idx="40">
                  <c:v>45903</c:v>
                </c:pt>
                <c:pt idx="41">
                  <c:v>45902</c:v>
                </c:pt>
                <c:pt idx="42">
                  <c:v>45901</c:v>
                </c:pt>
                <c:pt idx="43">
                  <c:v>45898</c:v>
                </c:pt>
                <c:pt idx="44">
                  <c:v>45897</c:v>
                </c:pt>
                <c:pt idx="45">
                  <c:v>45895</c:v>
                </c:pt>
                <c:pt idx="46">
                  <c:v>45894</c:v>
                </c:pt>
                <c:pt idx="47">
                  <c:v>45891</c:v>
                </c:pt>
                <c:pt idx="48">
                  <c:v>45890</c:v>
                </c:pt>
                <c:pt idx="49">
                  <c:v>45889</c:v>
                </c:pt>
                <c:pt idx="50">
                  <c:v>45888</c:v>
                </c:pt>
                <c:pt idx="51">
                  <c:v>45887</c:v>
                </c:pt>
                <c:pt idx="52">
                  <c:v>45883</c:v>
                </c:pt>
                <c:pt idx="53">
                  <c:v>45882</c:v>
                </c:pt>
                <c:pt idx="54">
                  <c:v>45881</c:v>
                </c:pt>
                <c:pt idx="55">
                  <c:v>45880</c:v>
                </c:pt>
                <c:pt idx="56">
                  <c:v>45877</c:v>
                </c:pt>
                <c:pt idx="57">
                  <c:v>45876</c:v>
                </c:pt>
                <c:pt idx="58">
                  <c:v>45875</c:v>
                </c:pt>
                <c:pt idx="59">
                  <c:v>45874</c:v>
                </c:pt>
                <c:pt idx="60">
                  <c:v>45873</c:v>
                </c:pt>
                <c:pt idx="61">
                  <c:v>45870</c:v>
                </c:pt>
                <c:pt idx="62">
                  <c:v>45869</c:v>
                </c:pt>
                <c:pt idx="63">
                  <c:v>45868</c:v>
                </c:pt>
                <c:pt idx="64">
                  <c:v>45867</c:v>
                </c:pt>
                <c:pt idx="65">
                  <c:v>45866</c:v>
                </c:pt>
                <c:pt idx="66">
                  <c:v>45863</c:v>
                </c:pt>
                <c:pt idx="67">
                  <c:v>45862</c:v>
                </c:pt>
                <c:pt idx="68">
                  <c:v>45861</c:v>
                </c:pt>
                <c:pt idx="69">
                  <c:v>45860</c:v>
                </c:pt>
                <c:pt idx="70">
                  <c:v>45859</c:v>
                </c:pt>
                <c:pt idx="71">
                  <c:v>45856</c:v>
                </c:pt>
                <c:pt idx="72">
                  <c:v>45855</c:v>
                </c:pt>
                <c:pt idx="73">
                  <c:v>45854</c:v>
                </c:pt>
                <c:pt idx="74">
                  <c:v>45853</c:v>
                </c:pt>
                <c:pt idx="75">
                  <c:v>45852</c:v>
                </c:pt>
                <c:pt idx="76">
                  <c:v>45849</c:v>
                </c:pt>
                <c:pt idx="77">
                  <c:v>45848</c:v>
                </c:pt>
                <c:pt idx="78">
                  <c:v>45847</c:v>
                </c:pt>
                <c:pt idx="79">
                  <c:v>45846</c:v>
                </c:pt>
                <c:pt idx="80">
                  <c:v>45845</c:v>
                </c:pt>
                <c:pt idx="81">
                  <c:v>45842</c:v>
                </c:pt>
                <c:pt idx="82">
                  <c:v>45841</c:v>
                </c:pt>
                <c:pt idx="83">
                  <c:v>45840</c:v>
                </c:pt>
                <c:pt idx="84">
                  <c:v>45839</c:v>
                </c:pt>
                <c:pt idx="85">
                  <c:v>45838</c:v>
                </c:pt>
                <c:pt idx="86">
                  <c:v>45835</c:v>
                </c:pt>
                <c:pt idx="87">
                  <c:v>45834</c:v>
                </c:pt>
                <c:pt idx="88">
                  <c:v>45833</c:v>
                </c:pt>
                <c:pt idx="89">
                  <c:v>45832</c:v>
                </c:pt>
                <c:pt idx="90">
                  <c:v>45831</c:v>
                </c:pt>
                <c:pt idx="91">
                  <c:v>45828</c:v>
                </c:pt>
                <c:pt idx="92">
                  <c:v>45827</c:v>
                </c:pt>
                <c:pt idx="93">
                  <c:v>45826</c:v>
                </c:pt>
                <c:pt idx="94">
                  <c:v>45825</c:v>
                </c:pt>
                <c:pt idx="95">
                  <c:v>45824</c:v>
                </c:pt>
                <c:pt idx="96">
                  <c:v>45821</c:v>
                </c:pt>
                <c:pt idx="97">
                  <c:v>45820</c:v>
                </c:pt>
                <c:pt idx="98">
                  <c:v>45819</c:v>
                </c:pt>
                <c:pt idx="99">
                  <c:v>45818</c:v>
                </c:pt>
                <c:pt idx="100">
                  <c:v>45817</c:v>
                </c:pt>
                <c:pt idx="101">
                  <c:v>45814</c:v>
                </c:pt>
                <c:pt idx="102">
                  <c:v>45813</c:v>
                </c:pt>
                <c:pt idx="103">
                  <c:v>45812</c:v>
                </c:pt>
                <c:pt idx="104">
                  <c:v>45811</c:v>
                </c:pt>
                <c:pt idx="105">
                  <c:v>45810</c:v>
                </c:pt>
                <c:pt idx="106">
                  <c:v>45807</c:v>
                </c:pt>
                <c:pt idx="107">
                  <c:v>45806</c:v>
                </c:pt>
                <c:pt idx="108">
                  <c:v>45805</c:v>
                </c:pt>
                <c:pt idx="109">
                  <c:v>45804</c:v>
                </c:pt>
                <c:pt idx="110">
                  <c:v>45803</c:v>
                </c:pt>
                <c:pt idx="111">
                  <c:v>45800</c:v>
                </c:pt>
                <c:pt idx="112">
                  <c:v>45799</c:v>
                </c:pt>
                <c:pt idx="113">
                  <c:v>45798</c:v>
                </c:pt>
                <c:pt idx="114">
                  <c:v>45797</c:v>
                </c:pt>
                <c:pt idx="115">
                  <c:v>45796</c:v>
                </c:pt>
                <c:pt idx="116">
                  <c:v>45793</c:v>
                </c:pt>
                <c:pt idx="117">
                  <c:v>45792</c:v>
                </c:pt>
                <c:pt idx="118">
                  <c:v>45791</c:v>
                </c:pt>
                <c:pt idx="119">
                  <c:v>45790</c:v>
                </c:pt>
                <c:pt idx="120">
                  <c:v>45789</c:v>
                </c:pt>
                <c:pt idx="121">
                  <c:v>45786</c:v>
                </c:pt>
                <c:pt idx="122">
                  <c:v>45785</c:v>
                </c:pt>
                <c:pt idx="123">
                  <c:v>45784</c:v>
                </c:pt>
                <c:pt idx="124">
                  <c:v>45783</c:v>
                </c:pt>
                <c:pt idx="125">
                  <c:v>45782</c:v>
                </c:pt>
                <c:pt idx="126">
                  <c:v>45779</c:v>
                </c:pt>
                <c:pt idx="127">
                  <c:v>45777</c:v>
                </c:pt>
                <c:pt idx="128">
                  <c:v>45776</c:v>
                </c:pt>
                <c:pt idx="129">
                  <c:v>45775</c:v>
                </c:pt>
                <c:pt idx="130">
                  <c:v>45772</c:v>
                </c:pt>
                <c:pt idx="131">
                  <c:v>45771</c:v>
                </c:pt>
                <c:pt idx="132">
                  <c:v>45770</c:v>
                </c:pt>
                <c:pt idx="133">
                  <c:v>45769</c:v>
                </c:pt>
                <c:pt idx="134">
                  <c:v>45768</c:v>
                </c:pt>
                <c:pt idx="135">
                  <c:v>45764</c:v>
                </c:pt>
                <c:pt idx="136">
                  <c:v>45763</c:v>
                </c:pt>
                <c:pt idx="137">
                  <c:v>45762</c:v>
                </c:pt>
                <c:pt idx="138">
                  <c:v>45758</c:v>
                </c:pt>
                <c:pt idx="139">
                  <c:v>45756</c:v>
                </c:pt>
                <c:pt idx="140">
                  <c:v>45755</c:v>
                </c:pt>
                <c:pt idx="141">
                  <c:v>45754</c:v>
                </c:pt>
                <c:pt idx="142">
                  <c:v>45751</c:v>
                </c:pt>
                <c:pt idx="143">
                  <c:v>45750</c:v>
                </c:pt>
                <c:pt idx="144">
                  <c:v>45749</c:v>
                </c:pt>
                <c:pt idx="145">
                  <c:v>45748</c:v>
                </c:pt>
                <c:pt idx="146">
                  <c:v>45744</c:v>
                </c:pt>
                <c:pt idx="147">
                  <c:v>45743</c:v>
                </c:pt>
                <c:pt idx="148">
                  <c:v>45742</c:v>
                </c:pt>
                <c:pt idx="149">
                  <c:v>45741</c:v>
                </c:pt>
                <c:pt idx="150">
                  <c:v>45740</c:v>
                </c:pt>
                <c:pt idx="151">
                  <c:v>45737</c:v>
                </c:pt>
                <c:pt idx="152">
                  <c:v>45736</c:v>
                </c:pt>
                <c:pt idx="153">
                  <c:v>45735</c:v>
                </c:pt>
                <c:pt idx="154">
                  <c:v>45734</c:v>
                </c:pt>
                <c:pt idx="155">
                  <c:v>45733</c:v>
                </c:pt>
                <c:pt idx="156">
                  <c:v>45729</c:v>
                </c:pt>
                <c:pt idx="157">
                  <c:v>45728</c:v>
                </c:pt>
                <c:pt idx="158">
                  <c:v>45727</c:v>
                </c:pt>
                <c:pt idx="159">
                  <c:v>45726</c:v>
                </c:pt>
                <c:pt idx="160">
                  <c:v>45723</c:v>
                </c:pt>
                <c:pt idx="161">
                  <c:v>45722</c:v>
                </c:pt>
                <c:pt idx="162">
                  <c:v>45721</c:v>
                </c:pt>
                <c:pt idx="163">
                  <c:v>45720</c:v>
                </c:pt>
                <c:pt idx="164">
                  <c:v>45719</c:v>
                </c:pt>
                <c:pt idx="165">
                  <c:v>45716</c:v>
                </c:pt>
                <c:pt idx="166">
                  <c:v>45715</c:v>
                </c:pt>
                <c:pt idx="167">
                  <c:v>45713</c:v>
                </c:pt>
                <c:pt idx="168">
                  <c:v>45712</c:v>
                </c:pt>
                <c:pt idx="169">
                  <c:v>45709</c:v>
                </c:pt>
                <c:pt idx="170">
                  <c:v>45708</c:v>
                </c:pt>
                <c:pt idx="171">
                  <c:v>45707</c:v>
                </c:pt>
                <c:pt idx="172">
                  <c:v>45706</c:v>
                </c:pt>
                <c:pt idx="173">
                  <c:v>45705</c:v>
                </c:pt>
                <c:pt idx="174">
                  <c:v>45702</c:v>
                </c:pt>
                <c:pt idx="175">
                  <c:v>45701</c:v>
                </c:pt>
                <c:pt idx="176">
                  <c:v>45700</c:v>
                </c:pt>
                <c:pt idx="177">
                  <c:v>45699</c:v>
                </c:pt>
                <c:pt idx="178">
                  <c:v>45698</c:v>
                </c:pt>
                <c:pt idx="179">
                  <c:v>45695</c:v>
                </c:pt>
                <c:pt idx="180">
                  <c:v>45694</c:v>
                </c:pt>
                <c:pt idx="181">
                  <c:v>45693</c:v>
                </c:pt>
                <c:pt idx="182">
                  <c:v>45692</c:v>
                </c:pt>
                <c:pt idx="183">
                  <c:v>45691</c:v>
                </c:pt>
                <c:pt idx="184">
                  <c:v>45689</c:v>
                </c:pt>
                <c:pt idx="185">
                  <c:v>45688</c:v>
                </c:pt>
                <c:pt idx="186">
                  <c:v>45687</c:v>
                </c:pt>
                <c:pt idx="187">
                  <c:v>45686</c:v>
                </c:pt>
                <c:pt idx="188">
                  <c:v>45685</c:v>
                </c:pt>
                <c:pt idx="189">
                  <c:v>45684</c:v>
                </c:pt>
                <c:pt idx="190">
                  <c:v>45681</c:v>
                </c:pt>
                <c:pt idx="191">
                  <c:v>45680</c:v>
                </c:pt>
                <c:pt idx="192">
                  <c:v>45679</c:v>
                </c:pt>
                <c:pt idx="193">
                  <c:v>45678</c:v>
                </c:pt>
                <c:pt idx="194">
                  <c:v>45677</c:v>
                </c:pt>
                <c:pt idx="195">
                  <c:v>45674</c:v>
                </c:pt>
                <c:pt idx="196">
                  <c:v>45673</c:v>
                </c:pt>
                <c:pt idx="197">
                  <c:v>45672</c:v>
                </c:pt>
                <c:pt idx="198">
                  <c:v>45671</c:v>
                </c:pt>
                <c:pt idx="199">
                  <c:v>45670</c:v>
                </c:pt>
                <c:pt idx="200">
                  <c:v>45667</c:v>
                </c:pt>
                <c:pt idx="201">
                  <c:v>45666</c:v>
                </c:pt>
                <c:pt idx="202">
                  <c:v>45665</c:v>
                </c:pt>
                <c:pt idx="203">
                  <c:v>45664</c:v>
                </c:pt>
                <c:pt idx="204">
                  <c:v>45663</c:v>
                </c:pt>
                <c:pt idx="205">
                  <c:v>45660</c:v>
                </c:pt>
                <c:pt idx="206">
                  <c:v>45659</c:v>
                </c:pt>
                <c:pt idx="207">
                  <c:v>45658</c:v>
                </c:pt>
                <c:pt idx="208">
                  <c:v>45657</c:v>
                </c:pt>
                <c:pt idx="209">
                  <c:v>45656</c:v>
                </c:pt>
                <c:pt idx="210">
                  <c:v>45653</c:v>
                </c:pt>
                <c:pt idx="211">
                  <c:v>45652</c:v>
                </c:pt>
                <c:pt idx="212">
                  <c:v>45650</c:v>
                </c:pt>
                <c:pt idx="213">
                  <c:v>45649</c:v>
                </c:pt>
                <c:pt idx="214">
                  <c:v>45646</c:v>
                </c:pt>
                <c:pt idx="215">
                  <c:v>45645</c:v>
                </c:pt>
                <c:pt idx="216">
                  <c:v>45644</c:v>
                </c:pt>
                <c:pt idx="217">
                  <c:v>45643</c:v>
                </c:pt>
                <c:pt idx="218">
                  <c:v>45642</c:v>
                </c:pt>
                <c:pt idx="219">
                  <c:v>45639</c:v>
                </c:pt>
                <c:pt idx="220">
                  <c:v>45638</c:v>
                </c:pt>
                <c:pt idx="221">
                  <c:v>45637</c:v>
                </c:pt>
                <c:pt idx="222">
                  <c:v>45636</c:v>
                </c:pt>
                <c:pt idx="223">
                  <c:v>45635</c:v>
                </c:pt>
                <c:pt idx="224">
                  <c:v>45632</c:v>
                </c:pt>
                <c:pt idx="225">
                  <c:v>45631</c:v>
                </c:pt>
                <c:pt idx="226">
                  <c:v>45630</c:v>
                </c:pt>
                <c:pt idx="227">
                  <c:v>45629</c:v>
                </c:pt>
                <c:pt idx="228">
                  <c:v>45628</c:v>
                </c:pt>
                <c:pt idx="229">
                  <c:v>45625</c:v>
                </c:pt>
                <c:pt idx="230">
                  <c:v>45624</c:v>
                </c:pt>
                <c:pt idx="231">
                  <c:v>45623</c:v>
                </c:pt>
                <c:pt idx="232">
                  <c:v>45622</c:v>
                </c:pt>
                <c:pt idx="233">
                  <c:v>45621</c:v>
                </c:pt>
                <c:pt idx="234">
                  <c:v>45618</c:v>
                </c:pt>
                <c:pt idx="235">
                  <c:v>45617</c:v>
                </c:pt>
                <c:pt idx="236">
                  <c:v>45615</c:v>
                </c:pt>
                <c:pt idx="237">
                  <c:v>45614</c:v>
                </c:pt>
                <c:pt idx="238">
                  <c:v>45610</c:v>
                </c:pt>
                <c:pt idx="239">
                  <c:v>45609</c:v>
                </c:pt>
                <c:pt idx="240">
                  <c:v>45608</c:v>
                </c:pt>
                <c:pt idx="241">
                  <c:v>45607</c:v>
                </c:pt>
                <c:pt idx="242">
                  <c:v>45604</c:v>
                </c:pt>
                <c:pt idx="243">
                  <c:v>45603</c:v>
                </c:pt>
                <c:pt idx="244">
                  <c:v>45602</c:v>
                </c:pt>
                <c:pt idx="245">
                  <c:v>45601</c:v>
                </c:pt>
                <c:pt idx="246">
                  <c:v>45600</c:v>
                </c:pt>
                <c:pt idx="247">
                  <c:v>45597</c:v>
                </c:pt>
                <c:pt idx="248">
                  <c:v>45596</c:v>
                </c:pt>
                <c:pt idx="249">
                  <c:v>45595</c:v>
                </c:pt>
                <c:pt idx="250">
                  <c:v>45594</c:v>
                </c:pt>
                <c:pt idx="251">
                  <c:v>45593</c:v>
                </c:pt>
                <c:pt idx="252">
                  <c:v>45590</c:v>
                </c:pt>
                <c:pt idx="253">
                  <c:v>45589</c:v>
                </c:pt>
                <c:pt idx="254">
                  <c:v>45588</c:v>
                </c:pt>
                <c:pt idx="255">
                  <c:v>45587</c:v>
                </c:pt>
                <c:pt idx="256">
                  <c:v>45586</c:v>
                </c:pt>
                <c:pt idx="257">
                  <c:v>45583</c:v>
                </c:pt>
                <c:pt idx="258">
                  <c:v>45582</c:v>
                </c:pt>
                <c:pt idx="259">
                  <c:v>45581</c:v>
                </c:pt>
                <c:pt idx="260">
                  <c:v>45580</c:v>
                </c:pt>
                <c:pt idx="261">
                  <c:v>45579</c:v>
                </c:pt>
                <c:pt idx="262">
                  <c:v>45576</c:v>
                </c:pt>
                <c:pt idx="263">
                  <c:v>45575</c:v>
                </c:pt>
                <c:pt idx="264">
                  <c:v>45574</c:v>
                </c:pt>
                <c:pt idx="265">
                  <c:v>45573</c:v>
                </c:pt>
                <c:pt idx="266">
                  <c:v>45572</c:v>
                </c:pt>
                <c:pt idx="267">
                  <c:v>45569</c:v>
                </c:pt>
                <c:pt idx="268">
                  <c:v>45568</c:v>
                </c:pt>
                <c:pt idx="269">
                  <c:v>45566</c:v>
                </c:pt>
                <c:pt idx="270">
                  <c:v>45565</c:v>
                </c:pt>
                <c:pt idx="271">
                  <c:v>45562</c:v>
                </c:pt>
                <c:pt idx="272">
                  <c:v>45561</c:v>
                </c:pt>
                <c:pt idx="273">
                  <c:v>45560</c:v>
                </c:pt>
                <c:pt idx="274">
                  <c:v>45559</c:v>
                </c:pt>
                <c:pt idx="275">
                  <c:v>45558</c:v>
                </c:pt>
                <c:pt idx="276">
                  <c:v>45555</c:v>
                </c:pt>
                <c:pt idx="277">
                  <c:v>45554</c:v>
                </c:pt>
                <c:pt idx="278">
                  <c:v>45553</c:v>
                </c:pt>
                <c:pt idx="279">
                  <c:v>45552</c:v>
                </c:pt>
                <c:pt idx="280">
                  <c:v>45551</c:v>
                </c:pt>
                <c:pt idx="281">
                  <c:v>45548</c:v>
                </c:pt>
                <c:pt idx="282">
                  <c:v>45547</c:v>
                </c:pt>
                <c:pt idx="283">
                  <c:v>45546</c:v>
                </c:pt>
                <c:pt idx="284">
                  <c:v>45545</c:v>
                </c:pt>
                <c:pt idx="285">
                  <c:v>45544</c:v>
                </c:pt>
                <c:pt idx="286">
                  <c:v>45541</c:v>
                </c:pt>
                <c:pt idx="287">
                  <c:v>45540</c:v>
                </c:pt>
                <c:pt idx="288">
                  <c:v>45539</c:v>
                </c:pt>
                <c:pt idx="289">
                  <c:v>45538</c:v>
                </c:pt>
                <c:pt idx="290">
                  <c:v>45537</c:v>
                </c:pt>
                <c:pt idx="291">
                  <c:v>45534</c:v>
                </c:pt>
                <c:pt idx="292">
                  <c:v>45533</c:v>
                </c:pt>
                <c:pt idx="293">
                  <c:v>45532</c:v>
                </c:pt>
                <c:pt idx="294">
                  <c:v>45531</c:v>
                </c:pt>
                <c:pt idx="295">
                  <c:v>45530</c:v>
                </c:pt>
                <c:pt idx="296">
                  <c:v>45527</c:v>
                </c:pt>
                <c:pt idx="297">
                  <c:v>45526</c:v>
                </c:pt>
                <c:pt idx="298">
                  <c:v>45525</c:v>
                </c:pt>
                <c:pt idx="299">
                  <c:v>45524</c:v>
                </c:pt>
                <c:pt idx="300">
                  <c:v>45523</c:v>
                </c:pt>
                <c:pt idx="301">
                  <c:v>45520</c:v>
                </c:pt>
                <c:pt idx="302">
                  <c:v>45518</c:v>
                </c:pt>
                <c:pt idx="303">
                  <c:v>45517</c:v>
                </c:pt>
                <c:pt idx="304">
                  <c:v>45516</c:v>
                </c:pt>
                <c:pt idx="305">
                  <c:v>45513</c:v>
                </c:pt>
                <c:pt idx="306">
                  <c:v>45512</c:v>
                </c:pt>
                <c:pt idx="307">
                  <c:v>45511</c:v>
                </c:pt>
                <c:pt idx="308">
                  <c:v>45510</c:v>
                </c:pt>
                <c:pt idx="309">
                  <c:v>45509</c:v>
                </c:pt>
                <c:pt idx="310">
                  <c:v>45506</c:v>
                </c:pt>
                <c:pt idx="311">
                  <c:v>45505</c:v>
                </c:pt>
                <c:pt idx="312">
                  <c:v>45504</c:v>
                </c:pt>
                <c:pt idx="313">
                  <c:v>45503</c:v>
                </c:pt>
                <c:pt idx="314">
                  <c:v>45502</c:v>
                </c:pt>
                <c:pt idx="315">
                  <c:v>45499</c:v>
                </c:pt>
                <c:pt idx="316">
                  <c:v>45498</c:v>
                </c:pt>
                <c:pt idx="317">
                  <c:v>45497</c:v>
                </c:pt>
                <c:pt idx="318">
                  <c:v>45496</c:v>
                </c:pt>
                <c:pt idx="319">
                  <c:v>45495</c:v>
                </c:pt>
                <c:pt idx="320">
                  <c:v>45492</c:v>
                </c:pt>
                <c:pt idx="321">
                  <c:v>45491</c:v>
                </c:pt>
                <c:pt idx="322">
                  <c:v>45489</c:v>
                </c:pt>
                <c:pt idx="323">
                  <c:v>45488</c:v>
                </c:pt>
                <c:pt idx="324">
                  <c:v>45485</c:v>
                </c:pt>
                <c:pt idx="325">
                  <c:v>45484</c:v>
                </c:pt>
                <c:pt idx="326">
                  <c:v>45483</c:v>
                </c:pt>
                <c:pt idx="327">
                  <c:v>45482</c:v>
                </c:pt>
                <c:pt idx="328">
                  <c:v>45481</c:v>
                </c:pt>
                <c:pt idx="329">
                  <c:v>45478</c:v>
                </c:pt>
                <c:pt idx="330">
                  <c:v>45477</c:v>
                </c:pt>
                <c:pt idx="331">
                  <c:v>45476</c:v>
                </c:pt>
                <c:pt idx="332">
                  <c:v>45475</c:v>
                </c:pt>
                <c:pt idx="333">
                  <c:v>45474</c:v>
                </c:pt>
                <c:pt idx="334">
                  <c:v>45471</c:v>
                </c:pt>
                <c:pt idx="335">
                  <c:v>45470</c:v>
                </c:pt>
                <c:pt idx="336">
                  <c:v>45469</c:v>
                </c:pt>
                <c:pt idx="337">
                  <c:v>45468</c:v>
                </c:pt>
                <c:pt idx="338">
                  <c:v>45467</c:v>
                </c:pt>
                <c:pt idx="339">
                  <c:v>45464</c:v>
                </c:pt>
                <c:pt idx="340">
                  <c:v>45463</c:v>
                </c:pt>
                <c:pt idx="341">
                  <c:v>45462</c:v>
                </c:pt>
                <c:pt idx="342">
                  <c:v>45461</c:v>
                </c:pt>
                <c:pt idx="343">
                  <c:v>45457</c:v>
                </c:pt>
                <c:pt idx="344">
                  <c:v>45456</c:v>
                </c:pt>
                <c:pt idx="345">
                  <c:v>45455</c:v>
                </c:pt>
                <c:pt idx="346">
                  <c:v>45454</c:v>
                </c:pt>
                <c:pt idx="347">
                  <c:v>45453</c:v>
                </c:pt>
                <c:pt idx="348">
                  <c:v>45450</c:v>
                </c:pt>
                <c:pt idx="349">
                  <c:v>45449</c:v>
                </c:pt>
                <c:pt idx="350">
                  <c:v>45448</c:v>
                </c:pt>
                <c:pt idx="351">
                  <c:v>45447</c:v>
                </c:pt>
                <c:pt idx="352">
                  <c:v>45446</c:v>
                </c:pt>
                <c:pt idx="353">
                  <c:v>45443</c:v>
                </c:pt>
                <c:pt idx="354">
                  <c:v>45442</c:v>
                </c:pt>
                <c:pt idx="355">
                  <c:v>45441</c:v>
                </c:pt>
                <c:pt idx="356">
                  <c:v>45440</c:v>
                </c:pt>
                <c:pt idx="357">
                  <c:v>45439</c:v>
                </c:pt>
                <c:pt idx="358">
                  <c:v>45436</c:v>
                </c:pt>
                <c:pt idx="359">
                  <c:v>45435</c:v>
                </c:pt>
                <c:pt idx="360">
                  <c:v>45434</c:v>
                </c:pt>
                <c:pt idx="361">
                  <c:v>45433</c:v>
                </c:pt>
                <c:pt idx="362">
                  <c:v>45430</c:v>
                </c:pt>
                <c:pt idx="363">
                  <c:v>45429</c:v>
                </c:pt>
                <c:pt idx="364">
                  <c:v>45428</c:v>
                </c:pt>
                <c:pt idx="365">
                  <c:v>45427</c:v>
                </c:pt>
                <c:pt idx="366">
                  <c:v>45426</c:v>
                </c:pt>
                <c:pt idx="367">
                  <c:v>45425</c:v>
                </c:pt>
                <c:pt idx="368">
                  <c:v>45422</c:v>
                </c:pt>
                <c:pt idx="369">
                  <c:v>45421</c:v>
                </c:pt>
                <c:pt idx="370">
                  <c:v>45420</c:v>
                </c:pt>
                <c:pt idx="371">
                  <c:v>45419</c:v>
                </c:pt>
                <c:pt idx="372">
                  <c:v>45418</c:v>
                </c:pt>
                <c:pt idx="373">
                  <c:v>45415</c:v>
                </c:pt>
                <c:pt idx="374">
                  <c:v>45414</c:v>
                </c:pt>
                <c:pt idx="375">
                  <c:v>45412</c:v>
                </c:pt>
                <c:pt idx="376">
                  <c:v>45411</c:v>
                </c:pt>
                <c:pt idx="377">
                  <c:v>45408</c:v>
                </c:pt>
                <c:pt idx="378">
                  <c:v>45407</c:v>
                </c:pt>
                <c:pt idx="379">
                  <c:v>45406</c:v>
                </c:pt>
                <c:pt idx="380">
                  <c:v>45405</c:v>
                </c:pt>
                <c:pt idx="381">
                  <c:v>45404</c:v>
                </c:pt>
                <c:pt idx="382">
                  <c:v>45401</c:v>
                </c:pt>
                <c:pt idx="383">
                  <c:v>45400</c:v>
                </c:pt>
                <c:pt idx="384">
                  <c:v>45398</c:v>
                </c:pt>
                <c:pt idx="385">
                  <c:v>45397</c:v>
                </c:pt>
                <c:pt idx="386">
                  <c:v>45394</c:v>
                </c:pt>
                <c:pt idx="387">
                  <c:v>45392</c:v>
                </c:pt>
                <c:pt idx="388">
                  <c:v>45391</c:v>
                </c:pt>
                <c:pt idx="389">
                  <c:v>45390</c:v>
                </c:pt>
                <c:pt idx="390">
                  <c:v>45387</c:v>
                </c:pt>
                <c:pt idx="391">
                  <c:v>45386</c:v>
                </c:pt>
                <c:pt idx="392">
                  <c:v>45385</c:v>
                </c:pt>
                <c:pt idx="393">
                  <c:v>45384</c:v>
                </c:pt>
                <c:pt idx="394">
                  <c:v>45383</c:v>
                </c:pt>
                <c:pt idx="395">
                  <c:v>45379</c:v>
                </c:pt>
                <c:pt idx="396">
                  <c:v>45378</c:v>
                </c:pt>
                <c:pt idx="397">
                  <c:v>45377</c:v>
                </c:pt>
                <c:pt idx="398">
                  <c:v>45373</c:v>
                </c:pt>
                <c:pt idx="399">
                  <c:v>45372</c:v>
                </c:pt>
                <c:pt idx="400">
                  <c:v>45371</c:v>
                </c:pt>
                <c:pt idx="401">
                  <c:v>45370</c:v>
                </c:pt>
                <c:pt idx="402">
                  <c:v>45369</c:v>
                </c:pt>
                <c:pt idx="403">
                  <c:v>45366</c:v>
                </c:pt>
                <c:pt idx="404">
                  <c:v>45365</c:v>
                </c:pt>
                <c:pt idx="405">
                  <c:v>45364</c:v>
                </c:pt>
                <c:pt idx="406">
                  <c:v>45363</c:v>
                </c:pt>
                <c:pt idx="407">
                  <c:v>45362</c:v>
                </c:pt>
                <c:pt idx="408">
                  <c:v>45358</c:v>
                </c:pt>
                <c:pt idx="409">
                  <c:v>45357</c:v>
                </c:pt>
                <c:pt idx="410">
                  <c:v>45356</c:v>
                </c:pt>
                <c:pt idx="411">
                  <c:v>45355</c:v>
                </c:pt>
                <c:pt idx="412">
                  <c:v>45353</c:v>
                </c:pt>
                <c:pt idx="413">
                  <c:v>45352</c:v>
                </c:pt>
                <c:pt idx="414">
                  <c:v>45351</c:v>
                </c:pt>
                <c:pt idx="415">
                  <c:v>45350</c:v>
                </c:pt>
                <c:pt idx="416">
                  <c:v>45349</c:v>
                </c:pt>
                <c:pt idx="417">
                  <c:v>45348</c:v>
                </c:pt>
                <c:pt idx="418">
                  <c:v>45345</c:v>
                </c:pt>
                <c:pt idx="419">
                  <c:v>45344</c:v>
                </c:pt>
                <c:pt idx="420">
                  <c:v>45343</c:v>
                </c:pt>
                <c:pt idx="421">
                  <c:v>45342</c:v>
                </c:pt>
                <c:pt idx="422">
                  <c:v>45341</c:v>
                </c:pt>
                <c:pt idx="423">
                  <c:v>45338</c:v>
                </c:pt>
                <c:pt idx="424">
                  <c:v>45337</c:v>
                </c:pt>
                <c:pt idx="425">
                  <c:v>45336</c:v>
                </c:pt>
                <c:pt idx="426">
                  <c:v>45335</c:v>
                </c:pt>
                <c:pt idx="427">
                  <c:v>45334</c:v>
                </c:pt>
                <c:pt idx="428">
                  <c:v>45331</c:v>
                </c:pt>
                <c:pt idx="429">
                  <c:v>45330</c:v>
                </c:pt>
                <c:pt idx="430">
                  <c:v>45329</c:v>
                </c:pt>
                <c:pt idx="431">
                  <c:v>45328</c:v>
                </c:pt>
                <c:pt idx="432">
                  <c:v>45327</c:v>
                </c:pt>
                <c:pt idx="433">
                  <c:v>45324</c:v>
                </c:pt>
                <c:pt idx="434">
                  <c:v>45323</c:v>
                </c:pt>
                <c:pt idx="435">
                  <c:v>45322</c:v>
                </c:pt>
                <c:pt idx="436">
                  <c:v>45321</c:v>
                </c:pt>
                <c:pt idx="437">
                  <c:v>45320</c:v>
                </c:pt>
                <c:pt idx="438">
                  <c:v>45316</c:v>
                </c:pt>
                <c:pt idx="439">
                  <c:v>45315</c:v>
                </c:pt>
                <c:pt idx="440">
                  <c:v>45314</c:v>
                </c:pt>
                <c:pt idx="441">
                  <c:v>45311</c:v>
                </c:pt>
                <c:pt idx="442">
                  <c:v>45310</c:v>
                </c:pt>
                <c:pt idx="443">
                  <c:v>45309</c:v>
                </c:pt>
                <c:pt idx="444">
                  <c:v>45308</c:v>
                </c:pt>
                <c:pt idx="445">
                  <c:v>45307</c:v>
                </c:pt>
                <c:pt idx="446">
                  <c:v>45306</c:v>
                </c:pt>
                <c:pt idx="447">
                  <c:v>45303</c:v>
                </c:pt>
                <c:pt idx="448">
                  <c:v>45302</c:v>
                </c:pt>
                <c:pt idx="449">
                  <c:v>45301</c:v>
                </c:pt>
                <c:pt idx="450">
                  <c:v>45300</c:v>
                </c:pt>
                <c:pt idx="451">
                  <c:v>45299</c:v>
                </c:pt>
                <c:pt idx="452">
                  <c:v>45296</c:v>
                </c:pt>
                <c:pt idx="453">
                  <c:v>45295</c:v>
                </c:pt>
                <c:pt idx="454">
                  <c:v>45294</c:v>
                </c:pt>
                <c:pt idx="455">
                  <c:v>45293</c:v>
                </c:pt>
                <c:pt idx="456">
                  <c:v>45292</c:v>
                </c:pt>
                <c:pt idx="457">
                  <c:v>45289</c:v>
                </c:pt>
                <c:pt idx="458">
                  <c:v>45288</c:v>
                </c:pt>
                <c:pt idx="459">
                  <c:v>45287</c:v>
                </c:pt>
                <c:pt idx="460">
                  <c:v>45286</c:v>
                </c:pt>
                <c:pt idx="461">
                  <c:v>45282</c:v>
                </c:pt>
                <c:pt idx="462">
                  <c:v>45281</c:v>
                </c:pt>
                <c:pt idx="463">
                  <c:v>45280</c:v>
                </c:pt>
                <c:pt idx="464">
                  <c:v>45279</c:v>
                </c:pt>
                <c:pt idx="465">
                  <c:v>45278</c:v>
                </c:pt>
                <c:pt idx="466">
                  <c:v>45275</c:v>
                </c:pt>
                <c:pt idx="467">
                  <c:v>45274</c:v>
                </c:pt>
                <c:pt idx="468">
                  <c:v>45273</c:v>
                </c:pt>
                <c:pt idx="469">
                  <c:v>45272</c:v>
                </c:pt>
                <c:pt idx="470">
                  <c:v>45271</c:v>
                </c:pt>
                <c:pt idx="471">
                  <c:v>45268</c:v>
                </c:pt>
                <c:pt idx="472">
                  <c:v>45267</c:v>
                </c:pt>
                <c:pt idx="473">
                  <c:v>45266</c:v>
                </c:pt>
                <c:pt idx="474">
                  <c:v>45265</c:v>
                </c:pt>
                <c:pt idx="475">
                  <c:v>45264</c:v>
                </c:pt>
                <c:pt idx="476">
                  <c:v>45261</c:v>
                </c:pt>
                <c:pt idx="477">
                  <c:v>45260</c:v>
                </c:pt>
                <c:pt idx="478">
                  <c:v>45259</c:v>
                </c:pt>
                <c:pt idx="479">
                  <c:v>45258</c:v>
                </c:pt>
                <c:pt idx="480">
                  <c:v>45254</c:v>
                </c:pt>
                <c:pt idx="481">
                  <c:v>45253</c:v>
                </c:pt>
                <c:pt idx="482">
                  <c:v>45252</c:v>
                </c:pt>
                <c:pt idx="483">
                  <c:v>45251</c:v>
                </c:pt>
                <c:pt idx="484">
                  <c:v>45250</c:v>
                </c:pt>
                <c:pt idx="485">
                  <c:v>45247</c:v>
                </c:pt>
                <c:pt idx="486">
                  <c:v>45246</c:v>
                </c:pt>
                <c:pt idx="487">
                  <c:v>45245</c:v>
                </c:pt>
                <c:pt idx="488">
                  <c:v>45243</c:v>
                </c:pt>
                <c:pt idx="489">
                  <c:v>45242</c:v>
                </c:pt>
                <c:pt idx="490">
                  <c:v>45240</c:v>
                </c:pt>
                <c:pt idx="491">
                  <c:v>45239</c:v>
                </c:pt>
                <c:pt idx="492">
                  <c:v>45238</c:v>
                </c:pt>
                <c:pt idx="493">
                  <c:v>45237</c:v>
                </c:pt>
                <c:pt idx="494">
                  <c:v>45236</c:v>
                </c:pt>
                <c:pt idx="495">
                  <c:v>45233</c:v>
                </c:pt>
                <c:pt idx="496">
                  <c:v>45232</c:v>
                </c:pt>
                <c:pt idx="497">
                  <c:v>45231</c:v>
                </c:pt>
                <c:pt idx="498">
                  <c:v>45230</c:v>
                </c:pt>
                <c:pt idx="499">
                  <c:v>45229</c:v>
                </c:pt>
                <c:pt idx="500">
                  <c:v>45226</c:v>
                </c:pt>
                <c:pt idx="501">
                  <c:v>45225</c:v>
                </c:pt>
                <c:pt idx="502">
                  <c:v>45224</c:v>
                </c:pt>
                <c:pt idx="503">
                  <c:v>45222</c:v>
                </c:pt>
                <c:pt idx="504">
                  <c:v>45219</c:v>
                </c:pt>
                <c:pt idx="505">
                  <c:v>45218</c:v>
                </c:pt>
                <c:pt idx="506">
                  <c:v>45217</c:v>
                </c:pt>
                <c:pt idx="507">
                  <c:v>45216</c:v>
                </c:pt>
                <c:pt idx="508">
                  <c:v>45215</c:v>
                </c:pt>
                <c:pt idx="509">
                  <c:v>45212</c:v>
                </c:pt>
                <c:pt idx="510">
                  <c:v>45211</c:v>
                </c:pt>
                <c:pt idx="511">
                  <c:v>45210</c:v>
                </c:pt>
                <c:pt idx="512">
                  <c:v>45209</c:v>
                </c:pt>
                <c:pt idx="513">
                  <c:v>45208</c:v>
                </c:pt>
                <c:pt idx="514">
                  <c:v>45205</c:v>
                </c:pt>
                <c:pt idx="515">
                  <c:v>45204</c:v>
                </c:pt>
                <c:pt idx="516">
                  <c:v>45203</c:v>
                </c:pt>
                <c:pt idx="517">
                  <c:v>45202</c:v>
                </c:pt>
                <c:pt idx="518">
                  <c:v>45198</c:v>
                </c:pt>
                <c:pt idx="519">
                  <c:v>45197</c:v>
                </c:pt>
                <c:pt idx="520">
                  <c:v>45196</c:v>
                </c:pt>
                <c:pt idx="521">
                  <c:v>45195</c:v>
                </c:pt>
                <c:pt idx="522">
                  <c:v>45194</c:v>
                </c:pt>
                <c:pt idx="523">
                  <c:v>45191</c:v>
                </c:pt>
                <c:pt idx="524">
                  <c:v>45190</c:v>
                </c:pt>
                <c:pt idx="525">
                  <c:v>45189</c:v>
                </c:pt>
                <c:pt idx="526">
                  <c:v>45187</c:v>
                </c:pt>
                <c:pt idx="527">
                  <c:v>45184</c:v>
                </c:pt>
                <c:pt idx="528">
                  <c:v>45183</c:v>
                </c:pt>
                <c:pt idx="529">
                  <c:v>45182</c:v>
                </c:pt>
                <c:pt idx="530">
                  <c:v>45181</c:v>
                </c:pt>
                <c:pt idx="531">
                  <c:v>45180</c:v>
                </c:pt>
                <c:pt idx="532">
                  <c:v>45177</c:v>
                </c:pt>
                <c:pt idx="533">
                  <c:v>45176</c:v>
                </c:pt>
                <c:pt idx="534">
                  <c:v>45175</c:v>
                </c:pt>
                <c:pt idx="535">
                  <c:v>45174</c:v>
                </c:pt>
                <c:pt idx="536">
                  <c:v>45173</c:v>
                </c:pt>
                <c:pt idx="537">
                  <c:v>45170</c:v>
                </c:pt>
                <c:pt idx="538">
                  <c:v>45169</c:v>
                </c:pt>
                <c:pt idx="539">
                  <c:v>45168</c:v>
                </c:pt>
                <c:pt idx="540">
                  <c:v>45167</c:v>
                </c:pt>
                <c:pt idx="541">
                  <c:v>45166</c:v>
                </c:pt>
                <c:pt idx="542">
                  <c:v>45163</c:v>
                </c:pt>
                <c:pt idx="543">
                  <c:v>45162</c:v>
                </c:pt>
                <c:pt idx="544">
                  <c:v>45161</c:v>
                </c:pt>
                <c:pt idx="545">
                  <c:v>45160</c:v>
                </c:pt>
                <c:pt idx="546">
                  <c:v>45159</c:v>
                </c:pt>
                <c:pt idx="547">
                  <c:v>45156</c:v>
                </c:pt>
                <c:pt idx="548">
                  <c:v>45155</c:v>
                </c:pt>
                <c:pt idx="549">
                  <c:v>45154</c:v>
                </c:pt>
                <c:pt idx="550">
                  <c:v>45152</c:v>
                </c:pt>
                <c:pt idx="551">
                  <c:v>45149</c:v>
                </c:pt>
                <c:pt idx="552">
                  <c:v>45148</c:v>
                </c:pt>
                <c:pt idx="553">
                  <c:v>45147</c:v>
                </c:pt>
                <c:pt idx="554">
                  <c:v>45146</c:v>
                </c:pt>
                <c:pt idx="555">
                  <c:v>45145</c:v>
                </c:pt>
                <c:pt idx="556">
                  <c:v>45142</c:v>
                </c:pt>
                <c:pt idx="557">
                  <c:v>45141</c:v>
                </c:pt>
                <c:pt idx="558">
                  <c:v>45140</c:v>
                </c:pt>
                <c:pt idx="559">
                  <c:v>45139</c:v>
                </c:pt>
                <c:pt idx="560">
                  <c:v>45138</c:v>
                </c:pt>
                <c:pt idx="561">
                  <c:v>45135</c:v>
                </c:pt>
                <c:pt idx="562">
                  <c:v>45134</c:v>
                </c:pt>
                <c:pt idx="563">
                  <c:v>45133</c:v>
                </c:pt>
                <c:pt idx="564">
                  <c:v>45132</c:v>
                </c:pt>
                <c:pt idx="565">
                  <c:v>45131</c:v>
                </c:pt>
                <c:pt idx="566">
                  <c:v>45128</c:v>
                </c:pt>
                <c:pt idx="567">
                  <c:v>45127</c:v>
                </c:pt>
                <c:pt idx="568">
                  <c:v>45126</c:v>
                </c:pt>
                <c:pt idx="569">
                  <c:v>45125</c:v>
                </c:pt>
                <c:pt idx="570">
                  <c:v>45124</c:v>
                </c:pt>
                <c:pt idx="571">
                  <c:v>45121</c:v>
                </c:pt>
                <c:pt idx="572">
                  <c:v>45120</c:v>
                </c:pt>
                <c:pt idx="573">
                  <c:v>45119</c:v>
                </c:pt>
                <c:pt idx="574">
                  <c:v>45118</c:v>
                </c:pt>
                <c:pt idx="575">
                  <c:v>45117</c:v>
                </c:pt>
                <c:pt idx="576">
                  <c:v>45114</c:v>
                </c:pt>
                <c:pt idx="577">
                  <c:v>45113</c:v>
                </c:pt>
                <c:pt idx="578">
                  <c:v>45112</c:v>
                </c:pt>
                <c:pt idx="579">
                  <c:v>45111</c:v>
                </c:pt>
                <c:pt idx="580">
                  <c:v>45110</c:v>
                </c:pt>
                <c:pt idx="581">
                  <c:v>45107</c:v>
                </c:pt>
                <c:pt idx="582">
                  <c:v>45105</c:v>
                </c:pt>
                <c:pt idx="583">
                  <c:v>45104</c:v>
                </c:pt>
                <c:pt idx="584">
                  <c:v>45103</c:v>
                </c:pt>
                <c:pt idx="585">
                  <c:v>45100</c:v>
                </c:pt>
                <c:pt idx="586">
                  <c:v>45099</c:v>
                </c:pt>
                <c:pt idx="587">
                  <c:v>45098</c:v>
                </c:pt>
                <c:pt idx="588">
                  <c:v>45097</c:v>
                </c:pt>
                <c:pt idx="589">
                  <c:v>45096</c:v>
                </c:pt>
                <c:pt idx="590">
                  <c:v>45093</c:v>
                </c:pt>
                <c:pt idx="591">
                  <c:v>45092</c:v>
                </c:pt>
                <c:pt idx="592">
                  <c:v>45091</c:v>
                </c:pt>
                <c:pt idx="593">
                  <c:v>45090</c:v>
                </c:pt>
                <c:pt idx="594">
                  <c:v>45089</c:v>
                </c:pt>
                <c:pt idx="595">
                  <c:v>45086</c:v>
                </c:pt>
                <c:pt idx="596">
                  <c:v>45085</c:v>
                </c:pt>
                <c:pt idx="597">
                  <c:v>45084</c:v>
                </c:pt>
                <c:pt idx="598">
                  <c:v>45083</c:v>
                </c:pt>
                <c:pt idx="599">
                  <c:v>45082</c:v>
                </c:pt>
                <c:pt idx="600">
                  <c:v>45079</c:v>
                </c:pt>
                <c:pt idx="601">
                  <c:v>45078</c:v>
                </c:pt>
                <c:pt idx="602">
                  <c:v>45077</c:v>
                </c:pt>
                <c:pt idx="603">
                  <c:v>45076</c:v>
                </c:pt>
                <c:pt idx="604">
                  <c:v>45075</c:v>
                </c:pt>
                <c:pt idx="605">
                  <c:v>45072</c:v>
                </c:pt>
                <c:pt idx="606">
                  <c:v>45071</c:v>
                </c:pt>
                <c:pt idx="607">
                  <c:v>45070</c:v>
                </c:pt>
                <c:pt idx="608">
                  <c:v>45069</c:v>
                </c:pt>
                <c:pt idx="609">
                  <c:v>45068</c:v>
                </c:pt>
                <c:pt idx="610">
                  <c:v>45065</c:v>
                </c:pt>
                <c:pt idx="611">
                  <c:v>45064</c:v>
                </c:pt>
                <c:pt idx="612">
                  <c:v>45063</c:v>
                </c:pt>
                <c:pt idx="613">
                  <c:v>45062</c:v>
                </c:pt>
                <c:pt idx="614">
                  <c:v>45061</c:v>
                </c:pt>
                <c:pt idx="615">
                  <c:v>45058</c:v>
                </c:pt>
                <c:pt idx="616">
                  <c:v>45057</c:v>
                </c:pt>
                <c:pt idx="617">
                  <c:v>45056</c:v>
                </c:pt>
                <c:pt idx="618">
                  <c:v>45055</c:v>
                </c:pt>
                <c:pt idx="619">
                  <c:v>45054</c:v>
                </c:pt>
                <c:pt idx="620">
                  <c:v>45051</c:v>
                </c:pt>
                <c:pt idx="621">
                  <c:v>45050</c:v>
                </c:pt>
                <c:pt idx="622">
                  <c:v>45049</c:v>
                </c:pt>
                <c:pt idx="623">
                  <c:v>45048</c:v>
                </c:pt>
                <c:pt idx="624">
                  <c:v>45044</c:v>
                </c:pt>
                <c:pt idx="625">
                  <c:v>45043</c:v>
                </c:pt>
                <c:pt idx="626">
                  <c:v>45042</c:v>
                </c:pt>
                <c:pt idx="627">
                  <c:v>45041</c:v>
                </c:pt>
                <c:pt idx="628">
                  <c:v>45040</c:v>
                </c:pt>
                <c:pt idx="629">
                  <c:v>45037</c:v>
                </c:pt>
                <c:pt idx="630">
                  <c:v>45036</c:v>
                </c:pt>
                <c:pt idx="631">
                  <c:v>45035</c:v>
                </c:pt>
                <c:pt idx="632">
                  <c:v>45034</c:v>
                </c:pt>
                <c:pt idx="633">
                  <c:v>45033</c:v>
                </c:pt>
                <c:pt idx="634">
                  <c:v>45029</c:v>
                </c:pt>
                <c:pt idx="635">
                  <c:v>45028</c:v>
                </c:pt>
                <c:pt idx="636">
                  <c:v>45027</c:v>
                </c:pt>
                <c:pt idx="637">
                  <c:v>45026</c:v>
                </c:pt>
                <c:pt idx="638">
                  <c:v>45022</c:v>
                </c:pt>
                <c:pt idx="639">
                  <c:v>45021</c:v>
                </c:pt>
                <c:pt idx="640">
                  <c:v>45019</c:v>
                </c:pt>
                <c:pt idx="641">
                  <c:v>45016</c:v>
                </c:pt>
                <c:pt idx="642">
                  <c:v>45014</c:v>
                </c:pt>
                <c:pt idx="643">
                  <c:v>45013</c:v>
                </c:pt>
                <c:pt idx="644">
                  <c:v>45012</c:v>
                </c:pt>
                <c:pt idx="645">
                  <c:v>45009</c:v>
                </c:pt>
                <c:pt idx="646">
                  <c:v>45008</c:v>
                </c:pt>
                <c:pt idx="647">
                  <c:v>45007</c:v>
                </c:pt>
                <c:pt idx="648">
                  <c:v>45006</c:v>
                </c:pt>
                <c:pt idx="649">
                  <c:v>45005</c:v>
                </c:pt>
                <c:pt idx="650">
                  <c:v>45002</c:v>
                </c:pt>
                <c:pt idx="651">
                  <c:v>45001</c:v>
                </c:pt>
                <c:pt idx="652">
                  <c:v>45000</c:v>
                </c:pt>
                <c:pt idx="653">
                  <c:v>44999</c:v>
                </c:pt>
                <c:pt idx="654">
                  <c:v>44998</c:v>
                </c:pt>
                <c:pt idx="655">
                  <c:v>44995</c:v>
                </c:pt>
                <c:pt idx="656">
                  <c:v>44994</c:v>
                </c:pt>
                <c:pt idx="657">
                  <c:v>44993</c:v>
                </c:pt>
                <c:pt idx="658">
                  <c:v>44991</c:v>
                </c:pt>
                <c:pt idx="659">
                  <c:v>44988</c:v>
                </c:pt>
                <c:pt idx="660">
                  <c:v>44987</c:v>
                </c:pt>
                <c:pt idx="661">
                  <c:v>44986</c:v>
                </c:pt>
                <c:pt idx="662">
                  <c:v>44985</c:v>
                </c:pt>
                <c:pt idx="663">
                  <c:v>44984</c:v>
                </c:pt>
                <c:pt idx="664">
                  <c:v>44981</c:v>
                </c:pt>
                <c:pt idx="665">
                  <c:v>44980</c:v>
                </c:pt>
                <c:pt idx="666">
                  <c:v>44979</c:v>
                </c:pt>
                <c:pt idx="667">
                  <c:v>44978</c:v>
                </c:pt>
                <c:pt idx="668">
                  <c:v>44977</c:v>
                </c:pt>
                <c:pt idx="669">
                  <c:v>44974</c:v>
                </c:pt>
                <c:pt idx="670">
                  <c:v>44973</c:v>
                </c:pt>
                <c:pt idx="671">
                  <c:v>44972</c:v>
                </c:pt>
                <c:pt idx="672">
                  <c:v>44971</c:v>
                </c:pt>
                <c:pt idx="673">
                  <c:v>44970</c:v>
                </c:pt>
                <c:pt idx="674">
                  <c:v>44967</c:v>
                </c:pt>
                <c:pt idx="675">
                  <c:v>44966</c:v>
                </c:pt>
                <c:pt idx="676">
                  <c:v>44965</c:v>
                </c:pt>
                <c:pt idx="677">
                  <c:v>44964</c:v>
                </c:pt>
                <c:pt idx="678">
                  <c:v>44963</c:v>
                </c:pt>
                <c:pt idx="679">
                  <c:v>44960</c:v>
                </c:pt>
                <c:pt idx="680">
                  <c:v>44959</c:v>
                </c:pt>
                <c:pt idx="681">
                  <c:v>44958</c:v>
                </c:pt>
                <c:pt idx="682">
                  <c:v>44957</c:v>
                </c:pt>
                <c:pt idx="683">
                  <c:v>44956</c:v>
                </c:pt>
                <c:pt idx="684">
                  <c:v>44953</c:v>
                </c:pt>
                <c:pt idx="685">
                  <c:v>44951</c:v>
                </c:pt>
                <c:pt idx="686">
                  <c:v>44950</c:v>
                </c:pt>
                <c:pt idx="687">
                  <c:v>44949</c:v>
                </c:pt>
                <c:pt idx="688">
                  <c:v>44946</c:v>
                </c:pt>
                <c:pt idx="689">
                  <c:v>44945</c:v>
                </c:pt>
                <c:pt idx="690">
                  <c:v>44944</c:v>
                </c:pt>
                <c:pt idx="691">
                  <c:v>44943</c:v>
                </c:pt>
                <c:pt idx="692">
                  <c:v>44942</c:v>
                </c:pt>
                <c:pt idx="693">
                  <c:v>44939</c:v>
                </c:pt>
                <c:pt idx="694">
                  <c:v>44938</c:v>
                </c:pt>
                <c:pt idx="695">
                  <c:v>44937</c:v>
                </c:pt>
                <c:pt idx="696">
                  <c:v>44936</c:v>
                </c:pt>
                <c:pt idx="697">
                  <c:v>44935</c:v>
                </c:pt>
                <c:pt idx="698">
                  <c:v>44932</c:v>
                </c:pt>
                <c:pt idx="699">
                  <c:v>44931</c:v>
                </c:pt>
                <c:pt idx="700">
                  <c:v>44930</c:v>
                </c:pt>
                <c:pt idx="701">
                  <c:v>44929</c:v>
                </c:pt>
                <c:pt idx="702">
                  <c:v>44928</c:v>
                </c:pt>
                <c:pt idx="703">
                  <c:v>44925</c:v>
                </c:pt>
                <c:pt idx="704">
                  <c:v>44924</c:v>
                </c:pt>
                <c:pt idx="705">
                  <c:v>44923</c:v>
                </c:pt>
                <c:pt idx="706">
                  <c:v>44922</c:v>
                </c:pt>
                <c:pt idx="707">
                  <c:v>44921</c:v>
                </c:pt>
                <c:pt idx="708">
                  <c:v>44918</c:v>
                </c:pt>
                <c:pt idx="709">
                  <c:v>44917</c:v>
                </c:pt>
                <c:pt idx="710">
                  <c:v>44916</c:v>
                </c:pt>
                <c:pt idx="711">
                  <c:v>44915</c:v>
                </c:pt>
                <c:pt idx="712">
                  <c:v>44914</c:v>
                </c:pt>
                <c:pt idx="713">
                  <c:v>44911</c:v>
                </c:pt>
                <c:pt idx="714">
                  <c:v>44910</c:v>
                </c:pt>
                <c:pt idx="715">
                  <c:v>44909</c:v>
                </c:pt>
                <c:pt idx="716">
                  <c:v>44908</c:v>
                </c:pt>
                <c:pt idx="717">
                  <c:v>44907</c:v>
                </c:pt>
                <c:pt idx="718">
                  <c:v>44904</c:v>
                </c:pt>
                <c:pt idx="719">
                  <c:v>44903</c:v>
                </c:pt>
                <c:pt idx="720">
                  <c:v>44902</c:v>
                </c:pt>
                <c:pt idx="721">
                  <c:v>44901</c:v>
                </c:pt>
                <c:pt idx="722">
                  <c:v>44900</c:v>
                </c:pt>
                <c:pt idx="723">
                  <c:v>44897</c:v>
                </c:pt>
                <c:pt idx="724">
                  <c:v>44896</c:v>
                </c:pt>
                <c:pt idx="725">
                  <c:v>44895</c:v>
                </c:pt>
                <c:pt idx="726">
                  <c:v>44894</c:v>
                </c:pt>
                <c:pt idx="727">
                  <c:v>44893</c:v>
                </c:pt>
                <c:pt idx="728">
                  <c:v>44890</c:v>
                </c:pt>
                <c:pt idx="729">
                  <c:v>44889</c:v>
                </c:pt>
                <c:pt idx="730">
                  <c:v>44888</c:v>
                </c:pt>
                <c:pt idx="731">
                  <c:v>44887</c:v>
                </c:pt>
                <c:pt idx="732">
                  <c:v>44886</c:v>
                </c:pt>
                <c:pt idx="733">
                  <c:v>44883</c:v>
                </c:pt>
                <c:pt idx="734">
                  <c:v>44882</c:v>
                </c:pt>
                <c:pt idx="735">
                  <c:v>44881</c:v>
                </c:pt>
                <c:pt idx="736">
                  <c:v>44880</c:v>
                </c:pt>
                <c:pt idx="737">
                  <c:v>44879</c:v>
                </c:pt>
                <c:pt idx="738">
                  <c:v>44876</c:v>
                </c:pt>
                <c:pt idx="739">
                  <c:v>44875</c:v>
                </c:pt>
                <c:pt idx="740">
                  <c:v>44874</c:v>
                </c:pt>
                <c:pt idx="741">
                  <c:v>44872</c:v>
                </c:pt>
                <c:pt idx="742">
                  <c:v>44869</c:v>
                </c:pt>
                <c:pt idx="743">
                  <c:v>44868</c:v>
                </c:pt>
                <c:pt idx="744">
                  <c:v>44867</c:v>
                </c:pt>
                <c:pt idx="745">
                  <c:v>44866</c:v>
                </c:pt>
                <c:pt idx="746">
                  <c:v>44865</c:v>
                </c:pt>
                <c:pt idx="747">
                  <c:v>44862</c:v>
                </c:pt>
                <c:pt idx="748">
                  <c:v>44861</c:v>
                </c:pt>
                <c:pt idx="749">
                  <c:v>44859</c:v>
                </c:pt>
                <c:pt idx="750">
                  <c:v>44858</c:v>
                </c:pt>
                <c:pt idx="751">
                  <c:v>44855</c:v>
                </c:pt>
                <c:pt idx="752">
                  <c:v>44854</c:v>
                </c:pt>
                <c:pt idx="753">
                  <c:v>44853</c:v>
                </c:pt>
                <c:pt idx="754">
                  <c:v>44852</c:v>
                </c:pt>
                <c:pt idx="755">
                  <c:v>44851</c:v>
                </c:pt>
                <c:pt idx="756">
                  <c:v>44848</c:v>
                </c:pt>
                <c:pt idx="757">
                  <c:v>44847</c:v>
                </c:pt>
                <c:pt idx="758">
                  <c:v>44846</c:v>
                </c:pt>
                <c:pt idx="759">
                  <c:v>44845</c:v>
                </c:pt>
                <c:pt idx="760">
                  <c:v>44844</c:v>
                </c:pt>
                <c:pt idx="761">
                  <c:v>44841</c:v>
                </c:pt>
                <c:pt idx="762">
                  <c:v>44840</c:v>
                </c:pt>
                <c:pt idx="763">
                  <c:v>44838</c:v>
                </c:pt>
                <c:pt idx="764">
                  <c:v>44837</c:v>
                </c:pt>
                <c:pt idx="765">
                  <c:v>44834</c:v>
                </c:pt>
                <c:pt idx="766">
                  <c:v>44833</c:v>
                </c:pt>
                <c:pt idx="767">
                  <c:v>44832</c:v>
                </c:pt>
                <c:pt idx="768">
                  <c:v>44831</c:v>
                </c:pt>
                <c:pt idx="769">
                  <c:v>44830</c:v>
                </c:pt>
                <c:pt idx="770">
                  <c:v>44827</c:v>
                </c:pt>
                <c:pt idx="771">
                  <c:v>44826</c:v>
                </c:pt>
                <c:pt idx="772">
                  <c:v>44825</c:v>
                </c:pt>
                <c:pt idx="773">
                  <c:v>44824</c:v>
                </c:pt>
                <c:pt idx="774">
                  <c:v>44823</c:v>
                </c:pt>
                <c:pt idx="775">
                  <c:v>44820</c:v>
                </c:pt>
                <c:pt idx="776">
                  <c:v>44819</c:v>
                </c:pt>
                <c:pt idx="777">
                  <c:v>44818</c:v>
                </c:pt>
                <c:pt idx="778">
                  <c:v>44817</c:v>
                </c:pt>
                <c:pt idx="779">
                  <c:v>44816</c:v>
                </c:pt>
                <c:pt idx="780">
                  <c:v>44813</c:v>
                </c:pt>
                <c:pt idx="781">
                  <c:v>44812</c:v>
                </c:pt>
                <c:pt idx="782">
                  <c:v>44811</c:v>
                </c:pt>
                <c:pt idx="783">
                  <c:v>44810</c:v>
                </c:pt>
                <c:pt idx="784">
                  <c:v>44809</c:v>
                </c:pt>
                <c:pt idx="785">
                  <c:v>44806</c:v>
                </c:pt>
                <c:pt idx="786">
                  <c:v>44805</c:v>
                </c:pt>
                <c:pt idx="787">
                  <c:v>44803</c:v>
                </c:pt>
                <c:pt idx="788">
                  <c:v>44802</c:v>
                </c:pt>
                <c:pt idx="789">
                  <c:v>44799</c:v>
                </c:pt>
                <c:pt idx="790">
                  <c:v>44798</c:v>
                </c:pt>
                <c:pt idx="791">
                  <c:v>44797</c:v>
                </c:pt>
                <c:pt idx="792">
                  <c:v>44796</c:v>
                </c:pt>
                <c:pt idx="793">
                  <c:v>44795</c:v>
                </c:pt>
                <c:pt idx="794">
                  <c:v>44792</c:v>
                </c:pt>
                <c:pt idx="795">
                  <c:v>44791</c:v>
                </c:pt>
                <c:pt idx="796">
                  <c:v>44790</c:v>
                </c:pt>
                <c:pt idx="797">
                  <c:v>44789</c:v>
                </c:pt>
                <c:pt idx="798">
                  <c:v>44785</c:v>
                </c:pt>
                <c:pt idx="799">
                  <c:v>44784</c:v>
                </c:pt>
                <c:pt idx="800">
                  <c:v>44783</c:v>
                </c:pt>
                <c:pt idx="801">
                  <c:v>44781</c:v>
                </c:pt>
                <c:pt idx="802">
                  <c:v>44778</c:v>
                </c:pt>
                <c:pt idx="803">
                  <c:v>44777</c:v>
                </c:pt>
                <c:pt idx="804">
                  <c:v>44776</c:v>
                </c:pt>
                <c:pt idx="805">
                  <c:v>44775</c:v>
                </c:pt>
                <c:pt idx="806">
                  <c:v>44774</c:v>
                </c:pt>
                <c:pt idx="807">
                  <c:v>44771</c:v>
                </c:pt>
                <c:pt idx="808">
                  <c:v>44770</c:v>
                </c:pt>
                <c:pt idx="809">
                  <c:v>44769</c:v>
                </c:pt>
                <c:pt idx="810">
                  <c:v>44768</c:v>
                </c:pt>
                <c:pt idx="811">
                  <c:v>44767</c:v>
                </c:pt>
                <c:pt idx="812">
                  <c:v>44764</c:v>
                </c:pt>
                <c:pt idx="813">
                  <c:v>44763</c:v>
                </c:pt>
                <c:pt idx="814">
                  <c:v>44762</c:v>
                </c:pt>
                <c:pt idx="815">
                  <c:v>44761</c:v>
                </c:pt>
                <c:pt idx="816">
                  <c:v>44760</c:v>
                </c:pt>
                <c:pt idx="817">
                  <c:v>44757</c:v>
                </c:pt>
                <c:pt idx="818">
                  <c:v>44756</c:v>
                </c:pt>
                <c:pt idx="819">
                  <c:v>44755</c:v>
                </c:pt>
                <c:pt idx="820">
                  <c:v>44754</c:v>
                </c:pt>
                <c:pt idx="821">
                  <c:v>44753</c:v>
                </c:pt>
                <c:pt idx="822">
                  <c:v>44750</c:v>
                </c:pt>
                <c:pt idx="823">
                  <c:v>44749</c:v>
                </c:pt>
                <c:pt idx="824">
                  <c:v>44748</c:v>
                </c:pt>
                <c:pt idx="825">
                  <c:v>44747</c:v>
                </c:pt>
                <c:pt idx="826">
                  <c:v>44746</c:v>
                </c:pt>
                <c:pt idx="827">
                  <c:v>44743</c:v>
                </c:pt>
                <c:pt idx="828">
                  <c:v>44742</c:v>
                </c:pt>
                <c:pt idx="829">
                  <c:v>44741</c:v>
                </c:pt>
                <c:pt idx="830">
                  <c:v>44740</c:v>
                </c:pt>
                <c:pt idx="831">
                  <c:v>44739</c:v>
                </c:pt>
                <c:pt idx="832">
                  <c:v>44736</c:v>
                </c:pt>
                <c:pt idx="833">
                  <c:v>44735</c:v>
                </c:pt>
                <c:pt idx="834">
                  <c:v>44734</c:v>
                </c:pt>
                <c:pt idx="835">
                  <c:v>44733</c:v>
                </c:pt>
                <c:pt idx="836">
                  <c:v>44732</c:v>
                </c:pt>
                <c:pt idx="837">
                  <c:v>44729</c:v>
                </c:pt>
                <c:pt idx="838">
                  <c:v>44728</c:v>
                </c:pt>
                <c:pt idx="839">
                  <c:v>44727</c:v>
                </c:pt>
                <c:pt idx="840">
                  <c:v>44726</c:v>
                </c:pt>
                <c:pt idx="841">
                  <c:v>44725</c:v>
                </c:pt>
                <c:pt idx="842">
                  <c:v>44722</c:v>
                </c:pt>
                <c:pt idx="843">
                  <c:v>44721</c:v>
                </c:pt>
                <c:pt idx="844">
                  <c:v>44720</c:v>
                </c:pt>
                <c:pt idx="845">
                  <c:v>44719</c:v>
                </c:pt>
                <c:pt idx="846">
                  <c:v>44718</c:v>
                </c:pt>
                <c:pt idx="847">
                  <c:v>44715</c:v>
                </c:pt>
                <c:pt idx="848">
                  <c:v>44714</c:v>
                </c:pt>
                <c:pt idx="849">
                  <c:v>44713</c:v>
                </c:pt>
                <c:pt idx="850">
                  <c:v>44712</c:v>
                </c:pt>
                <c:pt idx="851">
                  <c:v>44711</c:v>
                </c:pt>
                <c:pt idx="852">
                  <c:v>44708</c:v>
                </c:pt>
                <c:pt idx="853">
                  <c:v>44707</c:v>
                </c:pt>
                <c:pt idx="854">
                  <c:v>44706</c:v>
                </c:pt>
                <c:pt idx="855">
                  <c:v>44705</c:v>
                </c:pt>
                <c:pt idx="856">
                  <c:v>44704</c:v>
                </c:pt>
                <c:pt idx="857">
                  <c:v>44701</c:v>
                </c:pt>
                <c:pt idx="858">
                  <c:v>44700</c:v>
                </c:pt>
                <c:pt idx="859">
                  <c:v>44699</c:v>
                </c:pt>
                <c:pt idx="860">
                  <c:v>44698</c:v>
                </c:pt>
                <c:pt idx="861">
                  <c:v>44697</c:v>
                </c:pt>
                <c:pt idx="862">
                  <c:v>44694</c:v>
                </c:pt>
                <c:pt idx="863">
                  <c:v>44693</c:v>
                </c:pt>
                <c:pt idx="864">
                  <c:v>44692</c:v>
                </c:pt>
                <c:pt idx="865">
                  <c:v>44691</c:v>
                </c:pt>
                <c:pt idx="866">
                  <c:v>44690</c:v>
                </c:pt>
                <c:pt idx="867">
                  <c:v>44687</c:v>
                </c:pt>
                <c:pt idx="868">
                  <c:v>44686</c:v>
                </c:pt>
                <c:pt idx="869">
                  <c:v>44685</c:v>
                </c:pt>
                <c:pt idx="870">
                  <c:v>44683</c:v>
                </c:pt>
                <c:pt idx="871">
                  <c:v>44680</c:v>
                </c:pt>
                <c:pt idx="872">
                  <c:v>44679</c:v>
                </c:pt>
                <c:pt idx="873">
                  <c:v>44678</c:v>
                </c:pt>
                <c:pt idx="874">
                  <c:v>44677</c:v>
                </c:pt>
                <c:pt idx="875">
                  <c:v>44676</c:v>
                </c:pt>
                <c:pt idx="876">
                  <c:v>44673</c:v>
                </c:pt>
                <c:pt idx="877">
                  <c:v>44672</c:v>
                </c:pt>
                <c:pt idx="878">
                  <c:v>44671</c:v>
                </c:pt>
                <c:pt idx="879">
                  <c:v>44670</c:v>
                </c:pt>
                <c:pt idx="880">
                  <c:v>44669</c:v>
                </c:pt>
                <c:pt idx="881">
                  <c:v>44664</c:v>
                </c:pt>
                <c:pt idx="882">
                  <c:v>44663</c:v>
                </c:pt>
                <c:pt idx="883">
                  <c:v>44662</c:v>
                </c:pt>
                <c:pt idx="884">
                  <c:v>44659</c:v>
                </c:pt>
                <c:pt idx="885">
                  <c:v>44658</c:v>
                </c:pt>
                <c:pt idx="886">
                  <c:v>44657</c:v>
                </c:pt>
                <c:pt idx="887">
                  <c:v>44656</c:v>
                </c:pt>
                <c:pt idx="888">
                  <c:v>44655</c:v>
                </c:pt>
                <c:pt idx="889">
                  <c:v>44652</c:v>
                </c:pt>
                <c:pt idx="890">
                  <c:v>44651</c:v>
                </c:pt>
                <c:pt idx="891">
                  <c:v>44650</c:v>
                </c:pt>
                <c:pt idx="892">
                  <c:v>44649</c:v>
                </c:pt>
                <c:pt idx="893">
                  <c:v>44648</c:v>
                </c:pt>
                <c:pt idx="894">
                  <c:v>44645</c:v>
                </c:pt>
                <c:pt idx="895">
                  <c:v>44644</c:v>
                </c:pt>
                <c:pt idx="896">
                  <c:v>44643</c:v>
                </c:pt>
                <c:pt idx="897">
                  <c:v>44642</c:v>
                </c:pt>
                <c:pt idx="898">
                  <c:v>44641</c:v>
                </c:pt>
                <c:pt idx="899">
                  <c:v>44637</c:v>
                </c:pt>
                <c:pt idx="900">
                  <c:v>44636</c:v>
                </c:pt>
                <c:pt idx="901">
                  <c:v>44635</c:v>
                </c:pt>
                <c:pt idx="902">
                  <c:v>44634</c:v>
                </c:pt>
                <c:pt idx="903">
                  <c:v>44631</c:v>
                </c:pt>
                <c:pt idx="904">
                  <c:v>44630</c:v>
                </c:pt>
                <c:pt idx="905">
                  <c:v>44629</c:v>
                </c:pt>
                <c:pt idx="906">
                  <c:v>44628</c:v>
                </c:pt>
                <c:pt idx="907">
                  <c:v>44627</c:v>
                </c:pt>
                <c:pt idx="908">
                  <c:v>44624</c:v>
                </c:pt>
                <c:pt idx="909">
                  <c:v>44623</c:v>
                </c:pt>
                <c:pt idx="910">
                  <c:v>44622</c:v>
                </c:pt>
                <c:pt idx="911">
                  <c:v>44620</c:v>
                </c:pt>
                <c:pt idx="912">
                  <c:v>44617</c:v>
                </c:pt>
                <c:pt idx="913">
                  <c:v>44616</c:v>
                </c:pt>
                <c:pt idx="914">
                  <c:v>44615</c:v>
                </c:pt>
                <c:pt idx="915">
                  <c:v>44614</c:v>
                </c:pt>
                <c:pt idx="916">
                  <c:v>44613</c:v>
                </c:pt>
                <c:pt idx="917">
                  <c:v>44610</c:v>
                </c:pt>
                <c:pt idx="918">
                  <c:v>44609</c:v>
                </c:pt>
                <c:pt idx="919">
                  <c:v>44608</c:v>
                </c:pt>
                <c:pt idx="920">
                  <c:v>44607</c:v>
                </c:pt>
                <c:pt idx="921">
                  <c:v>44606</c:v>
                </c:pt>
                <c:pt idx="922">
                  <c:v>44603</c:v>
                </c:pt>
                <c:pt idx="923">
                  <c:v>44602</c:v>
                </c:pt>
                <c:pt idx="924">
                  <c:v>44601</c:v>
                </c:pt>
                <c:pt idx="925">
                  <c:v>44600</c:v>
                </c:pt>
                <c:pt idx="926">
                  <c:v>44599</c:v>
                </c:pt>
                <c:pt idx="927">
                  <c:v>44596</c:v>
                </c:pt>
                <c:pt idx="928">
                  <c:v>44595</c:v>
                </c:pt>
                <c:pt idx="929">
                  <c:v>44594</c:v>
                </c:pt>
                <c:pt idx="930">
                  <c:v>44593</c:v>
                </c:pt>
                <c:pt idx="931">
                  <c:v>44592</c:v>
                </c:pt>
                <c:pt idx="932">
                  <c:v>44589</c:v>
                </c:pt>
                <c:pt idx="933">
                  <c:v>44588</c:v>
                </c:pt>
                <c:pt idx="934">
                  <c:v>44586</c:v>
                </c:pt>
                <c:pt idx="935">
                  <c:v>44585</c:v>
                </c:pt>
                <c:pt idx="936">
                  <c:v>44582</c:v>
                </c:pt>
                <c:pt idx="937">
                  <c:v>44581</c:v>
                </c:pt>
                <c:pt idx="938">
                  <c:v>44580</c:v>
                </c:pt>
                <c:pt idx="939">
                  <c:v>44579</c:v>
                </c:pt>
                <c:pt idx="940">
                  <c:v>44578</c:v>
                </c:pt>
                <c:pt idx="941">
                  <c:v>44575</c:v>
                </c:pt>
                <c:pt idx="942">
                  <c:v>44574</c:v>
                </c:pt>
                <c:pt idx="943">
                  <c:v>44573</c:v>
                </c:pt>
                <c:pt idx="944">
                  <c:v>44572</c:v>
                </c:pt>
                <c:pt idx="945">
                  <c:v>44571</c:v>
                </c:pt>
                <c:pt idx="946">
                  <c:v>44568</c:v>
                </c:pt>
                <c:pt idx="947">
                  <c:v>44567</c:v>
                </c:pt>
                <c:pt idx="948">
                  <c:v>44566</c:v>
                </c:pt>
                <c:pt idx="949">
                  <c:v>44565</c:v>
                </c:pt>
                <c:pt idx="950">
                  <c:v>44564</c:v>
                </c:pt>
                <c:pt idx="951">
                  <c:v>44561</c:v>
                </c:pt>
                <c:pt idx="952">
                  <c:v>44560</c:v>
                </c:pt>
                <c:pt idx="953">
                  <c:v>44559</c:v>
                </c:pt>
                <c:pt idx="954">
                  <c:v>44558</c:v>
                </c:pt>
                <c:pt idx="955">
                  <c:v>44557</c:v>
                </c:pt>
                <c:pt idx="956">
                  <c:v>44554</c:v>
                </c:pt>
                <c:pt idx="957">
                  <c:v>44553</c:v>
                </c:pt>
                <c:pt idx="958">
                  <c:v>44552</c:v>
                </c:pt>
                <c:pt idx="959">
                  <c:v>44551</c:v>
                </c:pt>
                <c:pt idx="960">
                  <c:v>44550</c:v>
                </c:pt>
                <c:pt idx="961">
                  <c:v>44547</c:v>
                </c:pt>
                <c:pt idx="962">
                  <c:v>44546</c:v>
                </c:pt>
                <c:pt idx="963">
                  <c:v>44545</c:v>
                </c:pt>
                <c:pt idx="964">
                  <c:v>44544</c:v>
                </c:pt>
                <c:pt idx="965">
                  <c:v>44543</c:v>
                </c:pt>
                <c:pt idx="966">
                  <c:v>44540</c:v>
                </c:pt>
                <c:pt idx="967">
                  <c:v>44539</c:v>
                </c:pt>
                <c:pt idx="968">
                  <c:v>44538</c:v>
                </c:pt>
                <c:pt idx="969">
                  <c:v>44537</c:v>
                </c:pt>
                <c:pt idx="970">
                  <c:v>44536</c:v>
                </c:pt>
                <c:pt idx="971">
                  <c:v>44533</c:v>
                </c:pt>
                <c:pt idx="972">
                  <c:v>44532</c:v>
                </c:pt>
                <c:pt idx="973">
                  <c:v>44531</c:v>
                </c:pt>
                <c:pt idx="974">
                  <c:v>44530</c:v>
                </c:pt>
                <c:pt idx="975">
                  <c:v>44529</c:v>
                </c:pt>
                <c:pt idx="976">
                  <c:v>44526</c:v>
                </c:pt>
                <c:pt idx="977">
                  <c:v>44525</c:v>
                </c:pt>
                <c:pt idx="978">
                  <c:v>44524</c:v>
                </c:pt>
                <c:pt idx="979">
                  <c:v>44523</c:v>
                </c:pt>
                <c:pt idx="980">
                  <c:v>44522</c:v>
                </c:pt>
                <c:pt idx="981">
                  <c:v>44518</c:v>
                </c:pt>
                <c:pt idx="982">
                  <c:v>44517</c:v>
                </c:pt>
                <c:pt idx="983">
                  <c:v>44516</c:v>
                </c:pt>
                <c:pt idx="984">
                  <c:v>44515</c:v>
                </c:pt>
                <c:pt idx="985">
                  <c:v>44512</c:v>
                </c:pt>
                <c:pt idx="986">
                  <c:v>44511</c:v>
                </c:pt>
                <c:pt idx="987">
                  <c:v>44510</c:v>
                </c:pt>
                <c:pt idx="988">
                  <c:v>44509</c:v>
                </c:pt>
                <c:pt idx="989">
                  <c:v>44508</c:v>
                </c:pt>
                <c:pt idx="990">
                  <c:v>44504</c:v>
                </c:pt>
                <c:pt idx="991">
                  <c:v>44503</c:v>
                </c:pt>
                <c:pt idx="992">
                  <c:v>44502</c:v>
                </c:pt>
                <c:pt idx="993">
                  <c:v>44501</c:v>
                </c:pt>
                <c:pt idx="994">
                  <c:v>44498</c:v>
                </c:pt>
                <c:pt idx="995">
                  <c:v>44497</c:v>
                </c:pt>
                <c:pt idx="996">
                  <c:v>44496</c:v>
                </c:pt>
                <c:pt idx="997">
                  <c:v>44495</c:v>
                </c:pt>
                <c:pt idx="998">
                  <c:v>44494</c:v>
                </c:pt>
                <c:pt idx="999">
                  <c:v>44491</c:v>
                </c:pt>
                <c:pt idx="1000">
                  <c:v>44490</c:v>
                </c:pt>
                <c:pt idx="1001">
                  <c:v>44489</c:v>
                </c:pt>
                <c:pt idx="1002">
                  <c:v>44488</c:v>
                </c:pt>
                <c:pt idx="1003">
                  <c:v>44487</c:v>
                </c:pt>
                <c:pt idx="1004">
                  <c:v>44483</c:v>
                </c:pt>
                <c:pt idx="1005">
                  <c:v>44482</c:v>
                </c:pt>
                <c:pt idx="1006">
                  <c:v>44481</c:v>
                </c:pt>
                <c:pt idx="1007">
                  <c:v>44480</c:v>
                </c:pt>
                <c:pt idx="1008">
                  <c:v>44477</c:v>
                </c:pt>
                <c:pt idx="1009">
                  <c:v>44476</c:v>
                </c:pt>
                <c:pt idx="1010">
                  <c:v>44475</c:v>
                </c:pt>
                <c:pt idx="1011">
                  <c:v>44474</c:v>
                </c:pt>
                <c:pt idx="1012">
                  <c:v>44473</c:v>
                </c:pt>
                <c:pt idx="1013">
                  <c:v>44470</c:v>
                </c:pt>
                <c:pt idx="1014">
                  <c:v>44469</c:v>
                </c:pt>
                <c:pt idx="1015">
                  <c:v>44468</c:v>
                </c:pt>
                <c:pt idx="1016">
                  <c:v>44467</c:v>
                </c:pt>
                <c:pt idx="1017">
                  <c:v>44466</c:v>
                </c:pt>
                <c:pt idx="1018">
                  <c:v>44463</c:v>
                </c:pt>
                <c:pt idx="1019">
                  <c:v>44462</c:v>
                </c:pt>
                <c:pt idx="1020">
                  <c:v>44461</c:v>
                </c:pt>
                <c:pt idx="1021">
                  <c:v>44460</c:v>
                </c:pt>
                <c:pt idx="1022">
                  <c:v>44459</c:v>
                </c:pt>
                <c:pt idx="1023">
                  <c:v>44456</c:v>
                </c:pt>
                <c:pt idx="1024">
                  <c:v>44455</c:v>
                </c:pt>
                <c:pt idx="1025">
                  <c:v>44454</c:v>
                </c:pt>
                <c:pt idx="1026">
                  <c:v>44453</c:v>
                </c:pt>
                <c:pt idx="1027">
                  <c:v>44452</c:v>
                </c:pt>
                <c:pt idx="1028">
                  <c:v>44448</c:v>
                </c:pt>
                <c:pt idx="1029">
                  <c:v>44447</c:v>
                </c:pt>
                <c:pt idx="1030">
                  <c:v>44446</c:v>
                </c:pt>
                <c:pt idx="1031">
                  <c:v>44445</c:v>
                </c:pt>
                <c:pt idx="1032">
                  <c:v>44442</c:v>
                </c:pt>
                <c:pt idx="1033">
                  <c:v>44441</c:v>
                </c:pt>
                <c:pt idx="1034">
                  <c:v>44440</c:v>
                </c:pt>
                <c:pt idx="1035">
                  <c:v>44439</c:v>
                </c:pt>
                <c:pt idx="1036">
                  <c:v>44438</c:v>
                </c:pt>
                <c:pt idx="1037">
                  <c:v>44435</c:v>
                </c:pt>
                <c:pt idx="1038">
                  <c:v>44434</c:v>
                </c:pt>
                <c:pt idx="1039">
                  <c:v>44433</c:v>
                </c:pt>
                <c:pt idx="1040">
                  <c:v>44432</c:v>
                </c:pt>
                <c:pt idx="1041">
                  <c:v>44431</c:v>
                </c:pt>
                <c:pt idx="1042">
                  <c:v>44428</c:v>
                </c:pt>
                <c:pt idx="1043">
                  <c:v>44426</c:v>
                </c:pt>
                <c:pt idx="1044">
                  <c:v>44425</c:v>
                </c:pt>
                <c:pt idx="1045">
                  <c:v>44424</c:v>
                </c:pt>
                <c:pt idx="1046">
                  <c:v>44421</c:v>
                </c:pt>
                <c:pt idx="1047">
                  <c:v>44420</c:v>
                </c:pt>
                <c:pt idx="1048">
                  <c:v>44419</c:v>
                </c:pt>
                <c:pt idx="1049">
                  <c:v>44418</c:v>
                </c:pt>
                <c:pt idx="1050">
                  <c:v>44417</c:v>
                </c:pt>
                <c:pt idx="1051">
                  <c:v>44414</c:v>
                </c:pt>
                <c:pt idx="1052">
                  <c:v>44413</c:v>
                </c:pt>
                <c:pt idx="1053">
                  <c:v>44412</c:v>
                </c:pt>
                <c:pt idx="1054">
                  <c:v>44411</c:v>
                </c:pt>
                <c:pt idx="1055">
                  <c:v>44410</c:v>
                </c:pt>
                <c:pt idx="1056">
                  <c:v>44407</c:v>
                </c:pt>
                <c:pt idx="1057">
                  <c:v>44406</c:v>
                </c:pt>
                <c:pt idx="1058">
                  <c:v>44405</c:v>
                </c:pt>
                <c:pt idx="1059">
                  <c:v>44404</c:v>
                </c:pt>
                <c:pt idx="1060">
                  <c:v>44403</c:v>
                </c:pt>
                <c:pt idx="1061">
                  <c:v>44400</c:v>
                </c:pt>
                <c:pt idx="1062">
                  <c:v>44399</c:v>
                </c:pt>
                <c:pt idx="1063">
                  <c:v>44397</c:v>
                </c:pt>
                <c:pt idx="1064">
                  <c:v>44396</c:v>
                </c:pt>
                <c:pt idx="1065">
                  <c:v>44393</c:v>
                </c:pt>
                <c:pt idx="1066">
                  <c:v>44392</c:v>
                </c:pt>
                <c:pt idx="1067">
                  <c:v>44391</c:v>
                </c:pt>
                <c:pt idx="1068">
                  <c:v>44390</c:v>
                </c:pt>
                <c:pt idx="1069">
                  <c:v>44389</c:v>
                </c:pt>
                <c:pt idx="1070">
                  <c:v>44386</c:v>
                </c:pt>
                <c:pt idx="1071">
                  <c:v>44385</c:v>
                </c:pt>
                <c:pt idx="1072">
                  <c:v>44384</c:v>
                </c:pt>
                <c:pt idx="1073">
                  <c:v>44383</c:v>
                </c:pt>
                <c:pt idx="1074">
                  <c:v>44382</c:v>
                </c:pt>
                <c:pt idx="1075">
                  <c:v>44379</c:v>
                </c:pt>
                <c:pt idx="1076">
                  <c:v>44378</c:v>
                </c:pt>
                <c:pt idx="1077">
                  <c:v>44377</c:v>
                </c:pt>
                <c:pt idx="1078">
                  <c:v>44376</c:v>
                </c:pt>
                <c:pt idx="1079">
                  <c:v>44375</c:v>
                </c:pt>
                <c:pt idx="1080">
                  <c:v>44372</c:v>
                </c:pt>
                <c:pt idx="1081">
                  <c:v>44371</c:v>
                </c:pt>
                <c:pt idx="1082">
                  <c:v>44370</c:v>
                </c:pt>
                <c:pt idx="1083">
                  <c:v>44369</c:v>
                </c:pt>
                <c:pt idx="1084">
                  <c:v>44368</c:v>
                </c:pt>
                <c:pt idx="1085">
                  <c:v>44365</c:v>
                </c:pt>
                <c:pt idx="1086">
                  <c:v>44364</c:v>
                </c:pt>
                <c:pt idx="1087">
                  <c:v>44363</c:v>
                </c:pt>
                <c:pt idx="1088">
                  <c:v>44362</c:v>
                </c:pt>
                <c:pt idx="1089">
                  <c:v>44361</c:v>
                </c:pt>
                <c:pt idx="1090">
                  <c:v>44358</c:v>
                </c:pt>
                <c:pt idx="1091">
                  <c:v>44357</c:v>
                </c:pt>
                <c:pt idx="1092">
                  <c:v>44356</c:v>
                </c:pt>
                <c:pt idx="1093">
                  <c:v>44355</c:v>
                </c:pt>
                <c:pt idx="1094">
                  <c:v>44354</c:v>
                </c:pt>
                <c:pt idx="1095">
                  <c:v>44351</c:v>
                </c:pt>
                <c:pt idx="1096">
                  <c:v>44350</c:v>
                </c:pt>
                <c:pt idx="1097">
                  <c:v>44349</c:v>
                </c:pt>
                <c:pt idx="1098">
                  <c:v>44348</c:v>
                </c:pt>
                <c:pt idx="1099">
                  <c:v>44347</c:v>
                </c:pt>
                <c:pt idx="1100">
                  <c:v>44344</c:v>
                </c:pt>
                <c:pt idx="1101">
                  <c:v>44343</c:v>
                </c:pt>
                <c:pt idx="1102">
                  <c:v>44342</c:v>
                </c:pt>
                <c:pt idx="1103">
                  <c:v>44341</c:v>
                </c:pt>
                <c:pt idx="1104">
                  <c:v>44340</c:v>
                </c:pt>
                <c:pt idx="1105">
                  <c:v>44337</c:v>
                </c:pt>
                <c:pt idx="1106">
                  <c:v>44336</c:v>
                </c:pt>
                <c:pt idx="1107">
                  <c:v>44335</c:v>
                </c:pt>
                <c:pt idx="1108">
                  <c:v>44334</c:v>
                </c:pt>
                <c:pt idx="1109">
                  <c:v>44333</c:v>
                </c:pt>
                <c:pt idx="1110">
                  <c:v>44330</c:v>
                </c:pt>
                <c:pt idx="1111">
                  <c:v>44328</c:v>
                </c:pt>
                <c:pt idx="1112">
                  <c:v>44327</c:v>
                </c:pt>
                <c:pt idx="1113">
                  <c:v>44326</c:v>
                </c:pt>
                <c:pt idx="1114">
                  <c:v>44323</c:v>
                </c:pt>
                <c:pt idx="1115">
                  <c:v>44322</c:v>
                </c:pt>
                <c:pt idx="1116">
                  <c:v>44321</c:v>
                </c:pt>
                <c:pt idx="1117">
                  <c:v>44320</c:v>
                </c:pt>
                <c:pt idx="1118">
                  <c:v>44319</c:v>
                </c:pt>
                <c:pt idx="1119">
                  <c:v>44316</c:v>
                </c:pt>
                <c:pt idx="1120">
                  <c:v>44315</c:v>
                </c:pt>
                <c:pt idx="1121">
                  <c:v>44314</c:v>
                </c:pt>
                <c:pt idx="1122">
                  <c:v>44313</c:v>
                </c:pt>
                <c:pt idx="1123">
                  <c:v>44312</c:v>
                </c:pt>
                <c:pt idx="1124">
                  <c:v>44309</c:v>
                </c:pt>
                <c:pt idx="1125">
                  <c:v>44308</c:v>
                </c:pt>
                <c:pt idx="1126">
                  <c:v>44306</c:v>
                </c:pt>
                <c:pt idx="1127">
                  <c:v>44305</c:v>
                </c:pt>
                <c:pt idx="1128">
                  <c:v>44302</c:v>
                </c:pt>
                <c:pt idx="1129">
                  <c:v>44301</c:v>
                </c:pt>
                <c:pt idx="1130">
                  <c:v>44299</c:v>
                </c:pt>
                <c:pt idx="1131">
                  <c:v>44298</c:v>
                </c:pt>
                <c:pt idx="1132">
                  <c:v>44295</c:v>
                </c:pt>
                <c:pt idx="1133">
                  <c:v>44294</c:v>
                </c:pt>
                <c:pt idx="1134">
                  <c:v>44293</c:v>
                </c:pt>
                <c:pt idx="1135">
                  <c:v>44292</c:v>
                </c:pt>
                <c:pt idx="1136">
                  <c:v>44291</c:v>
                </c:pt>
                <c:pt idx="1137">
                  <c:v>44287</c:v>
                </c:pt>
                <c:pt idx="1138">
                  <c:v>44286</c:v>
                </c:pt>
                <c:pt idx="1139">
                  <c:v>44285</c:v>
                </c:pt>
                <c:pt idx="1140">
                  <c:v>44281</c:v>
                </c:pt>
                <c:pt idx="1141">
                  <c:v>44280</c:v>
                </c:pt>
                <c:pt idx="1142">
                  <c:v>44279</c:v>
                </c:pt>
                <c:pt idx="1143">
                  <c:v>44278</c:v>
                </c:pt>
                <c:pt idx="1144">
                  <c:v>44277</c:v>
                </c:pt>
                <c:pt idx="1145">
                  <c:v>44274</c:v>
                </c:pt>
                <c:pt idx="1146">
                  <c:v>44273</c:v>
                </c:pt>
                <c:pt idx="1147">
                  <c:v>44272</c:v>
                </c:pt>
                <c:pt idx="1148">
                  <c:v>44271</c:v>
                </c:pt>
                <c:pt idx="1149">
                  <c:v>44270</c:v>
                </c:pt>
                <c:pt idx="1150">
                  <c:v>44267</c:v>
                </c:pt>
                <c:pt idx="1151">
                  <c:v>44265</c:v>
                </c:pt>
                <c:pt idx="1152">
                  <c:v>44264</c:v>
                </c:pt>
                <c:pt idx="1153">
                  <c:v>44263</c:v>
                </c:pt>
                <c:pt idx="1154">
                  <c:v>44260</c:v>
                </c:pt>
                <c:pt idx="1155">
                  <c:v>44259</c:v>
                </c:pt>
                <c:pt idx="1156">
                  <c:v>44258</c:v>
                </c:pt>
                <c:pt idx="1157">
                  <c:v>44257</c:v>
                </c:pt>
                <c:pt idx="1158">
                  <c:v>44256</c:v>
                </c:pt>
                <c:pt idx="1159">
                  <c:v>44253</c:v>
                </c:pt>
                <c:pt idx="1160">
                  <c:v>44252</c:v>
                </c:pt>
                <c:pt idx="1161">
                  <c:v>44251</c:v>
                </c:pt>
                <c:pt idx="1162">
                  <c:v>44250</c:v>
                </c:pt>
                <c:pt idx="1163">
                  <c:v>44249</c:v>
                </c:pt>
                <c:pt idx="1164">
                  <c:v>44246</c:v>
                </c:pt>
                <c:pt idx="1165">
                  <c:v>44245</c:v>
                </c:pt>
                <c:pt idx="1166">
                  <c:v>44244</c:v>
                </c:pt>
                <c:pt idx="1167">
                  <c:v>44243</c:v>
                </c:pt>
                <c:pt idx="1168">
                  <c:v>44242</c:v>
                </c:pt>
                <c:pt idx="1169">
                  <c:v>44239</c:v>
                </c:pt>
                <c:pt idx="1170">
                  <c:v>44238</c:v>
                </c:pt>
                <c:pt idx="1171">
                  <c:v>44237</c:v>
                </c:pt>
                <c:pt idx="1172">
                  <c:v>44236</c:v>
                </c:pt>
                <c:pt idx="1173">
                  <c:v>44235</c:v>
                </c:pt>
                <c:pt idx="1174">
                  <c:v>44232</c:v>
                </c:pt>
                <c:pt idx="1175">
                  <c:v>44231</c:v>
                </c:pt>
                <c:pt idx="1176">
                  <c:v>44230</c:v>
                </c:pt>
                <c:pt idx="1177">
                  <c:v>44229</c:v>
                </c:pt>
                <c:pt idx="1178">
                  <c:v>44228</c:v>
                </c:pt>
                <c:pt idx="1179">
                  <c:v>44225</c:v>
                </c:pt>
                <c:pt idx="1180">
                  <c:v>44224</c:v>
                </c:pt>
                <c:pt idx="1181">
                  <c:v>44223</c:v>
                </c:pt>
                <c:pt idx="1182">
                  <c:v>44221</c:v>
                </c:pt>
                <c:pt idx="1183">
                  <c:v>44218</c:v>
                </c:pt>
                <c:pt idx="1184">
                  <c:v>44217</c:v>
                </c:pt>
                <c:pt idx="1185">
                  <c:v>44216</c:v>
                </c:pt>
                <c:pt idx="1186">
                  <c:v>44215</c:v>
                </c:pt>
                <c:pt idx="1187">
                  <c:v>44214</c:v>
                </c:pt>
                <c:pt idx="1188">
                  <c:v>44211</c:v>
                </c:pt>
                <c:pt idx="1189">
                  <c:v>44210</c:v>
                </c:pt>
                <c:pt idx="1190">
                  <c:v>44209</c:v>
                </c:pt>
                <c:pt idx="1191">
                  <c:v>44208</c:v>
                </c:pt>
                <c:pt idx="1192">
                  <c:v>44207</c:v>
                </c:pt>
                <c:pt idx="1193">
                  <c:v>44204</c:v>
                </c:pt>
                <c:pt idx="1194">
                  <c:v>44203</c:v>
                </c:pt>
                <c:pt idx="1195">
                  <c:v>44202</c:v>
                </c:pt>
                <c:pt idx="1196">
                  <c:v>44201</c:v>
                </c:pt>
                <c:pt idx="1197">
                  <c:v>44200</c:v>
                </c:pt>
                <c:pt idx="1198">
                  <c:v>44197</c:v>
                </c:pt>
                <c:pt idx="1199">
                  <c:v>44196</c:v>
                </c:pt>
                <c:pt idx="1200">
                  <c:v>44195</c:v>
                </c:pt>
                <c:pt idx="1201">
                  <c:v>44194</c:v>
                </c:pt>
                <c:pt idx="1202">
                  <c:v>44193</c:v>
                </c:pt>
                <c:pt idx="1203">
                  <c:v>44189</c:v>
                </c:pt>
                <c:pt idx="1204">
                  <c:v>44188</c:v>
                </c:pt>
                <c:pt idx="1205">
                  <c:v>44187</c:v>
                </c:pt>
                <c:pt idx="1206">
                  <c:v>44186</c:v>
                </c:pt>
                <c:pt idx="1207">
                  <c:v>44183</c:v>
                </c:pt>
                <c:pt idx="1208">
                  <c:v>44182</c:v>
                </c:pt>
                <c:pt idx="1209">
                  <c:v>44181</c:v>
                </c:pt>
                <c:pt idx="1210">
                  <c:v>44180</c:v>
                </c:pt>
                <c:pt idx="1211">
                  <c:v>44179</c:v>
                </c:pt>
                <c:pt idx="1212">
                  <c:v>44176</c:v>
                </c:pt>
                <c:pt idx="1213">
                  <c:v>44175</c:v>
                </c:pt>
                <c:pt idx="1214">
                  <c:v>44174</c:v>
                </c:pt>
                <c:pt idx="1215">
                  <c:v>44173</c:v>
                </c:pt>
                <c:pt idx="1216">
                  <c:v>44172</c:v>
                </c:pt>
                <c:pt idx="1217">
                  <c:v>44169</c:v>
                </c:pt>
                <c:pt idx="1218">
                  <c:v>44168</c:v>
                </c:pt>
                <c:pt idx="1219">
                  <c:v>44167</c:v>
                </c:pt>
                <c:pt idx="1220">
                  <c:v>44166</c:v>
                </c:pt>
                <c:pt idx="1221">
                  <c:v>44162</c:v>
                </c:pt>
                <c:pt idx="1222">
                  <c:v>44161</c:v>
                </c:pt>
                <c:pt idx="1223">
                  <c:v>44160</c:v>
                </c:pt>
                <c:pt idx="1224">
                  <c:v>44159</c:v>
                </c:pt>
                <c:pt idx="1225">
                  <c:v>44158</c:v>
                </c:pt>
                <c:pt idx="1226">
                  <c:v>44155</c:v>
                </c:pt>
                <c:pt idx="1227">
                  <c:v>44154</c:v>
                </c:pt>
                <c:pt idx="1228">
                  <c:v>44153</c:v>
                </c:pt>
                <c:pt idx="1229">
                  <c:v>44152</c:v>
                </c:pt>
                <c:pt idx="1230">
                  <c:v>44149</c:v>
                </c:pt>
                <c:pt idx="1231">
                  <c:v>44148</c:v>
                </c:pt>
                <c:pt idx="1232">
                  <c:v>44147</c:v>
                </c:pt>
                <c:pt idx="1233">
                  <c:v>44146</c:v>
                </c:pt>
                <c:pt idx="1234">
                  <c:v>44145</c:v>
                </c:pt>
                <c:pt idx="1235">
                  <c:v>44144</c:v>
                </c:pt>
                <c:pt idx="1236">
                  <c:v>44141</c:v>
                </c:pt>
                <c:pt idx="1237">
                  <c:v>44140</c:v>
                </c:pt>
                <c:pt idx="1238">
                  <c:v>44139</c:v>
                </c:pt>
                <c:pt idx="1239">
                  <c:v>44138</c:v>
                </c:pt>
                <c:pt idx="1240">
                  <c:v>44137</c:v>
                </c:pt>
                <c:pt idx="1241">
                  <c:v>44134</c:v>
                </c:pt>
                <c:pt idx="1242">
                  <c:v>44133</c:v>
                </c:pt>
                <c:pt idx="1243">
                  <c:v>44132</c:v>
                </c:pt>
                <c:pt idx="1244">
                  <c:v>44131</c:v>
                </c:pt>
                <c:pt idx="1245">
                  <c:v>44130</c:v>
                </c:pt>
                <c:pt idx="1246">
                  <c:v>44127</c:v>
                </c:pt>
                <c:pt idx="1247">
                  <c:v>44126</c:v>
                </c:pt>
                <c:pt idx="1248">
                  <c:v>44125</c:v>
                </c:pt>
                <c:pt idx="1249">
                  <c:v>44124</c:v>
                </c:pt>
                <c:pt idx="1250">
                  <c:v>44123</c:v>
                </c:pt>
                <c:pt idx="1251">
                  <c:v>44120</c:v>
                </c:pt>
                <c:pt idx="1252">
                  <c:v>44119</c:v>
                </c:pt>
                <c:pt idx="1253">
                  <c:v>44118</c:v>
                </c:pt>
                <c:pt idx="1254">
                  <c:v>44117</c:v>
                </c:pt>
                <c:pt idx="1255">
                  <c:v>44116</c:v>
                </c:pt>
                <c:pt idx="1256">
                  <c:v>44113</c:v>
                </c:pt>
                <c:pt idx="1257">
                  <c:v>44112</c:v>
                </c:pt>
                <c:pt idx="1258">
                  <c:v>44111</c:v>
                </c:pt>
                <c:pt idx="1259">
                  <c:v>44110</c:v>
                </c:pt>
                <c:pt idx="1260">
                  <c:v>44109</c:v>
                </c:pt>
                <c:pt idx="1261">
                  <c:v>44105</c:v>
                </c:pt>
                <c:pt idx="1262">
                  <c:v>44104</c:v>
                </c:pt>
                <c:pt idx="1263">
                  <c:v>44103</c:v>
                </c:pt>
                <c:pt idx="1264">
                  <c:v>44102</c:v>
                </c:pt>
                <c:pt idx="1265">
                  <c:v>44099</c:v>
                </c:pt>
                <c:pt idx="1266">
                  <c:v>44098</c:v>
                </c:pt>
                <c:pt idx="1267">
                  <c:v>44097</c:v>
                </c:pt>
                <c:pt idx="1268">
                  <c:v>44096</c:v>
                </c:pt>
                <c:pt idx="1269">
                  <c:v>44095</c:v>
                </c:pt>
                <c:pt idx="1270">
                  <c:v>44092</c:v>
                </c:pt>
                <c:pt idx="1271">
                  <c:v>44091</c:v>
                </c:pt>
                <c:pt idx="1272">
                  <c:v>44090</c:v>
                </c:pt>
                <c:pt idx="1273">
                  <c:v>44089</c:v>
                </c:pt>
                <c:pt idx="1274">
                  <c:v>44088</c:v>
                </c:pt>
                <c:pt idx="1275">
                  <c:v>44085</c:v>
                </c:pt>
                <c:pt idx="1276">
                  <c:v>44084</c:v>
                </c:pt>
                <c:pt idx="1277">
                  <c:v>44083</c:v>
                </c:pt>
                <c:pt idx="1278">
                  <c:v>44082</c:v>
                </c:pt>
                <c:pt idx="1279">
                  <c:v>44081</c:v>
                </c:pt>
                <c:pt idx="1280">
                  <c:v>44078</c:v>
                </c:pt>
                <c:pt idx="1281">
                  <c:v>44077</c:v>
                </c:pt>
                <c:pt idx="1282">
                  <c:v>44076</c:v>
                </c:pt>
                <c:pt idx="1283">
                  <c:v>44075</c:v>
                </c:pt>
                <c:pt idx="1284">
                  <c:v>44074</c:v>
                </c:pt>
                <c:pt idx="1285">
                  <c:v>44071</c:v>
                </c:pt>
                <c:pt idx="1286">
                  <c:v>44070</c:v>
                </c:pt>
                <c:pt idx="1287">
                  <c:v>44069</c:v>
                </c:pt>
                <c:pt idx="1288">
                  <c:v>44068</c:v>
                </c:pt>
                <c:pt idx="1289">
                  <c:v>44067</c:v>
                </c:pt>
                <c:pt idx="1290">
                  <c:v>44064</c:v>
                </c:pt>
                <c:pt idx="1291">
                  <c:v>44063</c:v>
                </c:pt>
                <c:pt idx="1292">
                  <c:v>44062</c:v>
                </c:pt>
                <c:pt idx="1293">
                  <c:v>44061</c:v>
                </c:pt>
                <c:pt idx="1294">
                  <c:v>44060</c:v>
                </c:pt>
                <c:pt idx="1295">
                  <c:v>44057</c:v>
                </c:pt>
                <c:pt idx="1296">
                  <c:v>44056</c:v>
                </c:pt>
                <c:pt idx="1297">
                  <c:v>44055</c:v>
                </c:pt>
                <c:pt idx="1298">
                  <c:v>44054</c:v>
                </c:pt>
                <c:pt idx="1299">
                  <c:v>44053</c:v>
                </c:pt>
                <c:pt idx="1300">
                  <c:v>44050</c:v>
                </c:pt>
                <c:pt idx="1301">
                  <c:v>44049</c:v>
                </c:pt>
                <c:pt idx="1302">
                  <c:v>44048</c:v>
                </c:pt>
                <c:pt idx="1303">
                  <c:v>44047</c:v>
                </c:pt>
                <c:pt idx="1304">
                  <c:v>44046</c:v>
                </c:pt>
                <c:pt idx="1305">
                  <c:v>44043</c:v>
                </c:pt>
                <c:pt idx="1306">
                  <c:v>44042</c:v>
                </c:pt>
                <c:pt idx="1307">
                  <c:v>44041</c:v>
                </c:pt>
                <c:pt idx="1308">
                  <c:v>44040</c:v>
                </c:pt>
                <c:pt idx="1309">
                  <c:v>44039</c:v>
                </c:pt>
                <c:pt idx="1310">
                  <c:v>44036</c:v>
                </c:pt>
                <c:pt idx="1311">
                  <c:v>44035</c:v>
                </c:pt>
                <c:pt idx="1312">
                  <c:v>44034</c:v>
                </c:pt>
                <c:pt idx="1313">
                  <c:v>44033</c:v>
                </c:pt>
                <c:pt idx="1314">
                  <c:v>44032</c:v>
                </c:pt>
                <c:pt idx="1315">
                  <c:v>44029</c:v>
                </c:pt>
                <c:pt idx="1316">
                  <c:v>44028</c:v>
                </c:pt>
                <c:pt idx="1317">
                  <c:v>44027</c:v>
                </c:pt>
                <c:pt idx="1318">
                  <c:v>44026</c:v>
                </c:pt>
                <c:pt idx="1319">
                  <c:v>44025</c:v>
                </c:pt>
                <c:pt idx="1320">
                  <c:v>44022</c:v>
                </c:pt>
                <c:pt idx="1321">
                  <c:v>44021</c:v>
                </c:pt>
                <c:pt idx="1322">
                  <c:v>44020</c:v>
                </c:pt>
                <c:pt idx="1323">
                  <c:v>44019</c:v>
                </c:pt>
                <c:pt idx="1324">
                  <c:v>44018</c:v>
                </c:pt>
                <c:pt idx="1325">
                  <c:v>44015</c:v>
                </c:pt>
                <c:pt idx="1326">
                  <c:v>44014</c:v>
                </c:pt>
                <c:pt idx="1327">
                  <c:v>44013</c:v>
                </c:pt>
                <c:pt idx="1328">
                  <c:v>44012</c:v>
                </c:pt>
                <c:pt idx="1329">
                  <c:v>44011</c:v>
                </c:pt>
                <c:pt idx="1330">
                  <c:v>44008</c:v>
                </c:pt>
                <c:pt idx="1331">
                  <c:v>44007</c:v>
                </c:pt>
                <c:pt idx="1332">
                  <c:v>44006</c:v>
                </c:pt>
                <c:pt idx="1333">
                  <c:v>44005</c:v>
                </c:pt>
                <c:pt idx="1334">
                  <c:v>44004</c:v>
                </c:pt>
                <c:pt idx="1335">
                  <c:v>44001</c:v>
                </c:pt>
                <c:pt idx="1336">
                  <c:v>44000</c:v>
                </c:pt>
                <c:pt idx="1337">
                  <c:v>43999</c:v>
                </c:pt>
                <c:pt idx="1338">
                  <c:v>43998</c:v>
                </c:pt>
                <c:pt idx="1339">
                  <c:v>43997</c:v>
                </c:pt>
                <c:pt idx="1340">
                  <c:v>43994</c:v>
                </c:pt>
                <c:pt idx="1341">
                  <c:v>43993</c:v>
                </c:pt>
                <c:pt idx="1342">
                  <c:v>43992</c:v>
                </c:pt>
                <c:pt idx="1343">
                  <c:v>43991</c:v>
                </c:pt>
                <c:pt idx="1344">
                  <c:v>43990</c:v>
                </c:pt>
                <c:pt idx="1345">
                  <c:v>43987</c:v>
                </c:pt>
                <c:pt idx="1346">
                  <c:v>43986</c:v>
                </c:pt>
                <c:pt idx="1347">
                  <c:v>43985</c:v>
                </c:pt>
                <c:pt idx="1348">
                  <c:v>43984</c:v>
                </c:pt>
                <c:pt idx="1349">
                  <c:v>43983</c:v>
                </c:pt>
                <c:pt idx="1350">
                  <c:v>43980</c:v>
                </c:pt>
                <c:pt idx="1351">
                  <c:v>43979</c:v>
                </c:pt>
                <c:pt idx="1352">
                  <c:v>43978</c:v>
                </c:pt>
                <c:pt idx="1353">
                  <c:v>43977</c:v>
                </c:pt>
                <c:pt idx="1354">
                  <c:v>43973</c:v>
                </c:pt>
                <c:pt idx="1355">
                  <c:v>43972</c:v>
                </c:pt>
                <c:pt idx="1356">
                  <c:v>43971</c:v>
                </c:pt>
                <c:pt idx="1357">
                  <c:v>43970</c:v>
                </c:pt>
                <c:pt idx="1358">
                  <c:v>43969</c:v>
                </c:pt>
                <c:pt idx="1359">
                  <c:v>43966</c:v>
                </c:pt>
                <c:pt idx="1360">
                  <c:v>43965</c:v>
                </c:pt>
                <c:pt idx="1361">
                  <c:v>43964</c:v>
                </c:pt>
                <c:pt idx="1362">
                  <c:v>43963</c:v>
                </c:pt>
                <c:pt idx="1363">
                  <c:v>43962</c:v>
                </c:pt>
                <c:pt idx="1364">
                  <c:v>43959</c:v>
                </c:pt>
                <c:pt idx="1365">
                  <c:v>43958</c:v>
                </c:pt>
                <c:pt idx="1366">
                  <c:v>43957</c:v>
                </c:pt>
                <c:pt idx="1367">
                  <c:v>43956</c:v>
                </c:pt>
                <c:pt idx="1368">
                  <c:v>43955</c:v>
                </c:pt>
                <c:pt idx="1369">
                  <c:v>43951</c:v>
                </c:pt>
                <c:pt idx="1370">
                  <c:v>43950</c:v>
                </c:pt>
                <c:pt idx="1371">
                  <c:v>43949</c:v>
                </c:pt>
                <c:pt idx="1372">
                  <c:v>43948</c:v>
                </c:pt>
                <c:pt idx="1373">
                  <c:v>43945</c:v>
                </c:pt>
                <c:pt idx="1374">
                  <c:v>43944</c:v>
                </c:pt>
                <c:pt idx="1375">
                  <c:v>43943</c:v>
                </c:pt>
                <c:pt idx="1376">
                  <c:v>43942</c:v>
                </c:pt>
                <c:pt idx="1377">
                  <c:v>43941</c:v>
                </c:pt>
                <c:pt idx="1378">
                  <c:v>43938</c:v>
                </c:pt>
                <c:pt idx="1379">
                  <c:v>43937</c:v>
                </c:pt>
                <c:pt idx="1380">
                  <c:v>43936</c:v>
                </c:pt>
                <c:pt idx="1381">
                  <c:v>43934</c:v>
                </c:pt>
                <c:pt idx="1382">
                  <c:v>43930</c:v>
                </c:pt>
                <c:pt idx="1383">
                  <c:v>43929</c:v>
                </c:pt>
                <c:pt idx="1384">
                  <c:v>43928</c:v>
                </c:pt>
                <c:pt idx="1385">
                  <c:v>43924</c:v>
                </c:pt>
                <c:pt idx="1386">
                  <c:v>43922</c:v>
                </c:pt>
                <c:pt idx="1387">
                  <c:v>43921</c:v>
                </c:pt>
                <c:pt idx="1388">
                  <c:v>43920</c:v>
                </c:pt>
                <c:pt idx="1389">
                  <c:v>43917</c:v>
                </c:pt>
                <c:pt idx="1390">
                  <c:v>43916</c:v>
                </c:pt>
                <c:pt idx="1391">
                  <c:v>43915</c:v>
                </c:pt>
                <c:pt idx="1392">
                  <c:v>43914</c:v>
                </c:pt>
                <c:pt idx="1393">
                  <c:v>43913</c:v>
                </c:pt>
                <c:pt idx="1394">
                  <c:v>43910</c:v>
                </c:pt>
                <c:pt idx="1395">
                  <c:v>43909</c:v>
                </c:pt>
                <c:pt idx="1396">
                  <c:v>43908</c:v>
                </c:pt>
                <c:pt idx="1397">
                  <c:v>43907</c:v>
                </c:pt>
                <c:pt idx="1398">
                  <c:v>43906</c:v>
                </c:pt>
                <c:pt idx="1399">
                  <c:v>43903</c:v>
                </c:pt>
                <c:pt idx="1400">
                  <c:v>43902</c:v>
                </c:pt>
                <c:pt idx="1401">
                  <c:v>43901</c:v>
                </c:pt>
                <c:pt idx="1402">
                  <c:v>43899</c:v>
                </c:pt>
                <c:pt idx="1403">
                  <c:v>43896</c:v>
                </c:pt>
                <c:pt idx="1404">
                  <c:v>43895</c:v>
                </c:pt>
                <c:pt idx="1405">
                  <c:v>43894</c:v>
                </c:pt>
                <c:pt idx="1406">
                  <c:v>43893</c:v>
                </c:pt>
                <c:pt idx="1407">
                  <c:v>43892</c:v>
                </c:pt>
                <c:pt idx="1408">
                  <c:v>43889</c:v>
                </c:pt>
                <c:pt idx="1409">
                  <c:v>43888</c:v>
                </c:pt>
                <c:pt idx="1410">
                  <c:v>43887</c:v>
                </c:pt>
                <c:pt idx="1411">
                  <c:v>43886</c:v>
                </c:pt>
                <c:pt idx="1412">
                  <c:v>43885</c:v>
                </c:pt>
                <c:pt idx="1413">
                  <c:v>43881</c:v>
                </c:pt>
                <c:pt idx="1414">
                  <c:v>43880</c:v>
                </c:pt>
                <c:pt idx="1415">
                  <c:v>43879</c:v>
                </c:pt>
                <c:pt idx="1416">
                  <c:v>43878</c:v>
                </c:pt>
                <c:pt idx="1417">
                  <c:v>43875</c:v>
                </c:pt>
                <c:pt idx="1418">
                  <c:v>43874</c:v>
                </c:pt>
                <c:pt idx="1419">
                  <c:v>43873</c:v>
                </c:pt>
                <c:pt idx="1420">
                  <c:v>43872</c:v>
                </c:pt>
                <c:pt idx="1421">
                  <c:v>43871</c:v>
                </c:pt>
                <c:pt idx="1422">
                  <c:v>43868</c:v>
                </c:pt>
                <c:pt idx="1423">
                  <c:v>43867</c:v>
                </c:pt>
                <c:pt idx="1424">
                  <c:v>43866</c:v>
                </c:pt>
                <c:pt idx="1425">
                  <c:v>43865</c:v>
                </c:pt>
                <c:pt idx="1426">
                  <c:v>43864</c:v>
                </c:pt>
                <c:pt idx="1427">
                  <c:v>43862</c:v>
                </c:pt>
                <c:pt idx="1428">
                  <c:v>43861</c:v>
                </c:pt>
                <c:pt idx="1429">
                  <c:v>43860</c:v>
                </c:pt>
                <c:pt idx="1430">
                  <c:v>43859</c:v>
                </c:pt>
                <c:pt idx="1431">
                  <c:v>43858</c:v>
                </c:pt>
                <c:pt idx="1432">
                  <c:v>43857</c:v>
                </c:pt>
                <c:pt idx="1433">
                  <c:v>43854</c:v>
                </c:pt>
                <c:pt idx="1434">
                  <c:v>43853</c:v>
                </c:pt>
                <c:pt idx="1435">
                  <c:v>43852</c:v>
                </c:pt>
                <c:pt idx="1436">
                  <c:v>43851</c:v>
                </c:pt>
                <c:pt idx="1437">
                  <c:v>43850</c:v>
                </c:pt>
                <c:pt idx="1438">
                  <c:v>43847</c:v>
                </c:pt>
                <c:pt idx="1439">
                  <c:v>43846</c:v>
                </c:pt>
                <c:pt idx="1440">
                  <c:v>43845</c:v>
                </c:pt>
                <c:pt idx="1441">
                  <c:v>43844</c:v>
                </c:pt>
                <c:pt idx="1442">
                  <c:v>43843</c:v>
                </c:pt>
                <c:pt idx="1443">
                  <c:v>43840</c:v>
                </c:pt>
                <c:pt idx="1444">
                  <c:v>43839</c:v>
                </c:pt>
                <c:pt idx="1445">
                  <c:v>43838</c:v>
                </c:pt>
                <c:pt idx="1446">
                  <c:v>43837</c:v>
                </c:pt>
                <c:pt idx="1447">
                  <c:v>43836</c:v>
                </c:pt>
                <c:pt idx="1448">
                  <c:v>43833</c:v>
                </c:pt>
                <c:pt idx="1449">
                  <c:v>43832</c:v>
                </c:pt>
                <c:pt idx="1450">
                  <c:v>43831</c:v>
                </c:pt>
                <c:pt idx="1451">
                  <c:v>43830</c:v>
                </c:pt>
                <c:pt idx="1452">
                  <c:v>43829</c:v>
                </c:pt>
                <c:pt idx="1453">
                  <c:v>43826</c:v>
                </c:pt>
                <c:pt idx="1454">
                  <c:v>43825</c:v>
                </c:pt>
                <c:pt idx="1455">
                  <c:v>43823</c:v>
                </c:pt>
                <c:pt idx="1456">
                  <c:v>43822</c:v>
                </c:pt>
                <c:pt idx="1457">
                  <c:v>43819</c:v>
                </c:pt>
                <c:pt idx="1458">
                  <c:v>43818</c:v>
                </c:pt>
                <c:pt idx="1459">
                  <c:v>43817</c:v>
                </c:pt>
                <c:pt idx="1460">
                  <c:v>43816</c:v>
                </c:pt>
                <c:pt idx="1461">
                  <c:v>43815</c:v>
                </c:pt>
                <c:pt idx="1462">
                  <c:v>43812</c:v>
                </c:pt>
                <c:pt idx="1463">
                  <c:v>43811</c:v>
                </c:pt>
                <c:pt idx="1464">
                  <c:v>43810</c:v>
                </c:pt>
                <c:pt idx="1465">
                  <c:v>43809</c:v>
                </c:pt>
                <c:pt idx="1466">
                  <c:v>43808</c:v>
                </c:pt>
                <c:pt idx="1467">
                  <c:v>43805</c:v>
                </c:pt>
                <c:pt idx="1468">
                  <c:v>43804</c:v>
                </c:pt>
                <c:pt idx="1469">
                  <c:v>43803</c:v>
                </c:pt>
                <c:pt idx="1470">
                  <c:v>43802</c:v>
                </c:pt>
                <c:pt idx="1471">
                  <c:v>43801</c:v>
                </c:pt>
                <c:pt idx="1472">
                  <c:v>43798</c:v>
                </c:pt>
                <c:pt idx="1473">
                  <c:v>43797</c:v>
                </c:pt>
                <c:pt idx="1474">
                  <c:v>43796</c:v>
                </c:pt>
                <c:pt idx="1475">
                  <c:v>43795</c:v>
                </c:pt>
                <c:pt idx="1476">
                  <c:v>43794</c:v>
                </c:pt>
                <c:pt idx="1477">
                  <c:v>43791</c:v>
                </c:pt>
                <c:pt idx="1478">
                  <c:v>43790</c:v>
                </c:pt>
                <c:pt idx="1479">
                  <c:v>43789</c:v>
                </c:pt>
                <c:pt idx="1480">
                  <c:v>43788</c:v>
                </c:pt>
                <c:pt idx="1481">
                  <c:v>43787</c:v>
                </c:pt>
                <c:pt idx="1482">
                  <c:v>43784</c:v>
                </c:pt>
                <c:pt idx="1483">
                  <c:v>43783</c:v>
                </c:pt>
                <c:pt idx="1484">
                  <c:v>43782</c:v>
                </c:pt>
                <c:pt idx="1485">
                  <c:v>43780</c:v>
                </c:pt>
                <c:pt idx="1486">
                  <c:v>43777</c:v>
                </c:pt>
                <c:pt idx="1487">
                  <c:v>43776</c:v>
                </c:pt>
                <c:pt idx="1488">
                  <c:v>43775</c:v>
                </c:pt>
                <c:pt idx="1489">
                  <c:v>43774</c:v>
                </c:pt>
                <c:pt idx="1490">
                  <c:v>43773</c:v>
                </c:pt>
                <c:pt idx="1491">
                  <c:v>43770</c:v>
                </c:pt>
                <c:pt idx="1492">
                  <c:v>43769</c:v>
                </c:pt>
                <c:pt idx="1493">
                  <c:v>43768</c:v>
                </c:pt>
                <c:pt idx="1494">
                  <c:v>43767</c:v>
                </c:pt>
                <c:pt idx="1495">
                  <c:v>43765</c:v>
                </c:pt>
                <c:pt idx="1496">
                  <c:v>43763</c:v>
                </c:pt>
                <c:pt idx="1497">
                  <c:v>43762</c:v>
                </c:pt>
                <c:pt idx="1498">
                  <c:v>43761</c:v>
                </c:pt>
                <c:pt idx="1499">
                  <c:v>43760</c:v>
                </c:pt>
                <c:pt idx="1500">
                  <c:v>43756</c:v>
                </c:pt>
                <c:pt idx="1501">
                  <c:v>43755</c:v>
                </c:pt>
                <c:pt idx="1502">
                  <c:v>43754</c:v>
                </c:pt>
                <c:pt idx="1503">
                  <c:v>43753</c:v>
                </c:pt>
                <c:pt idx="1504">
                  <c:v>43752</c:v>
                </c:pt>
                <c:pt idx="1505">
                  <c:v>43749</c:v>
                </c:pt>
                <c:pt idx="1506">
                  <c:v>43748</c:v>
                </c:pt>
                <c:pt idx="1507">
                  <c:v>43747</c:v>
                </c:pt>
                <c:pt idx="1508">
                  <c:v>43745</c:v>
                </c:pt>
                <c:pt idx="1509">
                  <c:v>43742</c:v>
                </c:pt>
                <c:pt idx="1510">
                  <c:v>43741</c:v>
                </c:pt>
                <c:pt idx="1511">
                  <c:v>43739</c:v>
                </c:pt>
                <c:pt idx="1512">
                  <c:v>43738</c:v>
                </c:pt>
                <c:pt idx="1513">
                  <c:v>43735</c:v>
                </c:pt>
                <c:pt idx="1514">
                  <c:v>43734</c:v>
                </c:pt>
                <c:pt idx="1515">
                  <c:v>43733</c:v>
                </c:pt>
                <c:pt idx="1516">
                  <c:v>43732</c:v>
                </c:pt>
                <c:pt idx="1517">
                  <c:v>43731</c:v>
                </c:pt>
                <c:pt idx="1518">
                  <c:v>43728</c:v>
                </c:pt>
                <c:pt idx="1519">
                  <c:v>43727</c:v>
                </c:pt>
                <c:pt idx="1520">
                  <c:v>43726</c:v>
                </c:pt>
                <c:pt idx="1521">
                  <c:v>43725</c:v>
                </c:pt>
                <c:pt idx="1522">
                  <c:v>43724</c:v>
                </c:pt>
                <c:pt idx="1523">
                  <c:v>43721</c:v>
                </c:pt>
                <c:pt idx="1524">
                  <c:v>43720</c:v>
                </c:pt>
                <c:pt idx="1525">
                  <c:v>43719</c:v>
                </c:pt>
                <c:pt idx="1526">
                  <c:v>43717</c:v>
                </c:pt>
                <c:pt idx="1527">
                  <c:v>43714</c:v>
                </c:pt>
                <c:pt idx="1528">
                  <c:v>43713</c:v>
                </c:pt>
                <c:pt idx="1529">
                  <c:v>43712</c:v>
                </c:pt>
                <c:pt idx="1530">
                  <c:v>43711</c:v>
                </c:pt>
                <c:pt idx="1531">
                  <c:v>43707</c:v>
                </c:pt>
                <c:pt idx="1532">
                  <c:v>43706</c:v>
                </c:pt>
                <c:pt idx="1533">
                  <c:v>43705</c:v>
                </c:pt>
                <c:pt idx="1534">
                  <c:v>43704</c:v>
                </c:pt>
                <c:pt idx="1535">
                  <c:v>43703</c:v>
                </c:pt>
                <c:pt idx="1536">
                  <c:v>43700</c:v>
                </c:pt>
                <c:pt idx="1537">
                  <c:v>43699</c:v>
                </c:pt>
                <c:pt idx="1538">
                  <c:v>43698</c:v>
                </c:pt>
                <c:pt idx="1539">
                  <c:v>43697</c:v>
                </c:pt>
                <c:pt idx="1540">
                  <c:v>43696</c:v>
                </c:pt>
                <c:pt idx="1541">
                  <c:v>43693</c:v>
                </c:pt>
                <c:pt idx="1542">
                  <c:v>43691</c:v>
                </c:pt>
                <c:pt idx="1543">
                  <c:v>43690</c:v>
                </c:pt>
                <c:pt idx="1544">
                  <c:v>43686</c:v>
                </c:pt>
                <c:pt idx="1545">
                  <c:v>43685</c:v>
                </c:pt>
                <c:pt idx="1546">
                  <c:v>43684</c:v>
                </c:pt>
                <c:pt idx="1547">
                  <c:v>43683</c:v>
                </c:pt>
                <c:pt idx="1548">
                  <c:v>43682</c:v>
                </c:pt>
                <c:pt idx="1549">
                  <c:v>43679</c:v>
                </c:pt>
                <c:pt idx="1550">
                  <c:v>43678</c:v>
                </c:pt>
                <c:pt idx="1551">
                  <c:v>43677</c:v>
                </c:pt>
                <c:pt idx="1552">
                  <c:v>43676</c:v>
                </c:pt>
                <c:pt idx="1553">
                  <c:v>43675</c:v>
                </c:pt>
                <c:pt idx="1554">
                  <c:v>43672</c:v>
                </c:pt>
                <c:pt idx="1555">
                  <c:v>43671</c:v>
                </c:pt>
                <c:pt idx="1556">
                  <c:v>43670</c:v>
                </c:pt>
                <c:pt idx="1557">
                  <c:v>43669</c:v>
                </c:pt>
                <c:pt idx="1558">
                  <c:v>43668</c:v>
                </c:pt>
                <c:pt idx="1559">
                  <c:v>43665</c:v>
                </c:pt>
                <c:pt idx="1560">
                  <c:v>43664</c:v>
                </c:pt>
                <c:pt idx="1561">
                  <c:v>43663</c:v>
                </c:pt>
                <c:pt idx="1562">
                  <c:v>43662</c:v>
                </c:pt>
                <c:pt idx="1563">
                  <c:v>43661</c:v>
                </c:pt>
                <c:pt idx="1564">
                  <c:v>43658</c:v>
                </c:pt>
                <c:pt idx="1565">
                  <c:v>43657</c:v>
                </c:pt>
                <c:pt idx="1566">
                  <c:v>43656</c:v>
                </c:pt>
                <c:pt idx="1567">
                  <c:v>43655</c:v>
                </c:pt>
                <c:pt idx="1568">
                  <c:v>43654</c:v>
                </c:pt>
                <c:pt idx="1569">
                  <c:v>43651</c:v>
                </c:pt>
                <c:pt idx="1570">
                  <c:v>43650</c:v>
                </c:pt>
                <c:pt idx="1571">
                  <c:v>43649</c:v>
                </c:pt>
                <c:pt idx="1572">
                  <c:v>43648</c:v>
                </c:pt>
                <c:pt idx="1573">
                  <c:v>43647</c:v>
                </c:pt>
                <c:pt idx="1574">
                  <c:v>43644</c:v>
                </c:pt>
                <c:pt idx="1575">
                  <c:v>43643</c:v>
                </c:pt>
                <c:pt idx="1576">
                  <c:v>43642</c:v>
                </c:pt>
                <c:pt idx="1577">
                  <c:v>43641</c:v>
                </c:pt>
                <c:pt idx="1578">
                  <c:v>43640</c:v>
                </c:pt>
                <c:pt idx="1579">
                  <c:v>43637</c:v>
                </c:pt>
                <c:pt idx="1580">
                  <c:v>43636</c:v>
                </c:pt>
                <c:pt idx="1581">
                  <c:v>43635</c:v>
                </c:pt>
                <c:pt idx="1582">
                  <c:v>43634</c:v>
                </c:pt>
                <c:pt idx="1583">
                  <c:v>43633</c:v>
                </c:pt>
                <c:pt idx="1584">
                  <c:v>43630</c:v>
                </c:pt>
                <c:pt idx="1585">
                  <c:v>43629</c:v>
                </c:pt>
                <c:pt idx="1586">
                  <c:v>43628</c:v>
                </c:pt>
                <c:pt idx="1587">
                  <c:v>43627</c:v>
                </c:pt>
                <c:pt idx="1588">
                  <c:v>43626</c:v>
                </c:pt>
                <c:pt idx="1589">
                  <c:v>43623</c:v>
                </c:pt>
                <c:pt idx="1590">
                  <c:v>43622</c:v>
                </c:pt>
                <c:pt idx="1591">
                  <c:v>43620</c:v>
                </c:pt>
                <c:pt idx="1592">
                  <c:v>43619</c:v>
                </c:pt>
                <c:pt idx="1593">
                  <c:v>43616</c:v>
                </c:pt>
                <c:pt idx="1594">
                  <c:v>43615</c:v>
                </c:pt>
                <c:pt idx="1595">
                  <c:v>43614</c:v>
                </c:pt>
                <c:pt idx="1596">
                  <c:v>43613</c:v>
                </c:pt>
                <c:pt idx="1597">
                  <c:v>43612</c:v>
                </c:pt>
                <c:pt idx="1598">
                  <c:v>43609</c:v>
                </c:pt>
                <c:pt idx="1599">
                  <c:v>43608</c:v>
                </c:pt>
                <c:pt idx="1600">
                  <c:v>43607</c:v>
                </c:pt>
                <c:pt idx="1601">
                  <c:v>43606</c:v>
                </c:pt>
                <c:pt idx="1602">
                  <c:v>43605</c:v>
                </c:pt>
                <c:pt idx="1603">
                  <c:v>43602</c:v>
                </c:pt>
                <c:pt idx="1604">
                  <c:v>43601</c:v>
                </c:pt>
                <c:pt idx="1605">
                  <c:v>43600</c:v>
                </c:pt>
                <c:pt idx="1606">
                  <c:v>43599</c:v>
                </c:pt>
                <c:pt idx="1607">
                  <c:v>43598</c:v>
                </c:pt>
                <c:pt idx="1608">
                  <c:v>43595</c:v>
                </c:pt>
                <c:pt idx="1609">
                  <c:v>43594</c:v>
                </c:pt>
                <c:pt idx="1610">
                  <c:v>43593</c:v>
                </c:pt>
                <c:pt idx="1611">
                  <c:v>43592</c:v>
                </c:pt>
                <c:pt idx="1612">
                  <c:v>43591</c:v>
                </c:pt>
                <c:pt idx="1613">
                  <c:v>43588</c:v>
                </c:pt>
                <c:pt idx="1614">
                  <c:v>43587</c:v>
                </c:pt>
                <c:pt idx="1615">
                  <c:v>43585</c:v>
                </c:pt>
                <c:pt idx="1616">
                  <c:v>43581</c:v>
                </c:pt>
                <c:pt idx="1617">
                  <c:v>43580</c:v>
                </c:pt>
                <c:pt idx="1618">
                  <c:v>43579</c:v>
                </c:pt>
                <c:pt idx="1619">
                  <c:v>43578</c:v>
                </c:pt>
                <c:pt idx="1620">
                  <c:v>43577</c:v>
                </c:pt>
                <c:pt idx="1621">
                  <c:v>43573</c:v>
                </c:pt>
                <c:pt idx="1622">
                  <c:v>43571</c:v>
                </c:pt>
                <c:pt idx="1623">
                  <c:v>43570</c:v>
                </c:pt>
                <c:pt idx="1624">
                  <c:v>43567</c:v>
                </c:pt>
                <c:pt idx="1625">
                  <c:v>43566</c:v>
                </c:pt>
                <c:pt idx="1626">
                  <c:v>43565</c:v>
                </c:pt>
                <c:pt idx="1627">
                  <c:v>43564</c:v>
                </c:pt>
                <c:pt idx="1628">
                  <c:v>43563</c:v>
                </c:pt>
                <c:pt idx="1629">
                  <c:v>43560</c:v>
                </c:pt>
                <c:pt idx="1630">
                  <c:v>43559</c:v>
                </c:pt>
                <c:pt idx="1631">
                  <c:v>43558</c:v>
                </c:pt>
                <c:pt idx="1632">
                  <c:v>43557</c:v>
                </c:pt>
                <c:pt idx="1633">
                  <c:v>43556</c:v>
                </c:pt>
              </c:numCache>
            </c:numRef>
          </c:cat>
          <c:val>
            <c:numRef>
              <c:f>Sheet1!$C$2:$C$1635</c:f>
              <c:numCache>
                <c:formatCode>_ * #,##0_ ;_ * \-#,##0_ ;_ * "-"??_ ;_ @_ </c:formatCode>
                <c:ptCount val="1634"/>
                <c:pt idx="0">
                  <c:v>244.26394580123034</c:v>
                </c:pt>
                <c:pt idx="1">
                  <c:v>243.51561726512722</c:v>
                </c:pt>
                <c:pt idx="2">
                  <c:v>245.0972044560788</c:v>
                </c:pt>
                <c:pt idx="3">
                  <c:v>243.87847561869083</c:v>
                </c:pt>
                <c:pt idx="4">
                  <c:v>244.22046342902627</c:v>
                </c:pt>
                <c:pt idx="5">
                  <c:v>242.47478307703884</c:v>
                </c:pt>
                <c:pt idx="6">
                  <c:v>243.38340415589147</c:v>
                </c:pt>
                <c:pt idx="7">
                  <c:v>243.17079787255108</c:v>
                </c:pt>
                <c:pt idx="8">
                  <c:v>243.00872444150508</c:v>
                </c:pt>
                <c:pt idx="9">
                  <c:v>241.25829178365922</c:v>
                </c:pt>
                <c:pt idx="10">
                  <c:v>240.24391209818265</c:v>
                </c:pt>
                <c:pt idx="11">
                  <c:v>237.94389506908664</c:v>
                </c:pt>
                <c:pt idx="12">
                  <c:v>236.05004178068901</c:v>
                </c:pt>
                <c:pt idx="13">
                  <c:v>238.12066104574492</c:v>
                </c:pt>
                <c:pt idx="14">
                  <c:v>238.63458332178257</c:v>
                </c:pt>
                <c:pt idx="15">
                  <c:v>237.70083442570362</c:v>
                </c:pt>
                <c:pt idx="16">
                  <c:v>236.23890633601178</c:v>
                </c:pt>
                <c:pt idx="17">
                  <c:v>236.83294456831243</c:v>
                </c:pt>
                <c:pt idx="18">
                  <c:v>236.60241813163094</c:v>
                </c:pt>
                <c:pt idx="19">
                  <c:v>234.85521308151394</c:v>
                </c:pt>
                <c:pt idx="20">
                  <c:v>234.35160726944386</c:v>
                </c:pt>
                <c:pt idx="21">
                  <c:v>232.57650222368312</c:v>
                </c:pt>
                <c:pt idx="22">
                  <c:v>230.7854571520223</c:v>
                </c:pt>
                <c:pt idx="23">
                  <c:v>230.92073945879156</c:v>
                </c:pt>
                <c:pt idx="24">
                  <c:v>233.28334831629763</c:v>
                </c:pt>
                <c:pt idx="25">
                  <c:v>235.08817507494783</c:v>
                </c:pt>
                <c:pt idx="26">
                  <c:v>236.04990317176814</c:v>
                </c:pt>
                <c:pt idx="27">
                  <c:v>236.29537957062917</c:v>
                </c:pt>
                <c:pt idx="28">
                  <c:v>237.44729890815773</c:v>
                </c:pt>
                <c:pt idx="29">
                  <c:v>238.00420975093957</c:v>
                </c:pt>
                <c:pt idx="30">
                  <c:v>237.34928259982811</c:v>
                </c:pt>
                <c:pt idx="31">
                  <c:v>236.3616544360795</c:v>
                </c:pt>
                <c:pt idx="32">
                  <c:v>234.68492212158773</c:v>
                </c:pt>
                <c:pt idx="33">
                  <c:v>235.09358082286175</c:v>
                </c:pt>
                <c:pt idx="34">
                  <c:v>234.16858409007202</c:v>
                </c:pt>
                <c:pt idx="35">
                  <c:v>233.75077720002059</c:v>
                </c:pt>
                <c:pt idx="36">
                  <c:v>232.60145182943975</c:v>
                </c:pt>
                <c:pt idx="37">
                  <c:v>231.67419775136727</c:v>
                </c:pt>
                <c:pt idx="38">
                  <c:v>231.38921781005823</c:v>
                </c:pt>
                <c:pt idx="39">
                  <c:v>231.36157523098188</c:v>
                </c:pt>
                <c:pt idx="40">
                  <c:v>231.41886031785006</c:v>
                </c:pt>
                <c:pt idx="41">
                  <c:v>230.28852436942842</c:v>
                </c:pt>
                <c:pt idx="42">
                  <c:v>230.36806608873346</c:v>
                </c:pt>
                <c:pt idx="43">
                  <c:v>228.44328320970737</c:v>
                </c:pt>
                <c:pt idx="44">
                  <c:v>229.08531973117792</c:v>
                </c:pt>
                <c:pt idx="45">
                  <c:v>230.91279914775313</c:v>
                </c:pt>
                <c:pt idx="46">
                  <c:v>233.16618417561355</c:v>
                </c:pt>
                <c:pt idx="47">
                  <c:v>232.06174829412021</c:v>
                </c:pt>
                <c:pt idx="48">
                  <c:v>234.08692363440511</c:v>
                </c:pt>
                <c:pt idx="49">
                  <c:v>233.9298599257848</c:v>
                </c:pt>
                <c:pt idx="50">
                  <c:v>233.06024735751993</c:v>
                </c:pt>
                <c:pt idx="51">
                  <c:v>231.7949261214452</c:v>
                </c:pt>
                <c:pt idx="52">
                  <c:v>229.0594592667984</c:v>
                </c:pt>
                <c:pt idx="53">
                  <c:v>229.12618956156018</c:v>
                </c:pt>
                <c:pt idx="54">
                  <c:v>227.95001366287931</c:v>
                </c:pt>
                <c:pt idx="55">
                  <c:v>228.68254200840369</c:v>
                </c:pt>
                <c:pt idx="56">
                  <c:v>226.60732884768464</c:v>
                </c:pt>
                <c:pt idx="57">
                  <c:v>228.74570807377162</c:v>
                </c:pt>
                <c:pt idx="58">
                  <c:v>228.61456423335403</c:v>
                </c:pt>
                <c:pt idx="59">
                  <c:v>229.46498936671566</c:v>
                </c:pt>
                <c:pt idx="60">
                  <c:v>229.93566565944184</c:v>
                </c:pt>
                <c:pt idx="61">
                  <c:v>227.97763644068132</c:v>
                </c:pt>
                <c:pt idx="62">
                  <c:v>229.98253527597035</c:v>
                </c:pt>
                <c:pt idx="63">
                  <c:v>230.90976955276844</c:v>
                </c:pt>
                <c:pt idx="64">
                  <c:v>230.75555722766316</c:v>
                </c:pt>
                <c:pt idx="65">
                  <c:v>229.3753291961871</c:v>
                </c:pt>
                <c:pt idx="66">
                  <c:v>231.18948235508435</c:v>
                </c:pt>
                <c:pt idx="67">
                  <c:v>233.42936291379712</c:v>
                </c:pt>
                <c:pt idx="68">
                  <c:v>235.00982143210737</c:v>
                </c:pt>
                <c:pt idx="69">
                  <c:v>233.2967141765244</c:v>
                </c:pt>
                <c:pt idx="70">
                  <c:v>233.7792514326222</c:v>
                </c:pt>
                <c:pt idx="71">
                  <c:v>233.42312551235796</c:v>
                </c:pt>
                <c:pt idx="72">
                  <c:v>234.48621633288317</c:v>
                </c:pt>
                <c:pt idx="73">
                  <c:v>235.32755268129057</c:v>
                </c:pt>
                <c:pt idx="74">
                  <c:v>235.20383431877673</c:v>
                </c:pt>
                <c:pt idx="75">
                  <c:v>234.13068445085128</c:v>
                </c:pt>
                <c:pt idx="76">
                  <c:v>234.85192606996188</c:v>
                </c:pt>
                <c:pt idx="77">
                  <c:v>236.95933610287159</c:v>
                </c:pt>
                <c:pt idx="78">
                  <c:v>238.05161400187717</c:v>
                </c:pt>
                <c:pt idx="79">
                  <c:v>238.52943855466538</c:v>
                </c:pt>
                <c:pt idx="80">
                  <c:v>238.1625209398477</c:v>
                </c:pt>
                <c:pt idx="81">
                  <c:v>238.05236645030473</c:v>
                </c:pt>
                <c:pt idx="82">
                  <c:v>237.58006645307691</c:v>
                </c:pt>
                <c:pt idx="83">
                  <c:v>238.17105528911839</c:v>
                </c:pt>
                <c:pt idx="84">
                  <c:v>238.75180686628988</c:v>
                </c:pt>
                <c:pt idx="85">
                  <c:v>238.46605467527891</c:v>
                </c:pt>
                <c:pt idx="86">
                  <c:v>239.31414325826009</c:v>
                </c:pt>
                <c:pt idx="87">
                  <c:v>238.36023666483177</c:v>
                </c:pt>
                <c:pt idx="88">
                  <c:v>235.65249159435902</c:v>
                </c:pt>
                <c:pt idx="89">
                  <c:v>233.65317671845358</c:v>
                </c:pt>
                <c:pt idx="90">
                  <c:v>233.12691824845845</c:v>
                </c:pt>
                <c:pt idx="91">
                  <c:v>234.27032303799075</c:v>
                </c:pt>
                <c:pt idx="92">
                  <c:v>231.37775287217485</c:v>
                </c:pt>
                <c:pt idx="93">
                  <c:v>231.69833550487309</c:v>
                </c:pt>
                <c:pt idx="94">
                  <c:v>232.31205620393726</c:v>
                </c:pt>
                <c:pt idx="95">
                  <c:v>233.25728983917404</c:v>
                </c:pt>
                <c:pt idx="96">
                  <c:v>231.09740642907778</c:v>
                </c:pt>
                <c:pt idx="97">
                  <c:v>232.50492061669087</c:v>
                </c:pt>
                <c:pt idx="98">
                  <c:v>234.89632052718915</c:v>
                </c:pt>
                <c:pt idx="99">
                  <c:v>234.50467112063333</c:v>
                </c:pt>
                <c:pt idx="100">
                  <c:v>234.34519165653504</c:v>
                </c:pt>
                <c:pt idx="101">
                  <c:v>233.09444415842603</c:v>
                </c:pt>
                <c:pt idx="102">
                  <c:v>230.90212626084616</c:v>
                </c:pt>
                <c:pt idx="103">
                  <c:v>229.8411739779572</c:v>
                </c:pt>
                <c:pt idx="104">
                  <c:v>229.16492085430619</c:v>
                </c:pt>
                <c:pt idx="105">
                  <c:v>230.93915464399291</c:v>
                </c:pt>
                <c:pt idx="106">
                  <c:v>231.23910434875589</c:v>
                </c:pt>
                <c:pt idx="107">
                  <c:v>232.23530646432405</c:v>
                </c:pt>
                <c:pt idx="108">
                  <c:v>231.47642262255999</c:v>
                </c:pt>
                <c:pt idx="109">
                  <c:v>232.20683223172242</c:v>
                </c:pt>
                <c:pt idx="110">
                  <c:v>233.7843799626944</c:v>
                </c:pt>
                <c:pt idx="111">
                  <c:v>232.37205406539965</c:v>
                </c:pt>
                <c:pt idx="112">
                  <c:v>230.11488699412692</c:v>
                </c:pt>
                <c:pt idx="113">
                  <c:v>232.17065530337533</c:v>
                </c:pt>
                <c:pt idx="114">
                  <c:v>230.90097778693038</c:v>
                </c:pt>
                <c:pt idx="115">
                  <c:v>233.39690862503909</c:v>
                </c:pt>
                <c:pt idx="116">
                  <c:v>234.07193406967673</c:v>
                </c:pt>
                <c:pt idx="117">
                  <c:v>234.54910518040938</c:v>
                </c:pt>
                <c:pt idx="118">
                  <c:v>230.78884316994643</c:v>
                </c:pt>
                <c:pt idx="119">
                  <c:v>229.7486624239136</c:v>
                </c:pt>
                <c:pt idx="120">
                  <c:v>232.84136407019153</c:v>
                </c:pt>
                <c:pt idx="121">
                  <c:v>224.35976539450078</c:v>
                </c:pt>
                <c:pt idx="122">
                  <c:v>226.54087577076461</c:v>
                </c:pt>
                <c:pt idx="123">
                  <c:v>227.95615205794647</c:v>
                </c:pt>
                <c:pt idx="124">
                  <c:v>227.79744484355012</c:v>
                </c:pt>
                <c:pt idx="125">
                  <c:v>228.65105798209174</c:v>
                </c:pt>
                <c:pt idx="126">
                  <c:v>227.34066904545975</c:v>
                </c:pt>
                <c:pt idx="127">
                  <c:v>227.26528559378082</c:v>
                </c:pt>
                <c:pt idx="128">
                  <c:v>227.59858064465027</c:v>
                </c:pt>
                <c:pt idx="129">
                  <c:v>227.45741735938125</c:v>
                </c:pt>
                <c:pt idx="130">
                  <c:v>224.80681876685586</c:v>
                </c:pt>
                <c:pt idx="131">
                  <c:v>226.82233108522865</c:v>
                </c:pt>
                <c:pt idx="132">
                  <c:v>227.56780946421711</c:v>
                </c:pt>
                <c:pt idx="133">
                  <c:v>225.43483598604408</c:v>
                </c:pt>
                <c:pt idx="134">
                  <c:v>225.36458106443732</c:v>
                </c:pt>
                <c:pt idx="135">
                  <c:v>222.89136228807686</c:v>
                </c:pt>
                <c:pt idx="136">
                  <c:v>219.29992594323369</c:v>
                </c:pt>
                <c:pt idx="137">
                  <c:v>218.31303042663825</c:v>
                </c:pt>
                <c:pt idx="138">
                  <c:v>213.98015516278628</c:v>
                </c:pt>
                <c:pt idx="139">
                  <c:v>209.93655671679031</c:v>
                </c:pt>
                <c:pt idx="140">
                  <c:v>211.26904387566384</c:v>
                </c:pt>
                <c:pt idx="141">
                  <c:v>207.61412464506213</c:v>
                </c:pt>
                <c:pt idx="142">
                  <c:v>214.065379847847</c:v>
                </c:pt>
                <c:pt idx="143">
                  <c:v>218.02547631965595</c:v>
                </c:pt>
                <c:pt idx="144">
                  <c:v>218.96661109108982</c:v>
                </c:pt>
                <c:pt idx="145">
                  <c:v>217.69247828790262</c:v>
                </c:pt>
                <c:pt idx="146">
                  <c:v>220.59778067316412</c:v>
                </c:pt>
                <c:pt idx="147">
                  <c:v>220.24359527779208</c:v>
                </c:pt>
                <c:pt idx="148">
                  <c:v>219.20967173447283</c:v>
                </c:pt>
                <c:pt idx="149">
                  <c:v>220.81502045471649</c:v>
                </c:pt>
                <c:pt idx="150">
                  <c:v>220.83523755588911</c:v>
                </c:pt>
                <c:pt idx="151">
                  <c:v>217.92726199858222</c:v>
                </c:pt>
                <c:pt idx="152">
                  <c:v>216.35185280524655</c:v>
                </c:pt>
                <c:pt idx="153">
                  <c:v>213.56547687409159</c:v>
                </c:pt>
                <c:pt idx="154">
                  <c:v>212.92239088507739</c:v>
                </c:pt>
                <c:pt idx="155">
                  <c:v>210.1321933079613</c:v>
                </c:pt>
                <c:pt idx="156">
                  <c:v>209.21889912834791</c:v>
                </c:pt>
                <c:pt idx="157">
                  <c:v>209.98972313858121</c:v>
                </c:pt>
                <c:pt idx="158">
                  <c:v>210.5485547049808</c:v>
                </c:pt>
                <c:pt idx="159">
                  <c:v>210.0917195030672</c:v>
                </c:pt>
                <c:pt idx="160">
                  <c:v>211.08358513953957</c:v>
                </c:pt>
                <c:pt idx="161">
                  <c:v>210.80020910145777</c:v>
                </c:pt>
                <c:pt idx="162">
                  <c:v>208.50563742282455</c:v>
                </c:pt>
                <c:pt idx="163">
                  <c:v>205.76345793615278</c:v>
                </c:pt>
                <c:pt idx="164">
                  <c:v>206.18926454106585</c:v>
                </c:pt>
                <c:pt idx="165">
                  <c:v>206.11213857723882</c:v>
                </c:pt>
                <c:pt idx="166">
                  <c:v>210.75072571670711</c:v>
                </c:pt>
                <c:pt idx="167">
                  <c:v>210.88986927198636</c:v>
                </c:pt>
                <c:pt idx="168">
                  <c:v>211.09182246969414</c:v>
                </c:pt>
                <c:pt idx="169">
                  <c:v>213.58264457900509</c:v>
                </c:pt>
                <c:pt idx="170">
                  <c:v>214.69989188504169</c:v>
                </c:pt>
                <c:pt idx="171">
                  <c:v>214.56338189925904</c:v>
                </c:pt>
                <c:pt idx="172">
                  <c:v>215.12575789377806</c:v>
                </c:pt>
                <c:pt idx="173">
                  <c:v>215.29436574537937</c:v>
                </c:pt>
                <c:pt idx="174">
                  <c:v>214.86800470478281</c:v>
                </c:pt>
                <c:pt idx="175">
                  <c:v>216.01849835055384</c:v>
                </c:pt>
                <c:pt idx="176">
                  <c:v>216.09899053103055</c:v>
                </c:pt>
                <c:pt idx="177">
                  <c:v>216.37834691040717</c:v>
                </c:pt>
                <c:pt idx="178">
                  <c:v>219.39552649608527</c:v>
                </c:pt>
                <c:pt idx="179">
                  <c:v>221.49196662297186</c:v>
                </c:pt>
                <c:pt idx="180">
                  <c:v>221.80613364276124</c:v>
                </c:pt>
                <c:pt idx="181">
                  <c:v>222.93324198345402</c:v>
                </c:pt>
                <c:pt idx="182">
                  <c:v>223.44102586442466</c:v>
                </c:pt>
                <c:pt idx="183">
                  <c:v>220.15310345373828</c:v>
                </c:pt>
                <c:pt idx="184">
                  <c:v>#N/A</c:v>
                </c:pt>
                <c:pt idx="185">
                  <c:v>221.46331417890056</c:v>
                </c:pt>
                <c:pt idx="186">
                  <c:v>218.9748880237932</c:v>
                </c:pt>
                <c:pt idx="187">
                  <c:v>218.12040362917759</c:v>
                </c:pt>
                <c:pt idx="188">
                  <c:v>215.47681468779331</c:v>
                </c:pt>
                <c:pt idx="189">
                  <c:v>214.84404516274668</c:v>
                </c:pt>
                <c:pt idx="190">
                  <c:v>217.71625961846905</c:v>
                </c:pt>
                <c:pt idx="191">
                  <c:v>218.74451999730704</c:v>
                </c:pt>
                <c:pt idx="192">
                  <c:v>218.22808295941928</c:v>
                </c:pt>
                <c:pt idx="193">
                  <c:v>216.946366268133</c:v>
                </c:pt>
                <c:pt idx="194">
                  <c:v>219.92045828069493</c:v>
                </c:pt>
                <c:pt idx="195">
                  <c:v>218.62074223096997</c:v>
                </c:pt>
                <c:pt idx="196">
                  <c:v>219.07036976899832</c:v>
                </c:pt>
                <c:pt idx="197">
                  <c:v>218.17095628274635</c:v>
                </c:pt>
                <c:pt idx="198">
                  <c:v>217.70740844880777</c:v>
                </c:pt>
                <c:pt idx="199">
                  <c:v>217.00214645814606</c:v>
                </c:pt>
                <c:pt idx="200">
                  <c:v>220.26157483495638</c:v>
                </c:pt>
                <c:pt idx="201">
                  <c:v>220.66316448126599</c:v>
                </c:pt>
                <c:pt idx="202">
                  <c:v>222.22190100154845</c:v>
                </c:pt>
                <c:pt idx="203">
                  <c:v>221.90987251939535</c:v>
                </c:pt>
                <c:pt idx="204">
                  <c:v>221.12918747450587</c:v>
                </c:pt>
                <c:pt idx="205">
                  <c:v>225.11340189854621</c:v>
                </c:pt>
                <c:pt idx="206">
                  <c:v>226.38450510674866</c:v>
                </c:pt>
                <c:pt idx="207">
                  <c:v>221.9352775544634</c:v>
                </c:pt>
                <c:pt idx="208">
                  <c:v>221.09057498940632</c:v>
                </c:pt>
                <c:pt idx="209">
                  <c:v>221.09768364691953</c:v>
                </c:pt>
                <c:pt idx="210">
                  <c:v>222.36930168825663</c:v>
                </c:pt>
                <c:pt idx="211">
                  <c:v>221.96587052342687</c:v>
                </c:pt>
                <c:pt idx="212">
                  <c:v>221.58192381261657</c:v>
                </c:pt>
                <c:pt idx="213">
                  <c:v>221.82641014775712</c:v>
                </c:pt>
                <c:pt idx="214">
                  <c:v>220.52410013108442</c:v>
                </c:pt>
                <c:pt idx="215">
                  <c:v>224.15008969977305</c:v>
                </c:pt>
                <c:pt idx="216">
                  <c:v>226.40222724734565</c:v>
                </c:pt>
                <c:pt idx="217">
                  <c:v>227.48462431042063</c:v>
                </c:pt>
                <c:pt idx="218">
                  <c:v>230.67183743945759</c:v>
                </c:pt>
                <c:pt idx="219">
                  <c:v>231.81726195897969</c:v>
                </c:pt>
                <c:pt idx="220">
                  <c:v>229.69610984162944</c:v>
                </c:pt>
                <c:pt idx="221">
                  <c:v>230.55841573963701</c:v>
                </c:pt>
                <c:pt idx="222">
                  <c:v>230.24628825111188</c:v>
                </c:pt>
                <c:pt idx="223">
                  <c:v>230.47855719994141</c:v>
                </c:pt>
                <c:pt idx="224">
                  <c:v>231.15086986998486</c:v>
                </c:pt>
                <c:pt idx="225">
                  <c:v>231.50277811879971</c:v>
                </c:pt>
                <c:pt idx="226">
                  <c:v>229.13779310836446</c:v>
                </c:pt>
                <c:pt idx="227">
                  <c:v>229.29050053661456</c:v>
                </c:pt>
                <c:pt idx="228">
                  <c:v>227.57273998154523</c:v>
                </c:pt>
                <c:pt idx="229">
                  <c:v>226.13698917662339</c:v>
                </c:pt>
                <c:pt idx="230">
                  <c:v>223.92659271550718</c:v>
                </c:pt>
                <c:pt idx="231">
                  <c:v>227.30118530428621</c:v>
                </c:pt>
                <c:pt idx="232">
                  <c:v>226.44541382683389</c:v>
                </c:pt>
                <c:pt idx="233">
                  <c:v>226.88480410599229</c:v>
                </c:pt>
                <c:pt idx="234">
                  <c:v>224.06017211267718</c:v>
                </c:pt>
                <c:pt idx="235">
                  <c:v>218.41801678356018</c:v>
                </c:pt>
                <c:pt idx="236">
                  <c:v>220.87438467539772</c:v>
                </c:pt>
                <c:pt idx="237">
                  <c:v>220.63991778510865</c:v>
                </c:pt>
                <c:pt idx="238">
                  <c:v>221.62051649644172</c:v>
                </c:pt>
                <c:pt idx="239">
                  <c:v>222.06519371586757</c:v>
                </c:pt>
                <c:pt idx="240">
                  <c:v>225.00407906252846</c:v>
                </c:pt>
                <c:pt idx="241">
                  <c:v>227.34035222506921</c:v>
                </c:pt>
                <c:pt idx="242">
                  <c:v>227.64986594537226</c:v>
                </c:pt>
                <c:pt idx="243">
                  <c:v>228.24845847078717</c:v>
                </c:pt>
                <c:pt idx="244">
                  <c:v>230.84214820065819</c:v>
                </c:pt>
                <c:pt idx="245">
                  <c:v>227.7723170263238</c:v>
                </c:pt>
                <c:pt idx="246">
                  <c:v>226.07582303997086</c:v>
                </c:pt>
                <c:pt idx="247">
                  <c:v>229.13153590565091</c:v>
                </c:pt>
                <c:pt idx="248">
                  <c:v>228.1307002918708</c:v>
                </c:pt>
                <c:pt idx="249">
                  <c:v>229.83634246700117</c:v>
                </c:pt>
                <c:pt idx="250">
                  <c:v>230.52200119599698</c:v>
                </c:pt>
                <c:pt idx="251">
                  <c:v>229.54866955237239</c:v>
                </c:pt>
                <c:pt idx="252">
                  <c:v>227.90401530242485</c:v>
                </c:pt>
                <c:pt idx="253">
                  <c:v>230.13623276794095</c:v>
                </c:pt>
                <c:pt idx="254">
                  <c:v>230.72017235029247</c:v>
                </c:pt>
                <c:pt idx="255">
                  <c:v>230.93986748987163</c:v>
                </c:pt>
                <c:pt idx="256">
                  <c:v>234.21808727609709</c:v>
                </c:pt>
                <c:pt idx="257">
                  <c:v>235.34834401942112</c:v>
                </c:pt>
                <c:pt idx="258">
                  <c:v>234.45544515245001</c:v>
                </c:pt>
                <c:pt idx="259">
                  <c:v>236.70593919424653</c:v>
                </c:pt>
                <c:pt idx="260">
                  <c:v>237.38920196903871</c:v>
                </c:pt>
                <c:pt idx="261">
                  <c:v>238.33215845771835</c:v>
                </c:pt>
                <c:pt idx="262">
                  <c:v>237.3091850191478</c:v>
                </c:pt>
                <c:pt idx="263">
                  <c:v>237.52509811531471</c:v>
                </c:pt>
                <c:pt idx="264">
                  <c:v>237.56557192020878</c:v>
                </c:pt>
                <c:pt idx="265">
                  <c:v>237.7633866515649</c:v>
                </c:pt>
                <c:pt idx="266">
                  <c:v>235.90309652329222</c:v>
                </c:pt>
                <c:pt idx="267">
                  <c:v>238.0042691547628</c:v>
                </c:pt>
                <c:pt idx="268">
                  <c:v>240.10183795429074</c:v>
                </c:pt>
                <c:pt idx="269">
                  <c:v>245.18058762261941</c:v>
                </c:pt>
                <c:pt idx="270">
                  <c:v>245.34618568051042</c:v>
                </c:pt>
                <c:pt idx="271">
                  <c:v>246.57091430404461</c:v>
                </c:pt>
                <c:pt idx="272">
                  <c:v>246.36963434966677</c:v>
                </c:pt>
                <c:pt idx="273">
                  <c:v>244.18076187383423</c:v>
                </c:pt>
                <c:pt idx="274">
                  <c:v>243.73701531430564</c:v>
                </c:pt>
                <c:pt idx="275">
                  <c:v>243.74760899611499</c:v>
                </c:pt>
                <c:pt idx="276">
                  <c:v>242.14705218427858</c:v>
                </c:pt>
                <c:pt idx="277">
                  <c:v>239.0354997247623</c:v>
                </c:pt>
                <c:pt idx="278">
                  <c:v>238.91243480430398</c:v>
                </c:pt>
                <c:pt idx="279">
                  <c:v>239.97025848583613</c:v>
                </c:pt>
                <c:pt idx="280">
                  <c:v>239.70018890415784</c:v>
                </c:pt>
                <c:pt idx="281">
                  <c:v>239.80111599982575</c:v>
                </c:pt>
                <c:pt idx="282">
                  <c:v>240.06457195585108</c:v>
                </c:pt>
                <c:pt idx="283">
                  <c:v>235.57815761022377</c:v>
                </c:pt>
                <c:pt idx="284">
                  <c:v>236.82951894783949</c:v>
                </c:pt>
                <c:pt idx="285">
                  <c:v>235.27630698311742</c:v>
                </c:pt>
                <c:pt idx="286">
                  <c:v>234.86733146145284</c:v>
                </c:pt>
                <c:pt idx="287">
                  <c:v>237.45418975165239</c:v>
                </c:pt>
                <c:pt idx="288">
                  <c:v>238.07668241528023</c:v>
                </c:pt>
                <c:pt idx="289">
                  <c:v>238.82736852943856</c:v>
                </c:pt>
                <c:pt idx="290">
                  <c:v>239.02973755390894</c:v>
                </c:pt>
                <c:pt idx="291">
                  <c:v>238.55771477452291</c:v>
                </c:pt>
                <c:pt idx="292">
                  <c:v>237.63612386093169</c:v>
                </c:pt>
                <c:pt idx="293">
                  <c:v>236.46371020438878</c:v>
                </c:pt>
                <c:pt idx="294">
                  <c:v>236.09514908379504</c:v>
                </c:pt>
                <c:pt idx="295">
                  <c:v>236.26288567932235</c:v>
                </c:pt>
                <c:pt idx="296">
                  <c:v>234.4684743910118</c:v>
                </c:pt>
                <c:pt idx="297">
                  <c:v>234.40162528860355</c:v>
                </c:pt>
                <c:pt idx="298">
                  <c:v>234.29711416226749</c:v>
                </c:pt>
                <c:pt idx="299">
                  <c:v>233.37819642072165</c:v>
                </c:pt>
                <c:pt idx="300">
                  <c:v>232.19958496528838</c:v>
                </c:pt>
                <c:pt idx="301">
                  <c:v>231.51996562498763</c:v>
                </c:pt>
                <c:pt idx="302">
                  <c:v>227.75162469456535</c:v>
                </c:pt>
                <c:pt idx="303">
                  <c:v>227.67103350771657</c:v>
                </c:pt>
                <c:pt idx="304">
                  <c:v>229.31913317941141</c:v>
                </c:pt>
                <c:pt idx="305">
                  <c:v>229.84850044948894</c:v>
                </c:pt>
                <c:pt idx="306">
                  <c:v>227.37316293676662</c:v>
                </c:pt>
                <c:pt idx="307">
                  <c:v>229.35960698430554</c:v>
                </c:pt>
                <c:pt idx="308">
                  <c:v>226.29690426875874</c:v>
                </c:pt>
                <c:pt idx="309">
                  <c:v>226.73047297324052</c:v>
                </c:pt>
                <c:pt idx="310">
                  <c:v>233.12234415406974</c:v>
                </c:pt>
                <c:pt idx="311">
                  <c:v>236.37565393708738</c:v>
                </c:pt>
                <c:pt idx="312">
                  <c:v>235.57306868270041</c:v>
                </c:pt>
                <c:pt idx="313">
                  <c:v>234.50556217798177</c:v>
                </c:pt>
                <c:pt idx="314">
                  <c:v>234.33253864218702</c:v>
                </c:pt>
                <c:pt idx="315">
                  <c:v>234.2042857878333</c:v>
                </c:pt>
                <c:pt idx="316">
                  <c:v>229.95065522417022</c:v>
                </c:pt>
                <c:pt idx="317">
                  <c:v>229.66957613391997</c:v>
                </c:pt>
                <c:pt idx="318">
                  <c:v>230.16274667437594</c:v>
                </c:pt>
                <c:pt idx="319">
                  <c:v>230.24731791738117</c:v>
                </c:pt>
                <c:pt idx="320">
                  <c:v>230.93764974713773</c:v>
                </c:pt>
                <c:pt idx="321">
                  <c:v>233.96720512932214</c:v>
                </c:pt>
                <c:pt idx="322">
                  <c:v>231.88620999647534</c:v>
                </c:pt>
                <c:pt idx="323">
                  <c:v>231.55705341195758</c:v>
                </c:pt>
                <c:pt idx="324">
                  <c:v>230.53738678621357</c:v>
                </c:pt>
                <c:pt idx="325">
                  <c:v>228.27113092998667</c:v>
                </c:pt>
                <c:pt idx="326">
                  <c:v>228.27287344213474</c:v>
                </c:pt>
                <c:pt idx="327">
                  <c:v>229.18153412353618</c:v>
                </c:pt>
                <c:pt idx="328">
                  <c:v>228.22378608287229</c:v>
                </c:pt>
                <c:pt idx="329">
                  <c:v>228.25631957672795</c:v>
                </c:pt>
                <c:pt idx="330">
                  <c:v>227.31112554404001</c:v>
                </c:pt>
                <c:pt idx="331">
                  <c:v>227.06343140244508</c:v>
                </c:pt>
                <c:pt idx="332">
                  <c:v>225.97111390089063</c:v>
                </c:pt>
                <c:pt idx="333">
                  <c:v>226.2685884463524</c:v>
                </c:pt>
                <c:pt idx="334">
                  <c:v>225.04714683437027</c:v>
                </c:pt>
                <c:pt idx="335">
                  <c:v>224.96382307165291</c:v>
                </c:pt>
                <c:pt idx="336">
                  <c:v>222.99589321568737</c:v>
                </c:pt>
                <c:pt idx="337">
                  <c:v>221.42040481725402</c:v>
                </c:pt>
                <c:pt idx="338">
                  <c:v>220.34739355824939</c:v>
                </c:pt>
                <c:pt idx="339">
                  <c:v>220.13251012835187</c:v>
                </c:pt>
                <c:pt idx="340">
                  <c:v>220.85981093743192</c:v>
                </c:pt>
                <c:pt idx="341">
                  <c:v>220.59613716738809</c:v>
                </c:pt>
                <c:pt idx="342">
                  <c:v>221.83478608683257</c:v>
                </c:pt>
                <c:pt idx="343">
                  <c:v>221.1243361622754</c:v>
                </c:pt>
                <c:pt idx="344">
                  <c:v>220.66072892451359</c:v>
                </c:pt>
                <c:pt idx="345">
                  <c:v>219.8721431711345</c:v>
                </c:pt>
                <c:pt idx="346">
                  <c:v>219.28949067161963</c:v>
                </c:pt>
                <c:pt idx="347">
                  <c:v>219.12015017286515</c:v>
                </c:pt>
                <c:pt idx="348">
                  <c:v>219.33679591618517</c:v>
                </c:pt>
                <c:pt idx="349">
                  <c:v>214.73264319291593</c:v>
                </c:pt>
                <c:pt idx="350">
                  <c:v>212.55693856456602</c:v>
                </c:pt>
                <c:pt idx="351">
                  <c:v>205.95133242775506</c:v>
                </c:pt>
                <c:pt idx="352">
                  <c:v>218.9689080389214</c:v>
                </c:pt>
                <c:pt idx="353">
                  <c:v>211.98846377752872</c:v>
                </c:pt>
                <c:pt idx="354">
                  <c:v>211.68397958092581</c:v>
                </c:pt>
                <c:pt idx="355">
                  <c:v>214.253868178956</c:v>
                </c:pt>
                <c:pt idx="356">
                  <c:v>215.71914268402313</c:v>
                </c:pt>
                <c:pt idx="357">
                  <c:v>216.24789611459394</c:v>
                </c:pt>
                <c:pt idx="358">
                  <c:v>216.76215501229657</c:v>
                </c:pt>
                <c:pt idx="359">
                  <c:v>217.14976495887277</c:v>
                </c:pt>
                <c:pt idx="360">
                  <c:v>213.7614302856532</c:v>
                </c:pt>
                <c:pt idx="361">
                  <c:v>212.97549790304501</c:v>
                </c:pt>
                <c:pt idx="362">
                  <c:v>#N/A</c:v>
                </c:pt>
                <c:pt idx="363">
                  <c:v>212.07255978994809</c:v>
                </c:pt>
                <c:pt idx="364">
                  <c:v>211.72578007120541</c:v>
                </c:pt>
                <c:pt idx="365">
                  <c:v>210.04583995025919</c:v>
                </c:pt>
                <c:pt idx="366">
                  <c:v>210.12900530278128</c:v>
                </c:pt>
                <c:pt idx="367">
                  <c:v>208.93948334514812</c:v>
                </c:pt>
                <c:pt idx="368">
                  <c:v>208.57573393423601</c:v>
                </c:pt>
                <c:pt idx="369">
                  <c:v>207.4382101232035</c:v>
                </c:pt>
                <c:pt idx="370">
                  <c:v>210.58510785754171</c:v>
                </c:pt>
                <c:pt idx="371">
                  <c:v>210.30454360042614</c:v>
                </c:pt>
                <c:pt idx="372">
                  <c:v>211.33335841494758</c:v>
                </c:pt>
                <c:pt idx="373">
                  <c:v>211.87446784075021</c:v>
                </c:pt>
                <c:pt idx="374">
                  <c:v>213.51526084218779</c:v>
                </c:pt>
                <c:pt idx="375">
                  <c:v>212.9377170714707</c:v>
                </c:pt>
                <c:pt idx="376">
                  <c:v>213.25532951300747</c:v>
                </c:pt>
                <c:pt idx="377">
                  <c:v>211.64491166651484</c:v>
                </c:pt>
                <c:pt idx="378">
                  <c:v>213.20877671686952</c:v>
                </c:pt>
                <c:pt idx="379">
                  <c:v>211.53972729684884</c:v>
                </c:pt>
                <c:pt idx="380">
                  <c:v>211.41818707452012</c:v>
                </c:pt>
                <c:pt idx="381">
                  <c:v>211.02382489337015</c:v>
                </c:pt>
                <c:pt idx="382">
                  <c:v>209.12884293233111</c:v>
                </c:pt>
                <c:pt idx="383">
                  <c:v>208.00929867846295</c:v>
                </c:pt>
                <c:pt idx="384">
                  <c:v>209.42423834397979</c:v>
                </c:pt>
                <c:pt idx="385">
                  <c:v>210.64397704636269</c:v>
                </c:pt>
                <c:pt idx="386">
                  <c:v>212.71225976103821</c:v>
                </c:pt>
                <c:pt idx="387">
                  <c:v>214.81937277483181</c:v>
                </c:pt>
                <c:pt idx="388">
                  <c:v>213.51143919622669</c:v>
                </c:pt>
                <c:pt idx="389">
                  <c:v>214.07743882396269</c:v>
                </c:pt>
                <c:pt idx="390">
                  <c:v>212.71455670886979</c:v>
                </c:pt>
                <c:pt idx="391">
                  <c:v>212.9976951316587</c:v>
                </c:pt>
                <c:pt idx="392">
                  <c:v>212.57588838417641</c:v>
                </c:pt>
                <c:pt idx="393">
                  <c:v>212.67984507482902</c:v>
                </c:pt>
                <c:pt idx="394">
                  <c:v>212.62513415363412</c:v>
                </c:pt>
                <c:pt idx="395">
                  <c:v>211.38880198329565</c:v>
                </c:pt>
                <c:pt idx="396">
                  <c:v>208.66553271368545</c:v>
                </c:pt>
                <c:pt idx="397">
                  <c:v>207.71901199561205</c:v>
                </c:pt>
                <c:pt idx="398">
                  <c:v>208.51953791746038</c:v>
                </c:pt>
                <c:pt idx="399">
                  <c:v>207.77312887857465</c:v>
                </c:pt>
                <c:pt idx="400">
                  <c:v>206.15421628536015</c:v>
                </c:pt>
                <c:pt idx="401">
                  <c:v>205.6860943570328</c:v>
                </c:pt>
                <c:pt idx="402">
                  <c:v>208.37968151630238</c:v>
                </c:pt>
                <c:pt idx="403">
                  <c:v>208.15089759176902</c:v>
                </c:pt>
                <c:pt idx="404">
                  <c:v>209.13533775033758</c:v>
                </c:pt>
                <c:pt idx="405">
                  <c:v>207.29090844286739</c:v>
                </c:pt>
                <c:pt idx="406">
                  <c:v>211.31046814172961</c:v>
                </c:pt>
                <c:pt idx="407">
                  <c:v>211.48873901524303</c:v>
                </c:pt>
                <c:pt idx="408">
                  <c:v>212.78063356157602</c:v>
                </c:pt>
                <c:pt idx="409">
                  <c:v>212.43613098939048</c:v>
                </c:pt>
                <c:pt idx="410">
                  <c:v>211.49749117853224</c:v>
                </c:pt>
                <c:pt idx="411">
                  <c:v>212.05036256133445</c:v>
                </c:pt>
                <c:pt idx="412">
                  <c:v>#N/A</c:v>
                </c:pt>
                <c:pt idx="413">
                  <c:v>211.34191256549272</c:v>
                </c:pt>
                <c:pt idx="414">
                  <c:v>208.36255341393772</c:v>
                </c:pt>
                <c:pt idx="415">
                  <c:v>208.04272322966705</c:v>
                </c:pt>
                <c:pt idx="416">
                  <c:v>210.43265784585893</c:v>
                </c:pt>
                <c:pt idx="417">
                  <c:v>209.57948033535439</c:v>
                </c:pt>
                <c:pt idx="418">
                  <c:v>210.51267479574983</c:v>
                </c:pt>
                <c:pt idx="419">
                  <c:v>210.61732453100683</c:v>
                </c:pt>
                <c:pt idx="420">
                  <c:v>208.81839855213082</c:v>
                </c:pt>
                <c:pt idx="421">
                  <c:v>210.19232977834452</c:v>
                </c:pt>
                <c:pt idx="422">
                  <c:v>210.01766273677376</c:v>
                </c:pt>
                <c:pt idx="423">
                  <c:v>209.28091671980008</c:v>
                </c:pt>
                <c:pt idx="424">
                  <c:v>208.07353401264908</c:v>
                </c:pt>
                <c:pt idx="425">
                  <c:v>207.6355892265226</c:v>
                </c:pt>
                <c:pt idx="426">
                  <c:v>206.52376746967437</c:v>
                </c:pt>
                <c:pt idx="427">
                  <c:v>205.37311541370804</c:v>
                </c:pt>
                <c:pt idx="428">
                  <c:v>206.9022886312963</c:v>
                </c:pt>
                <c:pt idx="429">
                  <c:v>206.31623031258292</c:v>
                </c:pt>
                <c:pt idx="430">
                  <c:v>207.56753224637538</c:v>
                </c:pt>
                <c:pt idx="431">
                  <c:v>207.32001631625013</c:v>
                </c:pt>
                <c:pt idx="432">
                  <c:v>205.29890023721927</c:v>
                </c:pt>
                <c:pt idx="433">
                  <c:v>206.07156576597271</c:v>
                </c:pt>
                <c:pt idx="434">
                  <c:v>203.91651386683245</c:v>
                </c:pt>
                <c:pt idx="435">
                  <c:v>204.13050623938159</c:v>
                </c:pt>
                <c:pt idx="436">
                  <c:v>202.02283878990451</c:v>
                </c:pt>
                <c:pt idx="437">
                  <c:v>204.07448843407562</c:v>
                </c:pt>
                <c:pt idx="438">
                  <c:v>200.12423319564849</c:v>
                </c:pt>
                <c:pt idx="439">
                  <c:v>201.01158770578476</c:v>
                </c:pt>
                <c:pt idx="440">
                  <c:v>198.81776491134971</c:v>
                </c:pt>
                <c:pt idx="441">
                  <c:v>#N/A</c:v>
                </c:pt>
                <c:pt idx="442">
                  <c:v>202.79247472367322</c:v>
                </c:pt>
                <c:pt idx="443">
                  <c:v>201.14578094246144</c:v>
                </c:pt>
                <c:pt idx="444">
                  <c:v>202.10758824437943</c:v>
                </c:pt>
                <c:pt idx="445">
                  <c:v>205.25365432519237</c:v>
                </c:pt>
                <c:pt idx="446">
                  <c:v>206.12611827697231</c:v>
                </c:pt>
                <c:pt idx="447">
                  <c:v>204.26339259194722</c:v>
                </c:pt>
                <c:pt idx="448">
                  <c:v>201.79563896732392</c:v>
                </c:pt>
                <c:pt idx="449">
                  <c:v>201.38003001873201</c:v>
                </c:pt>
                <c:pt idx="450">
                  <c:v>200.6431651941119</c:v>
                </c:pt>
                <c:pt idx="451">
                  <c:v>200.17367697785028</c:v>
                </c:pt>
                <c:pt idx="452">
                  <c:v>201.94125753933525</c:v>
                </c:pt>
                <c:pt idx="453">
                  <c:v>201.3061118613594</c:v>
                </c:pt>
                <c:pt idx="454">
                  <c:v>200.19793353900255</c:v>
                </c:pt>
                <c:pt idx="455">
                  <c:v>201.60582395082946</c:v>
                </c:pt>
                <c:pt idx="456">
                  <c:v>202.21417850452858</c:v>
                </c:pt>
                <c:pt idx="457">
                  <c:v>201.95616789896599</c:v>
                </c:pt>
                <c:pt idx="458">
                  <c:v>202.26817657984469</c:v>
                </c:pt>
                <c:pt idx="459">
                  <c:v>201.08726817657984</c:v>
                </c:pt>
                <c:pt idx="460">
                  <c:v>199.24329429842103</c:v>
                </c:pt>
                <c:pt idx="461">
                  <c:v>198.42700656214234</c:v>
                </c:pt>
                <c:pt idx="462">
                  <c:v>197.0239674625459</c:v>
                </c:pt>
                <c:pt idx="463">
                  <c:v>196.16673069078726</c:v>
                </c:pt>
                <c:pt idx="464">
                  <c:v>199.29553006031469</c:v>
                </c:pt>
                <c:pt idx="465">
                  <c:v>198.96160136866411</c:v>
                </c:pt>
                <c:pt idx="466">
                  <c:v>199.06947871164988</c:v>
                </c:pt>
                <c:pt idx="467">
                  <c:v>196.11241579508055</c:v>
                </c:pt>
                <c:pt idx="468">
                  <c:v>193.82410131916089</c:v>
                </c:pt>
                <c:pt idx="469">
                  <c:v>193.71814469979287</c:v>
                </c:pt>
                <c:pt idx="470">
                  <c:v>194.40794189514037</c:v>
                </c:pt>
                <c:pt idx="471">
                  <c:v>194.02458922256235</c:v>
                </c:pt>
                <c:pt idx="472">
                  <c:v>193.68652206456008</c:v>
                </c:pt>
                <c:pt idx="473">
                  <c:v>193.95645303731749</c:v>
                </c:pt>
                <c:pt idx="474">
                  <c:v>193.0779496968425</c:v>
                </c:pt>
                <c:pt idx="475">
                  <c:v>191.30508219509008</c:v>
                </c:pt>
                <c:pt idx="476">
                  <c:v>187.9034608667414</c:v>
                </c:pt>
                <c:pt idx="477">
                  <c:v>186.71055289118408</c:v>
                </c:pt>
                <c:pt idx="478">
                  <c:v>186.33601178571851</c:v>
                </c:pt>
                <c:pt idx="479">
                  <c:v>184.74450415628749</c:v>
                </c:pt>
                <c:pt idx="480">
                  <c:v>183.47514346023311</c:v>
                </c:pt>
                <c:pt idx="481">
                  <c:v>183.80584454415487</c:v>
                </c:pt>
                <c:pt idx="482">
                  <c:v>183.94102784455208</c:v>
                </c:pt>
                <c:pt idx="483">
                  <c:v>183.5980697717705</c:v>
                </c:pt>
                <c:pt idx="484">
                  <c:v>182.99581401058973</c:v>
                </c:pt>
                <c:pt idx="485">
                  <c:v>183.32249543580625</c:v>
                </c:pt>
                <c:pt idx="486">
                  <c:v>183.53199291906429</c:v>
                </c:pt>
                <c:pt idx="487">
                  <c:v>182.42345817376807</c:v>
                </c:pt>
                <c:pt idx="488">
                  <c:v>180.14349983564941</c:v>
                </c:pt>
                <c:pt idx="489">
                  <c:v>#N/A</c:v>
                </c:pt>
                <c:pt idx="490">
                  <c:v>179.89651853993323</c:v>
                </c:pt>
                <c:pt idx="491">
                  <c:v>179.64137911916012</c:v>
                </c:pt>
                <c:pt idx="492">
                  <c:v>180.26785183894435</c:v>
                </c:pt>
                <c:pt idx="493">
                  <c:v>179.75264248007002</c:v>
                </c:pt>
                <c:pt idx="494">
                  <c:v>179.80996716948704</c:v>
                </c:pt>
                <c:pt idx="495">
                  <c:v>178.22855819000512</c:v>
                </c:pt>
                <c:pt idx="496">
                  <c:v>177.42771544776622</c:v>
                </c:pt>
                <c:pt idx="497">
                  <c:v>176.07156576597271</c:v>
                </c:pt>
                <c:pt idx="498">
                  <c:v>177.01101742908173</c:v>
                </c:pt>
                <c:pt idx="499">
                  <c:v>177.44694248521836</c:v>
                </c:pt>
                <c:pt idx="500">
                  <c:v>176.5718647652163</c:v>
                </c:pt>
                <c:pt idx="501">
                  <c:v>174.71543588545359</c:v>
                </c:pt>
                <c:pt idx="502">
                  <c:v>177.26215699242402</c:v>
                </c:pt>
                <c:pt idx="503">
                  <c:v>178.54870519466633</c:v>
                </c:pt>
                <c:pt idx="504">
                  <c:v>181.18435382501218</c:v>
                </c:pt>
                <c:pt idx="505">
                  <c:v>181.91379317172854</c:v>
                </c:pt>
                <c:pt idx="506">
                  <c:v>182.2694438614069</c:v>
                </c:pt>
                <c:pt idx="507">
                  <c:v>183.47249008946216</c:v>
                </c:pt>
                <c:pt idx="508">
                  <c:v>182.79366280013784</c:v>
                </c:pt>
                <c:pt idx="509">
                  <c:v>183.10250327711091</c:v>
                </c:pt>
                <c:pt idx="510">
                  <c:v>183.17626302428823</c:v>
                </c:pt>
                <c:pt idx="511">
                  <c:v>183.47864828580367</c:v>
                </c:pt>
                <c:pt idx="512">
                  <c:v>182.4472395043345</c:v>
                </c:pt>
                <c:pt idx="513">
                  <c:v>180.85014791551984</c:v>
                </c:pt>
                <c:pt idx="514">
                  <c:v>182.02862076203223</c:v>
                </c:pt>
                <c:pt idx="515">
                  <c:v>180.91172987893501</c:v>
                </c:pt>
                <c:pt idx="516">
                  <c:v>179.96408048822022</c:v>
                </c:pt>
                <c:pt idx="517">
                  <c:v>180.76674494770484</c:v>
                </c:pt>
                <c:pt idx="518">
                  <c:v>181.70294920181064</c:v>
                </c:pt>
                <c:pt idx="519">
                  <c:v>180.71039052073391</c:v>
                </c:pt>
                <c:pt idx="520">
                  <c:v>182.73507082915856</c:v>
                </c:pt>
                <c:pt idx="521">
                  <c:v>182.16374465860622</c:v>
                </c:pt>
                <c:pt idx="522">
                  <c:v>182.1394088923563</c:v>
                </c:pt>
                <c:pt idx="523">
                  <c:v>182.11798391344468</c:v>
                </c:pt>
                <c:pt idx="524">
                  <c:v>182.543077672479</c:v>
                </c:pt>
                <c:pt idx="525">
                  <c:v>183.88249527739606</c:v>
                </c:pt>
                <c:pt idx="526">
                  <c:v>185.70336106831834</c:v>
                </c:pt>
                <c:pt idx="527">
                  <c:v>185.94972852452784</c:v>
                </c:pt>
                <c:pt idx="528">
                  <c:v>185.14706406504322</c:v>
                </c:pt>
                <c:pt idx="529">
                  <c:v>184.85347056936584</c:v>
                </c:pt>
                <c:pt idx="530">
                  <c:v>184.08266636040696</c:v>
                </c:pt>
                <c:pt idx="531">
                  <c:v>184.30873751034619</c:v>
                </c:pt>
                <c:pt idx="532">
                  <c:v>182.535157162715</c:v>
                </c:pt>
                <c:pt idx="533">
                  <c:v>181.73700739379586</c:v>
                </c:pt>
                <c:pt idx="534">
                  <c:v>182.67713230023483</c:v>
                </c:pt>
                <c:pt idx="535">
                  <c:v>182.32266968702106</c:v>
                </c:pt>
                <c:pt idx="536">
                  <c:v>181.81229183910276</c:v>
                </c:pt>
                <c:pt idx="537">
                  <c:v>180.76480442281263</c:v>
                </c:pt>
                <c:pt idx="538">
                  <c:v>178.91195957371818</c:v>
                </c:pt>
                <c:pt idx="539">
                  <c:v>179.91580498120859</c:v>
                </c:pt>
                <c:pt idx="540">
                  <c:v>179.72939578391265</c:v>
                </c:pt>
                <c:pt idx="541">
                  <c:v>179.40806070278683</c:v>
                </c:pt>
                <c:pt idx="542">
                  <c:v>179.2607986249995</c:v>
                </c:pt>
                <c:pt idx="543">
                  <c:v>180.28482153111375</c:v>
                </c:pt>
                <c:pt idx="544">
                  <c:v>180.8996907040937</c:v>
                </c:pt>
                <c:pt idx="545">
                  <c:v>180.74997326827955</c:v>
                </c:pt>
                <c:pt idx="546">
                  <c:v>180.68918335584078</c:v>
                </c:pt>
                <c:pt idx="547">
                  <c:v>177.8687294314262</c:v>
                </c:pt>
                <c:pt idx="548">
                  <c:v>178.35784071062815</c:v>
                </c:pt>
                <c:pt idx="549">
                  <c:v>179.15846563884853</c:v>
                </c:pt>
                <c:pt idx="550">
                  <c:v>178.84647675924424</c:v>
                </c:pt>
                <c:pt idx="551">
                  <c:v>178.91728611653446</c:v>
                </c:pt>
                <c:pt idx="552">
                  <c:v>179.78699769117142</c:v>
                </c:pt>
                <c:pt idx="553">
                  <c:v>180.41368822497418</c:v>
                </c:pt>
                <c:pt idx="554">
                  <c:v>179.81828370473926</c:v>
                </c:pt>
                <c:pt idx="555">
                  <c:v>180.20516100416222</c:v>
                </c:pt>
                <c:pt idx="556">
                  <c:v>179.35230031404819</c:v>
                </c:pt>
                <c:pt idx="557">
                  <c:v>178.25596315378857</c:v>
                </c:pt>
                <c:pt idx="558">
                  <c:v>179.55373867862136</c:v>
                </c:pt>
                <c:pt idx="559">
                  <c:v>181.35989212265702</c:v>
                </c:pt>
                <c:pt idx="560">
                  <c:v>181.59711139008908</c:v>
                </c:pt>
                <c:pt idx="561">
                  <c:v>180.41893556269281</c:v>
                </c:pt>
                <c:pt idx="562">
                  <c:v>180.3669374160921</c:v>
                </c:pt>
                <c:pt idx="563">
                  <c:v>181.33541774748622</c:v>
                </c:pt>
                <c:pt idx="564">
                  <c:v>180.56243539834225</c:v>
                </c:pt>
                <c:pt idx="565">
                  <c:v>180.4949526551529</c:v>
                </c:pt>
                <c:pt idx="566">
                  <c:v>181.05154667754417</c:v>
                </c:pt>
                <c:pt idx="567">
                  <c:v>183.38269131001269</c:v>
                </c:pt>
                <c:pt idx="568">
                  <c:v>184.37679449049341</c:v>
                </c:pt>
                <c:pt idx="569">
                  <c:v>183.65624591598714</c:v>
                </c:pt>
                <c:pt idx="570">
                  <c:v>183.48603416115861</c:v>
                </c:pt>
                <c:pt idx="571">
                  <c:v>178.57603095335216</c:v>
                </c:pt>
                <c:pt idx="572">
                  <c:v>176.88256656198394</c:v>
                </c:pt>
                <c:pt idx="573">
                  <c:v>181.03477499811888</c:v>
                </c:pt>
                <c:pt idx="574">
                  <c:v>181.44440396183899</c:v>
                </c:pt>
                <c:pt idx="575">
                  <c:v>180.58516726136494</c:v>
                </c:pt>
                <c:pt idx="576">
                  <c:v>180.45582533691868</c:v>
                </c:pt>
                <c:pt idx="577">
                  <c:v>181.86036933337027</c:v>
                </c:pt>
                <c:pt idx="578">
                  <c:v>180.93881802232792</c:v>
                </c:pt>
                <c:pt idx="579">
                  <c:v>180.54015896463096</c:v>
                </c:pt>
                <c:pt idx="580">
                  <c:v>179.81776887160456</c:v>
                </c:pt>
                <c:pt idx="581">
                  <c:v>178.69066053091177</c:v>
                </c:pt>
                <c:pt idx="582">
                  <c:v>176.72734437188379</c:v>
                </c:pt>
                <c:pt idx="583">
                  <c:v>175.16070714311175</c:v>
                </c:pt>
                <c:pt idx="584">
                  <c:v>174.13347643054306</c:v>
                </c:pt>
                <c:pt idx="585">
                  <c:v>173.89540570831139</c:v>
                </c:pt>
                <c:pt idx="586">
                  <c:v>175.07344292678678</c:v>
                </c:pt>
                <c:pt idx="587">
                  <c:v>176.15041444067342</c:v>
                </c:pt>
                <c:pt idx="588">
                  <c:v>175.76545786486818</c:v>
                </c:pt>
                <c:pt idx="589">
                  <c:v>175.22460585563286</c:v>
                </c:pt>
                <c:pt idx="590">
                  <c:v>175.82511910466559</c:v>
                </c:pt>
                <c:pt idx="591">
                  <c:v>174.7375539089696</c:v>
                </c:pt>
                <c:pt idx="592">
                  <c:v>175.23692224831592</c:v>
                </c:pt>
                <c:pt idx="593">
                  <c:v>174.72915816861973</c:v>
                </c:pt>
                <c:pt idx="594">
                  <c:v>173.73719352577533</c:v>
                </c:pt>
                <c:pt idx="595">
                  <c:v>173.18863882079452</c:v>
                </c:pt>
                <c:pt idx="596">
                  <c:v>174.00233259012549</c:v>
                </c:pt>
                <c:pt idx="597">
                  <c:v>174.94259610548534</c:v>
                </c:pt>
                <c:pt idx="598">
                  <c:v>173.61321774669418</c:v>
                </c:pt>
                <c:pt idx="599">
                  <c:v>173.61785124490612</c:v>
                </c:pt>
                <c:pt idx="600">
                  <c:v>173.25174548233923</c:v>
                </c:pt>
                <c:pt idx="601">
                  <c:v>172.87890728647295</c:v>
                </c:pt>
                <c:pt idx="602">
                  <c:v>173.10074096368842</c:v>
                </c:pt>
                <c:pt idx="603">
                  <c:v>173.88463381503234</c:v>
                </c:pt>
                <c:pt idx="604">
                  <c:v>173.79980515545981</c:v>
                </c:pt>
                <c:pt idx="605">
                  <c:v>173.03161471472305</c:v>
                </c:pt>
                <c:pt idx="606">
                  <c:v>171.26850924125478</c:v>
                </c:pt>
                <c:pt idx="607">
                  <c:v>170.89877984547087</c:v>
                </c:pt>
                <c:pt idx="608">
                  <c:v>171.40155400401568</c:v>
                </c:pt>
                <c:pt idx="609">
                  <c:v>170.86697899876836</c:v>
                </c:pt>
                <c:pt idx="610">
                  <c:v>169.31162849641004</c:v>
                </c:pt>
                <c:pt idx="611">
                  <c:v>168.61697998883207</c:v>
                </c:pt>
                <c:pt idx="612">
                  <c:v>169.2490960718232</c:v>
                </c:pt>
                <c:pt idx="613">
                  <c:v>170.25060492893323</c:v>
                </c:pt>
                <c:pt idx="614">
                  <c:v>171.07516959791531</c:v>
                </c:pt>
                <c:pt idx="615">
                  <c:v>170.46639921745364</c:v>
                </c:pt>
                <c:pt idx="616">
                  <c:v>170.41354961605327</c:v>
                </c:pt>
                <c:pt idx="617">
                  <c:v>170.30361294052884</c:v>
                </c:pt>
                <c:pt idx="618">
                  <c:v>169.78699769117139</c:v>
                </c:pt>
                <c:pt idx="619">
                  <c:v>169.72442566403575</c:v>
                </c:pt>
                <c:pt idx="620">
                  <c:v>167.95676589745315</c:v>
                </c:pt>
                <c:pt idx="621">
                  <c:v>169.09508175946203</c:v>
                </c:pt>
                <c:pt idx="622">
                  <c:v>167.46902090618551</c:v>
                </c:pt>
                <c:pt idx="623">
                  <c:v>168.18650028315824</c:v>
                </c:pt>
                <c:pt idx="624">
                  <c:v>167.51121742195326</c:v>
                </c:pt>
                <c:pt idx="625">
                  <c:v>165.94115457270831</c:v>
                </c:pt>
                <c:pt idx="626">
                  <c:v>165.1375297514148</c:v>
                </c:pt>
                <c:pt idx="627">
                  <c:v>164.73332633688304</c:v>
                </c:pt>
                <c:pt idx="628">
                  <c:v>164.342825404243</c:v>
                </c:pt>
                <c:pt idx="629">
                  <c:v>163.3377820196508</c:v>
                </c:pt>
                <c:pt idx="630">
                  <c:v>163.25254743395286</c:v>
                </c:pt>
                <c:pt idx="631">
                  <c:v>163.21005389906895</c:v>
                </c:pt>
                <c:pt idx="632">
                  <c:v>163.72135250624731</c:v>
                </c:pt>
                <c:pt idx="633">
                  <c:v>164.11375436123069</c:v>
                </c:pt>
                <c:pt idx="634">
                  <c:v>164.78783924533383</c:v>
                </c:pt>
                <c:pt idx="635">
                  <c:v>164.76516678613436</c:v>
                </c:pt>
                <c:pt idx="636">
                  <c:v>164.0184904300441</c:v>
                </c:pt>
                <c:pt idx="637">
                  <c:v>163.28747688201213</c:v>
                </c:pt>
                <c:pt idx="638">
                  <c:v>162.88409522036838</c:v>
                </c:pt>
                <c:pt idx="639">
                  <c:v>162.48439659576491</c:v>
                </c:pt>
                <c:pt idx="640">
                  <c:v>161.22429299549719</c:v>
                </c:pt>
                <c:pt idx="641">
                  <c:v>160.82166378228101</c:v>
                </c:pt>
                <c:pt idx="642">
                  <c:v>158.31670356304133</c:v>
                </c:pt>
                <c:pt idx="643">
                  <c:v>156.84382536860073</c:v>
                </c:pt>
                <c:pt idx="644">
                  <c:v>157.46175383847705</c:v>
                </c:pt>
                <c:pt idx="645">
                  <c:v>157.06643129551819</c:v>
                </c:pt>
                <c:pt idx="646">
                  <c:v>158.4630547822058</c:v>
                </c:pt>
                <c:pt idx="647">
                  <c:v>159.08215152727229</c:v>
                </c:pt>
                <c:pt idx="648">
                  <c:v>158.62601927060024</c:v>
                </c:pt>
                <c:pt idx="649">
                  <c:v>157.73652622282771</c:v>
                </c:pt>
                <c:pt idx="650">
                  <c:v>158.94458217330867</c:v>
                </c:pt>
                <c:pt idx="651">
                  <c:v>158.0491388425759</c:v>
                </c:pt>
                <c:pt idx="652">
                  <c:v>157.8264438099236</c:v>
                </c:pt>
                <c:pt idx="653">
                  <c:v>158.4146505669105</c:v>
                </c:pt>
                <c:pt idx="654">
                  <c:v>159.71599032113707</c:v>
                </c:pt>
                <c:pt idx="655">
                  <c:v>162.03176916466344</c:v>
                </c:pt>
                <c:pt idx="656">
                  <c:v>163.38500805911869</c:v>
                </c:pt>
                <c:pt idx="657">
                  <c:v>165.08913543675672</c:v>
                </c:pt>
                <c:pt idx="658">
                  <c:v>164.65185399332302</c:v>
                </c:pt>
                <c:pt idx="659">
                  <c:v>163.45775794130111</c:v>
                </c:pt>
                <c:pt idx="660">
                  <c:v>160.79283312674005</c:v>
                </c:pt>
                <c:pt idx="661">
                  <c:v>161.93890118768044</c:v>
                </c:pt>
                <c:pt idx="662">
                  <c:v>160.21889318796559</c:v>
                </c:pt>
                <c:pt idx="663">
                  <c:v>160.96347060896838</c:v>
                </c:pt>
                <c:pt idx="664">
                  <c:v>161.93103018110247</c:v>
                </c:pt>
                <c:pt idx="665">
                  <c:v>162.31406603328992</c:v>
                </c:pt>
                <c:pt idx="666">
                  <c:v>162.6553013951978</c:v>
                </c:pt>
                <c:pt idx="667">
                  <c:v>165.28958373760935</c:v>
                </c:pt>
                <c:pt idx="668">
                  <c:v>165.6190571425177</c:v>
                </c:pt>
                <c:pt idx="669">
                  <c:v>166.5185399332301</c:v>
                </c:pt>
                <c:pt idx="670">
                  <c:v>167.50151479749235</c:v>
                </c:pt>
                <c:pt idx="671">
                  <c:v>167.15960619225453</c:v>
                </c:pt>
                <c:pt idx="672">
                  <c:v>166.2189466514065</c:v>
                </c:pt>
                <c:pt idx="673">
                  <c:v>164.89621162017986</c:v>
                </c:pt>
                <c:pt idx="674">
                  <c:v>165.90484893607754</c:v>
                </c:pt>
                <c:pt idx="675">
                  <c:v>166.35844662962509</c:v>
                </c:pt>
                <c:pt idx="676">
                  <c:v>166.32316075862644</c:v>
                </c:pt>
                <c:pt idx="677">
                  <c:v>164.52781881041864</c:v>
                </c:pt>
                <c:pt idx="678">
                  <c:v>164.72569294559798</c:v>
                </c:pt>
                <c:pt idx="679">
                  <c:v>165.41674752187049</c:v>
                </c:pt>
                <c:pt idx="680">
                  <c:v>163.35119738306358</c:v>
                </c:pt>
                <c:pt idx="681">
                  <c:v>163.83328911048716</c:v>
                </c:pt>
                <c:pt idx="682">
                  <c:v>165.39807492010186</c:v>
                </c:pt>
                <c:pt idx="683">
                  <c:v>165.38717431853914</c:v>
                </c:pt>
                <c:pt idx="684">
                  <c:v>164.78110681203441</c:v>
                </c:pt>
                <c:pt idx="685">
                  <c:v>167.7197248414908</c:v>
                </c:pt>
                <c:pt idx="686">
                  <c:v>169.59379665675283</c:v>
                </c:pt>
                <c:pt idx="687">
                  <c:v>169.58492568581713</c:v>
                </c:pt>
                <c:pt idx="688">
                  <c:v>168.73972808889982</c:v>
                </c:pt>
                <c:pt idx="689">
                  <c:v>169.79832402013392</c:v>
                </c:pt>
                <c:pt idx="690">
                  <c:v>170.49477444368318</c:v>
                </c:pt>
                <c:pt idx="691">
                  <c:v>169.66797223069275</c:v>
                </c:pt>
                <c:pt idx="692">
                  <c:v>168.27154675674927</c:v>
                </c:pt>
                <c:pt idx="693">
                  <c:v>169.0750428697591</c:v>
                </c:pt>
                <c:pt idx="694">
                  <c:v>168.08004863192997</c:v>
                </c:pt>
                <c:pt idx="695">
                  <c:v>168.45268881505214</c:v>
                </c:pt>
                <c:pt idx="696">
                  <c:v>168.81049784364123</c:v>
                </c:pt>
                <c:pt idx="697">
                  <c:v>170.60061225540474</c:v>
                </c:pt>
                <c:pt idx="698">
                  <c:v>168.17960943966355</c:v>
                </c:pt>
                <c:pt idx="699">
                  <c:v>169.52544265748944</c:v>
                </c:pt>
                <c:pt idx="700">
                  <c:v>169.88089533442371</c:v>
                </c:pt>
                <c:pt idx="701">
                  <c:v>171.52434170663224</c:v>
                </c:pt>
                <c:pt idx="702">
                  <c:v>171.14837490940917</c:v>
                </c:pt>
                <c:pt idx="703">
                  <c:v>170.44946912783308</c:v>
                </c:pt>
                <c:pt idx="704">
                  <c:v>170.92836294943942</c:v>
                </c:pt>
                <c:pt idx="705">
                  <c:v>170.33470094135259</c:v>
                </c:pt>
                <c:pt idx="706">
                  <c:v>170.40414401070854</c:v>
                </c:pt>
                <c:pt idx="707">
                  <c:v>169.28586703840259</c:v>
                </c:pt>
                <c:pt idx="708">
                  <c:v>167.44642765208368</c:v>
                </c:pt>
                <c:pt idx="709">
                  <c:v>170.70690549643774</c:v>
                </c:pt>
                <c:pt idx="710">
                  <c:v>171.37252533573059</c:v>
                </c:pt>
                <c:pt idx="711">
                  <c:v>173.12052243682402</c:v>
                </c:pt>
                <c:pt idx="712">
                  <c:v>173.31289181771737</c:v>
                </c:pt>
                <c:pt idx="713">
                  <c:v>171.85456755996816</c:v>
                </c:pt>
                <c:pt idx="714">
                  <c:v>173.42397696715761</c:v>
                </c:pt>
                <c:pt idx="715">
                  <c:v>175.58940473408867</c:v>
                </c:pt>
                <c:pt idx="716">
                  <c:v>175.06564122466921</c:v>
                </c:pt>
                <c:pt idx="717">
                  <c:v>173.9608291189621</c:v>
                </c:pt>
                <c:pt idx="718">
                  <c:v>173.9738781587983</c:v>
                </c:pt>
                <c:pt idx="719">
                  <c:v>175.1608457520326</c:v>
                </c:pt>
                <c:pt idx="720">
                  <c:v>174.98570347987595</c:v>
                </c:pt>
                <c:pt idx="721">
                  <c:v>175.84983109512928</c:v>
                </c:pt>
                <c:pt idx="722">
                  <c:v>176.27439021975454</c:v>
                </c:pt>
                <c:pt idx="723">
                  <c:v>176.29524096170829</c:v>
                </c:pt>
                <c:pt idx="724">
                  <c:v>177.31789757988824</c:v>
                </c:pt>
                <c:pt idx="725">
                  <c:v>176.63524864460277</c:v>
                </c:pt>
                <c:pt idx="726">
                  <c:v>175.38283783944334</c:v>
                </c:pt>
                <c:pt idx="727">
                  <c:v>174.83824338934454</c:v>
                </c:pt>
                <c:pt idx="728">
                  <c:v>174.22232474882085</c:v>
                </c:pt>
                <c:pt idx="729">
                  <c:v>173.85845653026229</c:v>
                </c:pt>
                <c:pt idx="730">
                  <c:v>171.88662582323801</c:v>
                </c:pt>
                <c:pt idx="731">
                  <c:v>171.83248913900098</c:v>
                </c:pt>
                <c:pt idx="732">
                  <c:v>170.9984198583021</c:v>
                </c:pt>
                <c:pt idx="733">
                  <c:v>172.50080195161362</c:v>
                </c:pt>
                <c:pt idx="734">
                  <c:v>172.8853228993818</c:v>
                </c:pt>
                <c:pt idx="735">
                  <c:v>173.42332352510209</c:v>
                </c:pt>
                <c:pt idx="736">
                  <c:v>173.57292215326979</c:v>
                </c:pt>
                <c:pt idx="737">
                  <c:v>173.03995105124966</c:v>
                </c:pt>
                <c:pt idx="738">
                  <c:v>173.26160651699541</c:v>
                </c:pt>
                <c:pt idx="739">
                  <c:v>170.55863355365551</c:v>
                </c:pt>
                <c:pt idx="740">
                  <c:v>171.85211220194131</c:v>
                </c:pt>
                <c:pt idx="741">
                  <c:v>172.30773952611591</c:v>
                </c:pt>
                <c:pt idx="742">
                  <c:v>171.43230538317448</c:v>
                </c:pt>
                <c:pt idx="743">
                  <c:v>170.38899603578486</c:v>
                </c:pt>
                <c:pt idx="744">
                  <c:v>170.58140501922702</c:v>
                </c:pt>
                <c:pt idx="745">
                  <c:v>171.22160002217743</c:v>
                </c:pt>
                <c:pt idx="746">
                  <c:v>169.65468557556363</c:v>
                </c:pt>
                <c:pt idx="747">
                  <c:v>167.63861882150735</c:v>
                </c:pt>
                <c:pt idx="748">
                  <c:v>166.95286108613951</c:v>
                </c:pt>
                <c:pt idx="749">
                  <c:v>166.23433224162306</c:v>
                </c:pt>
                <c:pt idx="750">
                  <c:v>166.98905781576104</c:v>
                </c:pt>
                <c:pt idx="751">
                  <c:v>165.80674352201308</c:v>
                </c:pt>
                <c:pt idx="752">
                  <c:v>165.96076773501142</c:v>
                </c:pt>
                <c:pt idx="753">
                  <c:v>165.16753858278318</c:v>
                </c:pt>
                <c:pt idx="754">
                  <c:v>165.12398567971834</c:v>
                </c:pt>
                <c:pt idx="755">
                  <c:v>163.3050109105022</c:v>
                </c:pt>
                <c:pt idx="756">
                  <c:v>162.16022003176124</c:v>
                </c:pt>
                <c:pt idx="757">
                  <c:v>161.10403985600513</c:v>
                </c:pt>
                <c:pt idx="758">
                  <c:v>162.0370165023821</c:v>
                </c:pt>
                <c:pt idx="759">
                  <c:v>160.73003338494865</c:v>
                </c:pt>
                <c:pt idx="760">
                  <c:v>163.18611415830725</c:v>
                </c:pt>
                <c:pt idx="761">
                  <c:v>163.75715321038064</c:v>
                </c:pt>
                <c:pt idx="762">
                  <c:v>164.00593642206815</c:v>
                </c:pt>
                <c:pt idx="763">
                  <c:v>163.5585266267737</c:v>
                </c:pt>
                <c:pt idx="764">
                  <c:v>159.91599309331548</c:v>
                </c:pt>
                <c:pt idx="765">
                  <c:v>162.01101742908173</c:v>
                </c:pt>
                <c:pt idx="766">
                  <c:v>155.89951249262401</c:v>
                </c:pt>
                <c:pt idx="767">
                  <c:v>156.37000067324334</c:v>
                </c:pt>
                <c:pt idx="768">
                  <c:v>157.54914676308567</c:v>
                </c:pt>
                <c:pt idx="769">
                  <c:v>157.43618049257651</c:v>
                </c:pt>
                <c:pt idx="770">
                  <c:v>160.22906114237512</c:v>
                </c:pt>
                <c:pt idx="771">
                  <c:v>162.85742290373807</c:v>
                </c:pt>
                <c:pt idx="772">
                  <c:v>163.33189114051382</c:v>
                </c:pt>
                <c:pt idx="773">
                  <c:v>164.28124344082786</c:v>
                </c:pt>
                <c:pt idx="774">
                  <c:v>162.64329192226811</c:v>
                </c:pt>
                <c:pt idx="775">
                  <c:v>161.69120704608548</c:v>
                </c:pt>
                <c:pt idx="776">
                  <c:v>165.00824723079177</c:v>
                </c:pt>
                <c:pt idx="777">
                  <c:v>166.07161526915871</c:v>
                </c:pt>
                <c:pt idx="778">
                  <c:v>166.84726088971087</c:v>
                </c:pt>
                <c:pt idx="779">
                  <c:v>165.70520258683848</c:v>
                </c:pt>
                <c:pt idx="780">
                  <c:v>164.74033598802421</c:v>
                </c:pt>
                <c:pt idx="781">
                  <c:v>164.35985450023563</c:v>
                </c:pt>
                <c:pt idx="782">
                  <c:v>162.93304397070995</c:v>
                </c:pt>
                <c:pt idx="783">
                  <c:v>162.98743807151428</c:v>
                </c:pt>
                <c:pt idx="784">
                  <c:v>163.04599043994472</c:v>
                </c:pt>
                <c:pt idx="785">
                  <c:v>162.02319521284389</c:v>
                </c:pt>
                <c:pt idx="786">
                  <c:v>162.24778126720236</c:v>
                </c:pt>
                <c:pt idx="787">
                  <c:v>164.27420408777508</c:v>
                </c:pt>
                <c:pt idx="788">
                  <c:v>160.28458391582083</c:v>
                </c:pt>
                <c:pt idx="789">
                  <c:v>162.42224039539184</c:v>
                </c:pt>
                <c:pt idx="790">
                  <c:v>162.03032367163149</c:v>
                </c:pt>
                <c:pt idx="791">
                  <c:v>162.78071276667367</c:v>
                </c:pt>
                <c:pt idx="792">
                  <c:v>162.71447750377214</c:v>
                </c:pt>
                <c:pt idx="793">
                  <c:v>161.97910767536999</c:v>
                </c:pt>
                <c:pt idx="794">
                  <c:v>164.37320055918798</c:v>
                </c:pt>
                <c:pt idx="795">
                  <c:v>166.21199640408858</c:v>
                </c:pt>
                <c:pt idx="796">
                  <c:v>166.209699456257</c:v>
                </c:pt>
                <c:pt idx="797">
                  <c:v>164.98459460850901</c:v>
                </c:pt>
                <c:pt idx="798">
                  <c:v>163.82253701848251</c:v>
                </c:pt>
                <c:pt idx="799">
                  <c:v>163.44909488374674</c:v>
                </c:pt>
                <c:pt idx="800">
                  <c:v>162.41709206404525</c:v>
                </c:pt>
                <c:pt idx="801">
                  <c:v>162.5102570601444</c:v>
                </c:pt>
                <c:pt idx="802">
                  <c:v>161.57215188369523</c:v>
                </c:pt>
                <c:pt idx="803">
                  <c:v>161.50405530099917</c:v>
                </c:pt>
                <c:pt idx="804">
                  <c:v>161.55796427058044</c:v>
                </c:pt>
                <c:pt idx="805">
                  <c:v>161.17805701974979</c:v>
                </c:pt>
                <c:pt idx="806">
                  <c:v>160.89134446692989</c:v>
                </c:pt>
                <c:pt idx="807">
                  <c:v>159.23593812497771</c:v>
                </c:pt>
                <c:pt idx="808">
                  <c:v>156.99510710509327</c:v>
                </c:pt>
                <c:pt idx="809">
                  <c:v>154.21343397661073</c:v>
                </c:pt>
                <c:pt idx="810">
                  <c:v>152.6518064702644</c:v>
                </c:pt>
                <c:pt idx="811">
                  <c:v>153.90307870214528</c:v>
                </c:pt>
                <c:pt idx="812">
                  <c:v>154.84067894609697</c:v>
                </c:pt>
                <c:pt idx="813">
                  <c:v>153.92456308488013</c:v>
                </c:pt>
                <c:pt idx="814">
                  <c:v>153.12818553002072</c:v>
                </c:pt>
                <c:pt idx="815">
                  <c:v>151.29083517815207</c:v>
                </c:pt>
                <c:pt idx="816">
                  <c:v>150.74279530630591</c:v>
                </c:pt>
                <c:pt idx="817">
                  <c:v>148.64707792593532</c:v>
                </c:pt>
                <c:pt idx="818">
                  <c:v>147.67594422377024</c:v>
                </c:pt>
                <c:pt idx="819">
                  <c:v>147.9655180607424</c:v>
                </c:pt>
                <c:pt idx="820">
                  <c:v>148.69989782542405</c:v>
                </c:pt>
                <c:pt idx="821">
                  <c:v>150.05002791979692</c:v>
                </c:pt>
                <c:pt idx="822">
                  <c:v>150.4943685175578</c:v>
                </c:pt>
                <c:pt idx="823">
                  <c:v>149.8986075743835</c:v>
                </c:pt>
                <c:pt idx="824">
                  <c:v>148.80480497724832</c:v>
                </c:pt>
                <c:pt idx="825">
                  <c:v>147.06575805218824</c:v>
                </c:pt>
                <c:pt idx="826">
                  <c:v>147.18952591788806</c:v>
                </c:pt>
                <c:pt idx="827">
                  <c:v>146.68198955284763</c:v>
                </c:pt>
                <c:pt idx="828">
                  <c:v>147.16168532606758</c:v>
                </c:pt>
                <c:pt idx="829">
                  <c:v>147.51153424234386</c:v>
                </c:pt>
                <c:pt idx="830">
                  <c:v>147.93980610592098</c:v>
                </c:pt>
                <c:pt idx="831">
                  <c:v>147.67025135737737</c:v>
                </c:pt>
                <c:pt idx="832">
                  <c:v>146.41039527303977</c:v>
                </c:pt>
                <c:pt idx="833">
                  <c:v>145.16356842726398</c:v>
                </c:pt>
                <c:pt idx="834">
                  <c:v>143.68677948112742</c:v>
                </c:pt>
                <c:pt idx="835">
                  <c:v>145.79644685931987</c:v>
                </c:pt>
                <c:pt idx="836">
                  <c:v>142.94768701313615</c:v>
                </c:pt>
                <c:pt idx="837">
                  <c:v>142.57966052695153</c:v>
                </c:pt>
                <c:pt idx="838">
                  <c:v>143.49955843158065</c:v>
                </c:pt>
                <c:pt idx="839">
                  <c:v>146.63491202293778</c:v>
                </c:pt>
                <c:pt idx="840">
                  <c:v>147.00005742369581</c:v>
                </c:pt>
                <c:pt idx="841">
                  <c:v>147.43588347346034</c:v>
                </c:pt>
                <c:pt idx="842">
                  <c:v>151.38779211830072</c:v>
                </c:pt>
                <c:pt idx="843">
                  <c:v>153.79418159352736</c:v>
                </c:pt>
                <c:pt idx="844">
                  <c:v>152.66047942845603</c:v>
                </c:pt>
                <c:pt idx="845">
                  <c:v>153.05650491665642</c:v>
                </c:pt>
                <c:pt idx="846">
                  <c:v>154.42828770459667</c:v>
                </c:pt>
                <c:pt idx="847">
                  <c:v>154.68373404512315</c:v>
                </c:pt>
                <c:pt idx="848">
                  <c:v>155.08020506199779</c:v>
                </c:pt>
                <c:pt idx="849">
                  <c:v>153.75618294793455</c:v>
                </c:pt>
                <c:pt idx="850">
                  <c:v>154.52524464474533</c:v>
                </c:pt>
                <c:pt idx="851">
                  <c:v>155.0191379317173</c:v>
                </c:pt>
                <c:pt idx="852">
                  <c:v>152.016294468712</c:v>
                </c:pt>
                <c:pt idx="853">
                  <c:v>150.60148351147879</c:v>
                </c:pt>
                <c:pt idx="854">
                  <c:v>149.38713075573546</c:v>
                </c:pt>
                <c:pt idx="855">
                  <c:v>150.69919290005504</c:v>
                </c:pt>
                <c:pt idx="856">
                  <c:v>151.76240252822672</c:v>
                </c:pt>
                <c:pt idx="857">
                  <c:v>152.22438606148691</c:v>
                </c:pt>
                <c:pt idx="858">
                  <c:v>148.08880079521919</c:v>
                </c:pt>
                <c:pt idx="859">
                  <c:v>152.35877731090773</c:v>
                </c:pt>
                <c:pt idx="860">
                  <c:v>152.48993105196251</c:v>
                </c:pt>
                <c:pt idx="861">
                  <c:v>148.44496631803224</c:v>
                </c:pt>
                <c:pt idx="862">
                  <c:v>148.05100016237046</c:v>
                </c:pt>
                <c:pt idx="863">
                  <c:v>148.16932267760754</c:v>
                </c:pt>
                <c:pt idx="864">
                  <c:v>151.24053004051342</c:v>
                </c:pt>
                <c:pt idx="865">
                  <c:v>152.06950049305172</c:v>
                </c:pt>
                <c:pt idx="866">
                  <c:v>152.83359206998563</c:v>
                </c:pt>
                <c:pt idx="867">
                  <c:v>154.26839241373577</c:v>
                </c:pt>
                <c:pt idx="868">
                  <c:v>156.74415565385789</c:v>
                </c:pt>
                <c:pt idx="869">
                  <c:v>156.86506223540547</c:v>
                </c:pt>
                <c:pt idx="870">
                  <c:v>160.522436824034</c:v>
                </c:pt>
                <c:pt idx="871">
                  <c:v>161.14253353345822</c:v>
                </c:pt>
                <c:pt idx="872">
                  <c:v>162.67813226459256</c:v>
                </c:pt>
                <c:pt idx="873">
                  <c:v>160.73427085767241</c:v>
                </c:pt>
                <c:pt idx="874">
                  <c:v>162.2162576383416</c:v>
                </c:pt>
                <c:pt idx="875">
                  <c:v>159.82082816850092</c:v>
                </c:pt>
                <c:pt idx="876">
                  <c:v>162.18360533683949</c:v>
                </c:pt>
                <c:pt idx="877">
                  <c:v>164.03683631078496</c:v>
                </c:pt>
                <c:pt idx="878">
                  <c:v>161.62755584949446</c:v>
                </c:pt>
                <c:pt idx="879">
                  <c:v>159.68262517375618</c:v>
                </c:pt>
                <c:pt idx="880">
                  <c:v>161.38728718580327</c:v>
                </c:pt>
                <c:pt idx="881">
                  <c:v>163.76210352898312</c:v>
                </c:pt>
                <c:pt idx="882">
                  <c:v>164.15599047954726</c:v>
                </c:pt>
                <c:pt idx="883">
                  <c:v>165.67992626005409</c:v>
                </c:pt>
                <c:pt idx="884">
                  <c:v>166.49861985117363</c:v>
                </c:pt>
                <c:pt idx="885">
                  <c:v>165.09195711836014</c:v>
                </c:pt>
                <c:pt idx="886">
                  <c:v>166.76762016403376</c:v>
                </c:pt>
                <c:pt idx="887">
                  <c:v>167.50783140402916</c:v>
                </c:pt>
                <c:pt idx="888">
                  <c:v>167.9613399918419</c:v>
                </c:pt>
                <c:pt idx="889">
                  <c:v>165.11625328206122</c:v>
                </c:pt>
                <c:pt idx="890">
                  <c:v>163.23838952274969</c:v>
                </c:pt>
                <c:pt idx="891">
                  <c:v>164.05422182971697</c:v>
                </c:pt>
                <c:pt idx="892">
                  <c:v>162.66012300551665</c:v>
                </c:pt>
                <c:pt idx="893">
                  <c:v>161.85768626068773</c:v>
                </c:pt>
                <c:pt idx="894">
                  <c:v>161.15226585983072</c:v>
                </c:pt>
                <c:pt idx="895">
                  <c:v>161.83359801036795</c:v>
                </c:pt>
                <c:pt idx="896">
                  <c:v>161.70399866935438</c:v>
                </c:pt>
                <c:pt idx="897">
                  <c:v>162.17908074563678</c:v>
                </c:pt>
                <c:pt idx="898">
                  <c:v>160.30977113687038</c:v>
                </c:pt>
                <c:pt idx="899">
                  <c:v>162.03711550875414</c:v>
                </c:pt>
                <c:pt idx="900">
                  <c:v>159.12826869537324</c:v>
                </c:pt>
                <c:pt idx="901">
                  <c:v>156.25083660384382</c:v>
                </c:pt>
                <c:pt idx="902">
                  <c:v>158.14880855731874</c:v>
                </c:pt>
                <c:pt idx="903">
                  <c:v>156.37314907587452</c:v>
                </c:pt>
                <c:pt idx="904">
                  <c:v>156.04205196646456</c:v>
                </c:pt>
                <c:pt idx="905">
                  <c:v>153.77553869367034</c:v>
                </c:pt>
                <c:pt idx="906">
                  <c:v>150.75220091165068</c:v>
                </c:pt>
                <c:pt idx="907">
                  <c:v>149.27825344839195</c:v>
                </c:pt>
                <c:pt idx="908">
                  <c:v>152.45812030462281</c:v>
                </c:pt>
                <c:pt idx="909">
                  <c:v>154.91238926137285</c:v>
                </c:pt>
                <c:pt idx="910">
                  <c:v>155.9035915551525</c:v>
                </c:pt>
                <c:pt idx="911">
                  <c:v>157.19142684023143</c:v>
                </c:pt>
                <c:pt idx="912">
                  <c:v>155.69804442613926</c:v>
                </c:pt>
                <c:pt idx="913">
                  <c:v>151.79464890360344</c:v>
                </c:pt>
                <c:pt idx="914">
                  <c:v>159.45479171039446</c:v>
                </c:pt>
                <c:pt idx="915">
                  <c:v>159.74080131797282</c:v>
                </c:pt>
                <c:pt idx="916">
                  <c:v>161.17144339409683</c:v>
                </c:pt>
                <c:pt idx="917">
                  <c:v>162.18054603994315</c:v>
                </c:pt>
                <c:pt idx="918">
                  <c:v>162.51647466030914</c:v>
                </c:pt>
                <c:pt idx="919">
                  <c:v>162.63351999334677</c:v>
                </c:pt>
                <c:pt idx="920">
                  <c:v>162.84331449572093</c:v>
                </c:pt>
                <c:pt idx="921">
                  <c:v>158.0997211980563</c:v>
                </c:pt>
                <c:pt idx="922">
                  <c:v>162.49587143428553</c:v>
                </c:pt>
                <c:pt idx="923">
                  <c:v>164.62550839772047</c:v>
                </c:pt>
                <c:pt idx="924">
                  <c:v>163.52916133682365</c:v>
                </c:pt>
                <c:pt idx="925">
                  <c:v>161.79250046532997</c:v>
                </c:pt>
                <c:pt idx="926">
                  <c:v>161.34707079747653</c:v>
                </c:pt>
                <c:pt idx="927">
                  <c:v>163.83495241753758</c:v>
                </c:pt>
                <c:pt idx="928">
                  <c:v>164.25294741969594</c:v>
                </c:pt>
                <c:pt idx="929">
                  <c:v>166.12691032794871</c:v>
                </c:pt>
                <c:pt idx="930">
                  <c:v>164.25924422495831</c:v>
                </c:pt>
                <c:pt idx="931">
                  <c:v>162.30619502671192</c:v>
                </c:pt>
                <c:pt idx="932">
                  <c:v>159.95834801927853</c:v>
                </c:pt>
                <c:pt idx="933">
                  <c:v>159.83469896122514</c:v>
                </c:pt>
                <c:pt idx="934">
                  <c:v>161.61819974733572</c:v>
                </c:pt>
                <c:pt idx="935">
                  <c:v>160.40014415327769</c:v>
                </c:pt>
                <c:pt idx="936">
                  <c:v>164.85570811337419</c:v>
                </c:pt>
                <c:pt idx="937">
                  <c:v>166.17172061193858</c:v>
                </c:pt>
                <c:pt idx="938">
                  <c:v>167.96621110534673</c:v>
                </c:pt>
                <c:pt idx="939">
                  <c:v>169.47738496449631</c:v>
                </c:pt>
                <c:pt idx="940">
                  <c:v>171.51236193561417</c:v>
                </c:pt>
                <c:pt idx="941">
                  <c:v>170.77153685611205</c:v>
                </c:pt>
                <c:pt idx="942">
                  <c:v>170.77797227029532</c:v>
                </c:pt>
                <c:pt idx="943">
                  <c:v>170.38891683068721</c:v>
                </c:pt>
                <c:pt idx="944">
                  <c:v>169.13426848151946</c:v>
                </c:pt>
                <c:pt idx="945">
                  <c:v>168.60343591713561</c:v>
                </c:pt>
                <c:pt idx="946">
                  <c:v>167.24267253840458</c:v>
                </c:pt>
                <c:pt idx="947">
                  <c:v>166.42836492956687</c:v>
                </c:pt>
                <c:pt idx="948">
                  <c:v>168.04565381827973</c:v>
                </c:pt>
                <c:pt idx="949">
                  <c:v>166.92131765600433</c:v>
                </c:pt>
                <c:pt idx="950">
                  <c:v>165.09091755145363</c:v>
                </c:pt>
                <c:pt idx="951">
                  <c:v>162.64053954512511</c:v>
                </c:pt>
                <c:pt idx="952">
                  <c:v>161.20898661037825</c:v>
                </c:pt>
                <c:pt idx="953">
                  <c:v>161.23437184417187</c:v>
                </c:pt>
                <c:pt idx="954">
                  <c:v>161.36783243369544</c:v>
                </c:pt>
                <c:pt idx="955">
                  <c:v>159.9499918814775</c:v>
                </c:pt>
                <c:pt idx="956">
                  <c:v>159.29896558142482</c:v>
                </c:pt>
                <c:pt idx="957">
                  <c:v>159.8067494623954</c:v>
                </c:pt>
                <c:pt idx="958">
                  <c:v>158.716461591468</c:v>
                </c:pt>
                <c:pt idx="959">
                  <c:v>157.00068116383969</c:v>
                </c:pt>
                <c:pt idx="960">
                  <c:v>155.32679033222578</c:v>
                </c:pt>
                <c:pt idx="961">
                  <c:v>158.57008067039195</c:v>
                </c:pt>
                <c:pt idx="962">
                  <c:v>160.95356007112619</c:v>
                </c:pt>
                <c:pt idx="963">
                  <c:v>160.56228688878414</c:v>
                </c:pt>
                <c:pt idx="964">
                  <c:v>161.68834576193322</c:v>
                </c:pt>
                <c:pt idx="965">
                  <c:v>162.05766923159175</c:v>
                </c:pt>
                <c:pt idx="966">
                  <c:v>163.45166904942002</c:v>
                </c:pt>
                <c:pt idx="967">
                  <c:v>162.11304349547936</c:v>
                </c:pt>
                <c:pt idx="968">
                  <c:v>161.74839312658162</c:v>
                </c:pt>
                <c:pt idx="969">
                  <c:v>159.09229968040742</c:v>
                </c:pt>
                <c:pt idx="970">
                  <c:v>156.81029191038735</c:v>
                </c:pt>
                <c:pt idx="971">
                  <c:v>159.79417565314503</c:v>
                </c:pt>
                <c:pt idx="972">
                  <c:v>161.67115825574535</c:v>
                </c:pt>
                <c:pt idx="973">
                  <c:v>159.410001227679</c:v>
                </c:pt>
                <c:pt idx="974">
                  <c:v>157.68271625961847</c:v>
                </c:pt>
                <c:pt idx="975">
                  <c:v>158.15584791037151</c:v>
                </c:pt>
                <c:pt idx="976">
                  <c:v>157.74391209818265</c:v>
                </c:pt>
                <c:pt idx="977">
                  <c:v>162.18322911262567</c:v>
                </c:pt>
                <c:pt idx="978">
                  <c:v>161.02186456720355</c:v>
                </c:pt>
                <c:pt idx="979">
                  <c:v>161.72583947502861</c:v>
                </c:pt>
                <c:pt idx="980">
                  <c:v>160.75290385689223</c:v>
                </c:pt>
                <c:pt idx="981">
                  <c:v>163.99723376196491</c:v>
                </c:pt>
                <c:pt idx="982">
                  <c:v>165.32339441366446</c:v>
                </c:pt>
                <c:pt idx="983">
                  <c:v>166.22445140569246</c:v>
                </c:pt>
                <c:pt idx="984">
                  <c:v>167.19730781873122</c:v>
                </c:pt>
                <c:pt idx="985">
                  <c:v>167.13022110103006</c:v>
                </c:pt>
                <c:pt idx="986">
                  <c:v>165.08074959704408</c:v>
                </c:pt>
                <c:pt idx="987">
                  <c:v>166.4325429984674</c:v>
                </c:pt>
                <c:pt idx="988">
                  <c:v>166.79920319671774</c:v>
                </c:pt>
                <c:pt idx="989">
                  <c:v>166.95632630916126</c:v>
                </c:pt>
                <c:pt idx="990">
                  <c:v>165.59560253297903</c:v>
                </c:pt>
                <c:pt idx="991">
                  <c:v>164.76450344344161</c:v>
                </c:pt>
                <c:pt idx="992">
                  <c:v>165.1472620777873</c:v>
                </c:pt>
                <c:pt idx="993">
                  <c:v>165.52144676031349</c:v>
                </c:pt>
                <c:pt idx="994">
                  <c:v>163.07098954888738</c:v>
                </c:pt>
                <c:pt idx="995">
                  <c:v>164.58625237120262</c:v>
                </c:pt>
                <c:pt idx="996">
                  <c:v>167.69247828790262</c:v>
                </c:pt>
                <c:pt idx="997">
                  <c:v>168.26812113627633</c:v>
                </c:pt>
                <c:pt idx="998">
                  <c:v>166.78029297965617</c:v>
                </c:pt>
                <c:pt idx="999">
                  <c:v>167.32603590367077</c:v>
                </c:pt>
                <c:pt idx="1000">
                  <c:v>168.1013152006463</c:v>
                </c:pt>
                <c:pt idx="1001">
                  <c:v>169.31461848884595</c:v>
                </c:pt>
                <c:pt idx="1002">
                  <c:v>170.72961755818605</c:v>
                </c:pt>
                <c:pt idx="1003">
                  <c:v>171.66766333081199</c:v>
                </c:pt>
                <c:pt idx="1004">
                  <c:v>170.58904831114933</c:v>
                </c:pt>
                <c:pt idx="1005">
                  <c:v>169.30438122997595</c:v>
                </c:pt>
                <c:pt idx="1006">
                  <c:v>167.90619344260998</c:v>
                </c:pt>
                <c:pt idx="1007">
                  <c:v>167.47678300575427</c:v>
                </c:pt>
                <c:pt idx="1008">
                  <c:v>167.63030228625516</c:v>
                </c:pt>
                <c:pt idx="1009">
                  <c:v>166.56243935859712</c:v>
                </c:pt>
                <c:pt idx="1010">
                  <c:v>165.09921428543143</c:v>
                </c:pt>
                <c:pt idx="1011">
                  <c:v>166.88654661814036</c:v>
                </c:pt>
                <c:pt idx="1012">
                  <c:v>165.32574086468205</c:v>
                </c:pt>
                <c:pt idx="1013">
                  <c:v>163.78172659192344</c:v>
                </c:pt>
                <c:pt idx="1014">
                  <c:v>164.5194230700688</c:v>
                </c:pt>
                <c:pt idx="1015">
                  <c:v>165.2942568383701</c:v>
                </c:pt>
                <c:pt idx="1016">
                  <c:v>165.2614362260355</c:v>
                </c:pt>
                <c:pt idx="1017">
                  <c:v>166.17140379154802</c:v>
                </c:pt>
                <c:pt idx="1018">
                  <c:v>166.38694066350109</c:v>
                </c:pt>
                <c:pt idx="1019">
                  <c:v>166.32785366066162</c:v>
                </c:pt>
                <c:pt idx="1020">
                  <c:v>164.08465638848517</c:v>
                </c:pt>
                <c:pt idx="1021">
                  <c:v>164.01721324784464</c:v>
                </c:pt>
                <c:pt idx="1022">
                  <c:v>162.41037943202025</c:v>
                </c:pt>
                <c:pt idx="1023">
                  <c:v>163.8547338906732</c:v>
                </c:pt>
                <c:pt idx="1024">
                  <c:v>164.61038022407121</c:v>
                </c:pt>
                <c:pt idx="1025">
                  <c:v>164.03452946231621</c:v>
                </c:pt>
                <c:pt idx="1026">
                  <c:v>162.52533573060762</c:v>
                </c:pt>
                <c:pt idx="1027">
                  <c:v>162.18189252660301</c:v>
                </c:pt>
                <c:pt idx="1028">
                  <c:v>162.08551972404942</c:v>
                </c:pt>
                <c:pt idx="1029">
                  <c:v>161.80348027199031</c:v>
                </c:pt>
                <c:pt idx="1030">
                  <c:v>162.05872859977268</c:v>
                </c:pt>
                <c:pt idx="1031">
                  <c:v>162.32260038256061</c:v>
                </c:pt>
                <c:pt idx="1032">
                  <c:v>161.72388904949923</c:v>
                </c:pt>
                <c:pt idx="1033">
                  <c:v>160.7397954132328</c:v>
                </c:pt>
                <c:pt idx="1034">
                  <c:v>159.00494635834764</c:v>
                </c:pt>
                <c:pt idx="1035">
                  <c:v>159.49634468474392</c:v>
                </c:pt>
                <c:pt idx="1036">
                  <c:v>157.3519953744223</c:v>
                </c:pt>
                <c:pt idx="1037">
                  <c:v>155.37045214229988</c:v>
                </c:pt>
                <c:pt idx="1038">
                  <c:v>154.54505581979257</c:v>
                </c:pt>
                <c:pt idx="1039">
                  <c:v>154.53908573555793</c:v>
                </c:pt>
                <c:pt idx="1040">
                  <c:v>154.34321152909399</c:v>
                </c:pt>
                <c:pt idx="1041">
                  <c:v>153.14583836615725</c:v>
                </c:pt>
                <c:pt idx="1042">
                  <c:v>152.46419929586668</c:v>
                </c:pt>
                <c:pt idx="1043">
                  <c:v>153.42648182837047</c:v>
                </c:pt>
                <c:pt idx="1044">
                  <c:v>153.59884202147248</c:v>
                </c:pt>
                <c:pt idx="1045">
                  <c:v>152.86295735993571</c:v>
                </c:pt>
                <c:pt idx="1046">
                  <c:v>152.51003924612587</c:v>
                </c:pt>
                <c:pt idx="1047">
                  <c:v>150.91191799104192</c:v>
                </c:pt>
                <c:pt idx="1048">
                  <c:v>150.23173431442046</c:v>
                </c:pt>
                <c:pt idx="1049">
                  <c:v>149.98742619074963</c:v>
                </c:pt>
                <c:pt idx="1050">
                  <c:v>149.91810192904015</c:v>
                </c:pt>
                <c:pt idx="1051">
                  <c:v>149.88067752040521</c:v>
                </c:pt>
                <c:pt idx="1052">
                  <c:v>150.28053455520399</c:v>
                </c:pt>
                <c:pt idx="1053">
                  <c:v>149.94625934125122</c:v>
                </c:pt>
                <c:pt idx="1054">
                  <c:v>149.32296472600976</c:v>
                </c:pt>
                <c:pt idx="1055">
                  <c:v>147.06064932339044</c:v>
                </c:pt>
                <c:pt idx="1056">
                  <c:v>145.7978824517146</c:v>
                </c:pt>
                <c:pt idx="1057">
                  <c:v>146.08005061205739</c:v>
                </c:pt>
                <c:pt idx="1058">
                  <c:v>145.38478826497274</c:v>
                </c:pt>
                <c:pt idx="1059">
                  <c:v>145.56729661120991</c:v>
                </c:pt>
                <c:pt idx="1060">
                  <c:v>146.18151234213434</c:v>
                </c:pt>
                <c:pt idx="1061">
                  <c:v>146.53969759493722</c:v>
                </c:pt>
                <c:pt idx="1062">
                  <c:v>146.3258834338578</c:v>
                </c:pt>
                <c:pt idx="1063">
                  <c:v>144.68015991509213</c:v>
                </c:pt>
                <c:pt idx="1064">
                  <c:v>145.5384659556689</c:v>
                </c:pt>
                <c:pt idx="1065">
                  <c:v>146.87119072983538</c:v>
                </c:pt>
                <c:pt idx="1066">
                  <c:v>146.77552087252334</c:v>
                </c:pt>
                <c:pt idx="1067">
                  <c:v>146.30454756068102</c:v>
                </c:pt>
                <c:pt idx="1068">
                  <c:v>145.85799912082342</c:v>
                </c:pt>
                <c:pt idx="1069">
                  <c:v>145.06959157891401</c:v>
                </c:pt>
                <c:pt idx="1070">
                  <c:v>145.00188112106895</c:v>
                </c:pt>
                <c:pt idx="1071">
                  <c:v>145.30818703491758</c:v>
                </c:pt>
                <c:pt idx="1072">
                  <c:v>146.65533703749173</c:v>
                </c:pt>
                <c:pt idx="1073">
                  <c:v>146.16877022205148</c:v>
                </c:pt>
                <c:pt idx="1074">
                  <c:v>146.54705376838052</c:v>
                </c:pt>
                <c:pt idx="1075">
                  <c:v>145.67169883053674</c:v>
                </c:pt>
                <c:pt idx="1076">
                  <c:v>145.36921456264926</c:v>
                </c:pt>
                <c:pt idx="1077">
                  <c:v>145.69401486679683</c:v>
                </c:pt>
                <c:pt idx="1078">
                  <c:v>145.88025575326029</c:v>
                </c:pt>
                <c:pt idx="1079">
                  <c:v>146.40190052631789</c:v>
                </c:pt>
                <c:pt idx="1080">
                  <c:v>146.93995065522415</c:v>
                </c:pt>
                <c:pt idx="1081">
                  <c:v>146.57746852587431</c:v>
                </c:pt>
                <c:pt idx="1082">
                  <c:v>145.66125365828543</c:v>
                </c:pt>
                <c:pt idx="1083">
                  <c:v>146.48567971834666</c:v>
                </c:pt>
                <c:pt idx="1084">
                  <c:v>146.16186947791959</c:v>
                </c:pt>
                <c:pt idx="1085">
                  <c:v>145.57897936311181</c:v>
                </c:pt>
                <c:pt idx="1086">
                  <c:v>145.7323402334174</c:v>
                </c:pt>
                <c:pt idx="1087">
                  <c:v>146.25565821416268</c:v>
                </c:pt>
                <c:pt idx="1088">
                  <c:v>147.17319976713702</c:v>
                </c:pt>
                <c:pt idx="1089">
                  <c:v>146.81682633094266</c:v>
                </c:pt>
                <c:pt idx="1090">
                  <c:v>146.67694022787308</c:v>
                </c:pt>
                <c:pt idx="1091">
                  <c:v>145.99606350664729</c:v>
                </c:pt>
                <c:pt idx="1092">
                  <c:v>144.95274425862047</c:v>
                </c:pt>
                <c:pt idx="1093">
                  <c:v>145.92031373139176</c:v>
                </c:pt>
                <c:pt idx="1094">
                  <c:v>145.86111782154299</c:v>
                </c:pt>
                <c:pt idx="1095">
                  <c:v>144.97508999679218</c:v>
                </c:pt>
                <c:pt idx="1096">
                  <c:v>145.07023512033234</c:v>
                </c:pt>
                <c:pt idx="1097">
                  <c:v>144.07673587872117</c:v>
                </c:pt>
                <c:pt idx="1098">
                  <c:v>143.90709836085048</c:v>
                </c:pt>
                <c:pt idx="1099">
                  <c:v>143.79703297704239</c:v>
                </c:pt>
                <c:pt idx="1100">
                  <c:v>142.43614089002767</c:v>
                </c:pt>
                <c:pt idx="1101">
                  <c:v>141.66042596501512</c:v>
                </c:pt>
                <c:pt idx="1102">
                  <c:v>141.25172766119226</c:v>
                </c:pt>
                <c:pt idx="1103">
                  <c:v>140.39634230859096</c:v>
                </c:pt>
                <c:pt idx="1104">
                  <c:v>140.08824437940825</c:v>
                </c:pt>
                <c:pt idx="1105">
                  <c:v>140.01872210495466</c:v>
                </c:pt>
                <c:pt idx="1106">
                  <c:v>137.96137959439071</c:v>
                </c:pt>
                <c:pt idx="1107">
                  <c:v>139.11401177779803</c:v>
                </c:pt>
                <c:pt idx="1108">
                  <c:v>139.62917163348635</c:v>
                </c:pt>
                <c:pt idx="1109">
                  <c:v>137.9825273554606</c:v>
                </c:pt>
                <c:pt idx="1110">
                  <c:v>136.08932750911848</c:v>
                </c:pt>
                <c:pt idx="1111">
                  <c:v>136.29829035796743</c:v>
                </c:pt>
                <c:pt idx="1112">
                  <c:v>137.75159499265374</c:v>
                </c:pt>
                <c:pt idx="1113">
                  <c:v>138.35299929903488</c:v>
                </c:pt>
                <c:pt idx="1114">
                  <c:v>137.2684240957748</c:v>
                </c:pt>
                <c:pt idx="1115">
                  <c:v>136.3181609368379</c:v>
                </c:pt>
                <c:pt idx="1116">
                  <c:v>135.40865870127402</c:v>
                </c:pt>
                <c:pt idx="1117">
                  <c:v>134.36317121369933</c:v>
                </c:pt>
                <c:pt idx="1118">
                  <c:v>135.37402627233089</c:v>
                </c:pt>
                <c:pt idx="1119">
                  <c:v>135.15736072773643</c:v>
                </c:pt>
                <c:pt idx="1120">
                  <c:v>137.26123623316397</c:v>
                </c:pt>
                <c:pt idx="1121">
                  <c:v>136.83558803844616</c:v>
                </c:pt>
                <c:pt idx="1122">
                  <c:v>135.16385554574293</c:v>
                </c:pt>
                <c:pt idx="1123">
                  <c:v>133.62394013678721</c:v>
                </c:pt>
                <c:pt idx="1124">
                  <c:v>132.39383546725068</c:v>
                </c:pt>
                <c:pt idx="1125">
                  <c:v>132.99309133535834</c:v>
                </c:pt>
                <c:pt idx="1126">
                  <c:v>132.37012344114467</c:v>
                </c:pt>
                <c:pt idx="1127">
                  <c:v>132.84993802201112</c:v>
                </c:pt>
                <c:pt idx="1128">
                  <c:v>135.23601138969303</c:v>
                </c:pt>
                <c:pt idx="1129">
                  <c:v>134.71963375562851</c:v>
                </c:pt>
                <c:pt idx="1130">
                  <c:v>133.83473460351908</c:v>
                </c:pt>
                <c:pt idx="1131">
                  <c:v>132.65029167277206</c:v>
                </c:pt>
                <c:pt idx="1132">
                  <c:v>137.47237722219802</c:v>
                </c:pt>
                <c:pt idx="1133">
                  <c:v>137.68663691195164</c:v>
                </c:pt>
                <c:pt idx="1134">
                  <c:v>136.99578034842324</c:v>
                </c:pt>
                <c:pt idx="1135">
                  <c:v>135.80938699214681</c:v>
                </c:pt>
                <c:pt idx="1136">
                  <c:v>135.15480636333754</c:v>
                </c:pt>
                <c:pt idx="1137">
                  <c:v>136.74133397225447</c:v>
                </c:pt>
                <c:pt idx="1138">
                  <c:v>135.2716932861799</c:v>
                </c:pt>
                <c:pt idx="1139">
                  <c:v>136.16710691500106</c:v>
                </c:pt>
                <c:pt idx="1140">
                  <c:v>133.13072009314519</c:v>
                </c:pt>
                <c:pt idx="1141">
                  <c:v>131.48765984578768</c:v>
                </c:pt>
                <c:pt idx="1142">
                  <c:v>133.9175336324646</c:v>
                </c:pt>
                <c:pt idx="1143">
                  <c:v>136.16052299125971</c:v>
                </c:pt>
                <c:pt idx="1144">
                  <c:v>135.50598196499928</c:v>
                </c:pt>
                <c:pt idx="1145">
                  <c:v>135.22439794225156</c:v>
                </c:pt>
                <c:pt idx="1146">
                  <c:v>133.39207711408307</c:v>
                </c:pt>
                <c:pt idx="1147">
                  <c:v>134.94247729783888</c:v>
                </c:pt>
                <c:pt idx="1148">
                  <c:v>136.87414111972248</c:v>
                </c:pt>
                <c:pt idx="1149">
                  <c:v>136.75755121599627</c:v>
                </c:pt>
                <c:pt idx="1150">
                  <c:v>137.49843569932162</c:v>
                </c:pt>
                <c:pt idx="1151">
                  <c:v>138.77238039040191</c:v>
                </c:pt>
                <c:pt idx="1152">
                  <c:v>138.09293926157088</c:v>
                </c:pt>
                <c:pt idx="1153">
                  <c:v>137.07400528298001</c:v>
                </c:pt>
                <c:pt idx="1154">
                  <c:v>136.93017872630281</c:v>
                </c:pt>
                <c:pt idx="1155">
                  <c:v>138.18335188052703</c:v>
                </c:pt>
                <c:pt idx="1156">
                  <c:v>139.3669235552</c:v>
                </c:pt>
                <c:pt idx="1157">
                  <c:v>136.5873196598933</c:v>
                </c:pt>
                <c:pt idx="1158">
                  <c:v>134.88273685294385</c:v>
                </c:pt>
                <c:pt idx="1159">
                  <c:v>132.86638298040862</c:v>
                </c:pt>
                <c:pt idx="1160">
                  <c:v>137.79006886883241</c:v>
                </c:pt>
                <c:pt idx="1161">
                  <c:v>136.34077399221414</c:v>
                </c:pt>
                <c:pt idx="1162">
                  <c:v>134.27386746611012</c:v>
                </c:pt>
                <c:pt idx="1163">
                  <c:v>134.12308076147781</c:v>
                </c:pt>
                <c:pt idx="1164">
                  <c:v>136.97922648301645</c:v>
                </c:pt>
                <c:pt idx="1165">
                  <c:v>138.07922687904193</c:v>
                </c:pt>
                <c:pt idx="1166">
                  <c:v>138.54453702640302</c:v>
                </c:pt>
                <c:pt idx="1167">
                  <c:v>139.40390243516072</c:v>
                </c:pt>
                <c:pt idx="1168">
                  <c:v>139.33001397969974</c:v>
                </c:pt>
                <c:pt idx="1169">
                  <c:v>138.5059839451267</c:v>
                </c:pt>
                <c:pt idx="1170">
                  <c:v>138.92152358925819</c:v>
                </c:pt>
                <c:pt idx="1171">
                  <c:v>138.15083818794577</c:v>
                </c:pt>
                <c:pt idx="1172">
                  <c:v>137.95496398148182</c:v>
                </c:pt>
                <c:pt idx="1173">
                  <c:v>138.20951926465989</c:v>
                </c:pt>
                <c:pt idx="1174">
                  <c:v>136.48339267115233</c:v>
                </c:pt>
                <c:pt idx="1175">
                  <c:v>136.22889679179752</c:v>
                </c:pt>
                <c:pt idx="1176">
                  <c:v>135.29318756955198</c:v>
                </c:pt>
                <c:pt idx="1177">
                  <c:v>134.12380350799378</c:v>
                </c:pt>
                <c:pt idx="1178">
                  <c:v>130.98172738397443</c:v>
                </c:pt>
                <c:pt idx="1179">
                  <c:v>125.95057007869026</c:v>
                </c:pt>
                <c:pt idx="1180">
                  <c:v>127.94253868178956</c:v>
                </c:pt>
                <c:pt idx="1181">
                  <c:v>129.42015928145136</c:v>
                </c:pt>
                <c:pt idx="1182">
                  <c:v>131.53248003041475</c:v>
                </c:pt>
                <c:pt idx="1183">
                  <c:v>132.96034992812139</c:v>
                </c:pt>
                <c:pt idx="1184">
                  <c:v>134.59606390267277</c:v>
                </c:pt>
                <c:pt idx="1185">
                  <c:v>135.08889782146377</c:v>
                </c:pt>
                <c:pt idx="1186">
                  <c:v>133.85546653782637</c:v>
                </c:pt>
                <c:pt idx="1187">
                  <c:v>131.7353044841966</c:v>
                </c:pt>
                <c:pt idx="1188">
                  <c:v>133.10443390136589</c:v>
                </c:pt>
                <c:pt idx="1189">
                  <c:v>134.61717206119386</c:v>
                </c:pt>
                <c:pt idx="1190">
                  <c:v>134.10996241718115</c:v>
                </c:pt>
                <c:pt idx="1191">
                  <c:v>134.08960670708768</c:v>
                </c:pt>
                <c:pt idx="1192">
                  <c:v>133.37713705254072</c:v>
                </c:pt>
                <c:pt idx="1193">
                  <c:v>132.22595036216532</c:v>
                </c:pt>
                <c:pt idx="1194">
                  <c:v>130.04929527264375</c:v>
                </c:pt>
                <c:pt idx="1195">
                  <c:v>130.17820156905299</c:v>
                </c:pt>
                <c:pt idx="1196">
                  <c:v>130.72995417985101</c:v>
                </c:pt>
                <c:pt idx="1197">
                  <c:v>130.23523913999105</c:v>
                </c:pt>
                <c:pt idx="1198">
                  <c:v>128.8861387118875</c:v>
                </c:pt>
                <c:pt idx="1199">
                  <c:v>128.34995980341296</c:v>
                </c:pt>
                <c:pt idx="1200">
                  <c:v>128.5879612211842</c:v>
                </c:pt>
                <c:pt idx="1201">
                  <c:v>128.11137424804659</c:v>
                </c:pt>
                <c:pt idx="1202">
                  <c:v>127.82400825317117</c:v>
                </c:pt>
                <c:pt idx="1203">
                  <c:v>126.72662162536781</c:v>
                </c:pt>
                <c:pt idx="1204">
                  <c:v>125.44713257745268</c:v>
                </c:pt>
                <c:pt idx="1205">
                  <c:v>124.10613087058282</c:v>
                </c:pt>
                <c:pt idx="1206">
                  <c:v>122.70138886138713</c:v>
                </c:pt>
                <c:pt idx="1207">
                  <c:v>126.64646606655606</c:v>
                </c:pt>
                <c:pt idx="1208">
                  <c:v>126.4268105295257</c:v>
                </c:pt>
                <c:pt idx="1209">
                  <c:v>126.07886253559279</c:v>
                </c:pt>
                <c:pt idx="1210">
                  <c:v>125.00668293011339</c:v>
                </c:pt>
                <c:pt idx="1211">
                  <c:v>125.03055336641467</c:v>
                </c:pt>
                <c:pt idx="1212">
                  <c:v>124.6415474299926</c:v>
                </c:pt>
                <c:pt idx="1213">
                  <c:v>124.27664954516473</c:v>
                </c:pt>
                <c:pt idx="1214">
                  <c:v>124.64663635751596</c:v>
                </c:pt>
                <c:pt idx="1215">
                  <c:v>123.54643794874637</c:v>
                </c:pt>
                <c:pt idx="1216">
                  <c:v>123.10053305030712</c:v>
                </c:pt>
                <c:pt idx="1217">
                  <c:v>122.24823669651379</c:v>
                </c:pt>
                <c:pt idx="1218">
                  <c:v>121.16518619138328</c:v>
                </c:pt>
                <c:pt idx="1219">
                  <c:v>120.74891390009861</c:v>
                </c:pt>
                <c:pt idx="1220">
                  <c:v>120.33886910961589</c:v>
                </c:pt>
                <c:pt idx="1221">
                  <c:v>119.06671643386969</c:v>
                </c:pt>
                <c:pt idx="1222">
                  <c:v>119.41059526591131</c:v>
                </c:pt>
                <c:pt idx="1223">
                  <c:v>118.28059593915465</c:v>
                </c:pt>
                <c:pt idx="1224">
                  <c:v>119.87342035333396</c:v>
                </c:pt>
                <c:pt idx="1225">
                  <c:v>118.87506979949229</c:v>
                </c:pt>
                <c:pt idx="1226">
                  <c:v>117.78368295783517</c:v>
                </c:pt>
                <c:pt idx="1227">
                  <c:v>116.99244383368514</c:v>
                </c:pt>
                <c:pt idx="1228">
                  <c:v>118.31874309430555</c:v>
                </c:pt>
                <c:pt idx="1229">
                  <c:v>118.00460577642778</c:v>
                </c:pt>
                <c:pt idx="1230">
                  <c:v>117.2978388889109</c:v>
                </c:pt>
                <c:pt idx="1231">
                  <c:v>116.74016569706427</c:v>
                </c:pt>
                <c:pt idx="1232">
                  <c:v>116.45156212253821</c:v>
                </c:pt>
                <c:pt idx="1233">
                  <c:v>116.84668665275298</c:v>
                </c:pt>
                <c:pt idx="1234">
                  <c:v>115.9249274283293</c:v>
                </c:pt>
                <c:pt idx="1235">
                  <c:v>114.9399328340772</c:v>
                </c:pt>
                <c:pt idx="1236">
                  <c:v>113.26949732484783</c:v>
                </c:pt>
                <c:pt idx="1237">
                  <c:v>112.15053720857475</c:v>
                </c:pt>
                <c:pt idx="1238">
                  <c:v>110.06080971371317</c:v>
                </c:pt>
                <c:pt idx="1239">
                  <c:v>109.05080610988122</c:v>
                </c:pt>
                <c:pt idx="1240">
                  <c:v>108.08250398995681</c:v>
                </c:pt>
                <c:pt idx="1241">
                  <c:v>108.64814719475346</c:v>
                </c:pt>
                <c:pt idx="1242">
                  <c:v>108.70053146620518</c:v>
                </c:pt>
                <c:pt idx="1243">
                  <c:v>109.09840837356293</c:v>
                </c:pt>
                <c:pt idx="1244">
                  <c:v>110.29928636207028</c:v>
                </c:pt>
                <c:pt idx="1245">
                  <c:v>109.38033891861281</c:v>
                </c:pt>
                <c:pt idx="1246">
                  <c:v>110.78422947300888</c:v>
                </c:pt>
                <c:pt idx="1247">
                  <c:v>110.5170805793061</c:v>
                </c:pt>
                <c:pt idx="1248">
                  <c:v>110.73809250363354</c:v>
                </c:pt>
                <c:pt idx="1249">
                  <c:v>110.74132011136237</c:v>
                </c:pt>
                <c:pt idx="1250">
                  <c:v>110.49930893552309</c:v>
                </c:pt>
                <c:pt idx="1251">
                  <c:v>109.7942845601543</c:v>
                </c:pt>
                <c:pt idx="1252">
                  <c:v>109.21681009389765</c:v>
                </c:pt>
                <c:pt idx="1253">
                  <c:v>111.81229183910277</c:v>
                </c:pt>
                <c:pt idx="1254">
                  <c:v>111.71706751046497</c:v>
                </c:pt>
                <c:pt idx="1255">
                  <c:v>111.6070615304801</c:v>
                </c:pt>
                <c:pt idx="1256">
                  <c:v>111.50378798379464</c:v>
                </c:pt>
                <c:pt idx="1257">
                  <c:v>111.06102158734936</c:v>
                </c:pt>
                <c:pt idx="1258">
                  <c:v>110.04939427901579</c:v>
                </c:pt>
                <c:pt idx="1259">
                  <c:v>109.34260759022452</c:v>
                </c:pt>
                <c:pt idx="1260">
                  <c:v>108.25665619839293</c:v>
                </c:pt>
                <c:pt idx="1261">
                  <c:v>107.12248870337295</c:v>
                </c:pt>
                <c:pt idx="1262">
                  <c:v>105.72086539489682</c:v>
                </c:pt>
                <c:pt idx="1263">
                  <c:v>105.59553322851858</c:v>
                </c:pt>
                <c:pt idx="1264">
                  <c:v>105.55623759945189</c:v>
                </c:pt>
                <c:pt idx="1265">
                  <c:v>104.02723269269609</c:v>
                </c:pt>
                <c:pt idx="1266">
                  <c:v>100.350947887006</c:v>
                </c:pt>
                <c:pt idx="1267">
                  <c:v>103.42742238890494</c:v>
                </c:pt>
                <c:pt idx="1268">
                  <c:v>103.82141824647834</c:v>
                </c:pt>
                <c:pt idx="1269">
                  <c:v>104.52737328174442</c:v>
                </c:pt>
                <c:pt idx="1270">
                  <c:v>106.90231833320793</c:v>
                </c:pt>
                <c:pt idx="1271">
                  <c:v>106.91099129139951</c:v>
                </c:pt>
                <c:pt idx="1272">
                  <c:v>107.7691290211438</c:v>
                </c:pt>
                <c:pt idx="1273">
                  <c:v>107.08322277621787</c:v>
                </c:pt>
                <c:pt idx="1274">
                  <c:v>106.49688723966275</c:v>
                </c:pt>
                <c:pt idx="1275">
                  <c:v>106.35331809955288</c:v>
                </c:pt>
                <c:pt idx="1276">
                  <c:v>106.03938869505643</c:v>
                </c:pt>
                <c:pt idx="1277">
                  <c:v>104.370834306896</c:v>
                </c:pt>
                <c:pt idx="1278">
                  <c:v>104.61028121769917</c:v>
                </c:pt>
                <c:pt idx="1279">
                  <c:v>104.93576466581389</c:v>
                </c:pt>
                <c:pt idx="1280">
                  <c:v>104.62915183221193</c:v>
                </c:pt>
                <c:pt idx="1281">
                  <c:v>106.27781584022749</c:v>
                </c:pt>
                <c:pt idx="1282">
                  <c:v>106.14815709539064</c:v>
                </c:pt>
                <c:pt idx="1283">
                  <c:v>105.51486283657216</c:v>
                </c:pt>
                <c:pt idx="1284">
                  <c:v>104.65496279340539</c:v>
                </c:pt>
                <c:pt idx="1285">
                  <c:v>106.90038770895293</c:v>
                </c:pt>
                <c:pt idx="1286">
                  <c:v>106.33187331936685</c:v>
                </c:pt>
                <c:pt idx="1287">
                  <c:v>106.39862341540302</c:v>
                </c:pt>
                <c:pt idx="1288">
                  <c:v>105.74192405023189</c:v>
                </c:pt>
                <c:pt idx="1289">
                  <c:v>105.73206301557568</c:v>
                </c:pt>
                <c:pt idx="1290">
                  <c:v>105.06457195585108</c:v>
                </c:pt>
                <c:pt idx="1291">
                  <c:v>104.6002419715733</c:v>
                </c:pt>
                <c:pt idx="1292">
                  <c:v>105.32775069403466</c:v>
                </c:pt>
                <c:pt idx="1293">
                  <c:v>105.02233583753451</c:v>
                </c:pt>
                <c:pt idx="1294">
                  <c:v>103.86969375348998</c:v>
                </c:pt>
                <c:pt idx="1295">
                  <c:v>103.18951997750577</c:v>
                </c:pt>
                <c:pt idx="1296">
                  <c:v>104.11572458803448</c:v>
                </c:pt>
                <c:pt idx="1297">
                  <c:v>104.07210238050921</c:v>
                </c:pt>
                <c:pt idx="1298">
                  <c:v>104.21959217295225</c:v>
                </c:pt>
                <c:pt idx="1299">
                  <c:v>103.89756404722208</c:v>
                </c:pt>
                <c:pt idx="1300">
                  <c:v>103.62260355076454</c:v>
                </c:pt>
                <c:pt idx="1301">
                  <c:v>103.4190068472807</c:v>
                </c:pt>
                <c:pt idx="1302">
                  <c:v>102.52029630627027</c:v>
                </c:pt>
                <c:pt idx="1303">
                  <c:v>102.39178603534924</c:v>
                </c:pt>
                <c:pt idx="1304">
                  <c:v>100.6824905250902</c:v>
                </c:pt>
                <c:pt idx="1305">
                  <c:v>102.23258378909266</c:v>
                </c:pt>
                <c:pt idx="1306">
                  <c:v>101.39966298230954</c:v>
                </c:pt>
                <c:pt idx="1307">
                  <c:v>102.19173375998479</c:v>
                </c:pt>
                <c:pt idx="1308">
                  <c:v>103.16329318954969</c:v>
                </c:pt>
                <c:pt idx="1309">
                  <c:v>101.46054200048316</c:v>
                </c:pt>
                <c:pt idx="1310">
                  <c:v>101.65300048711134</c:v>
                </c:pt>
                <c:pt idx="1311">
                  <c:v>101.69304856460562</c:v>
                </c:pt>
                <c:pt idx="1312">
                  <c:v>100.99613281110773</c:v>
                </c:pt>
                <c:pt idx="1313">
                  <c:v>101.40045503328594</c:v>
                </c:pt>
                <c:pt idx="1314">
                  <c:v>100.32000839574036</c:v>
                </c:pt>
                <c:pt idx="1315">
                  <c:v>99.333360395075033</c:v>
                </c:pt>
                <c:pt idx="1316">
                  <c:v>97.89580767418191</c:v>
                </c:pt>
                <c:pt idx="1317">
                  <c:v>97.021987335104882</c:v>
                </c:pt>
                <c:pt idx="1318">
                  <c:v>96.857765465785377</c:v>
                </c:pt>
                <c:pt idx="1319">
                  <c:v>98.540269851767661</c:v>
                </c:pt>
                <c:pt idx="1320">
                  <c:v>97.979081933713246</c:v>
                </c:pt>
                <c:pt idx="1321">
                  <c:v>98.037871917436604</c:v>
                </c:pt>
                <c:pt idx="1322">
                  <c:v>97.231643228558198</c:v>
                </c:pt>
                <c:pt idx="1323">
                  <c:v>98.185332007968029</c:v>
                </c:pt>
                <c:pt idx="1324">
                  <c:v>98.068801508065064</c:v>
                </c:pt>
                <c:pt idx="1325">
                  <c:v>96.702345262941122</c:v>
                </c:pt>
                <c:pt idx="1326">
                  <c:v>95.982252117746299</c:v>
                </c:pt>
                <c:pt idx="1327">
                  <c:v>94.857896154196482</c:v>
                </c:pt>
                <c:pt idx="1328">
                  <c:v>93.958839090883899</c:v>
                </c:pt>
                <c:pt idx="1329">
                  <c:v>94.171366169126642</c:v>
                </c:pt>
                <c:pt idx="1330">
                  <c:v>94.82034303727788</c:v>
                </c:pt>
                <c:pt idx="1331">
                  <c:v>93.816665940619941</c:v>
                </c:pt>
                <c:pt idx="1332">
                  <c:v>93.988818220340661</c:v>
                </c:pt>
                <c:pt idx="1333">
                  <c:v>95.303444629696372</c:v>
                </c:pt>
                <c:pt idx="1334">
                  <c:v>93.96837340451232</c:v>
                </c:pt>
                <c:pt idx="1335">
                  <c:v>93.352959696486067</c:v>
                </c:pt>
                <c:pt idx="1336">
                  <c:v>91.795807278156431</c:v>
                </c:pt>
                <c:pt idx="1337">
                  <c:v>90.254485978717597</c:v>
                </c:pt>
                <c:pt idx="1338">
                  <c:v>90.393520626987552</c:v>
                </c:pt>
                <c:pt idx="1339">
                  <c:v>89.82159051756571</c:v>
                </c:pt>
                <c:pt idx="1340">
                  <c:v>90.983271883378407</c:v>
                </c:pt>
                <c:pt idx="1341">
                  <c:v>90.361086139503939</c:v>
                </c:pt>
                <c:pt idx="1342">
                  <c:v>92.286383851664695</c:v>
                </c:pt>
                <c:pt idx="1343">
                  <c:v>91.709533125551957</c:v>
                </c:pt>
                <c:pt idx="1344">
                  <c:v>92.787920430558913</c:v>
                </c:pt>
                <c:pt idx="1345">
                  <c:v>92.411319992554724</c:v>
                </c:pt>
                <c:pt idx="1346">
                  <c:v>91.576339853232952</c:v>
                </c:pt>
                <c:pt idx="1347">
                  <c:v>91.348981620457096</c:v>
                </c:pt>
                <c:pt idx="1348">
                  <c:v>90.737062837364206</c:v>
                </c:pt>
                <c:pt idx="1349">
                  <c:v>89.654794482572896</c:v>
                </c:pt>
                <c:pt idx="1350">
                  <c:v>87.419656329081334</c:v>
                </c:pt>
                <c:pt idx="1351">
                  <c:v>86.543925167023744</c:v>
                </c:pt>
                <c:pt idx="1352">
                  <c:v>85.231902625252971</c:v>
                </c:pt>
                <c:pt idx="1353">
                  <c:v>83.024407050837794</c:v>
                </c:pt>
                <c:pt idx="1354">
                  <c:v>83.324346854963579</c:v>
                </c:pt>
                <c:pt idx="1355">
                  <c:v>83.620375907393395</c:v>
                </c:pt>
                <c:pt idx="1356">
                  <c:v>83.15584791037152</c:v>
                </c:pt>
                <c:pt idx="1357">
                  <c:v>81.713612188080418</c:v>
                </c:pt>
                <c:pt idx="1358">
                  <c:v>81.116979988832085</c:v>
                </c:pt>
                <c:pt idx="1359">
                  <c:v>83.51400346126276</c:v>
                </c:pt>
                <c:pt idx="1360">
                  <c:v>83.425778883128913</c:v>
                </c:pt>
                <c:pt idx="1361">
                  <c:v>85.378016229124512</c:v>
                </c:pt>
                <c:pt idx="1362">
                  <c:v>84.115160251713803</c:v>
                </c:pt>
                <c:pt idx="1363">
                  <c:v>84.521581408979486</c:v>
                </c:pt>
                <c:pt idx="1364">
                  <c:v>84.341577923955185</c:v>
                </c:pt>
                <c:pt idx="1365">
                  <c:v>83.703105631878472</c:v>
                </c:pt>
                <c:pt idx="1366">
                  <c:v>84.337884986277714</c:v>
                </c:pt>
                <c:pt idx="1367">
                  <c:v>84.002946429632203</c:v>
                </c:pt>
                <c:pt idx="1368">
                  <c:v>84.719881271558634</c:v>
                </c:pt>
                <c:pt idx="1369">
                  <c:v>89.260986737106393</c:v>
                </c:pt>
                <c:pt idx="1370">
                  <c:v>86.442126815281824</c:v>
                </c:pt>
                <c:pt idx="1371">
                  <c:v>84.725178112463311</c:v>
                </c:pt>
                <c:pt idx="1372">
                  <c:v>84.217493237864787</c:v>
                </c:pt>
                <c:pt idx="1373">
                  <c:v>83.063603673532427</c:v>
                </c:pt>
                <c:pt idx="1374">
                  <c:v>84.332538642187018</c:v>
                </c:pt>
                <c:pt idx="1375">
                  <c:v>83.355820980638313</c:v>
                </c:pt>
                <c:pt idx="1376">
                  <c:v>81.339378002368235</c:v>
                </c:pt>
                <c:pt idx="1377">
                  <c:v>83.675274940695189</c:v>
                </c:pt>
                <c:pt idx="1378">
                  <c:v>83.854624983663953</c:v>
                </c:pt>
                <c:pt idx="1379">
                  <c:v>81.740135995152656</c:v>
                </c:pt>
                <c:pt idx="1380">
                  <c:v>81.306433632068561</c:v>
                </c:pt>
                <c:pt idx="1381">
                  <c:v>81.610541604457666</c:v>
                </c:pt>
                <c:pt idx="1382">
                  <c:v>82.560963173589855</c:v>
                </c:pt>
                <c:pt idx="1383">
                  <c:v>79.652695547485436</c:v>
                </c:pt>
                <c:pt idx="1384">
                  <c:v>80.128906296409241</c:v>
                </c:pt>
                <c:pt idx="1385">
                  <c:v>73.682497455536236</c:v>
                </c:pt>
                <c:pt idx="1386">
                  <c:v>75.013172797801261</c:v>
                </c:pt>
                <c:pt idx="1387">
                  <c:v>78.166095069878693</c:v>
                </c:pt>
                <c:pt idx="1388">
                  <c:v>75.172597808394954</c:v>
                </c:pt>
                <c:pt idx="1389">
                  <c:v>77.902010423390848</c:v>
                </c:pt>
                <c:pt idx="1390">
                  <c:v>78.002388033693848</c:v>
                </c:pt>
                <c:pt idx="1391">
                  <c:v>75.446825657699335</c:v>
                </c:pt>
                <c:pt idx="1392">
                  <c:v>71.21173898752123</c:v>
                </c:pt>
                <c:pt idx="1393">
                  <c:v>69.293688541794552</c:v>
                </c:pt>
                <c:pt idx="1394">
                  <c:v>79.056187106202159</c:v>
                </c:pt>
                <c:pt idx="1395">
                  <c:v>74.123145115619636</c:v>
                </c:pt>
                <c:pt idx="1396">
                  <c:v>76.450869077933859</c:v>
                </c:pt>
                <c:pt idx="1397">
                  <c:v>80.406208293565768</c:v>
                </c:pt>
                <c:pt idx="1398">
                  <c:v>81.291800490279556</c:v>
                </c:pt>
                <c:pt idx="1399">
                  <c:v>87.516009330360504</c:v>
                </c:pt>
                <c:pt idx="1400">
                  <c:v>84.66660594275848</c:v>
                </c:pt>
                <c:pt idx="1401">
                  <c:v>92.245632828928876</c:v>
                </c:pt>
                <c:pt idx="1402">
                  <c:v>92.262741130019137</c:v>
                </c:pt>
                <c:pt idx="1403">
                  <c:v>97.189991247836716</c:v>
                </c:pt>
                <c:pt idx="1404">
                  <c:v>99.450633442768378</c:v>
                </c:pt>
                <c:pt idx="1405">
                  <c:v>99.117080975331575</c:v>
                </c:pt>
                <c:pt idx="1406">
                  <c:v>99.365507764079695</c:v>
                </c:pt>
                <c:pt idx="1407">
                  <c:v>97.721813875941052</c:v>
                </c:pt>
                <c:pt idx="1408">
                  <c:v>98.450946302904057</c:v>
                </c:pt>
                <c:pt idx="1409">
                  <c:v>102.28581951534402</c:v>
                </c:pt>
                <c:pt idx="1410">
                  <c:v>102.71486362862315</c:v>
                </c:pt>
                <c:pt idx="1411">
                  <c:v>103.7517771643783</c:v>
                </c:pt>
                <c:pt idx="1412">
                  <c:v>103.9238502390014</c:v>
                </c:pt>
                <c:pt idx="1413">
                  <c:v>106.16192888174282</c:v>
                </c:pt>
                <c:pt idx="1414">
                  <c:v>106.691038735253</c:v>
                </c:pt>
                <c:pt idx="1415">
                  <c:v>105.55076254707754</c:v>
                </c:pt>
                <c:pt idx="1416">
                  <c:v>105.97606421949317</c:v>
                </c:pt>
                <c:pt idx="1417">
                  <c:v>106.54519244858601</c:v>
                </c:pt>
                <c:pt idx="1418">
                  <c:v>107.03732342213546</c:v>
                </c:pt>
                <c:pt idx="1419">
                  <c:v>107.07183704343211</c:v>
                </c:pt>
                <c:pt idx="1420">
                  <c:v>106.20793714283452</c:v>
                </c:pt>
                <c:pt idx="1421">
                  <c:v>105.58432570720251</c:v>
                </c:pt>
                <c:pt idx="1422">
                  <c:v>106.13391007845266</c:v>
                </c:pt>
                <c:pt idx="1423">
                  <c:v>106.35998122839186</c:v>
                </c:pt>
                <c:pt idx="1424">
                  <c:v>105.94257036382861</c:v>
                </c:pt>
                <c:pt idx="1425">
                  <c:v>105.0075145836386</c:v>
                </c:pt>
                <c:pt idx="1426">
                  <c:v>102.82654281629566</c:v>
                </c:pt>
                <c:pt idx="1427">
                  <c:v>102.32495673421542</c:v>
                </c:pt>
                <c:pt idx="1428">
                  <c:v>104.30120312543316</c:v>
                </c:pt>
                <c:pt idx="1429">
                  <c:v>105.27062401736175</c:v>
                </c:pt>
                <c:pt idx="1430">
                  <c:v>106.24913369424456</c:v>
                </c:pt>
                <c:pt idx="1431">
                  <c:v>105.60058255349314</c:v>
                </c:pt>
                <c:pt idx="1432">
                  <c:v>106.23298575496318</c:v>
                </c:pt>
                <c:pt idx="1433">
                  <c:v>107.30469012985675</c:v>
                </c:pt>
                <c:pt idx="1434">
                  <c:v>106.78216420008792</c:v>
                </c:pt>
                <c:pt idx="1435">
                  <c:v>106.21039250086135</c:v>
                </c:pt>
                <c:pt idx="1436">
                  <c:v>106.63011021389337</c:v>
                </c:pt>
                <c:pt idx="1437">
                  <c:v>107.06920347393559</c:v>
                </c:pt>
                <c:pt idx="1438">
                  <c:v>108.12385895156211</c:v>
                </c:pt>
                <c:pt idx="1439">
                  <c:v>108.00274445663322</c:v>
                </c:pt>
                <c:pt idx="1440">
                  <c:v>107.81828568486669</c:v>
                </c:pt>
                <c:pt idx="1441">
                  <c:v>107.87207584680149</c:v>
                </c:pt>
                <c:pt idx="1442">
                  <c:v>107.53856298191351</c:v>
                </c:pt>
                <c:pt idx="1443">
                  <c:v>106.95854405189517</c:v>
                </c:pt>
                <c:pt idx="1444">
                  <c:v>106.570498477282</c:v>
                </c:pt>
                <c:pt idx="1445">
                  <c:v>105.17432051926863</c:v>
                </c:pt>
                <c:pt idx="1446">
                  <c:v>105.2393083018823</c:v>
                </c:pt>
                <c:pt idx="1447">
                  <c:v>104.74813769014173</c:v>
                </c:pt>
                <c:pt idx="1448">
                  <c:v>106.62956567884709</c:v>
                </c:pt>
                <c:pt idx="1449">
                  <c:v>106.96677148141254</c:v>
                </c:pt>
                <c:pt idx="1450">
                  <c:v>106.21796648832319</c:v>
                </c:pt>
                <c:pt idx="1451">
                  <c:v>106.09966377436051</c:v>
                </c:pt>
                <c:pt idx="1452">
                  <c:v>106.82423200757201</c:v>
                </c:pt>
                <c:pt idx="1453">
                  <c:v>106.73437382429934</c:v>
                </c:pt>
                <c:pt idx="1454">
                  <c:v>105.76984384715</c:v>
                </c:pt>
                <c:pt idx="1455">
                  <c:v>106.4884815986757</c:v>
                </c:pt>
                <c:pt idx="1456">
                  <c:v>106.90063522488306</c:v>
                </c:pt>
                <c:pt idx="1457">
                  <c:v>107.01659148782817</c:v>
                </c:pt>
                <c:pt idx="1458">
                  <c:v>106.85304286183859</c:v>
                </c:pt>
                <c:pt idx="1459">
                  <c:v>106.25041087644401</c:v>
                </c:pt>
                <c:pt idx="1460">
                  <c:v>105.89388893069159</c:v>
                </c:pt>
                <c:pt idx="1461">
                  <c:v>104.97676320447984</c:v>
                </c:pt>
                <c:pt idx="1462">
                  <c:v>105.26883200202765</c:v>
                </c:pt>
                <c:pt idx="1463">
                  <c:v>104.22916608912949</c:v>
                </c:pt>
                <c:pt idx="1464">
                  <c:v>103.75039107516959</c:v>
                </c:pt>
                <c:pt idx="1465">
                  <c:v>103.25589384932815</c:v>
                </c:pt>
                <c:pt idx="1466">
                  <c:v>104.08894336439494</c:v>
                </c:pt>
                <c:pt idx="1467">
                  <c:v>104.16485154984574</c:v>
                </c:pt>
                <c:pt idx="1468">
                  <c:v>104.97270394322578</c:v>
                </c:pt>
                <c:pt idx="1469">
                  <c:v>105.21168552408034</c:v>
                </c:pt>
                <c:pt idx="1470">
                  <c:v>104.80375946995947</c:v>
                </c:pt>
                <c:pt idx="1471">
                  <c:v>105.21548736876704</c:v>
                </c:pt>
                <c:pt idx="1472">
                  <c:v>105.38794656824113</c:v>
                </c:pt>
                <c:pt idx="1473">
                  <c:v>106.28404334102943</c:v>
                </c:pt>
                <c:pt idx="1474">
                  <c:v>105.770616096852</c:v>
                </c:pt>
                <c:pt idx="1475">
                  <c:v>105.06698771132909</c:v>
                </c:pt>
                <c:pt idx="1476">
                  <c:v>105.67753030585048</c:v>
                </c:pt>
                <c:pt idx="1477">
                  <c:v>104.29270837871125</c:v>
                </c:pt>
                <c:pt idx="1478">
                  <c:v>104.79958140105899</c:v>
                </c:pt>
                <c:pt idx="1479">
                  <c:v>105.17454823392434</c:v>
                </c:pt>
                <c:pt idx="1480">
                  <c:v>104.68306080179319</c:v>
                </c:pt>
                <c:pt idx="1481">
                  <c:v>104.23585891988007</c:v>
                </c:pt>
                <c:pt idx="1482">
                  <c:v>104.34125120292741</c:v>
                </c:pt>
                <c:pt idx="1483">
                  <c:v>104.15611918783092</c:v>
                </c:pt>
                <c:pt idx="1484">
                  <c:v>104.04195494021995</c:v>
                </c:pt>
                <c:pt idx="1485">
                  <c:v>104.20387986170789</c:v>
                </c:pt>
                <c:pt idx="1486">
                  <c:v>104.28615415688154</c:v>
                </c:pt>
                <c:pt idx="1487">
                  <c:v>105.49258640286088</c:v>
                </c:pt>
                <c:pt idx="1488">
                  <c:v>105.19569599499422</c:v>
                </c:pt>
                <c:pt idx="1489">
                  <c:v>105.16080614948378</c:v>
                </c:pt>
                <c:pt idx="1490">
                  <c:v>105.26368367068105</c:v>
                </c:pt>
                <c:pt idx="1491">
                  <c:v>104.94716029923686</c:v>
                </c:pt>
                <c:pt idx="1492">
                  <c:v>105.04093913484272</c:v>
                </c:pt>
                <c:pt idx="1493">
                  <c:v>104.60463785449232</c:v>
                </c:pt>
                <c:pt idx="1494">
                  <c:v>103.96723483123374</c:v>
                </c:pt>
                <c:pt idx="1495">
                  <c:v>102.48837665192131</c:v>
                </c:pt>
                <c:pt idx="1496">
                  <c:v>102.25505823554803</c:v>
                </c:pt>
                <c:pt idx="1497">
                  <c:v>102.07192614916696</c:v>
                </c:pt>
                <c:pt idx="1498">
                  <c:v>102.12579551619942</c:v>
                </c:pt>
                <c:pt idx="1499">
                  <c:v>102.05842168001934</c:v>
                </c:pt>
                <c:pt idx="1500">
                  <c:v>102.52980091798709</c:v>
                </c:pt>
                <c:pt idx="1501">
                  <c:v>101.74294777611888</c:v>
                </c:pt>
                <c:pt idx="1502">
                  <c:v>100.74007263107454</c:v>
                </c:pt>
                <c:pt idx="1503">
                  <c:v>100.35697737506386</c:v>
                </c:pt>
                <c:pt idx="1504">
                  <c:v>99.527224772186344</c:v>
                </c:pt>
                <c:pt idx="1505">
                  <c:v>98.984966872467922</c:v>
                </c:pt>
                <c:pt idx="1506">
                  <c:v>98.452371994661576</c:v>
                </c:pt>
                <c:pt idx="1507">
                  <c:v>98.982194694050506</c:v>
                </c:pt>
                <c:pt idx="1508">
                  <c:v>97.638034683912252</c:v>
                </c:pt>
                <c:pt idx="1509">
                  <c:v>98.149937229960116</c:v>
                </c:pt>
                <c:pt idx="1510">
                  <c:v>99.203681848963797</c:v>
                </c:pt>
                <c:pt idx="1511">
                  <c:v>99.500740567662945</c:v>
                </c:pt>
                <c:pt idx="1512">
                  <c:v>100.66733264952931</c:v>
                </c:pt>
                <c:pt idx="1513">
                  <c:v>100.50698192935697</c:v>
                </c:pt>
                <c:pt idx="1514">
                  <c:v>99.704792700458199</c:v>
                </c:pt>
                <c:pt idx="1515">
                  <c:v>98.578199192900058</c:v>
                </c:pt>
                <c:pt idx="1516">
                  <c:v>99.592361064358101</c:v>
                </c:pt>
                <c:pt idx="1517">
                  <c:v>99.627953855110121</c:v>
                </c:pt>
                <c:pt idx="1518">
                  <c:v>97.246365476082048</c:v>
                </c:pt>
                <c:pt idx="1519">
                  <c:v>92.526741621090736</c:v>
                </c:pt>
                <c:pt idx="1520">
                  <c:v>93.70459072745922</c:v>
                </c:pt>
                <c:pt idx="1521">
                  <c:v>93.422175051186301</c:v>
                </c:pt>
                <c:pt idx="1522">
                  <c:v>94.928873822319204</c:v>
                </c:pt>
                <c:pt idx="1523">
                  <c:v>95.421212709249971</c:v>
                </c:pt>
                <c:pt idx="1524">
                  <c:v>94.67164536709582</c:v>
                </c:pt>
                <c:pt idx="1525">
                  <c:v>95.305791080713959</c:v>
                </c:pt>
                <c:pt idx="1526">
                  <c:v>95.170241456740158</c:v>
                </c:pt>
                <c:pt idx="1527">
                  <c:v>94.707089648289767</c:v>
                </c:pt>
                <c:pt idx="1528">
                  <c:v>93.91648416492086</c:v>
                </c:pt>
                <c:pt idx="1529">
                  <c:v>93.703887782217663</c:v>
                </c:pt>
                <c:pt idx="1530">
                  <c:v>93.387770336898882</c:v>
                </c:pt>
                <c:pt idx="1531">
                  <c:v>95.231674910597235</c:v>
                </c:pt>
                <c:pt idx="1532">
                  <c:v>94.617488881584421</c:v>
                </c:pt>
                <c:pt idx="1533">
                  <c:v>95.220318879723095</c:v>
                </c:pt>
                <c:pt idx="1534">
                  <c:v>95.845385709024228</c:v>
                </c:pt>
                <c:pt idx="1535">
                  <c:v>95.549376457868831</c:v>
                </c:pt>
                <c:pt idx="1536">
                  <c:v>93.889574232997646</c:v>
                </c:pt>
                <c:pt idx="1537">
                  <c:v>92.914064449187947</c:v>
                </c:pt>
                <c:pt idx="1538">
                  <c:v>94.226275103065632</c:v>
                </c:pt>
                <c:pt idx="1539">
                  <c:v>95.089056231659072</c:v>
                </c:pt>
                <c:pt idx="1540">
                  <c:v>95.326315101639949</c:v>
                </c:pt>
                <c:pt idx="1541">
                  <c:v>95.361670277099037</c:v>
                </c:pt>
                <c:pt idx="1542">
                  <c:v>95.30783061197819</c:v>
                </c:pt>
                <c:pt idx="1543">
                  <c:v>94.518254794878601</c:v>
                </c:pt>
                <c:pt idx="1544">
                  <c:v>95.926501629644889</c:v>
                </c:pt>
                <c:pt idx="1545">
                  <c:v>95.376263816339218</c:v>
                </c:pt>
                <c:pt idx="1546">
                  <c:v>93.745995192250575</c:v>
                </c:pt>
                <c:pt idx="1547">
                  <c:v>94.461108316931274</c:v>
                </c:pt>
                <c:pt idx="1548">
                  <c:v>93.909860638630704</c:v>
                </c:pt>
                <c:pt idx="1549">
                  <c:v>94.924735355967513</c:v>
                </c:pt>
                <c:pt idx="1550">
                  <c:v>94.7927202594759</c:v>
                </c:pt>
                <c:pt idx="1551">
                  <c:v>95.841643268160738</c:v>
                </c:pt>
                <c:pt idx="1552">
                  <c:v>95.427014482652112</c:v>
                </c:pt>
                <c:pt idx="1553">
                  <c:v>96.208649988713262</c:v>
                </c:pt>
                <c:pt idx="1554">
                  <c:v>97.077727922569096</c:v>
                </c:pt>
                <c:pt idx="1555">
                  <c:v>96.856983315446172</c:v>
                </c:pt>
                <c:pt idx="1556">
                  <c:v>97.068282714675519</c:v>
                </c:pt>
                <c:pt idx="1557">
                  <c:v>97.662558562269069</c:v>
                </c:pt>
                <c:pt idx="1558">
                  <c:v>97.757901698553312</c:v>
                </c:pt>
                <c:pt idx="1559">
                  <c:v>98.003506805698009</c:v>
                </c:pt>
                <c:pt idx="1560">
                  <c:v>99.335201913595156</c:v>
                </c:pt>
                <c:pt idx="1561">
                  <c:v>100.3861248509954</c:v>
                </c:pt>
                <c:pt idx="1562">
                  <c:v>100.22721962385499</c:v>
                </c:pt>
                <c:pt idx="1563">
                  <c:v>99.478563140323701</c:v>
                </c:pt>
                <c:pt idx="1564">
                  <c:v>99.148901623308475</c:v>
                </c:pt>
                <c:pt idx="1565">
                  <c:v>99.454088765152932</c:v>
                </c:pt>
                <c:pt idx="1566">
                  <c:v>98.753301862507868</c:v>
                </c:pt>
                <c:pt idx="1567">
                  <c:v>99.387338669116744</c:v>
                </c:pt>
                <c:pt idx="1568">
                  <c:v>99.363933562764089</c:v>
                </c:pt>
                <c:pt idx="1569">
                  <c:v>101.63024882281424</c:v>
                </c:pt>
                <c:pt idx="1570">
                  <c:v>103.13848219271394</c:v>
                </c:pt>
                <c:pt idx="1571">
                  <c:v>102.85210626155899</c:v>
                </c:pt>
                <c:pt idx="1572">
                  <c:v>102.84133436827993</c:v>
                </c:pt>
                <c:pt idx="1573">
                  <c:v>102.37780633561574</c:v>
                </c:pt>
                <c:pt idx="1574">
                  <c:v>101.98549358636721</c:v>
                </c:pt>
                <c:pt idx="1575">
                  <c:v>102.46555568316379</c:v>
                </c:pt>
                <c:pt idx="1576">
                  <c:v>102.50625720271356</c:v>
                </c:pt>
                <c:pt idx="1577">
                  <c:v>102.11233064960061</c:v>
                </c:pt>
                <c:pt idx="1578">
                  <c:v>101.31788371899614</c:v>
                </c:pt>
                <c:pt idx="1579">
                  <c:v>101.53480668015793</c:v>
                </c:pt>
                <c:pt idx="1580">
                  <c:v>102.48388176263023</c:v>
                </c:pt>
                <c:pt idx="1581">
                  <c:v>101.32946746452602</c:v>
                </c:pt>
                <c:pt idx="1582">
                  <c:v>101.38531695899948</c:v>
                </c:pt>
                <c:pt idx="1583">
                  <c:v>101.18192816889695</c:v>
                </c:pt>
                <c:pt idx="1584">
                  <c:v>102.51842508583853</c:v>
                </c:pt>
                <c:pt idx="1585">
                  <c:v>103.26741819103478</c:v>
                </c:pt>
                <c:pt idx="1586">
                  <c:v>103.2368351227085</c:v>
                </c:pt>
                <c:pt idx="1587">
                  <c:v>103.634989247908</c:v>
                </c:pt>
                <c:pt idx="1588">
                  <c:v>103.21294488513281</c:v>
                </c:pt>
                <c:pt idx="1589">
                  <c:v>102.65835079145693</c:v>
                </c:pt>
                <c:pt idx="1590">
                  <c:v>102.50774229829432</c:v>
                </c:pt>
                <c:pt idx="1591">
                  <c:v>103.86122870867969</c:v>
                </c:pt>
                <c:pt idx="1592">
                  <c:v>104.57878729075003</c:v>
                </c:pt>
                <c:pt idx="1593">
                  <c:v>103.00392263246063</c:v>
                </c:pt>
                <c:pt idx="1594">
                  <c:v>102.96761699582986</c:v>
                </c:pt>
                <c:pt idx="1595">
                  <c:v>102.20289177811483</c:v>
                </c:pt>
                <c:pt idx="1596">
                  <c:v>102.23883109116902</c:v>
                </c:pt>
                <c:pt idx="1597">
                  <c:v>102.11953831348586</c:v>
                </c:pt>
                <c:pt idx="1598">
                  <c:v>101.55952857125885</c:v>
                </c:pt>
                <c:pt idx="1599">
                  <c:v>100.19390397966012</c:v>
                </c:pt>
                <c:pt idx="1600">
                  <c:v>100.86073169669201</c:v>
                </c:pt>
                <c:pt idx="1601">
                  <c:v>100.71286568003516</c:v>
                </c:pt>
                <c:pt idx="1602">
                  <c:v>101.74625458894535</c:v>
                </c:pt>
                <c:pt idx="1603">
                  <c:v>98.245102154774671</c:v>
                </c:pt>
                <c:pt idx="1604">
                  <c:v>97.097836116732466</c:v>
                </c:pt>
                <c:pt idx="1605">
                  <c:v>96.161681365812697</c:v>
                </c:pt>
                <c:pt idx="1606">
                  <c:v>96.714315133321975</c:v>
                </c:pt>
                <c:pt idx="1607">
                  <c:v>96.181017310274086</c:v>
                </c:pt>
                <c:pt idx="1608">
                  <c:v>97.286057130636934</c:v>
                </c:pt>
                <c:pt idx="1609">
                  <c:v>97.659845787674897</c:v>
                </c:pt>
                <c:pt idx="1610">
                  <c:v>98.101483511478804</c:v>
                </c:pt>
                <c:pt idx="1611">
                  <c:v>99.25529387071353</c:v>
                </c:pt>
                <c:pt idx="1612">
                  <c:v>100.06781936485432</c:v>
                </c:pt>
                <c:pt idx="1613">
                  <c:v>100.87106796193403</c:v>
                </c:pt>
                <c:pt idx="1614">
                  <c:v>101.2314412555592</c:v>
                </c:pt>
                <c:pt idx="1615">
                  <c:v>101.54801413018942</c:v>
                </c:pt>
                <c:pt idx="1616">
                  <c:v>101.46961098416294</c:v>
                </c:pt>
                <c:pt idx="1617">
                  <c:v>100.56065328364534</c:v>
                </c:pt>
                <c:pt idx="1618">
                  <c:v>101.14509779849432</c:v>
                </c:pt>
                <c:pt idx="1619">
                  <c:v>99.830382283403765</c:v>
                </c:pt>
                <c:pt idx="1620">
                  <c:v>100.04082032719626</c:v>
                </c:pt>
                <c:pt idx="1621">
                  <c:v>101.22477812672024</c:v>
                </c:pt>
                <c:pt idx="1622">
                  <c:v>101.30639897983835</c:v>
                </c:pt>
                <c:pt idx="1623">
                  <c:v>100.5692668380137</c:v>
                </c:pt>
                <c:pt idx="1624">
                  <c:v>99.87394508710581</c:v>
                </c:pt>
                <c:pt idx="1625">
                  <c:v>99.56025329790225</c:v>
                </c:pt>
                <c:pt idx="1626">
                  <c:v>99.389407902292589</c:v>
                </c:pt>
                <c:pt idx="1627">
                  <c:v>100.06218590228467</c:v>
                </c:pt>
                <c:pt idx="1628">
                  <c:v>99.428792637094119</c:v>
                </c:pt>
                <c:pt idx="1629">
                  <c:v>99.928081771342804</c:v>
                </c:pt>
                <c:pt idx="1630">
                  <c:v>99.348835091026459</c:v>
                </c:pt>
                <c:pt idx="1631">
                  <c:v>99.84379764681654</c:v>
                </c:pt>
                <c:pt idx="1632">
                  <c:v>100.46341912565492</c:v>
                </c:pt>
                <c:pt idx="1633">
                  <c:v>100</c:v>
                </c:pt>
              </c:numCache>
            </c:numRef>
          </c:val>
          <c:smooth val="0"/>
          <c:extLst>
            <c:ext xmlns:c16="http://schemas.microsoft.com/office/drawing/2014/chart" uri="{C3380CC4-5D6E-409C-BE32-E72D297353CC}">
              <c16:uniqueId val="{00000001-0DCD-49DB-A820-2B10403DC6C0}"/>
            </c:ext>
          </c:extLst>
        </c:ser>
        <c:dLbls>
          <c:showLegendKey val="0"/>
          <c:showVal val="0"/>
          <c:showCatName val="0"/>
          <c:showSerName val="0"/>
          <c:showPercent val="0"/>
          <c:showBubbleSize val="0"/>
        </c:dLbls>
        <c:smooth val="0"/>
        <c:axId val="1443123695"/>
        <c:axId val="1443120815"/>
      </c:lineChart>
      <c:dateAx>
        <c:axId val="1443123695"/>
        <c:scaling>
          <c:orientation val="minMax"/>
        </c:scaling>
        <c:delete val="0"/>
        <c:axPos val="b"/>
        <c:numFmt formatCode="yyyy"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mn-lt"/>
                <a:ea typeface="+mn-ea"/>
                <a:cs typeface="+mn-cs"/>
              </a:defRPr>
            </a:pPr>
            <a:endParaRPr lang="en-US"/>
          </a:p>
        </c:txPr>
        <c:crossAx val="1443120815"/>
        <c:crosses val="autoZero"/>
        <c:auto val="1"/>
        <c:lblOffset val="100"/>
        <c:baseTimeUnit val="days"/>
        <c:majorUnit val="1"/>
        <c:majorTimeUnit val="years"/>
      </c:dateAx>
      <c:valAx>
        <c:axId val="1443120815"/>
        <c:scaling>
          <c:orientation val="minMax"/>
          <c:min val="60"/>
        </c:scaling>
        <c:delete val="1"/>
        <c:axPos val="l"/>
        <c:numFmt formatCode="_ * #,##0_ ;_ * \-#,##0_ ;_ * &quot;-&quot;??_ ;_ @_ " sourceLinked="1"/>
        <c:majorTickMark val="none"/>
        <c:minorTickMark val="none"/>
        <c:tickLblPos val="nextTo"/>
        <c:crossAx val="1443123695"/>
        <c:crosses val="autoZero"/>
        <c:crossBetween val="between"/>
      </c:valAx>
      <c:spPr>
        <a:noFill/>
        <a:ln>
          <a:noFill/>
        </a:ln>
        <a:effectLst/>
      </c:spPr>
    </c:plotArea>
    <c:legend>
      <c:legendPos val="b"/>
      <c:layout>
        <c:manualLayout>
          <c:xMode val="edge"/>
          <c:yMode val="edge"/>
          <c:x val="0.20644049928020206"/>
          <c:y val="0.80767716951985957"/>
          <c:w val="0.49825226895656316"/>
          <c:h val="5.3707948961783117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2-9979-44C0-8EB3-173D3ECB69A0}"/>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355D-4347-8C45-83811F1351D8}"/>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1-9979-44C0-8EB3-173D3ECB69A0}"/>
              </c:ext>
            </c:extLst>
          </c:dPt>
          <c:dLbls>
            <c:dLbl>
              <c:idx val="0"/>
              <c:layout>
                <c:manualLayout>
                  <c:x val="8.5799886089983388E-2"/>
                  <c:y val="1.2567599512288181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979-44C0-8EB3-173D3ECB69A0}"/>
                </c:ext>
              </c:extLst>
            </c:dLbl>
            <c:dLbl>
              <c:idx val="1"/>
              <c:layout>
                <c:manualLayout>
                  <c:x val="-1.7448519308024296E-2"/>
                  <c:y val="4.4257981304380266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55D-4347-8C45-83811F1351D8}"/>
                </c:ext>
              </c:extLst>
            </c:dLbl>
            <c:dLbl>
              <c:idx val="2"/>
              <c:layout>
                <c:manualLayout>
                  <c:x val="-1.8644125201485295E-2"/>
                  <c:y val="-1.1515245141544254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979-44C0-8EB3-173D3ECB69A0}"/>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0"/>
            <c:showSerName val="0"/>
            <c:showPercent val="0"/>
            <c:showBubbleSize val="0"/>
            <c:showLeaderLines val="0"/>
            <c:extLst>
              <c:ext xmlns:c15="http://schemas.microsoft.com/office/drawing/2012/chart" uri="{CE6537A1-D6FC-4f65-9D91-7224C49458BB}"/>
            </c:extLst>
          </c:dLbls>
          <c:cat>
            <c:strRef>
              <c:f>Sheet1!$A$2:$A$4</c:f>
              <c:strCache>
                <c:ptCount val="3"/>
                <c:pt idx="0">
                  <c:v>API</c:v>
                </c:pt>
                <c:pt idx="1">
                  <c:v>Formulations</c:v>
                </c:pt>
                <c:pt idx="2">
                  <c:v>CDMO</c:v>
                </c:pt>
              </c:strCache>
            </c:strRef>
          </c:cat>
          <c:val>
            <c:numRef>
              <c:f>Sheet1!$B$2:$B$4</c:f>
              <c:numCache>
                <c:formatCode>0%</c:formatCode>
                <c:ptCount val="3"/>
                <c:pt idx="0">
                  <c:v>0.05</c:v>
                </c:pt>
                <c:pt idx="1">
                  <c:v>0.73</c:v>
                </c:pt>
                <c:pt idx="2">
                  <c:v>0.22</c:v>
                </c:pt>
              </c:numCache>
            </c:numRef>
          </c:val>
          <c:extLst>
            <c:ext xmlns:c16="http://schemas.microsoft.com/office/drawing/2014/chart" uri="{C3380CC4-5D6E-409C-BE32-E72D297353CC}">
              <c16:uniqueId val="{00000000-9979-44C0-8EB3-173D3ECB69A0}"/>
            </c:ext>
          </c:extLst>
        </c:ser>
        <c:dLbls>
          <c:dLblPos val="bestFit"/>
          <c:showLegendKey val="0"/>
          <c:showVal val="1"/>
          <c:showCatName val="0"/>
          <c:showSerName val="0"/>
          <c:showPercent val="0"/>
          <c:showBubbleSize val="0"/>
          <c:showLeaderLines val="0"/>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D58C-458F-BA2E-71C2E215E6D9}"/>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D58C-458F-BA2E-71C2E215E6D9}"/>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D58C-458F-BA2E-71C2E215E6D9}"/>
              </c:ext>
            </c:extLst>
          </c:dPt>
          <c:dLbls>
            <c:dLbl>
              <c:idx val="0"/>
              <c:layout>
                <c:manualLayout>
                  <c:x val="5.6406509121061363E-2"/>
                  <c:y val="3.4085820895522381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58C-458F-BA2E-71C2E215E6D9}"/>
                </c:ext>
              </c:extLst>
            </c:dLbl>
            <c:dLbl>
              <c:idx val="1"/>
              <c:layout>
                <c:manualLayout>
                  <c:x val="6.8336442786069651E-2"/>
                  <c:y val="-0.11561929933665008"/>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58C-458F-BA2E-71C2E215E6D9}"/>
                </c:ext>
              </c:extLst>
            </c:dLbl>
            <c:dLbl>
              <c:idx val="2"/>
              <c:layout>
                <c:manualLayout>
                  <c:x val="-2.0579049198452184E-2"/>
                  <c:y val="1.3581571310116086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58C-458F-BA2E-71C2E215E6D9}"/>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0"/>
            <c:showSerName val="0"/>
            <c:showPercent val="0"/>
            <c:showBubbleSize val="0"/>
            <c:showLeaderLines val="0"/>
            <c:extLst>
              <c:ext xmlns:c15="http://schemas.microsoft.com/office/drawing/2012/chart" uri="{CE6537A1-D6FC-4f65-9D91-7224C49458BB}"/>
            </c:extLst>
          </c:dLbls>
          <c:val>
            <c:numRef>
              <c:f>'Sub-Sector Summary'!$C$23:$E$23</c:f>
              <c:numCache>
                <c:formatCode>0%</c:formatCode>
                <c:ptCount val="3"/>
                <c:pt idx="0">
                  <c:v>6.6753780910535049E-2</c:v>
                </c:pt>
                <c:pt idx="1">
                  <c:v>0.62886577154142786</c:v>
                </c:pt>
                <c:pt idx="2">
                  <c:v>0.30438044754803717</c:v>
                </c:pt>
              </c:numCache>
            </c:numRef>
          </c:val>
          <c:extLst>
            <c:ext xmlns:c16="http://schemas.microsoft.com/office/drawing/2014/chart" uri="{C3380CC4-5D6E-409C-BE32-E72D297353CC}">
              <c16:uniqueId val="{00000006-D58C-458F-BA2E-71C2E215E6D9}"/>
            </c:ext>
          </c:extLst>
        </c:ser>
        <c:dLbls>
          <c:dLblPos val="bestFit"/>
          <c:showLegendKey val="0"/>
          <c:showVal val="1"/>
          <c:showCatName val="0"/>
          <c:showSerName val="0"/>
          <c:showPercent val="0"/>
          <c:showBubbleSize val="0"/>
          <c:showLeaderLines val="0"/>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2-9979-44C0-8EB3-173D3ECB69A0}"/>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355D-4347-8C45-83811F1351D8}"/>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1-9979-44C0-8EB3-173D3ECB69A0}"/>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355D-4347-8C45-83811F1351D8}"/>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355D-4347-8C45-83811F1351D8}"/>
              </c:ext>
            </c:extLst>
          </c:dPt>
          <c:dLbls>
            <c:dLbl>
              <c:idx val="0"/>
              <c:layout>
                <c:manualLayout>
                  <c:x val="-1.0760971442316625E-2"/>
                  <c:y val="3.231868400753133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979-44C0-8EB3-173D3ECB69A0}"/>
                </c:ext>
              </c:extLst>
            </c:dLbl>
            <c:dLbl>
              <c:idx val="1"/>
              <c:layout>
                <c:manualLayout>
                  <c:x val="-1.7448519308024296E-2"/>
                  <c:y val="4.4257981304380266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55D-4347-8C45-83811F1351D8}"/>
                </c:ext>
              </c:extLst>
            </c:dLbl>
            <c:dLbl>
              <c:idx val="2"/>
              <c:layout>
                <c:manualLayout>
                  <c:x val="-1.8644125201485295E-2"/>
                  <c:y val="-1.1515245141544254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979-44C0-8EB3-173D3ECB69A0}"/>
                </c:ext>
              </c:extLst>
            </c:dLbl>
            <c:dLbl>
              <c:idx val="3"/>
              <c:layout>
                <c:manualLayout>
                  <c:x val="1.0950879070140369E-2"/>
                  <c:y val="-2.3586734736196015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355D-4347-8C45-83811F1351D8}"/>
                </c:ext>
              </c:extLst>
            </c:dLbl>
            <c:dLbl>
              <c:idx val="4"/>
              <c:layout>
                <c:manualLayout>
                  <c:x val="7.238971187954292E-2"/>
                  <c:y val="-3.0590852915073448E-3"/>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355D-4347-8C45-83811F1351D8}"/>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0"/>
            <c:showSerName val="0"/>
            <c:showPercent val="0"/>
            <c:showBubbleSize val="0"/>
            <c:showLeaderLines val="0"/>
            <c:extLst>
              <c:ext xmlns:c15="http://schemas.microsoft.com/office/drawing/2012/chart" uri="{CE6537A1-D6FC-4f65-9D91-7224C49458BB}"/>
            </c:extLst>
          </c:dLbls>
          <c:cat>
            <c:strRef>
              <c:f>Sheet1!$A$2:$A$6</c:f>
              <c:strCache>
                <c:ptCount val="3"/>
                <c:pt idx="0">
                  <c:v>PE</c:v>
                </c:pt>
                <c:pt idx="1">
                  <c:v>M&amp;A</c:v>
                </c:pt>
                <c:pt idx="2">
                  <c:v>ECM</c:v>
                </c:pt>
              </c:strCache>
            </c:strRef>
          </c:cat>
          <c:val>
            <c:numRef>
              <c:f>Sheet1!$B$2:$B$6</c:f>
              <c:numCache>
                <c:formatCode>0%</c:formatCode>
                <c:ptCount val="5"/>
                <c:pt idx="0">
                  <c:v>0.05</c:v>
                </c:pt>
                <c:pt idx="1">
                  <c:v>0.66</c:v>
                </c:pt>
                <c:pt idx="2">
                  <c:v>0.28999999999999998</c:v>
                </c:pt>
              </c:numCache>
            </c:numRef>
          </c:val>
          <c:extLst>
            <c:ext xmlns:c16="http://schemas.microsoft.com/office/drawing/2014/chart" uri="{C3380CC4-5D6E-409C-BE32-E72D297353CC}">
              <c16:uniqueId val="{00000000-9979-44C0-8EB3-173D3ECB69A0}"/>
            </c:ext>
          </c:extLst>
        </c:ser>
        <c:dLbls>
          <c:dLblPos val="bestFit"/>
          <c:showLegendKey val="0"/>
          <c:showVal val="1"/>
          <c:showCatName val="0"/>
          <c:showSerName val="0"/>
          <c:showPercent val="0"/>
          <c:showBubbleSize val="0"/>
          <c:showLeaderLines val="0"/>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DA3F-49AF-81B7-16243E16B331}"/>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DA3F-49AF-81B7-16243E16B331}"/>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DA3F-49AF-81B7-16243E16B331}"/>
              </c:ext>
            </c:extLst>
          </c:dPt>
          <c:dLbls>
            <c:dLbl>
              <c:idx val="0"/>
              <c:layout>
                <c:manualLayout>
                  <c:x val="-8.5791873963515758E-2"/>
                  <c:y val="-3.7951907131011611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A3F-49AF-81B7-16243E16B331}"/>
                </c:ext>
              </c:extLst>
            </c:dLbl>
            <c:dLbl>
              <c:idx val="2"/>
              <c:layout>
                <c:manualLayout>
                  <c:x val="-1.0876001934770592E-2"/>
                  <c:y val="-4.9037106135986733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A3F-49AF-81B7-16243E16B331}"/>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0"/>
            <c:showSerName val="0"/>
            <c:showPercent val="0"/>
            <c:showBubbleSize val="0"/>
            <c:showLeaderLines val="0"/>
            <c:extLst>
              <c:ext xmlns:c15="http://schemas.microsoft.com/office/drawing/2012/chart" uri="{CE6537A1-D6FC-4f65-9D91-7224C49458BB}"/>
            </c:extLst>
          </c:dLbls>
          <c:val>
            <c:numRef>
              <c:f>'Sub-Sector Summary'!$I$23:$K$23</c:f>
              <c:numCache>
                <c:formatCode>0%</c:formatCode>
                <c:ptCount val="3"/>
                <c:pt idx="0">
                  <c:v>0.23857016421974342</c:v>
                </c:pt>
                <c:pt idx="1">
                  <c:v>0</c:v>
                </c:pt>
                <c:pt idx="2">
                  <c:v>0.76142983578025658</c:v>
                </c:pt>
              </c:numCache>
            </c:numRef>
          </c:val>
          <c:extLst>
            <c:ext xmlns:c16="http://schemas.microsoft.com/office/drawing/2014/chart" uri="{C3380CC4-5D6E-409C-BE32-E72D297353CC}">
              <c16:uniqueId val="{00000006-DA3F-49AF-81B7-16243E16B331}"/>
            </c:ext>
          </c:extLst>
        </c:ser>
        <c:dLbls>
          <c:dLblPos val="bestFit"/>
          <c:showLegendKey val="0"/>
          <c:showVal val="1"/>
          <c:showCatName val="0"/>
          <c:showSerName val="0"/>
          <c:showPercent val="0"/>
          <c:showBubbleSize val="0"/>
          <c:showLeaderLines val="0"/>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2-9979-44C0-8EB3-173D3ECB69A0}"/>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355D-4347-8C45-83811F1351D8}"/>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1-9979-44C0-8EB3-173D3ECB69A0}"/>
              </c:ext>
            </c:extLst>
          </c:dPt>
          <c:dLbls>
            <c:dLbl>
              <c:idx val="0"/>
              <c:layout>
                <c:manualLayout>
                  <c:x val="-2.3928361105812059E-2"/>
                  <c:y val="-8.6187822963927629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979-44C0-8EB3-173D3ECB69A0}"/>
                </c:ext>
              </c:extLst>
            </c:dLbl>
            <c:dLbl>
              <c:idx val="1"/>
              <c:layout>
                <c:manualLayout>
                  <c:x val="-1.7448519308024296E-2"/>
                  <c:y val="4.4257981304380266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55D-4347-8C45-83811F1351D8}"/>
                </c:ext>
              </c:extLst>
            </c:dLbl>
            <c:dLbl>
              <c:idx val="2"/>
              <c:layout>
                <c:manualLayout>
                  <c:x val="1.2079784013337405E-2"/>
                  <c:y val="0.36375536026807576"/>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979-44C0-8EB3-173D3ECB69A0}"/>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0"/>
            <c:showSerName val="0"/>
            <c:showPercent val="0"/>
            <c:showBubbleSize val="0"/>
            <c:showLeaderLines val="0"/>
            <c:extLst>
              <c:ext xmlns:c15="http://schemas.microsoft.com/office/drawing/2012/chart" uri="{CE6537A1-D6FC-4f65-9D91-7224C49458BB}"/>
            </c:extLst>
          </c:dLbls>
          <c:cat>
            <c:strRef>
              <c:f>Sheet1!$A$2:$A$4</c:f>
              <c:strCache>
                <c:ptCount val="3"/>
                <c:pt idx="0">
                  <c:v>PE</c:v>
                </c:pt>
                <c:pt idx="1">
                  <c:v>M&amp;A</c:v>
                </c:pt>
                <c:pt idx="2">
                  <c:v>ECM</c:v>
                </c:pt>
              </c:strCache>
            </c:strRef>
          </c:cat>
          <c:val>
            <c:numRef>
              <c:f>Sheet1!$B$2:$B$4</c:f>
              <c:numCache>
                <c:formatCode>0%</c:formatCode>
                <c:ptCount val="3"/>
                <c:pt idx="0">
                  <c:v>7.0000000000000007E-2</c:v>
                </c:pt>
                <c:pt idx="1">
                  <c:v>0.55000000000000004</c:v>
                </c:pt>
                <c:pt idx="2">
                  <c:v>0.38</c:v>
                </c:pt>
              </c:numCache>
            </c:numRef>
          </c:val>
          <c:extLst>
            <c:ext xmlns:c16="http://schemas.microsoft.com/office/drawing/2014/chart" uri="{C3380CC4-5D6E-409C-BE32-E72D297353CC}">
              <c16:uniqueId val="{00000000-9979-44C0-8EB3-173D3ECB69A0}"/>
            </c:ext>
          </c:extLst>
        </c:ser>
        <c:dLbls>
          <c:dLblPos val="bestFit"/>
          <c:showLegendKey val="0"/>
          <c:showVal val="1"/>
          <c:showCatName val="0"/>
          <c:showSerName val="0"/>
          <c:showPercent val="0"/>
          <c:showBubbleSize val="0"/>
          <c:showLeaderLines val="0"/>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2-9979-44C0-8EB3-173D3ECB69A0}"/>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355D-4347-8C45-83811F1351D8}"/>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1-9979-44C0-8EB3-173D3ECB69A0}"/>
              </c:ext>
            </c:extLst>
          </c:dPt>
          <c:dLbls>
            <c:dLbl>
              <c:idx val="0"/>
              <c:layout>
                <c:manualLayout>
                  <c:x val="-1.9539231217980089E-2"/>
                  <c:y val="-0.1849432454401433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979-44C0-8EB3-173D3ECB69A0}"/>
                </c:ext>
              </c:extLst>
            </c:dLbl>
            <c:dLbl>
              <c:idx val="1"/>
              <c:layout>
                <c:manualLayout>
                  <c:x val="5.2777731697673969E-2"/>
                  <c:y val="0.26810360558380264"/>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55D-4347-8C45-83811F1351D8}"/>
                </c:ext>
              </c:extLst>
            </c:dLbl>
            <c:dLbl>
              <c:idx val="2"/>
              <c:layout>
                <c:manualLayout>
                  <c:x val="-1.8644125201485295E-2"/>
                  <c:y val="-1.1515245141544254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979-44C0-8EB3-173D3ECB69A0}"/>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0"/>
            <c:showSerName val="0"/>
            <c:showPercent val="0"/>
            <c:showBubbleSize val="0"/>
            <c:showLeaderLines val="0"/>
            <c:extLst>
              <c:ext xmlns:c15="http://schemas.microsoft.com/office/drawing/2012/chart" uri="{CE6537A1-D6FC-4f65-9D91-7224C49458BB}"/>
            </c:extLst>
          </c:dLbls>
          <c:cat>
            <c:strRef>
              <c:f>Sheet1!$A$2:$A$4</c:f>
              <c:strCache>
                <c:ptCount val="3"/>
                <c:pt idx="0">
                  <c:v>API</c:v>
                </c:pt>
                <c:pt idx="1">
                  <c:v>Formulations</c:v>
                </c:pt>
                <c:pt idx="2">
                  <c:v>CDMO</c:v>
                </c:pt>
              </c:strCache>
            </c:strRef>
          </c:cat>
          <c:val>
            <c:numRef>
              <c:f>Sheet1!$B$2:$B$4</c:f>
              <c:numCache>
                <c:formatCode>0%</c:formatCode>
                <c:ptCount val="3"/>
                <c:pt idx="0">
                  <c:v>0.55000000000000004</c:v>
                </c:pt>
                <c:pt idx="1">
                  <c:v>0.39</c:v>
                </c:pt>
                <c:pt idx="2">
                  <c:v>0.06</c:v>
                </c:pt>
              </c:numCache>
            </c:numRef>
          </c:val>
          <c:extLst>
            <c:ext xmlns:c16="http://schemas.microsoft.com/office/drawing/2014/chart" uri="{C3380CC4-5D6E-409C-BE32-E72D297353CC}">
              <c16:uniqueId val="{00000000-9979-44C0-8EB3-173D3ECB69A0}"/>
            </c:ext>
          </c:extLst>
        </c:ser>
        <c:dLbls>
          <c:dLblPos val="bestFit"/>
          <c:showLegendKey val="0"/>
          <c:showVal val="1"/>
          <c:showCatName val="0"/>
          <c:showSerName val="0"/>
          <c:showPercent val="0"/>
          <c:showBubbleSize val="0"/>
          <c:showLeaderLines val="0"/>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2-9979-44C0-8EB3-173D3ECB69A0}"/>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355D-4347-8C45-83811F1351D8}"/>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1-9979-44C0-8EB3-173D3ECB69A0}"/>
              </c:ext>
            </c:extLst>
          </c:dPt>
          <c:dLbls>
            <c:dLbl>
              <c:idx val="0"/>
              <c:layout>
                <c:manualLayout>
                  <c:x val="2.4352067660338025E-2"/>
                  <c:y val="-2.6934569478198122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979-44C0-8EB3-173D3ECB69A0}"/>
                </c:ext>
              </c:extLst>
            </c:dLbl>
            <c:dLbl>
              <c:idx val="1"/>
              <c:layout>
                <c:manualLayout>
                  <c:x val="3.5221212146346645E-2"/>
                  <c:y val="4.4257981304380273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55D-4347-8C45-83811F1351D8}"/>
                </c:ext>
              </c:extLst>
            </c:dLbl>
            <c:dLbl>
              <c:idx val="2"/>
              <c:layout>
                <c:manualLayout>
                  <c:x val="-5.3757164304139744E-2"/>
                  <c:y val="2.1403229017194322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979-44C0-8EB3-173D3ECB69A0}"/>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0"/>
            <c:showSerName val="0"/>
            <c:showPercent val="0"/>
            <c:showBubbleSize val="0"/>
            <c:showLeaderLines val="0"/>
            <c:extLst>
              <c:ext xmlns:c15="http://schemas.microsoft.com/office/drawing/2012/chart" uri="{CE6537A1-D6FC-4f65-9D91-7224C49458BB}"/>
            </c:extLst>
          </c:dLbls>
          <c:cat>
            <c:strRef>
              <c:f>Sheet1!$A$2:$A$4</c:f>
              <c:strCache>
                <c:ptCount val="3"/>
                <c:pt idx="0">
                  <c:v>PE</c:v>
                </c:pt>
                <c:pt idx="1">
                  <c:v>M&amp;A</c:v>
                </c:pt>
                <c:pt idx="2">
                  <c:v>ECM</c:v>
                </c:pt>
              </c:strCache>
            </c:strRef>
          </c:cat>
          <c:val>
            <c:numRef>
              <c:f>Sheet1!$B$2:$B$4</c:f>
              <c:numCache>
                <c:formatCode>0%</c:formatCode>
                <c:ptCount val="3"/>
                <c:pt idx="0">
                  <c:v>0.56999999999999995</c:v>
                </c:pt>
                <c:pt idx="1">
                  <c:v>0.3</c:v>
                </c:pt>
                <c:pt idx="2">
                  <c:v>0.13</c:v>
                </c:pt>
              </c:numCache>
            </c:numRef>
          </c:val>
          <c:extLst>
            <c:ext xmlns:c16="http://schemas.microsoft.com/office/drawing/2014/chart" uri="{C3380CC4-5D6E-409C-BE32-E72D297353CC}">
              <c16:uniqueId val="{00000000-9979-44C0-8EB3-173D3ECB69A0}"/>
            </c:ext>
          </c:extLst>
        </c:ser>
        <c:dLbls>
          <c:dLblPos val="bestFit"/>
          <c:showLegendKey val="0"/>
          <c:showVal val="1"/>
          <c:showCatName val="0"/>
          <c:showSerName val="0"/>
          <c:showPercent val="0"/>
          <c:showBubbleSize val="0"/>
          <c:showLeaderLines val="0"/>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2-9979-44C0-8EB3-173D3ECB69A0}"/>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355D-4347-8C45-83811F1351D8}"/>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1-9979-44C0-8EB3-173D3ECB69A0}"/>
              </c:ext>
            </c:extLst>
          </c:dPt>
          <c:dLbls>
            <c:dLbl>
              <c:idx val="0"/>
              <c:layout>
                <c:manualLayout>
                  <c:x val="2.4352067660338025E-2"/>
                  <c:y val="-2.6934569478198122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979-44C0-8EB3-173D3ECB69A0}"/>
                </c:ext>
              </c:extLst>
            </c:dLbl>
            <c:dLbl>
              <c:idx val="1"/>
              <c:layout>
                <c:manualLayout>
                  <c:x val="3.5221212146346645E-2"/>
                  <c:y val="4.4257981304380273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55D-4347-8C45-83811F1351D8}"/>
                </c:ext>
              </c:extLst>
            </c:dLbl>
            <c:dLbl>
              <c:idx val="2"/>
              <c:layout>
                <c:manualLayout>
                  <c:x val="7.6906541255055937E-3"/>
                  <c:y val="2.140322901719427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979-44C0-8EB3-173D3ECB69A0}"/>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0"/>
            <c:showSerName val="0"/>
            <c:showPercent val="0"/>
            <c:showBubbleSize val="0"/>
            <c:showLeaderLines val="0"/>
            <c:extLst>
              <c:ext xmlns:c15="http://schemas.microsoft.com/office/drawing/2012/chart" uri="{CE6537A1-D6FC-4f65-9D91-7224C49458BB}"/>
            </c:extLst>
          </c:dLbls>
          <c:cat>
            <c:strRef>
              <c:f>Sheet1!$A$2:$A$4</c:f>
              <c:strCache>
                <c:ptCount val="3"/>
                <c:pt idx="0">
                  <c:v>PE</c:v>
                </c:pt>
                <c:pt idx="1">
                  <c:v>M&amp;A</c:v>
                </c:pt>
                <c:pt idx="2">
                  <c:v>ECM</c:v>
                </c:pt>
              </c:strCache>
            </c:strRef>
          </c:cat>
          <c:val>
            <c:numRef>
              <c:f>Sheet1!$B$2:$B$4</c:f>
              <c:numCache>
                <c:formatCode>0%</c:formatCode>
                <c:ptCount val="3"/>
                <c:pt idx="0">
                  <c:v>0.28000000000000003</c:v>
                </c:pt>
                <c:pt idx="1">
                  <c:v>0.36</c:v>
                </c:pt>
                <c:pt idx="2">
                  <c:v>0.37</c:v>
                </c:pt>
              </c:numCache>
            </c:numRef>
          </c:val>
          <c:extLst>
            <c:ext xmlns:c16="http://schemas.microsoft.com/office/drawing/2014/chart" uri="{C3380CC4-5D6E-409C-BE32-E72D297353CC}">
              <c16:uniqueId val="{00000000-9979-44C0-8EB3-173D3ECB69A0}"/>
            </c:ext>
          </c:extLst>
        </c:ser>
        <c:dLbls>
          <c:dLblPos val="bestFit"/>
          <c:showLegendKey val="0"/>
          <c:showVal val="1"/>
          <c:showCatName val="0"/>
          <c:showSerName val="0"/>
          <c:showPercent val="0"/>
          <c:showBubbleSize val="0"/>
          <c:showLeaderLines val="0"/>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accent2"/>
            </a:solidFill>
          </c:spPr>
          <c:dPt>
            <c:idx val="0"/>
            <c:bubble3D val="0"/>
            <c:spPr>
              <a:solidFill>
                <a:schemeClr val="accent2"/>
              </a:solidFill>
              <a:ln w="19050">
                <a:solidFill>
                  <a:schemeClr val="lt1"/>
                </a:solidFill>
              </a:ln>
              <a:effectLst/>
            </c:spPr>
            <c:extLst>
              <c:ext xmlns:c16="http://schemas.microsoft.com/office/drawing/2014/chart" uri="{C3380CC4-5D6E-409C-BE32-E72D297353CC}">
                <c16:uniqueId val="{00000002-9979-44C0-8EB3-173D3ECB69A0}"/>
              </c:ext>
            </c:extLst>
          </c:dPt>
          <c:dLbls>
            <c:dLbl>
              <c:idx val="0"/>
              <c:layout>
                <c:manualLayout>
                  <c:x val="2.4352067660338025E-2"/>
                  <c:y val="-2.6934569478198122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979-44C0-8EB3-173D3ECB69A0}"/>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0"/>
            <c:showSerName val="0"/>
            <c:showPercent val="0"/>
            <c:showBubbleSize val="0"/>
            <c:showLeaderLines val="0"/>
            <c:extLst>
              <c:ext xmlns:c15="http://schemas.microsoft.com/office/drawing/2012/chart" uri="{CE6537A1-D6FC-4f65-9D91-7224C49458BB}"/>
            </c:extLst>
          </c:dLbls>
          <c:cat>
            <c:strRef>
              <c:f>Sheet1!$A$2</c:f>
              <c:strCache>
                <c:ptCount val="1"/>
                <c:pt idx="0">
                  <c:v>M&amp;A</c:v>
                </c:pt>
              </c:strCache>
            </c:strRef>
          </c:cat>
          <c:val>
            <c:numRef>
              <c:f>Sheet1!$B$2</c:f>
              <c:numCache>
                <c:formatCode>0%</c:formatCode>
                <c:ptCount val="1"/>
                <c:pt idx="0">
                  <c:v>1</c:v>
                </c:pt>
              </c:numCache>
            </c:numRef>
          </c:val>
          <c:extLst>
            <c:ext xmlns:c16="http://schemas.microsoft.com/office/drawing/2014/chart" uri="{C3380CC4-5D6E-409C-BE32-E72D297353CC}">
              <c16:uniqueId val="{00000000-9979-44C0-8EB3-173D3ECB69A0}"/>
            </c:ext>
          </c:extLst>
        </c:ser>
        <c:dLbls>
          <c:dLblPos val="bestFit"/>
          <c:showLegendKey val="0"/>
          <c:showVal val="1"/>
          <c:showCatName val="0"/>
          <c:showSerName val="0"/>
          <c:showPercent val="0"/>
          <c:showBubbleSize val="0"/>
          <c:showLeaderLines val="0"/>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D8F1-437D-BB37-1C8A8263A836}"/>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D8F1-437D-BB37-1C8A8263A836}"/>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D8F1-437D-BB37-1C8A8263A836}"/>
              </c:ext>
            </c:extLst>
          </c:dPt>
          <c:dLbls>
            <c:dLbl>
              <c:idx val="0"/>
              <c:layout>
                <c:manualLayout>
                  <c:x val="-6.142896627971263E-2"/>
                  <c:y val="0.1316334991708126"/>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8F1-437D-BB37-1C8A8263A836}"/>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extLst>
          </c:dLbls>
          <c:val>
            <c:numRef>
              <c:f>Output!$M$122:$O$122</c:f>
              <c:numCache>
                <c:formatCode>0%</c:formatCode>
                <c:ptCount val="3"/>
                <c:pt idx="0">
                  <c:v>0.60488313290833173</c:v>
                </c:pt>
                <c:pt idx="1">
                  <c:v>0.21380950123017711</c:v>
                </c:pt>
                <c:pt idx="2">
                  <c:v>0.1813073658614911</c:v>
                </c:pt>
              </c:numCache>
            </c:numRef>
          </c:val>
          <c:extLst>
            <c:ext xmlns:c16="http://schemas.microsoft.com/office/drawing/2014/chart" uri="{C3380CC4-5D6E-409C-BE32-E72D297353CC}">
              <c16:uniqueId val="{00000006-D8F1-437D-BB37-1C8A8263A836}"/>
            </c:ext>
          </c:extLst>
        </c:ser>
        <c:dLbls>
          <c:dLblPos val="bestFit"/>
          <c:showLegendKey val="0"/>
          <c:showVal val="1"/>
          <c:showCatName val="0"/>
          <c:showSerName val="0"/>
          <c:showPercent val="0"/>
          <c:showBubbleSize val="0"/>
          <c:showLeaderLines val="0"/>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239050540219404"/>
          <c:y val="6.1111111111111109E-2"/>
          <c:w val="0.83145983586172589"/>
          <c:h val="0.65743044619422575"/>
        </c:manualLayout>
      </c:layout>
      <c:lineChart>
        <c:grouping val="standard"/>
        <c:varyColors val="0"/>
        <c:ser>
          <c:idx val="0"/>
          <c:order val="0"/>
          <c:tx>
            <c:strRef>
              <c:f>Sheet1!$B$1</c:f>
              <c:strCache>
                <c:ptCount val="1"/>
                <c:pt idx="0">
                  <c:v> Healthcare 1 year Index </c:v>
                </c:pt>
              </c:strCache>
            </c:strRef>
          </c:tx>
          <c:spPr>
            <a:ln w="25400" cap="rnd">
              <a:solidFill>
                <a:schemeClr val="accent1">
                  <a:lumMod val="50000"/>
                </a:schemeClr>
              </a:solidFill>
              <a:round/>
            </a:ln>
            <a:effectLst/>
          </c:spPr>
          <c:marker>
            <c:symbol val="none"/>
          </c:marker>
          <c:cat>
            <c:numRef>
              <c:f>Sheet1!$A$2:$A$396</c:f>
              <c:numCache>
                <c:formatCode>m/d/yyyy</c:formatCode>
                <c:ptCount val="395"/>
                <c:pt idx="0">
                  <c:v>45961</c:v>
                </c:pt>
                <c:pt idx="1">
                  <c:v>45960</c:v>
                </c:pt>
                <c:pt idx="2">
                  <c:v>45959</c:v>
                </c:pt>
                <c:pt idx="3">
                  <c:v>45958</c:v>
                </c:pt>
                <c:pt idx="4">
                  <c:v>45957</c:v>
                </c:pt>
                <c:pt idx="5">
                  <c:v>45954</c:v>
                </c:pt>
                <c:pt idx="6">
                  <c:v>45953</c:v>
                </c:pt>
                <c:pt idx="7">
                  <c:v>45951</c:v>
                </c:pt>
                <c:pt idx="8">
                  <c:v>45950</c:v>
                </c:pt>
                <c:pt idx="9">
                  <c:v>45947</c:v>
                </c:pt>
                <c:pt idx="10">
                  <c:v>45946</c:v>
                </c:pt>
                <c:pt idx="11">
                  <c:v>45945</c:v>
                </c:pt>
                <c:pt idx="12">
                  <c:v>45944</c:v>
                </c:pt>
                <c:pt idx="13">
                  <c:v>45943</c:v>
                </c:pt>
                <c:pt idx="14">
                  <c:v>45940</c:v>
                </c:pt>
                <c:pt idx="15">
                  <c:v>45939</c:v>
                </c:pt>
                <c:pt idx="16">
                  <c:v>45938</c:v>
                </c:pt>
                <c:pt idx="17">
                  <c:v>45937</c:v>
                </c:pt>
                <c:pt idx="18">
                  <c:v>45936</c:v>
                </c:pt>
                <c:pt idx="19">
                  <c:v>45933</c:v>
                </c:pt>
                <c:pt idx="20">
                  <c:v>45931</c:v>
                </c:pt>
                <c:pt idx="21">
                  <c:v>45930</c:v>
                </c:pt>
                <c:pt idx="22">
                  <c:v>45929</c:v>
                </c:pt>
                <c:pt idx="23">
                  <c:v>45926</c:v>
                </c:pt>
                <c:pt idx="24">
                  <c:v>45925</c:v>
                </c:pt>
                <c:pt idx="25">
                  <c:v>45924</c:v>
                </c:pt>
                <c:pt idx="26">
                  <c:v>45923</c:v>
                </c:pt>
                <c:pt idx="27">
                  <c:v>45922</c:v>
                </c:pt>
                <c:pt idx="28">
                  <c:v>45919</c:v>
                </c:pt>
                <c:pt idx="29">
                  <c:v>45918</c:v>
                </c:pt>
                <c:pt idx="30">
                  <c:v>45917</c:v>
                </c:pt>
                <c:pt idx="31">
                  <c:v>45916</c:v>
                </c:pt>
                <c:pt idx="32">
                  <c:v>45915</c:v>
                </c:pt>
                <c:pt idx="33">
                  <c:v>45912</c:v>
                </c:pt>
                <c:pt idx="34">
                  <c:v>45911</c:v>
                </c:pt>
                <c:pt idx="35">
                  <c:v>45910</c:v>
                </c:pt>
                <c:pt idx="36">
                  <c:v>45909</c:v>
                </c:pt>
                <c:pt idx="37">
                  <c:v>45908</c:v>
                </c:pt>
                <c:pt idx="38">
                  <c:v>45905</c:v>
                </c:pt>
                <c:pt idx="39">
                  <c:v>45904</c:v>
                </c:pt>
                <c:pt idx="40">
                  <c:v>45903</c:v>
                </c:pt>
                <c:pt idx="41">
                  <c:v>45902</c:v>
                </c:pt>
                <c:pt idx="42">
                  <c:v>45901</c:v>
                </c:pt>
                <c:pt idx="43">
                  <c:v>45898</c:v>
                </c:pt>
                <c:pt idx="44">
                  <c:v>45897</c:v>
                </c:pt>
                <c:pt idx="45">
                  <c:v>45895</c:v>
                </c:pt>
                <c:pt idx="46">
                  <c:v>45894</c:v>
                </c:pt>
                <c:pt idx="47">
                  <c:v>45891</c:v>
                </c:pt>
                <c:pt idx="48">
                  <c:v>45890</c:v>
                </c:pt>
                <c:pt idx="49">
                  <c:v>45889</c:v>
                </c:pt>
                <c:pt idx="50">
                  <c:v>45888</c:v>
                </c:pt>
                <c:pt idx="51">
                  <c:v>45887</c:v>
                </c:pt>
                <c:pt idx="52">
                  <c:v>45883</c:v>
                </c:pt>
                <c:pt idx="53">
                  <c:v>45882</c:v>
                </c:pt>
                <c:pt idx="54">
                  <c:v>45881</c:v>
                </c:pt>
                <c:pt idx="55">
                  <c:v>45880</c:v>
                </c:pt>
                <c:pt idx="56">
                  <c:v>45877</c:v>
                </c:pt>
                <c:pt idx="57">
                  <c:v>45876</c:v>
                </c:pt>
                <c:pt idx="58">
                  <c:v>45875</c:v>
                </c:pt>
                <c:pt idx="59">
                  <c:v>45874</c:v>
                </c:pt>
                <c:pt idx="60">
                  <c:v>45873</c:v>
                </c:pt>
                <c:pt idx="61">
                  <c:v>45870</c:v>
                </c:pt>
                <c:pt idx="62">
                  <c:v>45869</c:v>
                </c:pt>
                <c:pt idx="63">
                  <c:v>45868</c:v>
                </c:pt>
                <c:pt idx="64">
                  <c:v>45867</c:v>
                </c:pt>
                <c:pt idx="65">
                  <c:v>45866</c:v>
                </c:pt>
                <c:pt idx="66">
                  <c:v>45863</c:v>
                </c:pt>
                <c:pt idx="67">
                  <c:v>45862</c:v>
                </c:pt>
                <c:pt idx="68">
                  <c:v>45861</c:v>
                </c:pt>
                <c:pt idx="69">
                  <c:v>45860</c:v>
                </c:pt>
                <c:pt idx="70">
                  <c:v>45859</c:v>
                </c:pt>
                <c:pt idx="71">
                  <c:v>45856</c:v>
                </c:pt>
                <c:pt idx="72">
                  <c:v>45855</c:v>
                </c:pt>
                <c:pt idx="73">
                  <c:v>45854</c:v>
                </c:pt>
                <c:pt idx="74">
                  <c:v>45853</c:v>
                </c:pt>
                <c:pt idx="75">
                  <c:v>45852</c:v>
                </c:pt>
                <c:pt idx="76">
                  <c:v>45849</c:v>
                </c:pt>
                <c:pt idx="77">
                  <c:v>45848</c:v>
                </c:pt>
                <c:pt idx="78">
                  <c:v>45847</c:v>
                </c:pt>
                <c:pt idx="79">
                  <c:v>45846</c:v>
                </c:pt>
                <c:pt idx="80">
                  <c:v>45845</c:v>
                </c:pt>
                <c:pt idx="81">
                  <c:v>45842</c:v>
                </c:pt>
                <c:pt idx="82">
                  <c:v>45841</c:v>
                </c:pt>
                <c:pt idx="83">
                  <c:v>45840</c:v>
                </c:pt>
                <c:pt idx="84">
                  <c:v>45839</c:v>
                </c:pt>
                <c:pt idx="85">
                  <c:v>45838</c:v>
                </c:pt>
                <c:pt idx="86">
                  <c:v>45835</c:v>
                </c:pt>
                <c:pt idx="87">
                  <c:v>45834</c:v>
                </c:pt>
                <c:pt idx="88">
                  <c:v>45833</c:v>
                </c:pt>
                <c:pt idx="89">
                  <c:v>45832</c:v>
                </c:pt>
                <c:pt idx="90">
                  <c:v>45831</c:v>
                </c:pt>
                <c:pt idx="91">
                  <c:v>45828</c:v>
                </c:pt>
                <c:pt idx="92">
                  <c:v>45827</c:v>
                </c:pt>
                <c:pt idx="93">
                  <c:v>45826</c:v>
                </c:pt>
                <c:pt idx="94">
                  <c:v>45825</c:v>
                </c:pt>
                <c:pt idx="95">
                  <c:v>45824</c:v>
                </c:pt>
                <c:pt idx="96">
                  <c:v>45821</c:v>
                </c:pt>
                <c:pt idx="97">
                  <c:v>45820</c:v>
                </c:pt>
                <c:pt idx="98">
                  <c:v>45819</c:v>
                </c:pt>
                <c:pt idx="99">
                  <c:v>45818</c:v>
                </c:pt>
                <c:pt idx="100">
                  <c:v>45817</c:v>
                </c:pt>
                <c:pt idx="101">
                  <c:v>45814</c:v>
                </c:pt>
                <c:pt idx="102">
                  <c:v>45813</c:v>
                </c:pt>
                <c:pt idx="103">
                  <c:v>45812</c:v>
                </c:pt>
                <c:pt idx="104">
                  <c:v>45811</c:v>
                </c:pt>
                <c:pt idx="105">
                  <c:v>45810</c:v>
                </c:pt>
                <c:pt idx="106">
                  <c:v>45807</c:v>
                </c:pt>
                <c:pt idx="107">
                  <c:v>45806</c:v>
                </c:pt>
                <c:pt idx="108">
                  <c:v>45805</c:v>
                </c:pt>
                <c:pt idx="109">
                  <c:v>45804</c:v>
                </c:pt>
                <c:pt idx="110">
                  <c:v>45803</c:v>
                </c:pt>
                <c:pt idx="111">
                  <c:v>45800</c:v>
                </c:pt>
                <c:pt idx="112">
                  <c:v>45799</c:v>
                </c:pt>
                <c:pt idx="113">
                  <c:v>45798</c:v>
                </c:pt>
                <c:pt idx="114">
                  <c:v>45797</c:v>
                </c:pt>
                <c:pt idx="115">
                  <c:v>45796</c:v>
                </c:pt>
                <c:pt idx="116">
                  <c:v>45793</c:v>
                </c:pt>
                <c:pt idx="117">
                  <c:v>45792</c:v>
                </c:pt>
                <c:pt idx="118">
                  <c:v>45791</c:v>
                </c:pt>
                <c:pt idx="119">
                  <c:v>45790</c:v>
                </c:pt>
                <c:pt idx="120">
                  <c:v>45789</c:v>
                </c:pt>
                <c:pt idx="121">
                  <c:v>45786</c:v>
                </c:pt>
                <c:pt idx="122">
                  <c:v>45785</c:v>
                </c:pt>
                <c:pt idx="123">
                  <c:v>45784</c:v>
                </c:pt>
                <c:pt idx="124">
                  <c:v>45783</c:v>
                </c:pt>
                <c:pt idx="125">
                  <c:v>45782</c:v>
                </c:pt>
                <c:pt idx="126">
                  <c:v>45779</c:v>
                </c:pt>
                <c:pt idx="127">
                  <c:v>45777</c:v>
                </c:pt>
                <c:pt idx="128">
                  <c:v>45776</c:v>
                </c:pt>
                <c:pt idx="129">
                  <c:v>45775</c:v>
                </c:pt>
                <c:pt idx="130">
                  <c:v>45772</c:v>
                </c:pt>
                <c:pt idx="131">
                  <c:v>45771</c:v>
                </c:pt>
                <c:pt idx="132">
                  <c:v>45770</c:v>
                </c:pt>
                <c:pt idx="133">
                  <c:v>45769</c:v>
                </c:pt>
                <c:pt idx="134">
                  <c:v>45768</c:v>
                </c:pt>
                <c:pt idx="135">
                  <c:v>45764</c:v>
                </c:pt>
                <c:pt idx="136">
                  <c:v>45763</c:v>
                </c:pt>
                <c:pt idx="137">
                  <c:v>45762</c:v>
                </c:pt>
                <c:pt idx="138">
                  <c:v>45758</c:v>
                </c:pt>
                <c:pt idx="139">
                  <c:v>45756</c:v>
                </c:pt>
                <c:pt idx="140">
                  <c:v>45755</c:v>
                </c:pt>
                <c:pt idx="141">
                  <c:v>45754</c:v>
                </c:pt>
                <c:pt idx="142">
                  <c:v>45751</c:v>
                </c:pt>
                <c:pt idx="143">
                  <c:v>45750</c:v>
                </c:pt>
                <c:pt idx="144">
                  <c:v>45749</c:v>
                </c:pt>
                <c:pt idx="145">
                  <c:v>45748</c:v>
                </c:pt>
                <c:pt idx="146">
                  <c:v>45744</c:v>
                </c:pt>
                <c:pt idx="147">
                  <c:v>45743</c:v>
                </c:pt>
                <c:pt idx="148">
                  <c:v>45742</c:v>
                </c:pt>
                <c:pt idx="149">
                  <c:v>45741</c:v>
                </c:pt>
                <c:pt idx="150">
                  <c:v>45740</c:v>
                </c:pt>
                <c:pt idx="151">
                  <c:v>45737</c:v>
                </c:pt>
                <c:pt idx="152">
                  <c:v>45736</c:v>
                </c:pt>
                <c:pt idx="153">
                  <c:v>45735</c:v>
                </c:pt>
                <c:pt idx="154">
                  <c:v>45734</c:v>
                </c:pt>
                <c:pt idx="155">
                  <c:v>45733</c:v>
                </c:pt>
                <c:pt idx="156">
                  <c:v>45729</c:v>
                </c:pt>
                <c:pt idx="157">
                  <c:v>45728</c:v>
                </c:pt>
                <c:pt idx="158">
                  <c:v>45727</c:v>
                </c:pt>
                <c:pt idx="159">
                  <c:v>45726</c:v>
                </c:pt>
                <c:pt idx="160">
                  <c:v>45723</c:v>
                </c:pt>
                <c:pt idx="161">
                  <c:v>45722</c:v>
                </c:pt>
                <c:pt idx="162">
                  <c:v>45721</c:v>
                </c:pt>
                <c:pt idx="163">
                  <c:v>45720</c:v>
                </c:pt>
                <c:pt idx="164">
                  <c:v>45719</c:v>
                </c:pt>
                <c:pt idx="165">
                  <c:v>45716</c:v>
                </c:pt>
                <c:pt idx="166">
                  <c:v>45715</c:v>
                </c:pt>
                <c:pt idx="167">
                  <c:v>45713</c:v>
                </c:pt>
                <c:pt idx="168">
                  <c:v>45712</c:v>
                </c:pt>
                <c:pt idx="169">
                  <c:v>45709</c:v>
                </c:pt>
                <c:pt idx="170">
                  <c:v>45708</c:v>
                </c:pt>
                <c:pt idx="171">
                  <c:v>45707</c:v>
                </c:pt>
                <c:pt idx="172">
                  <c:v>45706</c:v>
                </c:pt>
                <c:pt idx="173">
                  <c:v>45705</c:v>
                </c:pt>
                <c:pt idx="174">
                  <c:v>45702</c:v>
                </c:pt>
                <c:pt idx="175">
                  <c:v>45701</c:v>
                </c:pt>
                <c:pt idx="176">
                  <c:v>45700</c:v>
                </c:pt>
                <c:pt idx="177">
                  <c:v>45699</c:v>
                </c:pt>
                <c:pt idx="178">
                  <c:v>45698</c:v>
                </c:pt>
                <c:pt idx="179">
                  <c:v>45695</c:v>
                </c:pt>
                <c:pt idx="180">
                  <c:v>45694</c:v>
                </c:pt>
                <c:pt idx="181">
                  <c:v>45693</c:v>
                </c:pt>
                <c:pt idx="182">
                  <c:v>45692</c:v>
                </c:pt>
                <c:pt idx="183">
                  <c:v>45691</c:v>
                </c:pt>
                <c:pt idx="184">
                  <c:v>45689</c:v>
                </c:pt>
                <c:pt idx="185">
                  <c:v>45688</c:v>
                </c:pt>
                <c:pt idx="186">
                  <c:v>45687</c:v>
                </c:pt>
                <c:pt idx="187">
                  <c:v>45686</c:v>
                </c:pt>
                <c:pt idx="188">
                  <c:v>45685</c:v>
                </c:pt>
                <c:pt idx="189">
                  <c:v>45684</c:v>
                </c:pt>
                <c:pt idx="190">
                  <c:v>45681</c:v>
                </c:pt>
                <c:pt idx="191">
                  <c:v>45680</c:v>
                </c:pt>
                <c:pt idx="192">
                  <c:v>45679</c:v>
                </c:pt>
                <c:pt idx="193">
                  <c:v>45678</c:v>
                </c:pt>
                <c:pt idx="194">
                  <c:v>45677</c:v>
                </c:pt>
                <c:pt idx="195">
                  <c:v>45674</c:v>
                </c:pt>
                <c:pt idx="196">
                  <c:v>45673</c:v>
                </c:pt>
                <c:pt idx="197">
                  <c:v>45672</c:v>
                </c:pt>
                <c:pt idx="198">
                  <c:v>45671</c:v>
                </c:pt>
                <c:pt idx="199">
                  <c:v>45670</c:v>
                </c:pt>
                <c:pt idx="200">
                  <c:v>45667</c:v>
                </c:pt>
                <c:pt idx="201">
                  <c:v>45666</c:v>
                </c:pt>
                <c:pt idx="202">
                  <c:v>45665</c:v>
                </c:pt>
                <c:pt idx="203">
                  <c:v>45664</c:v>
                </c:pt>
                <c:pt idx="204">
                  <c:v>45663</c:v>
                </c:pt>
                <c:pt idx="205">
                  <c:v>45660</c:v>
                </c:pt>
                <c:pt idx="206">
                  <c:v>45659</c:v>
                </c:pt>
                <c:pt idx="207">
                  <c:v>45658</c:v>
                </c:pt>
                <c:pt idx="208">
                  <c:v>45657</c:v>
                </c:pt>
                <c:pt idx="209">
                  <c:v>45656</c:v>
                </c:pt>
                <c:pt idx="210">
                  <c:v>45653</c:v>
                </c:pt>
                <c:pt idx="211">
                  <c:v>45652</c:v>
                </c:pt>
                <c:pt idx="212">
                  <c:v>45650</c:v>
                </c:pt>
                <c:pt idx="213">
                  <c:v>45649</c:v>
                </c:pt>
                <c:pt idx="214">
                  <c:v>45646</c:v>
                </c:pt>
                <c:pt idx="215">
                  <c:v>45645</c:v>
                </c:pt>
                <c:pt idx="216">
                  <c:v>45644</c:v>
                </c:pt>
                <c:pt idx="217">
                  <c:v>45643</c:v>
                </c:pt>
                <c:pt idx="218">
                  <c:v>45642</c:v>
                </c:pt>
                <c:pt idx="219">
                  <c:v>45639</c:v>
                </c:pt>
                <c:pt idx="220">
                  <c:v>45638</c:v>
                </c:pt>
                <c:pt idx="221">
                  <c:v>45637</c:v>
                </c:pt>
                <c:pt idx="222">
                  <c:v>45636</c:v>
                </c:pt>
                <c:pt idx="223">
                  <c:v>45635</c:v>
                </c:pt>
                <c:pt idx="224">
                  <c:v>45632</c:v>
                </c:pt>
                <c:pt idx="225">
                  <c:v>45631</c:v>
                </c:pt>
                <c:pt idx="226">
                  <c:v>45630</c:v>
                </c:pt>
                <c:pt idx="227">
                  <c:v>45629</c:v>
                </c:pt>
                <c:pt idx="228">
                  <c:v>45628</c:v>
                </c:pt>
                <c:pt idx="229">
                  <c:v>45625</c:v>
                </c:pt>
                <c:pt idx="230">
                  <c:v>45624</c:v>
                </c:pt>
                <c:pt idx="231">
                  <c:v>45623</c:v>
                </c:pt>
                <c:pt idx="232">
                  <c:v>45622</c:v>
                </c:pt>
                <c:pt idx="233">
                  <c:v>45621</c:v>
                </c:pt>
                <c:pt idx="234">
                  <c:v>45618</c:v>
                </c:pt>
                <c:pt idx="235">
                  <c:v>45617</c:v>
                </c:pt>
                <c:pt idx="236">
                  <c:v>45615</c:v>
                </c:pt>
                <c:pt idx="237">
                  <c:v>45614</c:v>
                </c:pt>
                <c:pt idx="238">
                  <c:v>45610</c:v>
                </c:pt>
                <c:pt idx="239">
                  <c:v>45609</c:v>
                </c:pt>
                <c:pt idx="240">
                  <c:v>45608</c:v>
                </c:pt>
                <c:pt idx="241">
                  <c:v>45607</c:v>
                </c:pt>
                <c:pt idx="242">
                  <c:v>45604</c:v>
                </c:pt>
                <c:pt idx="243">
                  <c:v>45603</c:v>
                </c:pt>
                <c:pt idx="244">
                  <c:v>45602</c:v>
                </c:pt>
                <c:pt idx="245">
                  <c:v>45601</c:v>
                </c:pt>
                <c:pt idx="246">
                  <c:v>45600</c:v>
                </c:pt>
                <c:pt idx="247">
                  <c:v>45597</c:v>
                </c:pt>
                <c:pt idx="248">
                  <c:v>45596</c:v>
                </c:pt>
                <c:pt idx="249">
                  <c:v>45595</c:v>
                </c:pt>
                <c:pt idx="250">
                  <c:v>45594</c:v>
                </c:pt>
                <c:pt idx="251">
                  <c:v>45593</c:v>
                </c:pt>
                <c:pt idx="252">
                  <c:v>45590</c:v>
                </c:pt>
                <c:pt idx="253">
                  <c:v>45589</c:v>
                </c:pt>
                <c:pt idx="254">
                  <c:v>45588</c:v>
                </c:pt>
                <c:pt idx="255">
                  <c:v>45587</c:v>
                </c:pt>
                <c:pt idx="256">
                  <c:v>45586</c:v>
                </c:pt>
                <c:pt idx="257">
                  <c:v>45583</c:v>
                </c:pt>
                <c:pt idx="258">
                  <c:v>45582</c:v>
                </c:pt>
                <c:pt idx="259">
                  <c:v>45581</c:v>
                </c:pt>
                <c:pt idx="260">
                  <c:v>45580</c:v>
                </c:pt>
                <c:pt idx="261">
                  <c:v>45579</c:v>
                </c:pt>
                <c:pt idx="262">
                  <c:v>45576</c:v>
                </c:pt>
                <c:pt idx="263">
                  <c:v>45575</c:v>
                </c:pt>
                <c:pt idx="264">
                  <c:v>45574</c:v>
                </c:pt>
                <c:pt idx="265">
                  <c:v>45573</c:v>
                </c:pt>
                <c:pt idx="266">
                  <c:v>45572</c:v>
                </c:pt>
                <c:pt idx="267">
                  <c:v>45569</c:v>
                </c:pt>
                <c:pt idx="268">
                  <c:v>45568</c:v>
                </c:pt>
                <c:pt idx="269">
                  <c:v>45566</c:v>
                </c:pt>
                <c:pt idx="270">
                  <c:v>45565</c:v>
                </c:pt>
                <c:pt idx="271">
                  <c:v>45562</c:v>
                </c:pt>
                <c:pt idx="272">
                  <c:v>45561</c:v>
                </c:pt>
                <c:pt idx="273">
                  <c:v>45560</c:v>
                </c:pt>
                <c:pt idx="274">
                  <c:v>45559</c:v>
                </c:pt>
                <c:pt idx="275">
                  <c:v>45558</c:v>
                </c:pt>
                <c:pt idx="276">
                  <c:v>45555</c:v>
                </c:pt>
                <c:pt idx="277">
                  <c:v>45554</c:v>
                </c:pt>
                <c:pt idx="278">
                  <c:v>45553</c:v>
                </c:pt>
                <c:pt idx="279">
                  <c:v>45552</c:v>
                </c:pt>
                <c:pt idx="280">
                  <c:v>45551</c:v>
                </c:pt>
                <c:pt idx="281">
                  <c:v>45548</c:v>
                </c:pt>
                <c:pt idx="282">
                  <c:v>45547</c:v>
                </c:pt>
                <c:pt idx="283">
                  <c:v>45546</c:v>
                </c:pt>
                <c:pt idx="284">
                  <c:v>45545</c:v>
                </c:pt>
                <c:pt idx="285">
                  <c:v>45544</c:v>
                </c:pt>
                <c:pt idx="286">
                  <c:v>45541</c:v>
                </c:pt>
                <c:pt idx="287">
                  <c:v>45540</c:v>
                </c:pt>
                <c:pt idx="288">
                  <c:v>45539</c:v>
                </c:pt>
                <c:pt idx="289">
                  <c:v>45538</c:v>
                </c:pt>
                <c:pt idx="290">
                  <c:v>45537</c:v>
                </c:pt>
                <c:pt idx="291">
                  <c:v>45534</c:v>
                </c:pt>
                <c:pt idx="292">
                  <c:v>45533</c:v>
                </c:pt>
                <c:pt idx="293">
                  <c:v>45532</c:v>
                </c:pt>
                <c:pt idx="294">
                  <c:v>45531</c:v>
                </c:pt>
                <c:pt idx="295">
                  <c:v>45530</c:v>
                </c:pt>
                <c:pt idx="296">
                  <c:v>45527</c:v>
                </c:pt>
                <c:pt idx="297">
                  <c:v>45526</c:v>
                </c:pt>
                <c:pt idx="298">
                  <c:v>45525</c:v>
                </c:pt>
                <c:pt idx="299">
                  <c:v>45524</c:v>
                </c:pt>
                <c:pt idx="300">
                  <c:v>45523</c:v>
                </c:pt>
                <c:pt idx="301">
                  <c:v>45520</c:v>
                </c:pt>
                <c:pt idx="302">
                  <c:v>45518</c:v>
                </c:pt>
                <c:pt idx="303">
                  <c:v>45517</c:v>
                </c:pt>
                <c:pt idx="304">
                  <c:v>45516</c:v>
                </c:pt>
                <c:pt idx="305">
                  <c:v>45513</c:v>
                </c:pt>
                <c:pt idx="306">
                  <c:v>45512</c:v>
                </c:pt>
                <c:pt idx="307">
                  <c:v>45511</c:v>
                </c:pt>
                <c:pt idx="308">
                  <c:v>45510</c:v>
                </c:pt>
                <c:pt idx="309">
                  <c:v>45509</c:v>
                </c:pt>
                <c:pt idx="310">
                  <c:v>45506</c:v>
                </c:pt>
                <c:pt idx="311">
                  <c:v>45505</c:v>
                </c:pt>
                <c:pt idx="312">
                  <c:v>45504</c:v>
                </c:pt>
                <c:pt idx="313">
                  <c:v>45503</c:v>
                </c:pt>
                <c:pt idx="314">
                  <c:v>45502</c:v>
                </c:pt>
                <c:pt idx="315">
                  <c:v>45499</c:v>
                </c:pt>
                <c:pt idx="316">
                  <c:v>45498</c:v>
                </c:pt>
                <c:pt idx="317">
                  <c:v>45497</c:v>
                </c:pt>
                <c:pt idx="318">
                  <c:v>45496</c:v>
                </c:pt>
                <c:pt idx="319">
                  <c:v>45495</c:v>
                </c:pt>
                <c:pt idx="320">
                  <c:v>45492</c:v>
                </c:pt>
                <c:pt idx="321">
                  <c:v>45491</c:v>
                </c:pt>
                <c:pt idx="322">
                  <c:v>45489</c:v>
                </c:pt>
                <c:pt idx="323">
                  <c:v>45488</c:v>
                </c:pt>
                <c:pt idx="324">
                  <c:v>45485</c:v>
                </c:pt>
                <c:pt idx="325">
                  <c:v>45484</c:v>
                </c:pt>
                <c:pt idx="326">
                  <c:v>45483</c:v>
                </c:pt>
                <c:pt idx="327">
                  <c:v>45482</c:v>
                </c:pt>
                <c:pt idx="328">
                  <c:v>45481</c:v>
                </c:pt>
                <c:pt idx="329">
                  <c:v>45478</c:v>
                </c:pt>
                <c:pt idx="330">
                  <c:v>45477</c:v>
                </c:pt>
                <c:pt idx="331">
                  <c:v>45476</c:v>
                </c:pt>
                <c:pt idx="332">
                  <c:v>45475</c:v>
                </c:pt>
                <c:pt idx="333">
                  <c:v>45474</c:v>
                </c:pt>
                <c:pt idx="334">
                  <c:v>45471</c:v>
                </c:pt>
                <c:pt idx="335">
                  <c:v>45470</c:v>
                </c:pt>
                <c:pt idx="336">
                  <c:v>45469</c:v>
                </c:pt>
                <c:pt idx="337">
                  <c:v>45468</c:v>
                </c:pt>
                <c:pt idx="338">
                  <c:v>45467</c:v>
                </c:pt>
                <c:pt idx="339">
                  <c:v>45464</c:v>
                </c:pt>
                <c:pt idx="340">
                  <c:v>45463</c:v>
                </c:pt>
                <c:pt idx="341">
                  <c:v>45462</c:v>
                </c:pt>
                <c:pt idx="342">
                  <c:v>45461</c:v>
                </c:pt>
                <c:pt idx="343">
                  <c:v>45457</c:v>
                </c:pt>
                <c:pt idx="344">
                  <c:v>45456</c:v>
                </c:pt>
                <c:pt idx="345">
                  <c:v>45455</c:v>
                </c:pt>
                <c:pt idx="346">
                  <c:v>45454</c:v>
                </c:pt>
                <c:pt idx="347">
                  <c:v>45453</c:v>
                </c:pt>
                <c:pt idx="348">
                  <c:v>45450</c:v>
                </c:pt>
                <c:pt idx="349">
                  <c:v>45449</c:v>
                </c:pt>
                <c:pt idx="350">
                  <c:v>45448</c:v>
                </c:pt>
                <c:pt idx="351">
                  <c:v>45447</c:v>
                </c:pt>
                <c:pt idx="352">
                  <c:v>45446</c:v>
                </c:pt>
                <c:pt idx="353">
                  <c:v>45443</c:v>
                </c:pt>
                <c:pt idx="354">
                  <c:v>45442</c:v>
                </c:pt>
                <c:pt idx="355">
                  <c:v>45441</c:v>
                </c:pt>
                <c:pt idx="356">
                  <c:v>45440</c:v>
                </c:pt>
                <c:pt idx="357">
                  <c:v>45439</c:v>
                </c:pt>
                <c:pt idx="358">
                  <c:v>45436</c:v>
                </c:pt>
                <c:pt idx="359">
                  <c:v>45435</c:v>
                </c:pt>
                <c:pt idx="360">
                  <c:v>45434</c:v>
                </c:pt>
                <c:pt idx="361">
                  <c:v>45433</c:v>
                </c:pt>
                <c:pt idx="362">
                  <c:v>45430</c:v>
                </c:pt>
                <c:pt idx="363">
                  <c:v>45429</c:v>
                </c:pt>
                <c:pt idx="364">
                  <c:v>45428</c:v>
                </c:pt>
                <c:pt idx="365">
                  <c:v>45427</c:v>
                </c:pt>
                <c:pt idx="366">
                  <c:v>45426</c:v>
                </c:pt>
                <c:pt idx="367">
                  <c:v>45425</c:v>
                </c:pt>
                <c:pt idx="368">
                  <c:v>45422</c:v>
                </c:pt>
                <c:pt idx="369">
                  <c:v>45421</c:v>
                </c:pt>
                <c:pt idx="370">
                  <c:v>45420</c:v>
                </c:pt>
                <c:pt idx="371">
                  <c:v>45419</c:v>
                </c:pt>
                <c:pt idx="372">
                  <c:v>45418</c:v>
                </c:pt>
                <c:pt idx="373">
                  <c:v>45415</c:v>
                </c:pt>
                <c:pt idx="374">
                  <c:v>45414</c:v>
                </c:pt>
                <c:pt idx="375">
                  <c:v>45412</c:v>
                </c:pt>
                <c:pt idx="376">
                  <c:v>45411</c:v>
                </c:pt>
                <c:pt idx="377">
                  <c:v>45408</c:v>
                </c:pt>
                <c:pt idx="378">
                  <c:v>45407</c:v>
                </c:pt>
                <c:pt idx="379">
                  <c:v>45406</c:v>
                </c:pt>
                <c:pt idx="380">
                  <c:v>45405</c:v>
                </c:pt>
                <c:pt idx="381">
                  <c:v>45404</c:v>
                </c:pt>
                <c:pt idx="382">
                  <c:v>45401</c:v>
                </c:pt>
                <c:pt idx="383">
                  <c:v>45400</c:v>
                </c:pt>
                <c:pt idx="384">
                  <c:v>45398</c:v>
                </c:pt>
                <c:pt idx="385">
                  <c:v>45397</c:v>
                </c:pt>
                <c:pt idx="386">
                  <c:v>45394</c:v>
                </c:pt>
                <c:pt idx="387">
                  <c:v>45392</c:v>
                </c:pt>
                <c:pt idx="388">
                  <c:v>45391</c:v>
                </c:pt>
                <c:pt idx="389">
                  <c:v>45390</c:v>
                </c:pt>
                <c:pt idx="390">
                  <c:v>45387</c:v>
                </c:pt>
                <c:pt idx="391">
                  <c:v>45386</c:v>
                </c:pt>
                <c:pt idx="392">
                  <c:v>45385</c:v>
                </c:pt>
                <c:pt idx="393">
                  <c:v>45384</c:v>
                </c:pt>
                <c:pt idx="394">
                  <c:v>45383</c:v>
                </c:pt>
              </c:numCache>
            </c:numRef>
          </c:cat>
          <c:val>
            <c:numRef>
              <c:f>Sheet1!$B$2:$B$396</c:f>
              <c:numCache>
                <c:formatCode>_ * #,##0_ ;_ * \-#,##0_ ;_ * "-"??_ ;_ @_ </c:formatCode>
                <c:ptCount val="395"/>
                <c:pt idx="0">
                  <c:v>125.43141470231357</c:v>
                </c:pt>
                <c:pt idx="1">
                  <c:v>125.47205537837237</c:v>
                </c:pt>
                <c:pt idx="2">
                  <c:v>125.83490335093303</c:v>
                </c:pt>
                <c:pt idx="3">
                  <c:v>124.99019561367938</c:v>
                </c:pt>
                <c:pt idx="4">
                  <c:v>125.16457710443356</c:v>
                </c:pt>
                <c:pt idx="5">
                  <c:v>125.27796720314991</c:v>
                </c:pt>
                <c:pt idx="6">
                  <c:v>126.04731404062014</c:v>
                </c:pt>
                <c:pt idx="7">
                  <c:v>126.59074766207868</c:v>
                </c:pt>
                <c:pt idx="8">
                  <c:v>126.10602470985431</c:v>
                </c:pt>
                <c:pt idx="9">
                  <c:v>125.37187669007344</c:v>
                </c:pt>
                <c:pt idx="10">
                  <c:v>124.94678091280043</c:v>
                </c:pt>
                <c:pt idx="11">
                  <c:v>124.36625248019183</c:v>
                </c:pt>
                <c:pt idx="12">
                  <c:v>124.16221409537495</c:v>
                </c:pt>
                <c:pt idx="13">
                  <c:v>125.02108317661724</c:v>
                </c:pt>
                <c:pt idx="14">
                  <c:v>125.19457933945237</c:v>
                </c:pt>
                <c:pt idx="15">
                  <c:v>124.00946126052804</c:v>
                </c:pt>
                <c:pt idx="16">
                  <c:v>123.02052227609279</c:v>
                </c:pt>
                <c:pt idx="17">
                  <c:v>123.47046146853297</c:v>
                </c:pt>
                <c:pt idx="18">
                  <c:v>123.24249259372118</c:v>
                </c:pt>
                <c:pt idx="19">
                  <c:v>122.10331593986727</c:v>
                </c:pt>
                <c:pt idx="20">
                  <c:v>122.12070477326445</c:v>
                </c:pt>
                <c:pt idx="21">
                  <c:v>120.76419038663481</c:v>
                </c:pt>
                <c:pt idx="22">
                  <c:v>120.87870880802765</c:v>
                </c:pt>
                <c:pt idx="23">
                  <c:v>120.74645433596088</c:v>
                </c:pt>
                <c:pt idx="24">
                  <c:v>123.37819747579729</c:v>
                </c:pt>
                <c:pt idx="25">
                  <c:v>124.19589445688921</c:v>
                </c:pt>
                <c:pt idx="26">
                  <c:v>124.96008845858429</c:v>
                </c:pt>
                <c:pt idx="27">
                  <c:v>125.49181671054384</c:v>
                </c:pt>
                <c:pt idx="28">
                  <c:v>126.86911009911827</c:v>
                </c:pt>
                <c:pt idx="29">
                  <c:v>126.45839659039795</c:v>
                </c:pt>
                <c:pt idx="30">
                  <c:v>125.45852633003975</c:v>
                </c:pt>
                <c:pt idx="31">
                  <c:v>125.40105295441121</c:v>
                </c:pt>
                <c:pt idx="32">
                  <c:v>125.27009913177389</c:v>
                </c:pt>
                <c:pt idx="33">
                  <c:v>125.7048735771893</c:v>
                </c:pt>
                <c:pt idx="34">
                  <c:v>125.4659103889026</c:v>
                </c:pt>
                <c:pt idx="35">
                  <c:v>125.13854663418203</c:v>
                </c:pt>
                <c:pt idx="36">
                  <c:v>124.59429401872391</c:v>
                </c:pt>
                <c:pt idx="37">
                  <c:v>123.95528571321549</c:v>
                </c:pt>
                <c:pt idx="38">
                  <c:v>124.18973656584403</c:v>
                </c:pt>
                <c:pt idx="39">
                  <c:v>124.34467447164906</c:v>
                </c:pt>
                <c:pt idx="40">
                  <c:v>124.28936744269618</c:v>
                </c:pt>
                <c:pt idx="41">
                  <c:v>122.80285686404562</c:v>
                </c:pt>
                <c:pt idx="42">
                  <c:v>122.86371163905943</c:v>
                </c:pt>
                <c:pt idx="43">
                  <c:v>122.50223642284001</c:v>
                </c:pt>
                <c:pt idx="44">
                  <c:v>122.70328344987816</c:v>
                </c:pt>
                <c:pt idx="45">
                  <c:v>123.89926193292675</c:v>
                </c:pt>
                <c:pt idx="46">
                  <c:v>126.02857890317303</c:v>
                </c:pt>
                <c:pt idx="47">
                  <c:v>125.85425885459621</c:v>
                </c:pt>
                <c:pt idx="48">
                  <c:v>125.7230539378594</c:v>
                </c:pt>
                <c:pt idx="49">
                  <c:v>125.05389621343957</c:v>
                </c:pt>
                <c:pt idx="50">
                  <c:v>125.2402730291943</c:v>
                </c:pt>
                <c:pt idx="51">
                  <c:v>125.05039290278755</c:v>
                </c:pt>
                <c:pt idx="52">
                  <c:v>124.8628321029546</c:v>
                </c:pt>
                <c:pt idx="53">
                  <c:v>124.86125433760732</c:v>
                </c:pt>
                <c:pt idx="54">
                  <c:v>122.90101819203457</c:v>
                </c:pt>
                <c:pt idx="55">
                  <c:v>122.51013108414246</c:v>
                </c:pt>
                <c:pt idx="56">
                  <c:v>121.35009031639498</c:v>
                </c:pt>
                <c:pt idx="57">
                  <c:v>122.59193672110098</c:v>
                </c:pt>
                <c:pt idx="58">
                  <c:v>121.97629289208356</c:v>
                </c:pt>
                <c:pt idx="59">
                  <c:v>124.17423601963245</c:v>
                </c:pt>
                <c:pt idx="60">
                  <c:v>124.78160023583705</c:v>
                </c:pt>
                <c:pt idx="61">
                  <c:v>124.4565783495449</c:v>
                </c:pt>
                <c:pt idx="62">
                  <c:v>127.57674403387513</c:v>
                </c:pt>
                <c:pt idx="63">
                  <c:v>128.87178833250087</c:v>
                </c:pt>
                <c:pt idx="64">
                  <c:v>128.6591885010921</c:v>
                </c:pt>
                <c:pt idx="65">
                  <c:v>127.08784427554897</c:v>
                </c:pt>
                <c:pt idx="66">
                  <c:v>127.35962785013365</c:v>
                </c:pt>
                <c:pt idx="67">
                  <c:v>127.27920006239701</c:v>
                </c:pt>
                <c:pt idx="68">
                  <c:v>126.73334854211046</c:v>
                </c:pt>
                <c:pt idx="69">
                  <c:v>125.98593997234009</c:v>
                </c:pt>
                <c:pt idx="70">
                  <c:v>126.76031767237639</c:v>
                </c:pt>
                <c:pt idx="71">
                  <c:v>127.17013644976782</c:v>
                </c:pt>
                <c:pt idx="72">
                  <c:v>127.89135481536802</c:v>
                </c:pt>
                <c:pt idx="73">
                  <c:v>127.46164914491457</c:v>
                </c:pt>
                <c:pt idx="74">
                  <c:v>127.59580267652653</c:v>
                </c:pt>
                <c:pt idx="75">
                  <c:v>126.33285737189348</c:v>
                </c:pt>
                <c:pt idx="76">
                  <c:v>124.9290306670277</c:v>
                </c:pt>
                <c:pt idx="77">
                  <c:v>124.61851351130619</c:v>
                </c:pt>
                <c:pt idx="78">
                  <c:v>125.16515190861666</c:v>
                </c:pt>
                <c:pt idx="79">
                  <c:v>124.90214976167749</c:v>
                </c:pt>
                <c:pt idx="80">
                  <c:v>125.80592832443683</c:v>
                </c:pt>
                <c:pt idx="81">
                  <c:v>125.95848382472502</c:v>
                </c:pt>
                <c:pt idx="82">
                  <c:v>125.19718993116975</c:v>
                </c:pt>
                <c:pt idx="83">
                  <c:v>124.33406803463183</c:v>
                </c:pt>
                <c:pt idx="84">
                  <c:v>124.20311256270156</c:v>
                </c:pt>
                <c:pt idx="85">
                  <c:v>124.45685608892673</c:v>
                </c:pt>
                <c:pt idx="86">
                  <c:v>123.68490560949388</c:v>
                </c:pt>
                <c:pt idx="87">
                  <c:v>122.55565626490915</c:v>
                </c:pt>
                <c:pt idx="88">
                  <c:v>122.23897483427469</c:v>
                </c:pt>
                <c:pt idx="89">
                  <c:v>120.99057250290832</c:v>
                </c:pt>
                <c:pt idx="90">
                  <c:v>120.52761177574014</c:v>
                </c:pt>
                <c:pt idx="91">
                  <c:v>120.61738749206189</c:v>
                </c:pt>
                <c:pt idx="92">
                  <c:v>119.99842744067857</c:v>
                </c:pt>
                <c:pt idx="93">
                  <c:v>121.31605348188302</c:v>
                </c:pt>
                <c:pt idx="94">
                  <c:v>121.94013187515193</c:v>
                </c:pt>
                <c:pt idx="95">
                  <c:v>123.89012679369327</c:v>
                </c:pt>
                <c:pt idx="96">
                  <c:v>123.39014115901325</c:v>
                </c:pt>
                <c:pt idx="97">
                  <c:v>123.41304003762789</c:v>
                </c:pt>
                <c:pt idx="98">
                  <c:v>123.47739439963932</c:v>
                </c:pt>
                <c:pt idx="99">
                  <c:v>122.62077508344241</c:v>
                </c:pt>
                <c:pt idx="100">
                  <c:v>122.01688545671657</c:v>
                </c:pt>
                <c:pt idx="101">
                  <c:v>121.2482771147402</c:v>
                </c:pt>
                <c:pt idx="102">
                  <c:v>121.05715104801482</c:v>
                </c:pt>
                <c:pt idx="103">
                  <c:v>120.02633081024709</c:v>
                </c:pt>
                <c:pt idx="104">
                  <c:v>119.56765357956874</c:v>
                </c:pt>
                <c:pt idx="105">
                  <c:v>119.80091281130049</c:v>
                </c:pt>
                <c:pt idx="106">
                  <c:v>119.83650242648163</c:v>
                </c:pt>
                <c:pt idx="107">
                  <c:v>120.09419632200239</c:v>
                </c:pt>
                <c:pt idx="108">
                  <c:v>119.54160668583084</c:v>
                </c:pt>
                <c:pt idx="109">
                  <c:v>119.92499775865525</c:v>
                </c:pt>
                <c:pt idx="110">
                  <c:v>119.28315849716925</c:v>
                </c:pt>
                <c:pt idx="111">
                  <c:v>118.77096199022206</c:v>
                </c:pt>
                <c:pt idx="112">
                  <c:v>118.86155192677077</c:v>
                </c:pt>
                <c:pt idx="113">
                  <c:v>119.20017098028119</c:v>
                </c:pt>
                <c:pt idx="114">
                  <c:v>118.00248420117579</c:v>
                </c:pt>
                <c:pt idx="115">
                  <c:v>119.34620084392265</c:v>
                </c:pt>
                <c:pt idx="116">
                  <c:v>118.67499097346746</c:v>
                </c:pt>
                <c:pt idx="117">
                  <c:v>118.90266569939244</c:v>
                </c:pt>
                <c:pt idx="118">
                  <c:v>118.13160233918735</c:v>
                </c:pt>
                <c:pt idx="119">
                  <c:v>117.31069083355369</c:v>
                </c:pt>
                <c:pt idx="120">
                  <c:v>115.92422874791761</c:v>
                </c:pt>
                <c:pt idx="121">
                  <c:v>115.09055443172343</c:v>
                </c:pt>
                <c:pt idx="122">
                  <c:v>115.37402583872446</c:v>
                </c:pt>
                <c:pt idx="123">
                  <c:v>117.11374624873417</c:v>
                </c:pt>
                <c:pt idx="124">
                  <c:v>117.06314277451806</c:v>
                </c:pt>
                <c:pt idx="125">
                  <c:v>118.15295437402652</c:v>
                </c:pt>
                <c:pt idx="126">
                  <c:v>117.10803262937083</c:v>
                </c:pt>
                <c:pt idx="127">
                  <c:v>117.82875112864636</c:v>
                </c:pt>
                <c:pt idx="128">
                  <c:v>117.7801063872147</c:v>
                </c:pt>
                <c:pt idx="129">
                  <c:v>118.58879948142373</c:v>
                </c:pt>
                <c:pt idx="130">
                  <c:v>116.8724381545926</c:v>
                </c:pt>
                <c:pt idx="131">
                  <c:v>119.60895011751587</c:v>
                </c:pt>
                <c:pt idx="132">
                  <c:v>118.99432549416436</c:v>
                </c:pt>
                <c:pt idx="133">
                  <c:v>117.80313645067949</c:v>
                </c:pt>
                <c:pt idx="134">
                  <c:v>117.137065538502</c:v>
                </c:pt>
                <c:pt idx="135">
                  <c:v>116.46830786018862</c:v>
                </c:pt>
                <c:pt idx="136">
                  <c:v>115.33734066723753</c:v>
                </c:pt>
                <c:pt idx="137">
                  <c:v>115.22782163535844</c:v>
                </c:pt>
                <c:pt idx="138">
                  <c:v>112.55304579653109</c:v>
                </c:pt>
                <c:pt idx="139">
                  <c:v>110.05813159288583</c:v>
                </c:pt>
                <c:pt idx="140">
                  <c:v>111.71488609855135</c:v>
                </c:pt>
                <c:pt idx="141">
                  <c:v>109.56041171198679</c:v>
                </c:pt>
                <c:pt idx="142">
                  <c:v>113.14803745775497</c:v>
                </c:pt>
                <c:pt idx="143">
                  <c:v>116.83025222864916</c:v>
                </c:pt>
                <c:pt idx="144">
                  <c:v>114.92824529789372</c:v>
                </c:pt>
                <c:pt idx="145">
                  <c:v>114.37177075320157</c:v>
                </c:pt>
                <c:pt idx="146">
                  <c:v>116.08825849915235</c:v>
                </c:pt>
                <c:pt idx="147">
                  <c:v>116.11707687580984</c:v>
                </c:pt>
                <c:pt idx="148">
                  <c:v>115.87907769066138</c:v>
                </c:pt>
                <c:pt idx="149">
                  <c:v>117.25792969460603</c:v>
                </c:pt>
                <c:pt idx="150">
                  <c:v>118.19437267945948</c:v>
                </c:pt>
                <c:pt idx="151">
                  <c:v>117.64900912821992</c:v>
                </c:pt>
                <c:pt idx="152">
                  <c:v>115.85075745132502</c:v>
                </c:pt>
                <c:pt idx="153">
                  <c:v>114.45465464836401</c:v>
                </c:pt>
                <c:pt idx="154">
                  <c:v>113.21726074192469</c:v>
                </c:pt>
                <c:pt idx="155">
                  <c:v>111.18335675201233</c:v>
                </c:pt>
                <c:pt idx="156">
                  <c:v>110.30962467622656</c:v>
                </c:pt>
                <c:pt idx="157">
                  <c:v>110.58958288413184</c:v>
                </c:pt>
                <c:pt idx="158">
                  <c:v>110.49839732781531</c:v>
                </c:pt>
                <c:pt idx="159">
                  <c:v>110.19825276695056</c:v>
                </c:pt>
                <c:pt idx="160">
                  <c:v>111.1570938425439</c:v>
                </c:pt>
                <c:pt idx="161">
                  <c:v>111.49954248962756</c:v>
                </c:pt>
                <c:pt idx="162">
                  <c:v>110.21910185485474</c:v>
                </c:pt>
                <c:pt idx="163">
                  <c:v>108.36137246157418</c:v>
                </c:pt>
                <c:pt idx="164">
                  <c:v>107.71618858761143</c:v>
                </c:pt>
                <c:pt idx="165">
                  <c:v>107.2181997764531</c:v>
                </c:pt>
                <c:pt idx="166">
                  <c:v>109.57948717141385</c:v>
                </c:pt>
                <c:pt idx="167">
                  <c:v>110.4922518832426</c:v>
                </c:pt>
                <c:pt idx="168">
                  <c:v>110.61150695144472</c:v>
                </c:pt>
                <c:pt idx="169">
                  <c:v>111.06205799727201</c:v>
                </c:pt>
                <c:pt idx="170">
                  <c:v>112.8194351140081</c:v>
                </c:pt>
                <c:pt idx="171">
                  <c:v>112.35377145408235</c:v>
                </c:pt>
                <c:pt idx="172">
                  <c:v>112.44664685241908</c:v>
                </c:pt>
                <c:pt idx="173">
                  <c:v>112.73042970824541</c:v>
                </c:pt>
                <c:pt idx="174">
                  <c:v>111.42640629059103</c:v>
                </c:pt>
                <c:pt idx="175">
                  <c:v>114.67681031609227</c:v>
                </c:pt>
                <c:pt idx="176">
                  <c:v>114.07065483465375</c:v>
                </c:pt>
                <c:pt idx="177">
                  <c:v>114.59484613231263</c:v>
                </c:pt>
                <c:pt idx="178">
                  <c:v>117.81684447323042</c:v>
                </c:pt>
                <c:pt idx="179">
                  <c:v>120.44140325696131</c:v>
                </c:pt>
                <c:pt idx="180">
                  <c:v>120.4637258508068</c:v>
                </c:pt>
                <c:pt idx="181">
                  <c:v>119.79740817384398</c:v>
                </c:pt>
                <c:pt idx="182">
                  <c:v>118.461890456969</c:v>
                </c:pt>
                <c:pt idx="183">
                  <c:v>116.93412160637858</c:v>
                </c:pt>
                <c:pt idx="184">
                  <c:v>116.73711289111188</c:v>
                </c:pt>
                <c:pt idx="185">
                  <c:v>116.66969804660428</c:v>
                </c:pt>
                <c:pt idx="186">
                  <c:v>116.19687191550989</c:v>
                </c:pt>
                <c:pt idx="187">
                  <c:v>114.97839173159987</c:v>
                </c:pt>
                <c:pt idx="188">
                  <c:v>112.44735893082878</c:v>
                </c:pt>
                <c:pt idx="189">
                  <c:v>114.83508520377842</c:v>
                </c:pt>
                <c:pt idx="190">
                  <c:v>117.98733511899107</c:v>
                </c:pt>
                <c:pt idx="191">
                  <c:v>120.55386910650644</c:v>
                </c:pt>
                <c:pt idx="192">
                  <c:v>118.94207659220245</c:v>
                </c:pt>
                <c:pt idx="193">
                  <c:v>119.07825521722353</c:v>
                </c:pt>
                <c:pt idx="194">
                  <c:v>120.35168945654137</c:v>
                </c:pt>
                <c:pt idx="195">
                  <c:v>119.44496356962054</c:v>
                </c:pt>
                <c:pt idx="196">
                  <c:v>119.02912668141134</c:v>
                </c:pt>
                <c:pt idx="197">
                  <c:v>118.86482288453192</c:v>
                </c:pt>
                <c:pt idx="198">
                  <c:v>120.30957708606505</c:v>
                </c:pt>
                <c:pt idx="199">
                  <c:v>118.96068219482034</c:v>
                </c:pt>
                <c:pt idx="200">
                  <c:v>122.04604509217326</c:v>
                </c:pt>
                <c:pt idx="201">
                  <c:v>124.93815204671226</c:v>
                </c:pt>
                <c:pt idx="202">
                  <c:v>125.83652628392116</c:v>
                </c:pt>
                <c:pt idx="203">
                  <c:v>127.02736323544576</c:v>
                </c:pt>
                <c:pt idx="204">
                  <c:v>125.45224473684611</c:v>
                </c:pt>
                <c:pt idx="205">
                  <c:v>126.6553899000027</c:v>
                </c:pt>
                <c:pt idx="206">
                  <c:v>127.43713157162701</c:v>
                </c:pt>
                <c:pt idx="207">
                  <c:v>126.86704531012828</c:v>
                </c:pt>
                <c:pt idx="208">
                  <c:v>126.39432949692788</c:v>
                </c:pt>
                <c:pt idx="209">
                  <c:v>125.93997539745011</c:v>
                </c:pt>
                <c:pt idx="210">
                  <c:v>124.84617906618689</c:v>
                </c:pt>
                <c:pt idx="211">
                  <c:v>123.9082891463533</c:v>
                </c:pt>
                <c:pt idx="212">
                  <c:v>123.15432268711639</c:v>
                </c:pt>
                <c:pt idx="213">
                  <c:v>122.98149416052611</c:v>
                </c:pt>
                <c:pt idx="214">
                  <c:v>122.77258353932953</c:v>
                </c:pt>
                <c:pt idx="215">
                  <c:v>123.62815608616809</c:v>
                </c:pt>
                <c:pt idx="216">
                  <c:v>122.56303531846079</c:v>
                </c:pt>
                <c:pt idx="217">
                  <c:v>121.67951789159176</c:v>
                </c:pt>
                <c:pt idx="218">
                  <c:v>122.26328886255345</c:v>
                </c:pt>
                <c:pt idx="219">
                  <c:v>121.85362270038995</c:v>
                </c:pt>
                <c:pt idx="220">
                  <c:v>122.28257329701745</c:v>
                </c:pt>
                <c:pt idx="221">
                  <c:v>123.13599200641458</c:v>
                </c:pt>
                <c:pt idx="222">
                  <c:v>122.83484631099114</c:v>
                </c:pt>
                <c:pt idx="223">
                  <c:v>122.87101849291282</c:v>
                </c:pt>
                <c:pt idx="224">
                  <c:v>123.27958885945962</c:v>
                </c:pt>
                <c:pt idx="225">
                  <c:v>123.75165086454135</c:v>
                </c:pt>
                <c:pt idx="226">
                  <c:v>123.49523718131036</c:v>
                </c:pt>
                <c:pt idx="227">
                  <c:v>123.16464348839824</c:v>
                </c:pt>
                <c:pt idx="228">
                  <c:v>122.98270814169553</c:v>
                </c:pt>
                <c:pt idx="229">
                  <c:v>121.58101629850118</c:v>
                </c:pt>
                <c:pt idx="230">
                  <c:v>119.11732681617147</c:v>
                </c:pt>
                <c:pt idx="231">
                  <c:v>119.68255193486851</c:v>
                </c:pt>
                <c:pt idx="232">
                  <c:v>120.02454138419401</c:v>
                </c:pt>
                <c:pt idx="233">
                  <c:v>120.5950870232214</c:v>
                </c:pt>
                <c:pt idx="234">
                  <c:v>119.32782589055843</c:v>
                </c:pt>
                <c:pt idx="235">
                  <c:v>118.0007103633033</c:v>
                </c:pt>
                <c:pt idx="236">
                  <c:v>118.0279419756865</c:v>
                </c:pt>
                <c:pt idx="237">
                  <c:v>117.20084288325791</c:v>
                </c:pt>
                <c:pt idx="238">
                  <c:v>118.21603183231414</c:v>
                </c:pt>
                <c:pt idx="239">
                  <c:v>117.90950979662425</c:v>
                </c:pt>
                <c:pt idx="240">
                  <c:v>120.06533821779989</c:v>
                </c:pt>
                <c:pt idx="241">
                  <c:v>120.8140466620542</c:v>
                </c:pt>
                <c:pt idx="242">
                  <c:v>122.16405280647263</c:v>
                </c:pt>
                <c:pt idx="243">
                  <c:v>122.49613173823359</c:v>
                </c:pt>
                <c:pt idx="244">
                  <c:v>123.67264251656093</c:v>
                </c:pt>
                <c:pt idx="245">
                  <c:v>122.19436364201535</c:v>
                </c:pt>
                <c:pt idx="246">
                  <c:v>122.10909813887625</c:v>
                </c:pt>
                <c:pt idx="247">
                  <c:v>122.99145581427526</c:v>
                </c:pt>
                <c:pt idx="248">
                  <c:v>122.38050978428284</c:v>
                </c:pt>
                <c:pt idx="249">
                  <c:v>120.41047928562419</c:v>
                </c:pt>
                <c:pt idx="250">
                  <c:v>120.45218450262418</c:v>
                </c:pt>
                <c:pt idx="251">
                  <c:v>120.9450894690894</c:v>
                </c:pt>
                <c:pt idx="252">
                  <c:v>119.54367481718282</c:v>
                </c:pt>
                <c:pt idx="253">
                  <c:v>119.87327927199314</c:v>
                </c:pt>
                <c:pt idx="254">
                  <c:v>119.34491180967396</c:v>
                </c:pt>
                <c:pt idx="255">
                  <c:v>120.32614350427379</c:v>
                </c:pt>
                <c:pt idx="256">
                  <c:v>122.55375716310455</c:v>
                </c:pt>
                <c:pt idx="257">
                  <c:v>123.58988898943143</c:v>
                </c:pt>
                <c:pt idx="258">
                  <c:v>123.28690315442933</c:v>
                </c:pt>
                <c:pt idx="259">
                  <c:v>124.74940815691113</c:v>
                </c:pt>
                <c:pt idx="260">
                  <c:v>125.05405226555693</c:v>
                </c:pt>
                <c:pt idx="261">
                  <c:v>124.7440363828176</c:v>
                </c:pt>
                <c:pt idx="262">
                  <c:v>124.39508137418612</c:v>
                </c:pt>
                <c:pt idx="263">
                  <c:v>123.24147889662686</c:v>
                </c:pt>
                <c:pt idx="264">
                  <c:v>124.94487870365761</c:v>
                </c:pt>
                <c:pt idx="265">
                  <c:v>122.85690300855265</c:v>
                </c:pt>
                <c:pt idx="266">
                  <c:v>120.60007908309059</c:v>
                </c:pt>
                <c:pt idx="267">
                  <c:v>121.86871497188588</c:v>
                </c:pt>
                <c:pt idx="268">
                  <c:v>122.20171881716863</c:v>
                </c:pt>
                <c:pt idx="269">
                  <c:v>123.43317648129197</c:v>
                </c:pt>
                <c:pt idx="270">
                  <c:v>123.22562973722603</c:v>
                </c:pt>
                <c:pt idx="271">
                  <c:v>123.83190468956901</c:v>
                </c:pt>
                <c:pt idx="272">
                  <c:v>123.02771635590193</c:v>
                </c:pt>
                <c:pt idx="273">
                  <c:v>123.21640217594229</c:v>
                </c:pt>
                <c:pt idx="274">
                  <c:v>123.31657999467411</c:v>
                </c:pt>
                <c:pt idx="275">
                  <c:v>123.14141539172925</c:v>
                </c:pt>
                <c:pt idx="276">
                  <c:v>122.80664640635943</c:v>
                </c:pt>
                <c:pt idx="277">
                  <c:v>121.6902746738461</c:v>
                </c:pt>
                <c:pt idx="278">
                  <c:v>122.16180306177118</c:v>
                </c:pt>
                <c:pt idx="279">
                  <c:v>123.71771459592699</c:v>
                </c:pt>
                <c:pt idx="280">
                  <c:v>124.01766714659851</c:v>
                </c:pt>
                <c:pt idx="281">
                  <c:v>124.05413208475908</c:v>
                </c:pt>
                <c:pt idx="282">
                  <c:v>124.02504593140935</c:v>
                </c:pt>
                <c:pt idx="283">
                  <c:v>122.89354998827564</c:v>
                </c:pt>
                <c:pt idx="284">
                  <c:v>122.95471600782889</c:v>
                </c:pt>
                <c:pt idx="285">
                  <c:v>121.64170143806307</c:v>
                </c:pt>
                <c:pt idx="286">
                  <c:v>121.81555688684254</c:v>
                </c:pt>
                <c:pt idx="287">
                  <c:v>122.19416368473104</c:v>
                </c:pt>
                <c:pt idx="288">
                  <c:v>121.74545726123124</c:v>
                </c:pt>
                <c:pt idx="289">
                  <c:v>120.49958006569469</c:v>
                </c:pt>
                <c:pt idx="290">
                  <c:v>120.28128345949958</c:v>
                </c:pt>
                <c:pt idx="291">
                  <c:v>120.91920417438027</c:v>
                </c:pt>
                <c:pt idx="292">
                  <c:v>119.28436599915442</c:v>
                </c:pt>
                <c:pt idx="293">
                  <c:v>119.68210193450918</c:v>
                </c:pt>
                <c:pt idx="294">
                  <c:v>118.65475382611544</c:v>
                </c:pt>
                <c:pt idx="295">
                  <c:v>118.00402893651227</c:v>
                </c:pt>
                <c:pt idx="296">
                  <c:v>118.07885204793045</c:v>
                </c:pt>
                <c:pt idx="297">
                  <c:v>117.9720857784346</c:v>
                </c:pt>
                <c:pt idx="298">
                  <c:v>117.82552896867742</c:v>
                </c:pt>
                <c:pt idx="299">
                  <c:v>116.791507761427</c:v>
                </c:pt>
                <c:pt idx="300">
                  <c:v>116.26070968277371</c:v>
                </c:pt>
                <c:pt idx="301">
                  <c:v>115.52018180151697</c:v>
                </c:pt>
                <c:pt idx="302">
                  <c:v>114.30875014436842</c:v>
                </c:pt>
                <c:pt idx="303">
                  <c:v>114.97703162417274</c:v>
                </c:pt>
                <c:pt idx="304">
                  <c:v>115.1816970100507</c:v>
                </c:pt>
                <c:pt idx="305">
                  <c:v>115.27630939629492</c:v>
                </c:pt>
                <c:pt idx="306">
                  <c:v>114.82926479550281</c:v>
                </c:pt>
                <c:pt idx="307">
                  <c:v>114.60740351471661</c:v>
                </c:pt>
                <c:pt idx="308">
                  <c:v>112.25026412242934</c:v>
                </c:pt>
                <c:pt idx="309">
                  <c:v>112.1827132050614</c:v>
                </c:pt>
                <c:pt idx="310">
                  <c:v>114.14558527464531</c:v>
                </c:pt>
                <c:pt idx="311">
                  <c:v>113.61922567979182</c:v>
                </c:pt>
                <c:pt idx="312">
                  <c:v>113.36440208309361</c:v>
                </c:pt>
                <c:pt idx="313">
                  <c:v>112.24790528398771</c:v>
                </c:pt>
                <c:pt idx="314">
                  <c:v>112.55221059072618</c:v>
                </c:pt>
                <c:pt idx="315">
                  <c:v>112.14555617827973</c:v>
                </c:pt>
                <c:pt idx="316">
                  <c:v>110.16603507980724</c:v>
                </c:pt>
                <c:pt idx="317">
                  <c:v>109.33069025675492</c:v>
                </c:pt>
                <c:pt idx="318">
                  <c:v>108.22219198958348</c:v>
                </c:pt>
                <c:pt idx="319">
                  <c:v>107.55793930340484</c:v>
                </c:pt>
                <c:pt idx="320">
                  <c:v>106.57225684598066</c:v>
                </c:pt>
                <c:pt idx="321">
                  <c:v>108.36822111918754</c:v>
                </c:pt>
                <c:pt idx="322">
                  <c:v>108.24037354209339</c:v>
                </c:pt>
                <c:pt idx="323">
                  <c:v>108.26364812787553</c:v>
                </c:pt>
                <c:pt idx="324">
                  <c:v>107.22664304611826</c:v>
                </c:pt>
                <c:pt idx="325">
                  <c:v>107.37268593730036</c:v>
                </c:pt>
                <c:pt idx="326">
                  <c:v>107.8235887751505</c:v>
                </c:pt>
                <c:pt idx="327">
                  <c:v>107.41053975201964</c:v>
                </c:pt>
                <c:pt idx="328">
                  <c:v>106.29672293463715</c:v>
                </c:pt>
                <c:pt idx="329">
                  <c:v>106.87876654252744</c:v>
                </c:pt>
                <c:pt idx="330">
                  <c:v>105.91781211005089</c:v>
                </c:pt>
                <c:pt idx="331">
                  <c:v>104.62354556201461</c:v>
                </c:pt>
                <c:pt idx="332">
                  <c:v>103.89265470496176</c:v>
                </c:pt>
                <c:pt idx="333">
                  <c:v>104.0346874346113</c:v>
                </c:pt>
                <c:pt idx="334">
                  <c:v>103.58571625711464</c:v>
                </c:pt>
                <c:pt idx="335">
                  <c:v>102.76696975139572</c:v>
                </c:pt>
                <c:pt idx="336">
                  <c:v>102.79876722919465</c:v>
                </c:pt>
                <c:pt idx="337">
                  <c:v>102.78987613496251</c:v>
                </c:pt>
                <c:pt idx="338">
                  <c:v>102.77091342382667</c:v>
                </c:pt>
                <c:pt idx="339">
                  <c:v>102.87593679445447</c:v>
                </c:pt>
                <c:pt idx="340">
                  <c:v>103.03868191116186</c:v>
                </c:pt>
                <c:pt idx="341">
                  <c:v>103.23877767421266</c:v>
                </c:pt>
                <c:pt idx="342">
                  <c:v>104.06531913774593</c:v>
                </c:pt>
                <c:pt idx="343">
                  <c:v>104.39181657709507</c:v>
                </c:pt>
                <c:pt idx="344">
                  <c:v>103.72096319821273</c:v>
                </c:pt>
                <c:pt idx="345">
                  <c:v>103.50608064991798</c:v>
                </c:pt>
                <c:pt idx="346">
                  <c:v>102.88880851409314</c:v>
                </c:pt>
                <c:pt idx="347">
                  <c:v>103.13983079594745</c:v>
                </c:pt>
                <c:pt idx="348">
                  <c:v>102.14836415606463</c:v>
                </c:pt>
                <c:pt idx="349">
                  <c:v>100.51437593479839</c:v>
                </c:pt>
                <c:pt idx="350">
                  <c:v>100.15898065099893</c:v>
                </c:pt>
                <c:pt idx="351">
                  <c:v>96.693808797729574</c:v>
                </c:pt>
                <c:pt idx="352">
                  <c:v>98.456684471908105</c:v>
                </c:pt>
                <c:pt idx="353">
                  <c:v>98.350580772882722</c:v>
                </c:pt>
                <c:pt idx="354">
                  <c:v>98.786142398570561</c:v>
                </c:pt>
                <c:pt idx="355">
                  <c:v>100.35426362311932</c:v>
                </c:pt>
                <c:pt idx="356">
                  <c:v>100.0523473971224</c:v>
                </c:pt>
                <c:pt idx="357">
                  <c:v>99.761980796440994</c:v>
                </c:pt>
                <c:pt idx="358">
                  <c:v>99.734002637719797</c:v>
                </c:pt>
                <c:pt idx="359">
                  <c:v>100.32658707958042</c:v>
                </c:pt>
                <c:pt idx="360">
                  <c:v>100.68190357215141</c:v>
                </c:pt>
                <c:pt idx="361">
                  <c:v>100.53334713525588</c:v>
                </c:pt>
                <c:pt idx="362">
                  <c:v>100.60540097629982</c:v>
                </c:pt>
                <c:pt idx="363">
                  <c:v>99.887894175438348</c:v>
                </c:pt>
                <c:pt idx="364">
                  <c:v>99.519651008466852</c:v>
                </c:pt>
                <c:pt idx="365">
                  <c:v>98.965486664691966</c:v>
                </c:pt>
                <c:pt idx="366">
                  <c:v>98.904044420400396</c:v>
                </c:pt>
                <c:pt idx="367">
                  <c:v>98.718170252869982</c:v>
                </c:pt>
                <c:pt idx="368">
                  <c:v>97.782936197474498</c:v>
                </c:pt>
                <c:pt idx="369">
                  <c:v>96.778809831339046</c:v>
                </c:pt>
                <c:pt idx="370">
                  <c:v>98.631253379384873</c:v>
                </c:pt>
                <c:pt idx="371">
                  <c:v>98.535975445828967</c:v>
                </c:pt>
                <c:pt idx="372">
                  <c:v>100.38442127921492</c:v>
                </c:pt>
                <c:pt idx="373">
                  <c:v>99.976726215921275</c:v>
                </c:pt>
                <c:pt idx="374">
                  <c:v>99.868960582399239</c:v>
                </c:pt>
                <c:pt idx="375">
                  <c:v>99.532695952667609</c:v>
                </c:pt>
                <c:pt idx="376">
                  <c:v>100.02374770207267</c:v>
                </c:pt>
                <c:pt idx="377">
                  <c:v>99.659998778293527</c:v>
                </c:pt>
                <c:pt idx="378">
                  <c:v>99.232678670860579</c:v>
                </c:pt>
                <c:pt idx="379">
                  <c:v>98.340858490182143</c:v>
                </c:pt>
                <c:pt idx="380">
                  <c:v>97.576883622139547</c:v>
                </c:pt>
                <c:pt idx="381">
                  <c:v>98.298184062111233</c:v>
                </c:pt>
                <c:pt idx="382">
                  <c:v>97.224167728636104</c:v>
                </c:pt>
                <c:pt idx="383">
                  <c:v>97.736964317778202</c:v>
                </c:pt>
                <c:pt idx="384">
                  <c:v>98.519946242370779</c:v>
                </c:pt>
                <c:pt idx="385">
                  <c:v>98.204007482080684</c:v>
                </c:pt>
                <c:pt idx="386">
                  <c:v>99.241592163628681</c:v>
                </c:pt>
                <c:pt idx="387">
                  <c:v>100.55317542536942</c:v>
                </c:pt>
                <c:pt idx="388">
                  <c:v>100.53238197035952</c:v>
                </c:pt>
                <c:pt idx="389">
                  <c:v>100.46072867597368</c:v>
                </c:pt>
                <c:pt idx="390">
                  <c:v>100.22538328612049</c:v>
                </c:pt>
                <c:pt idx="391">
                  <c:v>99.943865314627985</c:v>
                </c:pt>
                <c:pt idx="392">
                  <c:v>99.88496800489429</c:v>
                </c:pt>
                <c:pt idx="393">
                  <c:v>100.05545413857966</c:v>
                </c:pt>
                <c:pt idx="394">
                  <c:v>100</c:v>
                </c:pt>
              </c:numCache>
            </c:numRef>
          </c:val>
          <c:smooth val="0"/>
          <c:extLst>
            <c:ext xmlns:c16="http://schemas.microsoft.com/office/drawing/2014/chart" uri="{C3380CC4-5D6E-409C-BE32-E72D297353CC}">
              <c16:uniqueId val="{00000000-0D77-491C-A37C-5688979D86A6}"/>
            </c:ext>
          </c:extLst>
        </c:ser>
        <c:ser>
          <c:idx val="1"/>
          <c:order val="1"/>
          <c:tx>
            <c:strRef>
              <c:f>Sheet1!$C$1</c:f>
              <c:strCache>
                <c:ptCount val="1"/>
                <c:pt idx="0">
                  <c:v>NIFTY 50</c:v>
                </c:pt>
              </c:strCache>
            </c:strRef>
          </c:tx>
          <c:spPr>
            <a:ln w="25400" cap="rnd">
              <a:solidFill>
                <a:schemeClr val="accent4">
                  <a:lumMod val="25000"/>
                </a:schemeClr>
              </a:solidFill>
              <a:round/>
            </a:ln>
            <a:effectLst/>
          </c:spPr>
          <c:marker>
            <c:symbol val="none"/>
          </c:marker>
          <c:cat>
            <c:numRef>
              <c:f>Sheet1!$A$2:$A$396</c:f>
              <c:numCache>
                <c:formatCode>m/d/yyyy</c:formatCode>
                <c:ptCount val="395"/>
                <c:pt idx="0">
                  <c:v>45961</c:v>
                </c:pt>
                <c:pt idx="1">
                  <c:v>45960</c:v>
                </c:pt>
                <c:pt idx="2">
                  <c:v>45959</c:v>
                </c:pt>
                <c:pt idx="3">
                  <c:v>45958</c:v>
                </c:pt>
                <c:pt idx="4">
                  <c:v>45957</c:v>
                </c:pt>
                <c:pt idx="5">
                  <c:v>45954</c:v>
                </c:pt>
                <c:pt idx="6">
                  <c:v>45953</c:v>
                </c:pt>
                <c:pt idx="7">
                  <c:v>45951</c:v>
                </c:pt>
                <c:pt idx="8">
                  <c:v>45950</c:v>
                </c:pt>
                <c:pt idx="9">
                  <c:v>45947</c:v>
                </c:pt>
                <c:pt idx="10">
                  <c:v>45946</c:v>
                </c:pt>
                <c:pt idx="11">
                  <c:v>45945</c:v>
                </c:pt>
                <c:pt idx="12">
                  <c:v>45944</c:v>
                </c:pt>
                <c:pt idx="13">
                  <c:v>45943</c:v>
                </c:pt>
                <c:pt idx="14">
                  <c:v>45940</c:v>
                </c:pt>
                <c:pt idx="15">
                  <c:v>45939</c:v>
                </c:pt>
                <c:pt idx="16">
                  <c:v>45938</c:v>
                </c:pt>
                <c:pt idx="17">
                  <c:v>45937</c:v>
                </c:pt>
                <c:pt idx="18">
                  <c:v>45936</c:v>
                </c:pt>
                <c:pt idx="19">
                  <c:v>45933</c:v>
                </c:pt>
                <c:pt idx="20">
                  <c:v>45931</c:v>
                </c:pt>
                <c:pt idx="21">
                  <c:v>45930</c:v>
                </c:pt>
                <c:pt idx="22">
                  <c:v>45929</c:v>
                </c:pt>
                <c:pt idx="23">
                  <c:v>45926</c:v>
                </c:pt>
                <c:pt idx="24">
                  <c:v>45925</c:v>
                </c:pt>
                <c:pt idx="25">
                  <c:v>45924</c:v>
                </c:pt>
                <c:pt idx="26">
                  <c:v>45923</c:v>
                </c:pt>
                <c:pt idx="27">
                  <c:v>45922</c:v>
                </c:pt>
                <c:pt idx="28">
                  <c:v>45919</c:v>
                </c:pt>
                <c:pt idx="29">
                  <c:v>45918</c:v>
                </c:pt>
                <c:pt idx="30">
                  <c:v>45917</c:v>
                </c:pt>
                <c:pt idx="31">
                  <c:v>45916</c:v>
                </c:pt>
                <c:pt idx="32">
                  <c:v>45915</c:v>
                </c:pt>
                <c:pt idx="33">
                  <c:v>45912</c:v>
                </c:pt>
                <c:pt idx="34">
                  <c:v>45911</c:v>
                </c:pt>
                <c:pt idx="35">
                  <c:v>45910</c:v>
                </c:pt>
                <c:pt idx="36">
                  <c:v>45909</c:v>
                </c:pt>
                <c:pt idx="37">
                  <c:v>45908</c:v>
                </c:pt>
                <c:pt idx="38">
                  <c:v>45905</c:v>
                </c:pt>
                <c:pt idx="39">
                  <c:v>45904</c:v>
                </c:pt>
                <c:pt idx="40">
                  <c:v>45903</c:v>
                </c:pt>
                <c:pt idx="41">
                  <c:v>45902</c:v>
                </c:pt>
                <c:pt idx="42">
                  <c:v>45901</c:v>
                </c:pt>
                <c:pt idx="43">
                  <c:v>45898</c:v>
                </c:pt>
                <c:pt idx="44">
                  <c:v>45897</c:v>
                </c:pt>
                <c:pt idx="45">
                  <c:v>45895</c:v>
                </c:pt>
                <c:pt idx="46">
                  <c:v>45894</c:v>
                </c:pt>
                <c:pt idx="47">
                  <c:v>45891</c:v>
                </c:pt>
                <c:pt idx="48">
                  <c:v>45890</c:v>
                </c:pt>
                <c:pt idx="49">
                  <c:v>45889</c:v>
                </c:pt>
                <c:pt idx="50">
                  <c:v>45888</c:v>
                </c:pt>
                <c:pt idx="51">
                  <c:v>45887</c:v>
                </c:pt>
                <c:pt idx="52">
                  <c:v>45883</c:v>
                </c:pt>
                <c:pt idx="53">
                  <c:v>45882</c:v>
                </c:pt>
                <c:pt idx="54">
                  <c:v>45881</c:v>
                </c:pt>
                <c:pt idx="55">
                  <c:v>45880</c:v>
                </c:pt>
                <c:pt idx="56">
                  <c:v>45877</c:v>
                </c:pt>
                <c:pt idx="57">
                  <c:v>45876</c:v>
                </c:pt>
                <c:pt idx="58">
                  <c:v>45875</c:v>
                </c:pt>
                <c:pt idx="59">
                  <c:v>45874</c:v>
                </c:pt>
                <c:pt idx="60">
                  <c:v>45873</c:v>
                </c:pt>
                <c:pt idx="61">
                  <c:v>45870</c:v>
                </c:pt>
                <c:pt idx="62">
                  <c:v>45869</c:v>
                </c:pt>
                <c:pt idx="63">
                  <c:v>45868</c:v>
                </c:pt>
                <c:pt idx="64">
                  <c:v>45867</c:v>
                </c:pt>
                <c:pt idx="65">
                  <c:v>45866</c:v>
                </c:pt>
                <c:pt idx="66">
                  <c:v>45863</c:v>
                </c:pt>
                <c:pt idx="67">
                  <c:v>45862</c:v>
                </c:pt>
                <c:pt idx="68">
                  <c:v>45861</c:v>
                </c:pt>
                <c:pt idx="69">
                  <c:v>45860</c:v>
                </c:pt>
                <c:pt idx="70">
                  <c:v>45859</c:v>
                </c:pt>
                <c:pt idx="71">
                  <c:v>45856</c:v>
                </c:pt>
                <c:pt idx="72">
                  <c:v>45855</c:v>
                </c:pt>
                <c:pt idx="73">
                  <c:v>45854</c:v>
                </c:pt>
                <c:pt idx="74">
                  <c:v>45853</c:v>
                </c:pt>
                <c:pt idx="75">
                  <c:v>45852</c:v>
                </c:pt>
                <c:pt idx="76">
                  <c:v>45849</c:v>
                </c:pt>
                <c:pt idx="77">
                  <c:v>45848</c:v>
                </c:pt>
                <c:pt idx="78">
                  <c:v>45847</c:v>
                </c:pt>
                <c:pt idx="79">
                  <c:v>45846</c:v>
                </c:pt>
                <c:pt idx="80">
                  <c:v>45845</c:v>
                </c:pt>
                <c:pt idx="81">
                  <c:v>45842</c:v>
                </c:pt>
                <c:pt idx="82">
                  <c:v>45841</c:v>
                </c:pt>
                <c:pt idx="83">
                  <c:v>45840</c:v>
                </c:pt>
                <c:pt idx="84">
                  <c:v>45839</c:v>
                </c:pt>
                <c:pt idx="85">
                  <c:v>45838</c:v>
                </c:pt>
                <c:pt idx="86">
                  <c:v>45835</c:v>
                </c:pt>
                <c:pt idx="87">
                  <c:v>45834</c:v>
                </c:pt>
                <c:pt idx="88">
                  <c:v>45833</c:v>
                </c:pt>
                <c:pt idx="89">
                  <c:v>45832</c:v>
                </c:pt>
                <c:pt idx="90">
                  <c:v>45831</c:v>
                </c:pt>
                <c:pt idx="91">
                  <c:v>45828</c:v>
                </c:pt>
                <c:pt idx="92">
                  <c:v>45827</c:v>
                </c:pt>
                <c:pt idx="93">
                  <c:v>45826</c:v>
                </c:pt>
                <c:pt idx="94">
                  <c:v>45825</c:v>
                </c:pt>
                <c:pt idx="95">
                  <c:v>45824</c:v>
                </c:pt>
                <c:pt idx="96">
                  <c:v>45821</c:v>
                </c:pt>
                <c:pt idx="97">
                  <c:v>45820</c:v>
                </c:pt>
                <c:pt idx="98">
                  <c:v>45819</c:v>
                </c:pt>
                <c:pt idx="99">
                  <c:v>45818</c:v>
                </c:pt>
                <c:pt idx="100">
                  <c:v>45817</c:v>
                </c:pt>
                <c:pt idx="101">
                  <c:v>45814</c:v>
                </c:pt>
                <c:pt idx="102">
                  <c:v>45813</c:v>
                </c:pt>
                <c:pt idx="103">
                  <c:v>45812</c:v>
                </c:pt>
                <c:pt idx="104">
                  <c:v>45811</c:v>
                </c:pt>
                <c:pt idx="105">
                  <c:v>45810</c:v>
                </c:pt>
                <c:pt idx="106">
                  <c:v>45807</c:v>
                </c:pt>
                <c:pt idx="107">
                  <c:v>45806</c:v>
                </c:pt>
                <c:pt idx="108">
                  <c:v>45805</c:v>
                </c:pt>
                <c:pt idx="109">
                  <c:v>45804</c:v>
                </c:pt>
                <c:pt idx="110">
                  <c:v>45803</c:v>
                </c:pt>
                <c:pt idx="111">
                  <c:v>45800</c:v>
                </c:pt>
                <c:pt idx="112">
                  <c:v>45799</c:v>
                </c:pt>
                <c:pt idx="113">
                  <c:v>45798</c:v>
                </c:pt>
                <c:pt idx="114">
                  <c:v>45797</c:v>
                </c:pt>
                <c:pt idx="115">
                  <c:v>45796</c:v>
                </c:pt>
                <c:pt idx="116">
                  <c:v>45793</c:v>
                </c:pt>
                <c:pt idx="117">
                  <c:v>45792</c:v>
                </c:pt>
                <c:pt idx="118">
                  <c:v>45791</c:v>
                </c:pt>
                <c:pt idx="119">
                  <c:v>45790</c:v>
                </c:pt>
                <c:pt idx="120">
                  <c:v>45789</c:v>
                </c:pt>
                <c:pt idx="121">
                  <c:v>45786</c:v>
                </c:pt>
                <c:pt idx="122">
                  <c:v>45785</c:v>
                </c:pt>
                <c:pt idx="123">
                  <c:v>45784</c:v>
                </c:pt>
                <c:pt idx="124">
                  <c:v>45783</c:v>
                </c:pt>
                <c:pt idx="125">
                  <c:v>45782</c:v>
                </c:pt>
                <c:pt idx="126">
                  <c:v>45779</c:v>
                </c:pt>
                <c:pt idx="127">
                  <c:v>45777</c:v>
                </c:pt>
                <c:pt idx="128">
                  <c:v>45776</c:v>
                </c:pt>
                <c:pt idx="129">
                  <c:v>45775</c:v>
                </c:pt>
                <c:pt idx="130">
                  <c:v>45772</c:v>
                </c:pt>
                <c:pt idx="131">
                  <c:v>45771</c:v>
                </c:pt>
                <c:pt idx="132">
                  <c:v>45770</c:v>
                </c:pt>
                <c:pt idx="133">
                  <c:v>45769</c:v>
                </c:pt>
                <c:pt idx="134">
                  <c:v>45768</c:v>
                </c:pt>
                <c:pt idx="135">
                  <c:v>45764</c:v>
                </c:pt>
                <c:pt idx="136">
                  <c:v>45763</c:v>
                </c:pt>
                <c:pt idx="137">
                  <c:v>45762</c:v>
                </c:pt>
                <c:pt idx="138">
                  <c:v>45758</c:v>
                </c:pt>
                <c:pt idx="139">
                  <c:v>45756</c:v>
                </c:pt>
                <c:pt idx="140">
                  <c:v>45755</c:v>
                </c:pt>
                <c:pt idx="141">
                  <c:v>45754</c:v>
                </c:pt>
                <c:pt idx="142">
                  <c:v>45751</c:v>
                </c:pt>
                <c:pt idx="143">
                  <c:v>45750</c:v>
                </c:pt>
                <c:pt idx="144">
                  <c:v>45749</c:v>
                </c:pt>
                <c:pt idx="145">
                  <c:v>45748</c:v>
                </c:pt>
                <c:pt idx="146">
                  <c:v>45744</c:v>
                </c:pt>
                <c:pt idx="147">
                  <c:v>45743</c:v>
                </c:pt>
                <c:pt idx="148">
                  <c:v>45742</c:v>
                </c:pt>
                <c:pt idx="149">
                  <c:v>45741</c:v>
                </c:pt>
                <c:pt idx="150">
                  <c:v>45740</c:v>
                </c:pt>
                <c:pt idx="151">
                  <c:v>45737</c:v>
                </c:pt>
                <c:pt idx="152">
                  <c:v>45736</c:v>
                </c:pt>
                <c:pt idx="153">
                  <c:v>45735</c:v>
                </c:pt>
                <c:pt idx="154">
                  <c:v>45734</c:v>
                </c:pt>
                <c:pt idx="155">
                  <c:v>45733</c:v>
                </c:pt>
                <c:pt idx="156">
                  <c:v>45729</c:v>
                </c:pt>
                <c:pt idx="157">
                  <c:v>45728</c:v>
                </c:pt>
                <c:pt idx="158">
                  <c:v>45727</c:v>
                </c:pt>
                <c:pt idx="159">
                  <c:v>45726</c:v>
                </c:pt>
                <c:pt idx="160">
                  <c:v>45723</c:v>
                </c:pt>
                <c:pt idx="161">
                  <c:v>45722</c:v>
                </c:pt>
                <c:pt idx="162">
                  <c:v>45721</c:v>
                </c:pt>
                <c:pt idx="163">
                  <c:v>45720</c:v>
                </c:pt>
                <c:pt idx="164">
                  <c:v>45719</c:v>
                </c:pt>
                <c:pt idx="165">
                  <c:v>45716</c:v>
                </c:pt>
                <c:pt idx="166">
                  <c:v>45715</c:v>
                </c:pt>
                <c:pt idx="167">
                  <c:v>45713</c:v>
                </c:pt>
                <c:pt idx="168">
                  <c:v>45712</c:v>
                </c:pt>
                <c:pt idx="169">
                  <c:v>45709</c:v>
                </c:pt>
                <c:pt idx="170">
                  <c:v>45708</c:v>
                </c:pt>
                <c:pt idx="171">
                  <c:v>45707</c:v>
                </c:pt>
                <c:pt idx="172">
                  <c:v>45706</c:v>
                </c:pt>
                <c:pt idx="173">
                  <c:v>45705</c:v>
                </c:pt>
                <c:pt idx="174">
                  <c:v>45702</c:v>
                </c:pt>
                <c:pt idx="175">
                  <c:v>45701</c:v>
                </c:pt>
                <c:pt idx="176">
                  <c:v>45700</c:v>
                </c:pt>
                <c:pt idx="177">
                  <c:v>45699</c:v>
                </c:pt>
                <c:pt idx="178">
                  <c:v>45698</c:v>
                </c:pt>
                <c:pt idx="179">
                  <c:v>45695</c:v>
                </c:pt>
                <c:pt idx="180">
                  <c:v>45694</c:v>
                </c:pt>
                <c:pt idx="181">
                  <c:v>45693</c:v>
                </c:pt>
                <c:pt idx="182">
                  <c:v>45692</c:v>
                </c:pt>
                <c:pt idx="183">
                  <c:v>45691</c:v>
                </c:pt>
                <c:pt idx="184">
                  <c:v>45689</c:v>
                </c:pt>
                <c:pt idx="185">
                  <c:v>45688</c:v>
                </c:pt>
                <c:pt idx="186">
                  <c:v>45687</c:v>
                </c:pt>
                <c:pt idx="187">
                  <c:v>45686</c:v>
                </c:pt>
                <c:pt idx="188">
                  <c:v>45685</c:v>
                </c:pt>
                <c:pt idx="189">
                  <c:v>45684</c:v>
                </c:pt>
                <c:pt idx="190">
                  <c:v>45681</c:v>
                </c:pt>
                <c:pt idx="191">
                  <c:v>45680</c:v>
                </c:pt>
                <c:pt idx="192">
                  <c:v>45679</c:v>
                </c:pt>
                <c:pt idx="193">
                  <c:v>45678</c:v>
                </c:pt>
                <c:pt idx="194">
                  <c:v>45677</c:v>
                </c:pt>
                <c:pt idx="195">
                  <c:v>45674</c:v>
                </c:pt>
                <c:pt idx="196">
                  <c:v>45673</c:v>
                </c:pt>
                <c:pt idx="197">
                  <c:v>45672</c:v>
                </c:pt>
                <c:pt idx="198">
                  <c:v>45671</c:v>
                </c:pt>
                <c:pt idx="199">
                  <c:v>45670</c:v>
                </c:pt>
                <c:pt idx="200">
                  <c:v>45667</c:v>
                </c:pt>
                <c:pt idx="201">
                  <c:v>45666</c:v>
                </c:pt>
                <c:pt idx="202">
                  <c:v>45665</c:v>
                </c:pt>
                <c:pt idx="203">
                  <c:v>45664</c:v>
                </c:pt>
                <c:pt idx="204">
                  <c:v>45663</c:v>
                </c:pt>
                <c:pt idx="205">
                  <c:v>45660</c:v>
                </c:pt>
                <c:pt idx="206">
                  <c:v>45659</c:v>
                </c:pt>
                <c:pt idx="207">
                  <c:v>45658</c:v>
                </c:pt>
                <c:pt idx="208">
                  <c:v>45657</c:v>
                </c:pt>
                <c:pt idx="209">
                  <c:v>45656</c:v>
                </c:pt>
                <c:pt idx="210">
                  <c:v>45653</c:v>
                </c:pt>
                <c:pt idx="211">
                  <c:v>45652</c:v>
                </c:pt>
                <c:pt idx="212">
                  <c:v>45650</c:v>
                </c:pt>
                <c:pt idx="213">
                  <c:v>45649</c:v>
                </c:pt>
                <c:pt idx="214">
                  <c:v>45646</c:v>
                </c:pt>
                <c:pt idx="215">
                  <c:v>45645</c:v>
                </c:pt>
                <c:pt idx="216">
                  <c:v>45644</c:v>
                </c:pt>
                <c:pt idx="217">
                  <c:v>45643</c:v>
                </c:pt>
                <c:pt idx="218">
                  <c:v>45642</c:v>
                </c:pt>
                <c:pt idx="219">
                  <c:v>45639</c:v>
                </c:pt>
                <c:pt idx="220">
                  <c:v>45638</c:v>
                </c:pt>
                <c:pt idx="221">
                  <c:v>45637</c:v>
                </c:pt>
                <c:pt idx="222">
                  <c:v>45636</c:v>
                </c:pt>
                <c:pt idx="223">
                  <c:v>45635</c:v>
                </c:pt>
                <c:pt idx="224">
                  <c:v>45632</c:v>
                </c:pt>
                <c:pt idx="225">
                  <c:v>45631</c:v>
                </c:pt>
                <c:pt idx="226">
                  <c:v>45630</c:v>
                </c:pt>
                <c:pt idx="227">
                  <c:v>45629</c:v>
                </c:pt>
                <c:pt idx="228">
                  <c:v>45628</c:v>
                </c:pt>
                <c:pt idx="229">
                  <c:v>45625</c:v>
                </c:pt>
                <c:pt idx="230">
                  <c:v>45624</c:v>
                </c:pt>
                <c:pt idx="231">
                  <c:v>45623</c:v>
                </c:pt>
                <c:pt idx="232">
                  <c:v>45622</c:v>
                </c:pt>
                <c:pt idx="233">
                  <c:v>45621</c:v>
                </c:pt>
                <c:pt idx="234">
                  <c:v>45618</c:v>
                </c:pt>
                <c:pt idx="235">
                  <c:v>45617</c:v>
                </c:pt>
                <c:pt idx="236">
                  <c:v>45615</c:v>
                </c:pt>
                <c:pt idx="237">
                  <c:v>45614</c:v>
                </c:pt>
                <c:pt idx="238">
                  <c:v>45610</c:v>
                </c:pt>
                <c:pt idx="239">
                  <c:v>45609</c:v>
                </c:pt>
                <c:pt idx="240">
                  <c:v>45608</c:v>
                </c:pt>
                <c:pt idx="241">
                  <c:v>45607</c:v>
                </c:pt>
                <c:pt idx="242">
                  <c:v>45604</c:v>
                </c:pt>
                <c:pt idx="243">
                  <c:v>45603</c:v>
                </c:pt>
                <c:pt idx="244">
                  <c:v>45602</c:v>
                </c:pt>
                <c:pt idx="245">
                  <c:v>45601</c:v>
                </c:pt>
                <c:pt idx="246">
                  <c:v>45600</c:v>
                </c:pt>
                <c:pt idx="247">
                  <c:v>45597</c:v>
                </c:pt>
                <c:pt idx="248">
                  <c:v>45596</c:v>
                </c:pt>
                <c:pt idx="249">
                  <c:v>45595</c:v>
                </c:pt>
                <c:pt idx="250">
                  <c:v>45594</c:v>
                </c:pt>
                <c:pt idx="251">
                  <c:v>45593</c:v>
                </c:pt>
                <c:pt idx="252">
                  <c:v>45590</c:v>
                </c:pt>
                <c:pt idx="253">
                  <c:v>45589</c:v>
                </c:pt>
                <c:pt idx="254">
                  <c:v>45588</c:v>
                </c:pt>
                <c:pt idx="255">
                  <c:v>45587</c:v>
                </c:pt>
                <c:pt idx="256">
                  <c:v>45586</c:v>
                </c:pt>
                <c:pt idx="257">
                  <c:v>45583</c:v>
                </c:pt>
                <c:pt idx="258">
                  <c:v>45582</c:v>
                </c:pt>
                <c:pt idx="259">
                  <c:v>45581</c:v>
                </c:pt>
                <c:pt idx="260">
                  <c:v>45580</c:v>
                </c:pt>
                <c:pt idx="261">
                  <c:v>45579</c:v>
                </c:pt>
                <c:pt idx="262">
                  <c:v>45576</c:v>
                </c:pt>
                <c:pt idx="263">
                  <c:v>45575</c:v>
                </c:pt>
                <c:pt idx="264">
                  <c:v>45574</c:v>
                </c:pt>
                <c:pt idx="265">
                  <c:v>45573</c:v>
                </c:pt>
                <c:pt idx="266">
                  <c:v>45572</c:v>
                </c:pt>
                <c:pt idx="267">
                  <c:v>45569</c:v>
                </c:pt>
                <c:pt idx="268">
                  <c:v>45568</c:v>
                </c:pt>
                <c:pt idx="269">
                  <c:v>45566</c:v>
                </c:pt>
                <c:pt idx="270">
                  <c:v>45565</c:v>
                </c:pt>
                <c:pt idx="271">
                  <c:v>45562</c:v>
                </c:pt>
                <c:pt idx="272">
                  <c:v>45561</c:v>
                </c:pt>
                <c:pt idx="273">
                  <c:v>45560</c:v>
                </c:pt>
                <c:pt idx="274">
                  <c:v>45559</c:v>
                </c:pt>
                <c:pt idx="275">
                  <c:v>45558</c:v>
                </c:pt>
                <c:pt idx="276">
                  <c:v>45555</c:v>
                </c:pt>
                <c:pt idx="277">
                  <c:v>45554</c:v>
                </c:pt>
                <c:pt idx="278">
                  <c:v>45553</c:v>
                </c:pt>
                <c:pt idx="279">
                  <c:v>45552</c:v>
                </c:pt>
                <c:pt idx="280">
                  <c:v>45551</c:v>
                </c:pt>
                <c:pt idx="281">
                  <c:v>45548</c:v>
                </c:pt>
                <c:pt idx="282">
                  <c:v>45547</c:v>
                </c:pt>
                <c:pt idx="283">
                  <c:v>45546</c:v>
                </c:pt>
                <c:pt idx="284">
                  <c:v>45545</c:v>
                </c:pt>
                <c:pt idx="285">
                  <c:v>45544</c:v>
                </c:pt>
                <c:pt idx="286">
                  <c:v>45541</c:v>
                </c:pt>
                <c:pt idx="287">
                  <c:v>45540</c:v>
                </c:pt>
                <c:pt idx="288">
                  <c:v>45539</c:v>
                </c:pt>
                <c:pt idx="289">
                  <c:v>45538</c:v>
                </c:pt>
                <c:pt idx="290">
                  <c:v>45537</c:v>
                </c:pt>
                <c:pt idx="291">
                  <c:v>45534</c:v>
                </c:pt>
                <c:pt idx="292">
                  <c:v>45533</c:v>
                </c:pt>
                <c:pt idx="293">
                  <c:v>45532</c:v>
                </c:pt>
                <c:pt idx="294">
                  <c:v>45531</c:v>
                </c:pt>
                <c:pt idx="295">
                  <c:v>45530</c:v>
                </c:pt>
                <c:pt idx="296">
                  <c:v>45527</c:v>
                </c:pt>
                <c:pt idx="297">
                  <c:v>45526</c:v>
                </c:pt>
                <c:pt idx="298">
                  <c:v>45525</c:v>
                </c:pt>
                <c:pt idx="299">
                  <c:v>45524</c:v>
                </c:pt>
                <c:pt idx="300">
                  <c:v>45523</c:v>
                </c:pt>
                <c:pt idx="301">
                  <c:v>45520</c:v>
                </c:pt>
                <c:pt idx="302">
                  <c:v>45518</c:v>
                </c:pt>
                <c:pt idx="303">
                  <c:v>45517</c:v>
                </c:pt>
                <c:pt idx="304">
                  <c:v>45516</c:v>
                </c:pt>
                <c:pt idx="305">
                  <c:v>45513</c:v>
                </c:pt>
                <c:pt idx="306">
                  <c:v>45512</c:v>
                </c:pt>
                <c:pt idx="307">
                  <c:v>45511</c:v>
                </c:pt>
                <c:pt idx="308">
                  <c:v>45510</c:v>
                </c:pt>
                <c:pt idx="309">
                  <c:v>45509</c:v>
                </c:pt>
                <c:pt idx="310">
                  <c:v>45506</c:v>
                </c:pt>
                <c:pt idx="311">
                  <c:v>45505</c:v>
                </c:pt>
                <c:pt idx="312">
                  <c:v>45504</c:v>
                </c:pt>
                <c:pt idx="313">
                  <c:v>45503</c:v>
                </c:pt>
                <c:pt idx="314">
                  <c:v>45502</c:v>
                </c:pt>
                <c:pt idx="315">
                  <c:v>45499</c:v>
                </c:pt>
                <c:pt idx="316">
                  <c:v>45498</c:v>
                </c:pt>
                <c:pt idx="317">
                  <c:v>45497</c:v>
                </c:pt>
                <c:pt idx="318">
                  <c:v>45496</c:v>
                </c:pt>
                <c:pt idx="319">
                  <c:v>45495</c:v>
                </c:pt>
                <c:pt idx="320">
                  <c:v>45492</c:v>
                </c:pt>
                <c:pt idx="321">
                  <c:v>45491</c:v>
                </c:pt>
                <c:pt idx="322">
                  <c:v>45489</c:v>
                </c:pt>
                <c:pt idx="323">
                  <c:v>45488</c:v>
                </c:pt>
                <c:pt idx="324">
                  <c:v>45485</c:v>
                </c:pt>
                <c:pt idx="325">
                  <c:v>45484</c:v>
                </c:pt>
                <c:pt idx="326">
                  <c:v>45483</c:v>
                </c:pt>
                <c:pt idx="327">
                  <c:v>45482</c:v>
                </c:pt>
                <c:pt idx="328">
                  <c:v>45481</c:v>
                </c:pt>
                <c:pt idx="329">
                  <c:v>45478</c:v>
                </c:pt>
                <c:pt idx="330">
                  <c:v>45477</c:v>
                </c:pt>
                <c:pt idx="331">
                  <c:v>45476</c:v>
                </c:pt>
                <c:pt idx="332">
                  <c:v>45475</c:v>
                </c:pt>
                <c:pt idx="333">
                  <c:v>45474</c:v>
                </c:pt>
                <c:pt idx="334">
                  <c:v>45471</c:v>
                </c:pt>
                <c:pt idx="335">
                  <c:v>45470</c:v>
                </c:pt>
                <c:pt idx="336">
                  <c:v>45469</c:v>
                </c:pt>
                <c:pt idx="337">
                  <c:v>45468</c:v>
                </c:pt>
                <c:pt idx="338">
                  <c:v>45467</c:v>
                </c:pt>
                <c:pt idx="339">
                  <c:v>45464</c:v>
                </c:pt>
                <c:pt idx="340">
                  <c:v>45463</c:v>
                </c:pt>
                <c:pt idx="341">
                  <c:v>45462</c:v>
                </c:pt>
                <c:pt idx="342">
                  <c:v>45461</c:v>
                </c:pt>
                <c:pt idx="343">
                  <c:v>45457</c:v>
                </c:pt>
                <c:pt idx="344">
                  <c:v>45456</c:v>
                </c:pt>
                <c:pt idx="345">
                  <c:v>45455</c:v>
                </c:pt>
                <c:pt idx="346">
                  <c:v>45454</c:v>
                </c:pt>
                <c:pt idx="347">
                  <c:v>45453</c:v>
                </c:pt>
                <c:pt idx="348">
                  <c:v>45450</c:v>
                </c:pt>
                <c:pt idx="349">
                  <c:v>45449</c:v>
                </c:pt>
                <c:pt idx="350">
                  <c:v>45448</c:v>
                </c:pt>
                <c:pt idx="351">
                  <c:v>45447</c:v>
                </c:pt>
                <c:pt idx="352">
                  <c:v>45446</c:v>
                </c:pt>
                <c:pt idx="353">
                  <c:v>45443</c:v>
                </c:pt>
                <c:pt idx="354">
                  <c:v>45442</c:v>
                </c:pt>
                <c:pt idx="355">
                  <c:v>45441</c:v>
                </c:pt>
                <c:pt idx="356">
                  <c:v>45440</c:v>
                </c:pt>
                <c:pt idx="357">
                  <c:v>45439</c:v>
                </c:pt>
                <c:pt idx="358">
                  <c:v>45436</c:v>
                </c:pt>
                <c:pt idx="359">
                  <c:v>45435</c:v>
                </c:pt>
                <c:pt idx="360">
                  <c:v>45434</c:v>
                </c:pt>
                <c:pt idx="361">
                  <c:v>45433</c:v>
                </c:pt>
                <c:pt idx="362">
                  <c:v>45430</c:v>
                </c:pt>
                <c:pt idx="363">
                  <c:v>45429</c:v>
                </c:pt>
                <c:pt idx="364">
                  <c:v>45428</c:v>
                </c:pt>
                <c:pt idx="365">
                  <c:v>45427</c:v>
                </c:pt>
                <c:pt idx="366">
                  <c:v>45426</c:v>
                </c:pt>
                <c:pt idx="367">
                  <c:v>45425</c:v>
                </c:pt>
                <c:pt idx="368">
                  <c:v>45422</c:v>
                </c:pt>
                <c:pt idx="369">
                  <c:v>45421</c:v>
                </c:pt>
                <c:pt idx="370">
                  <c:v>45420</c:v>
                </c:pt>
                <c:pt idx="371">
                  <c:v>45419</c:v>
                </c:pt>
                <c:pt idx="372">
                  <c:v>45418</c:v>
                </c:pt>
                <c:pt idx="373">
                  <c:v>45415</c:v>
                </c:pt>
                <c:pt idx="374">
                  <c:v>45414</c:v>
                </c:pt>
                <c:pt idx="375">
                  <c:v>45412</c:v>
                </c:pt>
                <c:pt idx="376">
                  <c:v>45411</c:v>
                </c:pt>
                <c:pt idx="377">
                  <c:v>45408</c:v>
                </c:pt>
                <c:pt idx="378">
                  <c:v>45407</c:v>
                </c:pt>
                <c:pt idx="379">
                  <c:v>45406</c:v>
                </c:pt>
                <c:pt idx="380">
                  <c:v>45405</c:v>
                </c:pt>
                <c:pt idx="381">
                  <c:v>45404</c:v>
                </c:pt>
                <c:pt idx="382">
                  <c:v>45401</c:v>
                </c:pt>
                <c:pt idx="383">
                  <c:v>45400</c:v>
                </c:pt>
                <c:pt idx="384">
                  <c:v>45398</c:v>
                </c:pt>
                <c:pt idx="385">
                  <c:v>45397</c:v>
                </c:pt>
                <c:pt idx="386">
                  <c:v>45394</c:v>
                </c:pt>
                <c:pt idx="387">
                  <c:v>45392</c:v>
                </c:pt>
                <c:pt idx="388">
                  <c:v>45391</c:v>
                </c:pt>
                <c:pt idx="389">
                  <c:v>45390</c:v>
                </c:pt>
                <c:pt idx="390">
                  <c:v>45387</c:v>
                </c:pt>
                <c:pt idx="391">
                  <c:v>45386</c:v>
                </c:pt>
                <c:pt idx="392">
                  <c:v>45385</c:v>
                </c:pt>
                <c:pt idx="393">
                  <c:v>45384</c:v>
                </c:pt>
                <c:pt idx="394">
                  <c:v>45383</c:v>
                </c:pt>
              </c:numCache>
            </c:numRef>
          </c:cat>
          <c:val>
            <c:numRef>
              <c:f>Sheet1!$C$2:$C$396</c:f>
              <c:numCache>
                <c:formatCode>_ * #,##0_ ;_ * \-#,##0_ ;_ * "-"??_ ;_ @_ </c:formatCode>
                <c:ptCount val="395"/>
                <c:pt idx="0">
                  <c:v>114.88009015187043</c:v>
                </c:pt>
                <c:pt idx="1">
                  <c:v>114.52814279668972</c:v>
                </c:pt>
                <c:pt idx="2">
                  <c:v>115.27198110030665</c:v>
                </c:pt>
                <c:pt idx="3">
                  <c:v>114.69879917511273</c:v>
                </c:pt>
                <c:pt idx="4">
                  <c:v>114.85963990153803</c:v>
                </c:pt>
                <c:pt idx="5">
                  <c:v>114.03862673254639</c:v>
                </c:pt>
                <c:pt idx="6">
                  <c:v>114.46596147943295</c:v>
                </c:pt>
                <c:pt idx="7">
                  <c:v>114.36597034518314</c:v>
                </c:pt>
                <c:pt idx="8">
                  <c:v>114.28974538161467</c:v>
                </c:pt>
                <c:pt idx="9">
                  <c:v>113.46649714954955</c:v>
                </c:pt>
                <c:pt idx="10">
                  <c:v>112.98942293651525</c:v>
                </c:pt>
                <c:pt idx="11">
                  <c:v>111.907698972765</c:v>
                </c:pt>
                <c:pt idx="12">
                  <c:v>111.01699839969483</c:v>
                </c:pt>
                <c:pt idx="13">
                  <c:v>111.99083400633565</c:v>
                </c:pt>
                <c:pt idx="14">
                  <c:v>112.2325374522069</c:v>
                </c:pt>
                <c:pt idx="15">
                  <c:v>111.79338480931933</c:v>
                </c:pt>
                <c:pt idx="16">
                  <c:v>111.10582353134006</c:v>
                </c:pt>
                <c:pt idx="17">
                  <c:v>111.38520641552505</c:v>
                </c:pt>
                <c:pt idx="18">
                  <c:v>111.27678723093565</c:v>
                </c:pt>
                <c:pt idx="19">
                  <c:v>110.45505697920794</c:v>
                </c:pt>
                <c:pt idx="20">
                  <c:v>110.21820548275872</c:v>
                </c:pt>
                <c:pt idx="21">
                  <c:v>109.38335354823714</c:v>
                </c:pt>
                <c:pt idx="22">
                  <c:v>108.54100483965658</c:v>
                </c:pt>
                <c:pt idx="23">
                  <c:v>108.6046296351483</c:v>
                </c:pt>
                <c:pt idx="24">
                  <c:v>109.71579124212884</c:v>
                </c:pt>
                <c:pt idx="25">
                  <c:v>110.56462163362251</c:v>
                </c:pt>
                <c:pt idx="26">
                  <c:v>111.01693321035519</c:v>
                </c:pt>
                <c:pt idx="27">
                  <c:v>111.13238353086324</c:v>
                </c:pt>
                <c:pt idx="28">
                  <c:v>111.67414419434915</c:v>
                </c:pt>
                <c:pt idx="29">
                  <c:v>111.93606564827259</c:v>
                </c:pt>
                <c:pt idx="30">
                  <c:v>111.62804601845863</c:v>
                </c:pt>
                <c:pt idx="31">
                  <c:v>111.16355334797548</c:v>
                </c:pt>
                <c:pt idx="32">
                  <c:v>110.37496721907492</c:v>
                </c:pt>
                <c:pt idx="33">
                  <c:v>110.56716401786859</c:v>
                </c:pt>
                <c:pt idx="34">
                  <c:v>110.13212761614133</c:v>
                </c:pt>
                <c:pt idx="35">
                  <c:v>109.93562832093122</c:v>
                </c:pt>
                <c:pt idx="36">
                  <c:v>109.39508762937291</c:v>
                </c:pt>
                <c:pt idx="37">
                  <c:v>108.95898957268575</c:v>
                </c:pt>
                <c:pt idx="38">
                  <c:v>108.82496029037941</c:v>
                </c:pt>
                <c:pt idx="39">
                  <c:v>108.81195967350199</c:v>
                </c:pt>
                <c:pt idx="40">
                  <c:v>108.83890149630022</c:v>
                </c:pt>
                <c:pt idx="41">
                  <c:v>108.30729174427303</c:v>
                </c:pt>
                <c:pt idx="42">
                  <c:v>108.34470111246539</c:v>
                </c:pt>
                <c:pt idx="43">
                  <c:v>107.43945400389198</c:v>
                </c:pt>
                <c:pt idx="44">
                  <c:v>107.74141102511913</c:v>
                </c:pt>
                <c:pt idx="45">
                  <c:v>108.60089521726304</c:v>
                </c:pt>
                <c:pt idx="46">
                  <c:v>109.66068762460478</c:v>
                </c:pt>
                <c:pt idx="47">
                  <c:v>109.14125896632802</c:v>
                </c:pt>
                <c:pt idx="48">
                  <c:v>110.0937217823287</c:v>
                </c:pt>
                <c:pt idx="49">
                  <c:v>110.01985294775018</c:v>
                </c:pt>
                <c:pt idx="50">
                  <c:v>109.61086434359177</c:v>
                </c:pt>
                <c:pt idx="51">
                  <c:v>109.01576948751494</c:v>
                </c:pt>
                <c:pt idx="52">
                  <c:v>107.72924855689428</c:v>
                </c:pt>
                <c:pt idx="53">
                  <c:v>107.76063256755106</c:v>
                </c:pt>
                <c:pt idx="54">
                  <c:v>107.20746376962758</c:v>
                </c:pt>
                <c:pt idx="55">
                  <c:v>107.55198011687889</c:v>
                </c:pt>
                <c:pt idx="56">
                  <c:v>106.57598394926704</c:v>
                </c:pt>
                <c:pt idx="57">
                  <c:v>107.58168783023056</c:v>
                </c:pt>
                <c:pt idx="58">
                  <c:v>107.52000940216533</c:v>
                </c:pt>
                <c:pt idx="59">
                  <c:v>107.91997393916458</c:v>
                </c:pt>
                <c:pt idx="60">
                  <c:v>108.14133831106713</c:v>
                </c:pt>
                <c:pt idx="61">
                  <c:v>107.22045507374219</c:v>
                </c:pt>
                <c:pt idx="62">
                  <c:v>108.16338162062932</c:v>
                </c:pt>
                <c:pt idx="63">
                  <c:v>108.59947036455368</c:v>
                </c:pt>
                <c:pt idx="64">
                  <c:v>108.52694256781928</c:v>
                </c:pt>
                <c:pt idx="65">
                  <c:v>107.87780574917825</c:v>
                </c:pt>
                <c:pt idx="66">
                  <c:v>108.73102245195358</c:v>
                </c:pt>
                <c:pt idx="67">
                  <c:v>109.78446355506154</c:v>
                </c:pt>
                <c:pt idx="68">
                  <c:v>110.52777103119851</c:v>
                </c:pt>
                <c:pt idx="69">
                  <c:v>109.72207735702301</c:v>
                </c:pt>
                <c:pt idx="70">
                  <c:v>109.94902007384648</c:v>
                </c:pt>
                <c:pt idx="71">
                  <c:v>109.78153003477757</c:v>
                </c:pt>
                <c:pt idx="72">
                  <c:v>110.28151364431504</c:v>
                </c:pt>
                <c:pt idx="73">
                  <c:v>110.67720362318624</c:v>
                </c:pt>
                <c:pt idx="74">
                  <c:v>110.61901748117332</c:v>
                </c:pt>
                <c:pt idx="75">
                  <c:v>110.11430298813032</c:v>
                </c:pt>
                <c:pt idx="76">
                  <c:v>110.45351106058212</c:v>
                </c:pt>
                <c:pt idx="77">
                  <c:v>111.4446497805168</c:v>
                </c:pt>
                <c:pt idx="78">
                  <c:v>111.95836040243054</c:v>
                </c:pt>
                <c:pt idx="79">
                  <c:v>112.18308668170616</c:v>
                </c:pt>
                <c:pt idx="80">
                  <c:v>112.01052118690788</c:v>
                </c:pt>
                <c:pt idx="81">
                  <c:v>111.95871428741719</c:v>
                </c:pt>
                <c:pt idx="82">
                  <c:v>111.7365862689645</c:v>
                </c:pt>
                <c:pt idx="83">
                  <c:v>112.01453498767735</c:v>
                </c:pt>
                <c:pt idx="84">
                  <c:v>112.28766900801941</c:v>
                </c:pt>
                <c:pt idx="85">
                  <c:v>112.15327652796363</c:v>
                </c:pt>
                <c:pt idx="86">
                  <c:v>112.55214215895172</c:v>
                </c:pt>
                <c:pt idx="87">
                  <c:v>112.10350912352747</c:v>
                </c:pt>
                <c:pt idx="88">
                  <c:v>110.83002606083542</c:v>
                </c:pt>
                <c:pt idx="89">
                  <c:v>109.88972571305962</c:v>
                </c:pt>
                <c:pt idx="90">
                  <c:v>109.64222041596014</c:v>
                </c:pt>
                <c:pt idx="91">
                  <c:v>110.17997659143941</c:v>
                </c:pt>
                <c:pt idx="92">
                  <c:v>108.81956820071463</c:v>
                </c:pt>
                <c:pt idx="93">
                  <c:v>108.97034183054646</c:v>
                </c:pt>
                <c:pt idx="94">
                  <c:v>109.25898160096077</c:v>
                </c:pt>
                <c:pt idx="95">
                  <c:v>109.70353564627592</c:v>
                </c:pt>
                <c:pt idx="96">
                  <c:v>108.68771810490492</c:v>
                </c:pt>
                <c:pt idx="97">
                  <c:v>109.34968791069284</c:v>
                </c:pt>
                <c:pt idx="98">
                  <c:v>110.47439027479355</c:v>
                </c:pt>
                <c:pt idx="99">
                  <c:v>110.29019313925039</c:v>
                </c:pt>
                <c:pt idx="100">
                  <c:v>110.21518814760954</c:v>
                </c:pt>
                <c:pt idx="101">
                  <c:v>109.62694748495802</c:v>
                </c:pt>
                <c:pt idx="102">
                  <c:v>108.5958756381105</c:v>
                </c:pt>
                <c:pt idx="103">
                  <c:v>108.09689780695611</c:v>
                </c:pt>
                <c:pt idx="104">
                  <c:v>107.77884833159992</c:v>
                </c:pt>
                <c:pt idx="105">
                  <c:v>108.61329050455804</c:v>
                </c:pt>
                <c:pt idx="106">
                  <c:v>108.75436023554586</c:v>
                </c:pt>
                <c:pt idx="107">
                  <c:v>109.22288533232407</c:v>
                </c:pt>
                <c:pt idx="108">
                  <c:v>108.86597369777775</c:v>
                </c:pt>
                <c:pt idx="109">
                  <c:v>109.20949357940881</c:v>
                </c:pt>
                <c:pt idx="110">
                  <c:v>109.95143207941329</c:v>
                </c:pt>
                <c:pt idx="111">
                  <c:v>109.28719927226346</c:v>
                </c:pt>
                <c:pt idx="112">
                  <c:v>108.22562812722576</c:v>
                </c:pt>
                <c:pt idx="113">
                  <c:v>109.19247916176194</c:v>
                </c:pt>
                <c:pt idx="114">
                  <c:v>108.59533549786775</c:v>
                </c:pt>
                <c:pt idx="115">
                  <c:v>109.76919993682222</c:v>
                </c:pt>
                <c:pt idx="116">
                  <c:v>110.08667202088442</c:v>
                </c:pt>
                <c:pt idx="117">
                  <c:v>110.31109097898744</c:v>
                </c:pt>
                <c:pt idx="118">
                  <c:v>108.54259732209644</c:v>
                </c:pt>
                <c:pt idx="119">
                  <c:v>108.05338857912569</c:v>
                </c:pt>
                <c:pt idx="120">
                  <c:v>109.50792106353242</c:v>
                </c:pt>
                <c:pt idx="121">
                  <c:v>105.51892949419033</c:v>
                </c:pt>
                <c:pt idx="122">
                  <c:v>106.54473031728955</c:v>
                </c:pt>
                <c:pt idx="123">
                  <c:v>107.21035072609749</c:v>
                </c:pt>
                <c:pt idx="124">
                  <c:v>107.13570893220607</c:v>
                </c:pt>
                <c:pt idx="125">
                  <c:v>107.53717282401709</c:v>
                </c:pt>
                <c:pt idx="126">
                  <c:v>106.92088211979342</c:v>
                </c:pt>
                <c:pt idx="127">
                  <c:v>106.88542843179034</c:v>
                </c:pt>
                <c:pt idx="128">
                  <c:v>107.04218085534374</c:v>
                </c:pt>
                <c:pt idx="129">
                  <c:v>106.97579016929856</c:v>
                </c:pt>
                <c:pt idx="130">
                  <c:v>105.72918374006515</c:v>
                </c:pt>
                <c:pt idx="131">
                  <c:v>106.67710192781641</c:v>
                </c:pt>
                <c:pt idx="132">
                  <c:v>107.02770882194295</c:v>
                </c:pt>
                <c:pt idx="133">
                  <c:v>106.02454732522553</c:v>
                </c:pt>
                <c:pt idx="134">
                  <c:v>105.99150564278924</c:v>
                </c:pt>
                <c:pt idx="135">
                  <c:v>104.82832294277344</c:v>
                </c:pt>
                <c:pt idx="136">
                  <c:v>103.13922990156783</c:v>
                </c:pt>
                <c:pt idx="137">
                  <c:v>102.67508180330849</c:v>
                </c:pt>
                <c:pt idx="138">
                  <c:v>100.63728167158877</c:v>
                </c:pt>
                <c:pt idx="139">
                  <c:v>98.735531691704338</c:v>
                </c:pt>
                <c:pt idx="140">
                  <c:v>99.362215439219696</c:v>
                </c:pt>
                <c:pt idx="141">
                  <c:v>97.643265680457503</c:v>
                </c:pt>
                <c:pt idx="142">
                  <c:v>100.67736380270651</c:v>
                </c:pt>
                <c:pt idx="143">
                  <c:v>102.53984186183733</c:v>
                </c:pt>
                <c:pt idx="144">
                  <c:v>102.98246816525163</c:v>
                </c:pt>
                <c:pt idx="145">
                  <c:v>102.38322912972603</c:v>
                </c:pt>
                <c:pt idx="146">
                  <c:v>103.7496256269352</c:v>
                </c:pt>
                <c:pt idx="147">
                  <c:v>103.5830482386213</c:v>
                </c:pt>
                <c:pt idx="148">
                  <c:v>103.09678232869732</c:v>
                </c:pt>
                <c:pt idx="149">
                  <c:v>103.85179594768164</c:v>
                </c:pt>
                <c:pt idx="150">
                  <c:v>103.86130427850675</c:v>
                </c:pt>
                <c:pt idx="151">
                  <c:v>102.49365055831876</c:v>
                </c:pt>
                <c:pt idx="152">
                  <c:v>101.75271783669734</c:v>
                </c:pt>
                <c:pt idx="153">
                  <c:v>100.44225379290204</c:v>
                </c:pt>
                <c:pt idx="154">
                  <c:v>100.13980319524617</c:v>
                </c:pt>
                <c:pt idx="155">
                  <c:v>98.827541788229269</c:v>
                </c:pt>
                <c:pt idx="156">
                  <c:v>98.398009229320451</c:v>
                </c:pt>
                <c:pt idx="157">
                  <c:v>98.760536459838903</c:v>
                </c:pt>
                <c:pt idx="158">
                  <c:v>99.023361251754523</c:v>
                </c:pt>
                <c:pt idx="159">
                  <c:v>98.808506501053458</c:v>
                </c:pt>
                <c:pt idx="160">
                  <c:v>99.274992102777134</c:v>
                </c:pt>
                <c:pt idx="161">
                  <c:v>99.141717154258089</c:v>
                </c:pt>
                <c:pt idx="162">
                  <c:v>98.062554200279521</c:v>
                </c:pt>
                <c:pt idx="163">
                  <c:v>96.772876243067586</c:v>
                </c:pt>
                <c:pt idx="164">
                  <c:v>96.973137894451384</c:v>
                </c:pt>
                <c:pt idx="165">
                  <c:v>96.93686468332136</c:v>
                </c:pt>
                <c:pt idx="166">
                  <c:v>99.118444560005486</c:v>
                </c:pt>
                <c:pt idx="167">
                  <c:v>99.183885344244416</c:v>
                </c:pt>
                <c:pt idx="168">
                  <c:v>99.278866212104504</c:v>
                </c:pt>
                <c:pt idx="169">
                  <c:v>100.45032795825499</c:v>
                </c:pt>
                <c:pt idx="170">
                  <c:v>100.97578197406732</c:v>
                </c:pt>
                <c:pt idx="171">
                  <c:v>100.9115797872816</c:v>
                </c:pt>
                <c:pt idx="172">
                  <c:v>101.17607156373953</c:v>
                </c:pt>
                <c:pt idx="173">
                  <c:v>101.25536973903404</c:v>
                </c:pt>
                <c:pt idx="174">
                  <c:v>101.05484733029166</c:v>
                </c:pt>
                <c:pt idx="175">
                  <c:v>101.59593747485553</c:v>
                </c:pt>
                <c:pt idx="176">
                  <c:v>101.6337938556626</c:v>
                </c:pt>
                <c:pt idx="177">
                  <c:v>101.765178313332</c:v>
                </c:pt>
                <c:pt idx="178">
                  <c:v>103.18419192039599</c:v>
                </c:pt>
                <c:pt idx="179">
                  <c:v>104.17017136973605</c:v>
                </c:pt>
                <c:pt idx="180">
                  <c:v>104.3179276644187</c:v>
                </c:pt>
                <c:pt idx="181">
                  <c:v>104.84801943610849</c:v>
                </c:pt>
                <c:pt idx="182">
                  <c:v>105.08683592550983</c:v>
                </c:pt>
                <c:pt idx="183">
                  <c:v>103.54048891259711</c:v>
                </c:pt>
                <c:pt idx="184">
                  <c:v>#N/A</c:v>
                </c:pt>
                <c:pt idx="185">
                  <c:v>104.15669580195552</c:v>
                </c:pt>
                <c:pt idx="186">
                  <c:v>102.9863609001046</c:v>
                </c:pt>
                <c:pt idx="187">
                  <c:v>102.58448724673011</c:v>
                </c:pt>
                <c:pt idx="188">
                  <c:v>101.34117753553005</c:v>
                </c:pt>
                <c:pt idx="189">
                  <c:v>101.04357888729621</c:v>
                </c:pt>
                <c:pt idx="190">
                  <c:v>102.39441375785626</c:v>
                </c:pt>
                <c:pt idx="191">
                  <c:v>102.87801621761766</c:v>
                </c:pt>
                <c:pt idx="192">
                  <c:v>102.63513005087003</c:v>
                </c:pt>
                <c:pt idx="193">
                  <c:v>102.03232422718969</c:v>
                </c:pt>
                <c:pt idx="194">
                  <c:v>103.43107326238747</c:v>
                </c:pt>
                <c:pt idx="195">
                  <c:v>102.81980213731632</c:v>
                </c:pt>
                <c:pt idx="196">
                  <c:v>103.03126704235595</c:v>
                </c:pt>
                <c:pt idx="197">
                  <c:v>102.60826273017425</c:v>
                </c:pt>
                <c:pt idx="198">
                  <c:v>102.3902509528819</c:v>
                </c:pt>
                <c:pt idx="199">
                  <c:v>102.05855828001467</c:v>
                </c:pt>
                <c:pt idx="200">
                  <c:v>103.5915042272493</c:v>
                </c:pt>
                <c:pt idx="201">
                  <c:v>103.78037636972115</c:v>
                </c:pt>
                <c:pt idx="202">
                  <c:v>104.51346774505976</c:v>
                </c:pt>
                <c:pt idx="203">
                  <c:v>104.36671722876018</c:v>
                </c:pt>
                <c:pt idx="204">
                  <c:v>103.99955224236427</c:v>
                </c:pt>
                <c:pt idx="205">
                  <c:v>105.87337324659303</c:v>
                </c:pt>
                <c:pt idx="206">
                  <c:v>106.47118742940927</c:v>
                </c:pt>
                <c:pt idx="207">
                  <c:v>104.3786655034405</c:v>
                </c:pt>
                <c:pt idx="208">
                  <c:v>103.98139235489225</c:v>
                </c:pt>
                <c:pt idx="209">
                  <c:v>103.98473563673967</c:v>
                </c:pt>
                <c:pt idx="210">
                  <c:v>104.58279195138887</c:v>
                </c:pt>
                <c:pt idx="211">
                  <c:v>104.39305372197603</c:v>
                </c:pt>
                <c:pt idx="212">
                  <c:v>104.21247925116445</c:v>
                </c:pt>
                <c:pt idx="213">
                  <c:v>104.3274639335322</c:v>
                </c:pt>
                <c:pt idx="214">
                  <c:v>103.71497283653343</c:v>
                </c:pt>
                <c:pt idx="215">
                  <c:v>105.42031664883582</c:v>
                </c:pt>
                <c:pt idx="216">
                  <c:v>106.47952235212077</c:v>
                </c:pt>
                <c:pt idx="217">
                  <c:v>106.98858590539425</c:v>
                </c:pt>
                <c:pt idx="218">
                  <c:v>108.48756820667479</c:v>
                </c:pt>
                <c:pt idx="219">
                  <c:v>109.0262742839603</c:v>
                </c:pt>
                <c:pt idx="220">
                  <c:v>108.02867250663815</c:v>
                </c:pt>
                <c:pt idx="221">
                  <c:v>108.43422470132107</c:v>
                </c:pt>
                <c:pt idx="222">
                  <c:v>108.28742762120747</c:v>
                </c:pt>
                <c:pt idx="223">
                  <c:v>108.3966663289238</c:v>
                </c:pt>
                <c:pt idx="224">
                  <c:v>108.71286256448155</c:v>
                </c:pt>
                <c:pt idx="225">
                  <c:v>108.87836898507275</c:v>
                </c:pt>
                <c:pt idx="226">
                  <c:v>107.76608984655547</c:v>
                </c:pt>
                <c:pt idx="227">
                  <c:v>107.83790987331663</c:v>
                </c:pt>
                <c:pt idx="228">
                  <c:v>107.03002769988169</c:v>
                </c:pt>
                <c:pt idx="229">
                  <c:v>106.35477789433219</c:v>
                </c:pt>
                <c:pt idx="230">
                  <c:v>105.31520349504262</c:v>
                </c:pt>
                <c:pt idx="231">
                  <c:v>106.90231247075792</c:v>
                </c:pt>
                <c:pt idx="232">
                  <c:v>106.49983348780103</c:v>
                </c:pt>
                <c:pt idx="233">
                  <c:v>106.70648369446987</c:v>
                </c:pt>
                <c:pt idx="234">
                  <c:v>105.37802739293302</c:v>
                </c:pt>
                <c:pt idx="235">
                  <c:v>102.72445807170678</c:v>
                </c:pt>
                <c:pt idx="236">
                  <c:v>103.87971561057454</c:v>
                </c:pt>
                <c:pt idx="237">
                  <c:v>103.76944318618671</c:v>
                </c:pt>
                <c:pt idx="238">
                  <c:v>104.23062982587368</c:v>
                </c:pt>
                <c:pt idx="239">
                  <c:v>104.43976654021176</c:v>
                </c:pt>
                <c:pt idx="240">
                  <c:v>105.82195748314018</c:v>
                </c:pt>
                <c:pt idx="241">
                  <c:v>106.92073311558852</c:v>
                </c:pt>
                <c:pt idx="242">
                  <c:v>107.06630091101171</c:v>
                </c:pt>
                <c:pt idx="243">
                  <c:v>107.34782573064211</c:v>
                </c:pt>
                <c:pt idx="244">
                  <c:v>108.56766727957063</c:v>
                </c:pt>
                <c:pt idx="245">
                  <c:v>107.12389103620504</c:v>
                </c:pt>
                <c:pt idx="246">
                  <c:v>106.32601077002393</c:v>
                </c:pt>
                <c:pt idx="247">
                  <c:v>107.76314701350873</c:v>
                </c:pt>
                <c:pt idx="248">
                  <c:v>107.29244273023384</c:v>
                </c:pt>
                <c:pt idx="249">
                  <c:v>108.0946254928314</c:v>
                </c:pt>
                <c:pt idx="250">
                  <c:v>108.41709853052053</c:v>
                </c:pt>
                <c:pt idx="251">
                  <c:v>107.95932967478343</c:v>
                </c:pt>
                <c:pt idx="252">
                  <c:v>107.18583022162886</c:v>
                </c:pt>
                <c:pt idx="253">
                  <c:v>108.23566728553079</c:v>
                </c:pt>
                <c:pt idx="254">
                  <c:v>108.51030066068465</c:v>
                </c:pt>
                <c:pt idx="255">
                  <c:v>108.61362576401905</c:v>
                </c:pt>
                <c:pt idx="256">
                  <c:v>110.15540952315675</c:v>
                </c:pt>
                <c:pt idx="257">
                  <c:v>110.68698202413272</c:v>
                </c:pt>
                <c:pt idx="258">
                  <c:v>110.26704161091425</c:v>
                </c:pt>
                <c:pt idx="259">
                  <c:v>111.3254743548863</c:v>
                </c:pt>
                <c:pt idx="260">
                  <c:v>111.64682054827588</c:v>
                </c:pt>
                <c:pt idx="261">
                  <c:v>112.09030362586832</c:v>
                </c:pt>
                <c:pt idx="262">
                  <c:v>111.60918767377615</c:v>
                </c:pt>
                <c:pt idx="263">
                  <c:v>111.71073403941459</c:v>
                </c:pt>
                <c:pt idx="264">
                  <c:v>111.7297693265904</c:v>
                </c:pt>
                <c:pt idx="265">
                  <c:v>111.822803827024</c:v>
                </c:pt>
                <c:pt idx="266">
                  <c:v>110.94788838691028</c:v>
                </c:pt>
                <c:pt idx="267">
                  <c:v>111.936093586561</c:v>
                </c:pt>
                <c:pt idx="268">
                  <c:v>112.92260386338103</c:v>
                </c:pt>
                <c:pt idx="269">
                  <c:v>115.31119714448342</c:v>
                </c:pt>
                <c:pt idx="270">
                  <c:v>115.38907977983139</c:v>
                </c:pt>
                <c:pt idx="271">
                  <c:v>115.9650834721556</c:v>
                </c:pt>
                <c:pt idx="272">
                  <c:v>115.87041923823089</c:v>
                </c:pt>
                <c:pt idx="273">
                  <c:v>114.84096781211166</c:v>
                </c:pt>
                <c:pt idx="274">
                  <c:v>114.63226879762547</c:v>
                </c:pt>
                <c:pt idx="275">
                  <c:v>114.63725112572676</c:v>
                </c:pt>
                <c:pt idx="276">
                  <c:v>113.88449119534154</c:v>
                </c:pt>
                <c:pt idx="277">
                  <c:v>112.42109296074337</c:v>
                </c:pt>
                <c:pt idx="278">
                  <c:v>112.36321413990302</c:v>
                </c:pt>
                <c:pt idx="279">
                  <c:v>112.86072055453404</c:v>
                </c:pt>
                <c:pt idx="280">
                  <c:v>112.73370378262075</c:v>
                </c:pt>
                <c:pt idx="281">
                  <c:v>112.78117093464377</c:v>
                </c:pt>
                <c:pt idx="282">
                  <c:v>112.90507724377983</c:v>
                </c:pt>
                <c:pt idx="283">
                  <c:v>110.7950659492611</c:v>
                </c:pt>
                <c:pt idx="284">
                  <c:v>111.38359530755957</c:v>
                </c:pt>
                <c:pt idx="285">
                  <c:v>110.65310219304389</c:v>
                </c:pt>
                <c:pt idx="286">
                  <c:v>110.46075639004533</c:v>
                </c:pt>
                <c:pt idx="287">
                  <c:v>111.67738503580571</c:v>
                </c:pt>
                <c:pt idx="288">
                  <c:v>111.97015036014318</c:v>
                </c:pt>
                <c:pt idx="289">
                  <c:v>112.32320651088774</c:v>
                </c:pt>
                <c:pt idx="290">
                  <c:v>112.41838294676676</c:v>
                </c:pt>
                <c:pt idx="291">
                  <c:v>112.19638530699336</c:v>
                </c:pt>
                <c:pt idx="292">
                  <c:v>111.76295070046878</c:v>
                </c:pt>
                <c:pt idx="293">
                  <c:v>111.21155132747846</c:v>
                </c:pt>
                <c:pt idx="294">
                  <c:v>111.03821287336729</c:v>
                </c:pt>
                <c:pt idx="295">
                  <c:v>111.11710128709834</c:v>
                </c:pt>
                <c:pt idx="296">
                  <c:v>110.27316940884072</c:v>
                </c:pt>
                <c:pt idx="297">
                  <c:v>110.24172952160708</c:v>
                </c:pt>
                <c:pt idx="298">
                  <c:v>110.19257675951614</c:v>
                </c:pt>
                <c:pt idx="299">
                  <c:v>109.76039937597039</c:v>
                </c:pt>
                <c:pt idx="300">
                  <c:v>109.20608510822176</c:v>
                </c:pt>
                <c:pt idx="301">
                  <c:v>108.8864524631885</c:v>
                </c:pt>
                <c:pt idx="302">
                  <c:v>107.11415919907259</c:v>
                </c:pt>
                <c:pt idx="303">
                  <c:v>107.07625625445149</c:v>
                </c:pt>
                <c:pt idx="304">
                  <c:v>107.85137612833434</c:v>
                </c:pt>
                <c:pt idx="305">
                  <c:v>108.1003435291944</c:v>
                </c:pt>
                <c:pt idx="306">
                  <c:v>106.93616436355835</c:v>
                </c:pt>
                <c:pt idx="307">
                  <c:v>107.87041141551015</c:v>
                </c:pt>
                <c:pt idx="308">
                  <c:v>106.42998776675479</c:v>
                </c:pt>
                <c:pt idx="309">
                  <c:v>106.6339000211586</c:v>
                </c:pt>
                <c:pt idx="310">
                  <c:v>109.6400691677519</c:v>
                </c:pt>
                <c:pt idx="311">
                  <c:v>111.17013747127945</c:v>
                </c:pt>
                <c:pt idx="312">
                  <c:v>110.7926725692199</c:v>
                </c:pt>
                <c:pt idx="313">
                  <c:v>110.29061221357668</c:v>
                </c:pt>
                <c:pt idx="314">
                  <c:v>110.20923729217638</c:v>
                </c:pt>
                <c:pt idx="315">
                  <c:v>110.14891852748086</c:v>
                </c:pt>
                <c:pt idx="316">
                  <c:v>108.14838807251141</c:v>
                </c:pt>
                <c:pt idx="317">
                  <c:v>108.01619340447787</c:v>
                </c:pt>
                <c:pt idx="318">
                  <c:v>108.24813707492827</c:v>
                </c:pt>
                <c:pt idx="319">
                  <c:v>108.2879118848734</c:v>
                </c:pt>
                <c:pt idx="320">
                  <c:v>108.61258273458476</c:v>
                </c:pt>
                <c:pt idx="321">
                  <c:v>110.03741681840262</c:v>
                </c:pt>
                <c:pt idx="322">
                  <c:v>109.05870132405136</c:v>
                </c:pt>
                <c:pt idx="323">
                  <c:v>108.90389526792445</c:v>
                </c:pt>
                <c:pt idx="324">
                  <c:v>108.42433454722091</c:v>
                </c:pt>
                <c:pt idx="325">
                  <c:v>107.35848884405519</c:v>
                </c:pt>
                <c:pt idx="326">
                  <c:v>107.35930836718212</c:v>
                </c:pt>
                <c:pt idx="327">
                  <c:v>107.78666173959428</c:v>
                </c:pt>
                <c:pt idx="328">
                  <c:v>107.33622202818565</c:v>
                </c:pt>
                <c:pt idx="329">
                  <c:v>107.35152289747616</c:v>
                </c:pt>
                <c:pt idx="330">
                  <c:v>106.90698747768661</c:v>
                </c:pt>
                <c:pt idx="331">
                  <c:v>106.79049412774428</c:v>
                </c:pt>
                <c:pt idx="332">
                  <c:v>106.27676488030492</c:v>
                </c:pt>
                <c:pt idx="333">
                  <c:v>106.41667051594197</c:v>
                </c:pt>
                <c:pt idx="334">
                  <c:v>105.84221274224359</c:v>
                </c:pt>
                <c:pt idx="335">
                  <c:v>105.80302463635525</c:v>
                </c:pt>
                <c:pt idx="336">
                  <c:v>104.87748501762719</c:v>
                </c:pt>
                <c:pt idx="337">
                  <c:v>104.13651504495456</c:v>
                </c:pt>
                <c:pt idx="338">
                  <c:v>103.63186574125123</c:v>
                </c:pt>
                <c:pt idx="339">
                  <c:v>103.53080363927869</c:v>
                </c:pt>
                <c:pt idx="340">
                  <c:v>103.8728614171492</c:v>
                </c:pt>
                <c:pt idx="341">
                  <c:v>103.74885266762229</c:v>
                </c:pt>
                <c:pt idx="342">
                  <c:v>104.33140323219921</c:v>
                </c:pt>
                <c:pt idx="343">
                  <c:v>103.99727061547676</c:v>
                </c:pt>
                <c:pt idx="344">
                  <c:v>103.77923089989601</c:v>
                </c:pt>
                <c:pt idx="345">
                  <c:v>103.40835012114043</c:v>
                </c:pt>
                <c:pt idx="346">
                  <c:v>103.13432207556896</c:v>
                </c:pt>
                <c:pt idx="347">
                  <c:v>103.05467932805064</c:v>
                </c:pt>
                <c:pt idx="348">
                  <c:v>103.15657026591289</c:v>
                </c:pt>
                <c:pt idx="349">
                  <c:v>100.99118528374871</c:v>
                </c:pt>
                <c:pt idx="350">
                  <c:v>99.967926844895558</c:v>
                </c:pt>
                <c:pt idx="351">
                  <c:v>96.861235736572482</c:v>
                </c:pt>
                <c:pt idx="352">
                  <c:v>102.98354844573714</c:v>
                </c:pt>
                <c:pt idx="353">
                  <c:v>99.700566737493332</c:v>
                </c:pt>
                <c:pt idx="354">
                  <c:v>99.557364383822915</c:v>
                </c:pt>
                <c:pt idx="355">
                  <c:v>100.76601199185842</c:v>
                </c:pt>
                <c:pt idx="356">
                  <c:v>101.45514712675192</c:v>
                </c:pt>
                <c:pt idx="357">
                  <c:v>101.70382583196498</c:v>
                </c:pt>
                <c:pt idx="358">
                  <c:v>101.94568759480393</c:v>
                </c:pt>
                <c:pt idx="359">
                  <c:v>102.12798492673463</c:v>
                </c:pt>
                <c:pt idx="360">
                  <c:v>100.53441289363185</c:v>
                </c:pt>
                <c:pt idx="361">
                  <c:v>100.1647800250923</c:v>
                </c:pt>
                <c:pt idx="362">
                  <c:v>99.740118041131126</c:v>
                </c:pt>
                <c:pt idx="363">
                  <c:v>99.740118041131126</c:v>
                </c:pt>
                <c:pt idx="364">
                  <c:v>99.577023626106737</c:v>
                </c:pt>
                <c:pt idx="365">
                  <c:v>98.786928829631577</c:v>
                </c:pt>
                <c:pt idx="366">
                  <c:v>98.82604243341747</c:v>
                </c:pt>
                <c:pt idx="367">
                  <c:v>98.266596833362641</c:v>
                </c:pt>
                <c:pt idx="368">
                  <c:v>98.095521380613363</c:v>
                </c:pt>
                <c:pt idx="369">
                  <c:v>97.560531095687523</c:v>
                </c:pt>
                <c:pt idx="370">
                  <c:v>99.040552611894711</c:v>
                </c:pt>
                <c:pt idx="371">
                  <c:v>98.908600075694125</c:v>
                </c:pt>
                <c:pt idx="372">
                  <c:v>99.392463292814128</c:v>
                </c:pt>
                <c:pt idx="373">
                  <c:v>99.646953162018235</c:v>
                </c:pt>
                <c:pt idx="374">
                  <c:v>100.41863662642561</c:v>
                </c:pt>
                <c:pt idx="375">
                  <c:v>100.14701127365815</c:v>
                </c:pt>
                <c:pt idx="376">
                  <c:v>100.29638798906906</c:v>
                </c:pt>
                <c:pt idx="377">
                  <c:v>99.53899030280634</c:v>
                </c:pt>
                <c:pt idx="378">
                  <c:v>100.27449368371175</c:v>
                </c:pt>
                <c:pt idx="379">
                  <c:v>99.489520906779987</c:v>
                </c:pt>
                <c:pt idx="380">
                  <c:v>99.432359168675745</c:v>
                </c:pt>
                <c:pt idx="381">
                  <c:v>99.246886184628124</c:v>
                </c:pt>
                <c:pt idx="382">
                  <c:v>98.355654784078013</c:v>
                </c:pt>
                <c:pt idx="383">
                  <c:v>97.829120487780159</c:v>
                </c:pt>
                <c:pt idx="384">
                  <c:v>98.494582579620399</c:v>
                </c:pt>
                <c:pt idx="385">
                  <c:v>99.068239455717446</c:v>
                </c:pt>
                <c:pt idx="386">
                  <c:v>100.04097615634713</c:v>
                </c:pt>
                <c:pt idx="387">
                  <c:v>101.03197518483971</c:v>
                </c:pt>
                <c:pt idx="388">
                  <c:v>100.41683926320401</c:v>
                </c:pt>
                <c:pt idx="389">
                  <c:v>100.68303527525546</c:v>
                </c:pt>
                <c:pt idx="390">
                  <c:v>100.04205643683264</c:v>
                </c:pt>
                <c:pt idx="391">
                  <c:v>100.17521963219802</c:v>
                </c:pt>
                <c:pt idx="392">
                  <c:v>99.976839158901072</c:v>
                </c:pt>
                <c:pt idx="393">
                  <c:v>100.02573116363345</c:v>
                </c:pt>
                <c:pt idx="394">
                  <c:v>100</c:v>
                </c:pt>
              </c:numCache>
            </c:numRef>
          </c:val>
          <c:smooth val="0"/>
          <c:extLst>
            <c:ext xmlns:c16="http://schemas.microsoft.com/office/drawing/2014/chart" uri="{C3380CC4-5D6E-409C-BE32-E72D297353CC}">
              <c16:uniqueId val="{00000001-0D77-491C-A37C-5688979D86A6}"/>
            </c:ext>
          </c:extLst>
        </c:ser>
        <c:dLbls>
          <c:showLegendKey val="0"/>
          <c:showVal val="0"/>
          <c:showCatName val="0"/>
          <c:showSerName val="0"/>
          <c:showPercent val="0"/>
          <c:showBubbleSize val="0"/>
        </c:dLbls>
        <c:smooth val="0"/>
        <c:axId val="1435080607"/>
        <c:axId val="1435081087"/>
      </c:lineChart>
      <c:dateAx>
        <c:axId val="1435080607"/>
        <c:scaling>
          <c:orientation val="minMax"/>
        </c:scaling>
        <c:delete val="0"/>
        <c:axPos val="b"/>
        <c:numFmt formatCode="yyyy"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1435081087"/>
        <c:crosses val="autoZero"/>
        <c:auto val="1"/>
        <c:lblOffset val="100"/>
        <c:baseTimeUnit val="days"/>
        <c:majorUnit val="1"/>
        <c:majorTimeUnit val="years"/>
        <c:minorUnit val="1"/>
        <c:minorTimeUnit val="years"/>
      </c:dateAx>
      <c:valAx>
        <c:axId val="1435081087"/>
        <c:scaling>
          <c:orientation val="minMax"/>
          <c:min val="90"/>
        </c:scaling>
        <c:delete val="1"/>
        <c:axPos val="l"/>
        <c:numFmt formatCode="_ * #,##0_ ;_ * \-#,##0_ ;_ * &quot;-&quot;??_ ;_ @_ " sourceLinked="1"/>
        <c:majorTickMark val="out"/>
        <c:minorTickMark val="none"/>
        <c:tickLblPos val="nextTo"/>
        <c:crossAx val="143508060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2-9979-44C0-8EB3-173D3ECB69A0}"/>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355D-4347-8C45-83811F1351D8}"/>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1-9979-44C0-8EB3-173D3ECB69A0}"/>
              </c:ext>
            </c:extLst>
          </c:dPt>
          <c:dLbls>
            <c:dLbl>
              <c:idx val="0"/>
              <c:layout>
                <c:manualLayout>
                  <c:x val="-5.0263140432802764E-2"/>
                  <c:y val="-0.11910629712266618"/>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979-44C0-8EB3-173D3ECB69A0}"/>
                </c:ext>
              </c:extLst>
            </c:dLbl>
            <c:dLbl>
              <c:idx val="1"/>
              <c:layout>
                <c:manualLayout>
                  <c:x val="-1.7448346507635014E-2"/>
                  <c:y val="-4.8403117042542076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55D-4347-8C45-83811F1351D8}"/>
                </c:ext>
              </c:extLst>
            </c:dLbl>
            <c:dLbl>
              <c:idx val="2"/>
              <c:layout>
                <c:manualLayout>
                  <c:x val="0.10425151165780538"/>
                  <c:y val="-5.1017414132030571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979-44C0-8EB3-173D3ECB69A0}"/>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0"/>
            <c:showSerName val="0"/>
            <c:showPercent val="0"/>
            <c:showBubbleSize val="0"/>
            <c:showLeaderLines val="0"/>
            <c:extLst>
              <c:ext xmlns:c15="http://schemas.microsoft.com/office/drawing/2012/chart" uri="{CE6537A1-D6FC-4f65-9D91-7224C49458BB}"/>
            </c:extLst>
          </c:dLbls>
          <c:cat>
            <c:strRef>
              <c:f>Sheet1!$A$2:$A$4</c:f>
              <c:strCache>
                <c:ptCount val="3"/>
                <c:pt idx="0">
                  <c:v>PE</c:v>
                </c:pt>
                <c:pt idx="1">
                  <c:v>M&amp;A</c:v>
                </c:pt>
                <c:pt idx="2">
                  <c:v>ECM</c:v>
                </c:pt>
              </c:strCache>
            </c:strRef>
          </c:cat>
          <c:val>
            <c:numRef>
              <c:f>Sheet1!$B$2:$B$4</c:f>
              <c:numCache>
                <c:formatCode>0%</c:formatCode>
                <c:ptCount val="3"/>
                <c:pt idx="0">
                  <c:v>0.35</c:v>
                </c:pt>
                <c:pt idx="1">
                  <c:v>0.42</c:v>
                </c:pt>
                <c:pt idx="2">
                  <c:v>0.24</c:v>
                </c:pt>
              </c:numCache>
            </c:numRef>
          </c:val>
          <c:extLst>
            <c:ext xmlns:c16="http://schemas.microsoft.com/office/drawing/2014/chart" uri="{C3380CC4-5D6E-409C-BE32-E72D297353CC}">
              <c16:uniqueId val="{00000000-9979-44C0-8EB3-173D3ECB69A0}"/>
            </c:ext>
          </c:extLst>
        </c:ser>
        <c:dLbls>
          <c:dLblPos val="bestFit"/>
          <c:showLegendKey val="0"/>
          <c:showVal val="1"/>
          <c:showCatName val="0"/>
          <c:showSerName val="0"/>
          <c:showPercent val="0"/>
          <c:showBubbleSize val="0"/>
          <c:showLeaderLines val="0"/>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Output!$L$114</c:f>
              <c:strCache>
                <c:ptCount val="1"/>
                <c:pt idx="0">
                  <c:v>FY20</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D943-4BE3-B283-528FED6BCA37}"/>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D943-4BE3-B283-528FED6BCA37}"/>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D943-4BE3-B283-528FED6BCA37}"/>
              </c:ext>
            </c:extLst>
          </c:dPt>
          <c:dLbls>
            <c:dLbl>
              <c:idx val="0"/>
              <c:layout>
                <c:manualLayout>
                  <c:x val="-0.17112354892205639"/>
                  <c:y val="-0.35541044776119407"/>
                </c:manualLayout>
              </c:layout>
              <c:tx>
                <c:rich>
                  <a:bodyPr/>
                  <a:lstStyle/>
                  <a:p>
                    <a:r>
                      <a:rPr lang="en-US" dirty="0"/>
                      <a:t>49%</a:t>
                    </a:r>
                  </a:p>
                </c:rich>
              </c:tx>
              <c:dLblPos val="bestFi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943-4BE3-B283-528FED6BCA37}"/>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extLst>
          </c:dLbls>
          <c:val>
            <c:numRef>
              <c:f>Output!$M$114:$O$114</c:f>
              <c:numCache>
                <c:formatCode>0%</c:formatCode>
                <c:ptCount val="3"/>
                <c:pt idx="0">
                  <c:v>0.49</c:v>
                </c:pt>
                <c:pt idx="1">
                  <c:v>0.18955381682476335</c:v>
                </c:pt>
                <c:pt idx="2">
                  <c:v>0.32</c:v>
                </c:pt>
              </c:numCache>
            </c:numRef>
          </c:val>
          <c:extLst>
            <c:ext xmlns:c16="http://schemas.microsoft.com/office/drawing/2014/chart" uri="{C3380CC4-5D6E-409C-BE32-E72D297353CC}">
              <c16:uniqueId val="{00000006-D943-4BE3-B283-528FED6BCA37}"/>
            </c:ext>
          </c:extLst>
        </c:ser>
        <c:dLbls>
          <c:dLblPos val="outEnd"/>
          <c:showLegendKey val="0"/>
          <c:showVal val="1"/>
          <c:showCatName val="0"/>
          <c:showSerName val="0"/>
          <c:showPercent val="0"/>
          <c:showBubbleSize val="0"/>
          <c:showLeaderLines val="0"/>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2-9979-44C0-8EB3-173D3ECB69A0}"/>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355D-4347-8C45-83811F1351D8}"/>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1-9979-44C0-8EB3-173D3ECB69A0}"/>
              </c:ext>
            </c:extLst>
          </c:dPt>
          <c:dLbls>
            <c:dLbl>
              <c:idx val="0"/>
              <c:layout>
                <c:manualLayout>
                  <c:x val="1.5573807884674403E-2"/>
                  <c:y val="5.9839046805404564E-3"/>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979-44C0-8EB3-173D3ECB69A0}"/>
                </c:ext>
              </c:extLst>
            </c:dLbl>
            <c:dLbl>
              <c:idx val="1"/>
              <c:layout>
                <c:manualLayout>
                  <c:x val="2.5324242650453681E-2"/>
                  <c:y val="-3.8731824855055032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55D-4347-8C45-83811F1351D8}"/>
                </c:ext>
              </c:extLst>
            </c:dLbl>
            <c:dLbl>
              <c:idx val="2"/>
              <c:layout>
                <c:manualLayout>
                  <c:x val="7.6906541255056136E-3"/>
                  <c:y val="-3.6930899197929715E-3"/>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979-44C0-8EB3-173D3ECB69A0}"/>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0"/>
            <c:showSerName val="0"/>
            <c:showPercent val="0"/>
            <c:showBubbleSize val="0"/>
            <c:showLeaderLines val="0"/>
            <c:extLst>
              <c:ext xmlns:c15="http://schemas.microsoft.com/office/drawing/2012/chart" uri="{CE6537A1-D6FC-4f65-9D91-7224C49458BB}"/>
            </c:extLst>
          </c:dLbls>
          <c:cat>
            <c:strRef>
              <c:f>Sheet1!$A$2:$A$4</c:f>
              <c:strCache>
                <c:ptCount val="3"/>
                <c:pt idx="0">
                  <c:v>PAN India</c:v>
                </c:pt>
                <c:pt idx="1">
                  <c:v>Regional</c:v>
                </c:pt>
                <c:pt idx="2">
                  <c:v>Diagnostics</c:v>
                </c:pt>
              </c:strCache>
            </c:strRef>
          </c:cat>
          <c:val>
            <c:numRef>
              <c:f>Sheet1!$B$2:$B$4</c:f>
              <c:numCache>
                <c:formatCode>0%</c:formatCode>
                <c:ptCount val="3"/>
                <c:pt idx="0">
                  <c:v>0.12</c:v>
                </c:pt>
                <c:pt idx="1">
                  <c:v>0.52</c:v>
                </c:pt>
                <c:pt idx="2">
                  <c:v>0.35</c:v>
                </c:pt>
              </c:numCache>
            </c:numRef>
          </c:val>
          <c:extLst>
            <c:ext xmlns:c16="http://schemas.microsoft.com/office/drawing/2014/chart" uri="{C3380CC4-5D6E-409C-BE32-E72D297353CC}">
              <c16:uniqueId val="{00000000-9979-44C0-8EB3-173D3ECB69A0}"/>
            </c:ext>
          </c:extLst>
        </c:ser>
        <c:dLbls>
          <c:dLblPos val="bestFit"/>
          <c:showLegendKey val="0"/>
          <c:showVal val="1"/>
          <c:showCatName val="0"/>
          <c:showSerName val="0"/>
          <c:showPercent val="0"/>
          <c:showBubbleSize val="0"/>
          <c:showLeaderLines val="0"/>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2-9979-44C0-8EB3-173D3ECB69A0}"/>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355D-4347-8C45-83811F1351D8}"/>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1-9979-44C0-8EB3-173D3ECB69A0}"/>
              </c:ext>
            </c:extLst>
          </c:dPt>
          <c:dLbls>
            <c:dLbl>
              <c:idx val="0"/>
              <c:layout>
                <c:manualLayout>
                  <c:x val="-5.0263140432802764E-2"/>
                  <c:y val="-7.4240231248392952E-3"/>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979-44C0-8EB3-173D3ECB69A0}"/>
                </c:ext>
              </c:extLst>
            </c:dLbl>
            <c:dLbl>
              <c:idx val="1"/>
              <c:layout>
                <c:manualLayout>
                  <c:x val="1.7664692595019439E-2"/>
                  <c:y val="4.2664416114396621E-3"/>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55D-4347-8C45-83811F1351D8}"/>
                </c:ext>
              </c:extLst>
            </c:dLbl>
            <c:dLbl>
              <c:idx val="2"/>
              <c:layout>
                <c:manualLayout>
                  <c:x val="1.6468913901169238E-2"/>
                  <c:y val="1.652144521951179E-3"/>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979-44C0-8EB3-173D3ECB69A0}"/>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0"/>
            <c:showSerName val="0"/>
            <c:showPercent val="0"/>
            <c:showBubbleSize val="0"/>
            <c:showLeaderLines val="0"/>
            <c:extLst>
              <c:ext xmlns:c15="http://schemas.microsoft.com/office/drawing/2012/chart" uri="{CE6537A1-D6FC-4f65-9D91-7224C49458BB}"/>
            </c:extLst>
          </c:dLbls>
          <c:cat>
            <c:strRef>
              <c:f>Sheet1!$A$2:$A$4</c:f>
              <c:strCache>
                <c:ptCount val="3"/>
                <c:pt idx="0">
                  <c:v>PE</c:v>
                </c:pt>
                <c:pt idx="1">
                  <c:v>M&amp;A</c:v>
                </c:pt>
                <c:pt idx="2">
                  <c:v>ECM</c:v>
                </c:pt>
              </c:strCache>
            </c:strRef>
          </c:cat>
          <c:val>
            <c:numRef>
              <c:f>Sheet1!$B$2:$B$4</c:f>
              <c:numCache>
                <c:formatCode>0%</c:formatCode>
                <c:ptCount val="3"/>
                <c:pt idx="0">
                  <c:v>0.1</c:v>
                </c:pt>
                <c:pt idx="1">
                  <c:v>0.83</c:v>
                </c:pt>
                <c:pt idx="2">
                  <c:v>7.0000000000000007E-2</c:v>
                </c:pt>
              </c:numCache>
            </c:numRef>
          </c:val>
          <c:extLst>
            <c:ext xmlns:c16="http://schemas.microsoft.com/office/drawing/2014/chart" uri="{C3380CC4-5D6E-409C-BE32-E72D297353CC}">
              <c16:uniqueId val="{00000000-9979-44C0-8EB3-173D3ECB69A0}"/>
            </c:ext>
          </c:extLst>
        </c:ser>
        <c:dLbls>
          <c:dLblPos val="bestFit"/>
          <c:showLegendKey val="0"/>
          <c:showVal val="1"/>
          <c:showCatName val="0"/>
          <c:showSerName val="0"/>
          <c:showPercent val="0"/>
          <c:showBubbleSize val="0"/>
          <c:showLeaderLines val="0"/>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2-9979-44C0-8EB3-173D3ECB69A0}"/>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355D-4347-8C45-83811F1351D8}"/>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1-9979-44C0-8EB3-173D3ECB69A0}"/>
              </c:ext>
            </c:extLst>
          </c:dPt>
          <c:dLbls>
            <c:dLbl>
              <c:idx val="0"/>
              <c:layout>
                <c:manualLayout>
                  <c:x val="-1.9827116666528426E-3"/>
                  <c:y val="1.91512943440359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979-44C0-8EB3-173D3ECB69A0}"/>
                </c:ext>
              </c:extLst>
            </c:dLbl>
            <c:dLbl>
              <c:idx val="1"/>
              <c:layout>
                <c:manualLayout>
                  <c:x val="-1.7448346507635014E-2"/>
                  <c:y val="4.755812313893981E-3"/>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55D-4347-8C45-83811F1351D8}"/>
                </c:ext>
              </c:extLst>
            </c:dLbl>
            <c:dLbl>
              <c:idx val="2"/>
              <c:layout>
                <c:manualLayout>
                  <c:x val="1.2079784013337345E-2"/>
                  <c:y val="-8.7791237776100456E-3"/>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979-44C0-8EB3-173D3ECB69A0}"/>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0"/>
            <c:showSerName val="0"/>
            <c:showPercent val="0"/>
            <c:showBubbleSize val="0"/>
            <c:showLeaderLines val="0"/>
            <c:extLst>
              <c:ext xmlns:c15="http://schemas.microsoft.com/office/drawing/2012/chart" uri="{CE6537A1-D6FC-4f65-9D91-7224C49458BB}"/>
            </c:extLst>
          </c:dLbls>
          <c:cat>
            <c:strRef>
              <c:f>Sheet1!$A$2:$A$4</c:f>
              <c:strCache>
                <c:ptCount val="3"/>
                <c:pt idx="0">
                  <c:v>PAN India</c:v>
                </c:pt>
                <c:pt idx="1">
                  <c:v>Regional</c:v>
                </c:pt>
                <c:pt idx="2">
                  <c:v>Diagnostics</c:v>
                </c:pt>
              </c:strCache>
            </c:strRef>
          </c:cat>
          <c:val>
            <c:numRef>
              <c:f>Sheet1!$B$2:$B$4</c:f>
              <c:numCache>
                <c:formatCode>0%</c:formatCode>
                <c:ptCount val="3"/>
                <c:pt idx="0">
                  <c:v>0.7</c:v>
                </c:pt>
                <c:pt idx="1">
                  <c:v>0.28999999999999998</c:v>
                </c:pt>
                <c:pt idx="2">
                  <c:v>0.01</c:v>
                </c:pt>
              </c:numCache>
            </c:numRef>
          </c:val>
          <c:extLst>
            <c:ext xmlns:c16="http://schemas.microsoft.com/office/drawing/2014/chart" uri="{C3380CC4-5D6E-409C-BE32-E72D297353CC}">
              <c16:uniqueId val="{00000000-9979-44C0-8EB3-173D3ECB69A0}"/>
            </c:ext>
          </c:extLst>
        </c:ser>
        <c:dLbls>
          <c:dLblPos val="bestFit"/>
          <c:showLegendKey val="0"/>
          <c:showVal val="1"/>
          <c:showCatName val="0"/>
          <c:showSerName val="0"/>
          <c:showPercent val="0"/>
          <c:showBubbleSize val="0"/>
          <c:showLeaderLines val="0"/>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API</c:v>
                </c:pt>
              </c:strCache>
            </c:strRef>
          </c:tx>
          <c:spPr>
            <a:ln w="28575" cap="rnd">
              <a:solidFill>
                <a:schemeClr val="accent1"/>
              </a:solidFill>
              <a:round/>
            </a:ln>
            <a:effectLst/>
          </c:spPr>
          <c:marker>
            <c:symbol val="none"/>
          </c:marker>
          <c:cat>
            <c:numRef>
              <c:f>Sheet1!$A$2:$A$892</c:f>
              <c:numCache>
                <c:formatCode>m/d/yyyy</c:formatCode>
                <c:ptCount val="891"/>
                <c:pt idx="0">
                  <c:v>45964</c:v>
                </c:pt>
                <c:pt idx="1">
                  <c:v>45961</c:v>
                </c:pt>
                <c:pt idx="2">
                  <c:v>45960</c:v>
                </c:pt>
                <c:pt idx="3">
                  <c:v>45959</c:v>
                </c:pt>
                <c:pt idx="4">
                  <c:v>45958</c:v>
                </c:pt>
                <c:pt idx="5">
                  <c:v>45957</c:v>
                </c:pt>
                <c:pt idx="6">
                  <c:v>45954</c:v>
                </c:pt>
                <c:pt idx="7">
                  <c:v>45953</c:v>
                </c:pt>
                <c:pt idx="8">
                  <c:v>45951</c:v>
                </c:pt>
                <c:pt idx="9">
                  <c:v>45950</c:v>
                </c:pt>
                <c:pt idx="10">
                  <c:v>45947</c:v>
                </c:pt>
                <c:pt idx="11">
                  <c:v>45946</c:v>
                </c:pt>
                <c:pt idx="12">
                  <c:v>45945</c:v>
                </c:pt>
                <c:pt idx="13">
                  <c:v>45944</c:v>
                </c:pt>
                <c:pt idx="14">
                  <c:v>45943</c:v>
                </c:pt>
                <c:pt idx="15">
                  <c:v>45940</c:v>
                </c:pt>
                <c:pt idx="16">
                  <c:v>45939</c:v>
                </c:pt>
                <c:pt idx="17">
                  <c:v>45938</c:v>
                </c:pt>
                <c:pt idx="18">
                  <c:v>45937</c:v>
                </c:pt>
                <c:pt idx="19">
                  <c:v>45936</c:v>
                </c:pt>
                <c:pt idx="20">
                  <c:v>45933</c:v>
                </c:pt>
                <c:pt idx="21">
                  <c:v>45931</c:v>
                </c:pt>
                <c:pt idx="22">
                  <c:v>45930</c:v>
                </c:pt>
                <c:pt idx="23">
                  <c:v>45929</c:v>
                </c:pt>
                <c:pt idx="24">
                  <c:v>45926</c:v>
                </c:pt>
                <c:pt idx="25">
                  <c:v>45925</c:v>
                </c:pt>
                <c:pt idx="26">
                  <c:v>45924</c:v>
                </c:pt>
                <c:pt idx="27">
                  <c:v>45923</c:v>
                </c:pt>
                <c:pt idx="28">
                  <c:v>45922</c:v>
                </c:pt>
                <c:pt idx="29">
                  <c:v>45919</c:v>
                </c:pt>
                <c:pt idx="30">
                  <c:v>45918</c:v>
                </c:pt>
                <c:pt idx="31">
                  <c:v>45917</c:v>
                </c:pt>
                <c:pt idx="32">
                  <c:v>45916</c:v>
                </c:pt>
                <c:pt idx="33">
                  <c:v>45915</c:v>
                </c:pt>
                <c:pt idx="34">
                  <c:v>45912</c:v>
                </c:pt>
                <c:pt idx="35">
                  <c:v>45911</c:v>
                </c:pt>
                <c:pt idx="36">
                  <c:v>45910</c:v>
                </c:pt>
                <c:pt idx="37">
                  <c:v>45909</c:v>
                </c:pt>
                <c:pt idx="38">
                  <c:v>45908</c:v>
                </c:pt>
                <c:pt idx="39">
                  <c:v>45905</c:v>
                </c:pt>
                <c:pt idx="40">
                  <c:v>45904</c:v>
                </c:pt>
                <c:pt idx="41">
                  <c:v>45903</c:v>
                </c:pt>
                <c:pt idx="42">
                  <c:v>45902</c:v>
                </c:pt>
                <c:pt idx="43">
                  <c:v>45901</c:v>
                </c:pt>
                <c:pt idx="44">
                  <c:v>45898</c:v>
                </c:pt>
                <c:pt idx="45">
                  <c:v>45897</c:v>
                </c:pt>
                <c:pt idx="46">
                  <c:v>45895</c:v>
                </c:pt>
                <c:pt idx="47">
                  <c:v>45894</c:v>
                </c:pt>
                <c:pt idx="48">
                  <c:v>45891</c:v>
                </c:pt>
                <c:pt idx="49">
                  <c:v>45890</c:v>
                </c:pt>
                <c:pt idx="50">
                  <c:v>45889</c:v>
                </c:pt>
                <c:pt idx="51">
                  <c:v>45888</c:v>
                </c:pt>
                <c:pt idx="52">
                  <c:v>45887</c:v>
                </c:pt>
                <c:pt idx="53">
                  <c:v>45883</c:v>
                </c:pt>
                <c:pt idx="54">
                  <c:v>45882</c:v>
                </c:pt>
                <c:pt idx="55">
                  <c:v>45881</c:v>
                </c:pt>
                <c:pt idx="56">
                  <c:v>45880</c:v>
                </c:pt>
                <c:pt idx="57">
                  <c:v>45877</c:v>
                </c:pt>
                <c:pt idx="58">
                  <c:v>45876</c:v>
                </c:pt>
                <c:pt idx="59">
                  <c:v>45875</c:v>
                </c:pt>
                <c:pt idx="60">
                  <c:v>45874</c:v>
                </c:pt>
                <c:pt idx="61">
                  <c:v>45873</c:v>
                </c:pt>
                <c:pt idx="62">
                  <c:v>45870</c:v>
                </c:pt>
                <c:pt idx="63">
                  <c:v>45869</c:v>
                </c:pt>
                <c:pt idx="64">
                  <c:v>45868</c:v>
                </c:pt>
                <c:pt idx="65">
                  <c:v>45867</c:v>
                </c:pt>
                <c:pt idx="66">
                  <c:v>45866</c:v>
                </c:pt>
                <c:pt idx="67">
                  <c:v>45863</c:v>
                </c:pt>
                <c:pt idx="68">
                  <c:v>45862</c:v>
                </c:pt>
                <c:pt idx="69">
                  <c:v>45861</c:v>
                </c:pt>
                <c:pt idx="70">
                  <c:v>45860</c:v>
                </c:pt>
                <c:pt idx="71">
                  <c:v>45859</c:v>
                </c:pt>
                <c:pt idx="72">
                  <c:v>45856</c:v>
                </c:pt>
                <c:pt idx="73">
                  <c:v>45855</c:v>
                </c:pt>
                <c:pt idx="74">
                  <c:v>45854</c:v>
                </c:pt>
                <c:pt idx="75">
                  <c:v>45853</c:v>
                </c:pt>
                <c:pt idx="76">
                  <c:v>45852</c:v>
                </c:pt>
                <c:pt idx="77">
                  <c:v>45849</c:v>
                </c:pt>
                <c:pt idx="78">
                  <c:v>45848</c:v>
                </c:pt>
                <c:pt idx="79">
                  <c:v>45847</c:v>
                </c:pt>
                <c:pt idx="80">
                  <c:v>45846</c:v>
                </c:pt>
                <c:pt idx="81">
                  <c:v>45845</c:v>
                </c:pt>
                <c:pt idx="82">
                  <c:v>45842</c:v>
                </c:pt>
                <c:pt idx="83">
                  <c:v>45841</c:v>
                </c:pt>
                <c:pt idx="84">
                  <c:v>45840</c:v>
                </c:pt>
                <c:pt idx="85">
                  <c:v>45839</c:v>
                </c:pt>
                <c:pt idx="86">
                  <c:v>45838</c:v>
                </c:pt>
                <c:pt idx="87">
                  <c:v>45835</c:v>
                </c:pt>
                <c:pt idx="88">
                  <c:v>45834</c:v>
                </c:pt>
                <c:pt idx="89">
                  <c:v>45833</c:v>
                </c:pt>
                <c:pt idx="90">
                  <c:v>45832</c:v>
                </c:pt>
                <c:pt idx="91">
                  <c:v>45831</c:v>
                </c:pt>
                <c:pt idx="92">
                  <c:v>45828</c:v>
                </c:pt>
                <c:pt idx="93">
                  <c:v>45827</c:v>
                </c:pt>
                <c:pt idx="94">
                  <c:v>45826</c:v>
                </c:pt>
                <c:pt idx="95">
                  <c:v>45825</c:v>
                </c:pt>
                <c:pt idx="96">
                  <c:v>45824</c:v>
                </c:pt>
                <c:pt idx="97">
                  <c:v>45821</c:v>
                </c:pt>
                <c:pt idx="98">
                  <c:v>45820</c:v>
                </c:pt>
                <c:pt idx="99">
                  <c:v>45819</c:v>
                </c:pt>
                <c:pt idx="100">
                  <c:v>45818</c:v>
                </c:pt>
                <c:pt idx="101">
                  <c:v>45817</c:v>
                </c:pt>
                <c:pt idx="102">
                  <c:v>45814</c:v>
                </c:pt>
                <c:pt idx="103">
                  <c:v>45813</c:v>
                </c:pt>
                <c:pt idx="104">
                  <c:v>45812</c:v>
                </c:pt>
                <c:pt idx="105">
                  <c:v>45811</c:v>
                </c:pt>
                <c:pt idx="106">
                  <c:v>45810</c:v>
                </c:pt>
                <c:pt idx="107">
                  <c:v>45807</c:v>
                </c:pt>
                <c:pt idx="108">
                  <c:v>45806</c:v>
                </c:pt>
                <c:pt idx="109">
                  <c:v>45805</c:v>
                </c:pt>
                <c:pt idx="110">
                  <c:v>45804</c:v>
                </c:pt>
                <c:pt idx="111">
                  <c:v>45803</c:v>
                </c:pt>
                <c:pt idx="112">
                  <c:v>45800</c:v>
                </c:pt>
                <c:pt idx="113">
                  <c:v>45799</c:v>
                </c:pt>
                <c:pt idx="114">
                  <c:v>45798</c:v>
                </c:pt>
                <c:pt idx="115">
                  <c:v>45797</c:v>
                </c:pt>
                <c:pt idx="116">
                  <c:v>45796</c:v>
                </c:pt>
                <c:pt idx="117">
                  <c:v>45793</c:v>
                </c:pt>
                <c:pt idx="118">
                  <c:v>45792</c:v>
                </c:pt>
                <c:pt idx="119">
                  <c:v>45791</c:v>
                </c:pt>
                <c:pt idx="120">
                  <c:v>45790</c:v>
                </c:pt>
                <c:pt idx="121">
                  <c:v>45789</c:v>
                </c:pt>
                <c:pt idx="122">
                  <c:v>45786</c:v>
                </c:pt>
                <c:pt idx="123">
                  <c:v>45785</c:v>
                </c:pt>
                <c:pt idx="124">
                  <c:v>45784</c:v>
                </c:pt>
                <c:pt idx="125">
                  <c:v>45783</c:v>
                </c:pt>
                <c:pt idx="126">
                  <c:v>45782</c:v>
                </c:pt>
                <c:pt idx="127">
                  <c:v>45779</c:v>
                </c:pt>
                <c:pt idx="128">
                  <c:v>45777</c:v>
                </c:pt>
                <c:pt idx="129">
                  <c:v>45776</c:v>
                </c:pt>
                <c:pt idx="130">
                  <c:v>45775</c:v>
                </c:pt>
                <c:pt idx="131">
                  <c:v>45772</c:v>
                </c:pt>
                <c:pt idx="132">
                  <c:v>45771</c:v>
                </c:pt>
                <c:pt idx="133">
                  <c:v>45770</c:v>
                </c:pt>
                <c:pt idx="134">
                  <c:v>45769</c:v>
                </c:pt>
                <c:pt idx="135">
                  <c:v>45768</c:v>
                </c:pt>
                <c:pt idx="136">
                  <c:v>45764</c:v>
                </c:pt>
                <c:pt idx="137">
                  <c:v>45763</c:v>
                </c:pt>
                <c:pt idx="138">
                  <c:v>45762</c:v>
                </c:pt>
                <c:pt idx="139">
                  <c:v>45758</c:v>
                </c:pt>
                <c:pt idx="140">
                  <c:v>45756</c:v>
                </c:pt>
                <c:pt idx="141">
                  <c:v>45755</c:v>
                </c:pt>
                <c:pt idx="142">
                  <c:v>45754</c:v>
                </c:pt>
                <c:pt idx="143">
                  <c:v>45751</c:v>
                </c:pt>
                <c:pt idx="144">
                  <c:v>45750</c:v>
                </c:pt>
                <c:pt idx="145">
                  <c:v>45749</c:v>
                </c:pt>
                <c:pt idx="146">
                  <c:v>45748</c:v>
                </c:pt>
                <c:pt idx="147">
                  <c:v>45744</c:v>
                </c:pt>
                <c:pt idx="148">
                  <c:v>45743</c:v>
                </c:pt>
                <c:pt idx="149">
                  <c:v>45742</c:v>
                </c:pt>
                <c:pt idx="150">
                  <c:v>45741</c:v>
                </c:pt>
                <c:pt idx="151">
                  <c:v>45740</c:v>
                </c:pt>
                <c:pt idx="152">
                  <c:v>45737</c:v>
                </c:pt>
                <c:pt idx="153">
                  <c:v>45736</c:v>
                </c:pt>
                <c:pt idx="154">
                  <c:v>45735</c:v>
                </c:pt>
                <c:pt idx="155">
                  <c:v>45734</c:v>
                </c:pt>
                <c:pt idx="156">
                  <c:v>45733</c:v>
                </c:pt>
                <c:pt idx="157">
                  <c:v>45729</c:v>
                </c:pt>
                <c:pt idx="158">
                  <c:v>45728</c:v>
                </c:pt>
                <c:pt idx="159">
                  <c:v>45727</c:v>
                </c:pt>
                <c:pt idx="160">
                  <c:v>45726</c:v>
                </c:pt>
                <c:pt idx="161">
                  <c:v>45723</c:v>
                </c:pt>
                <c:pt idx="162">
                  <c:v>45722</c:v>
                </c:pt>
                <c:pt idx="163">
                  <c:v>45721</c:v>
                </c:pt>
                <c:pt idx="164">
                  <c:v>45720</c:v>
                </c:pt>
                <c:pt idx="165">
                  <c:v>45719</c:v>
                </c:pt>
                <c:pt idx="166">
                  <c:v>45716</c:v>
                </c:pt>
                <c:pt idx="167">
                  <c:v>45715</c:v>
                </c:pt>
                <c:pt idx="168">
                  <c:v>45713</c:v>
                </c:pt>
                <c:pt idx="169">
                  <c:v>45712</c:v>
                </c:pt>
                <c:pt idx="170">
                  <c:v>45709</c:v>
                </c:pt>
                <c:pt idx="171">
                  <c:v>45708</c:v>
                </c:pt>
                <c:pt idx="172">
                  <c:v>45707</c:v>
                </c:pt>
                <c:pt idx="173">
                  <c:v>45706</c:v>
                </c:pt>
                <c:pt idx="174">
                  <c:v>45705</c:v>
                </c:pt>
                <c:pt idx="175">
                  <c:v>45702</c:v>
                </c:pt>
                <c:pt idx="176">
                  <c:v>45701</c:v>
                </c:pt>
                <c:pt idx="177">
                  <c:v>45700</c:v>
                </c:pt>
                <c:pt idx="178">
                  <c:v>45699</c:v>
                </c:pt>
                <c:pt idx="179">
                  <c:v>45698</c:v>
                </c:pt>
                <c:pt idx="180">
                  <c:v>45695</c:v>
                </c:pt>
                <c:pt idx="181">
                  <c:v>45694</c:v>
                </c:pt>
                <c:pt idx="182">
                  <c:v>45693</c:v>
                </c:pt>
                <c:pt idx="183">
                  <c:v>45692</c:v>
                </c:pt>
                <c:pt idx="184">
                  <c:v>45691</c:v>
                </c:pt>
                <c:pt idx="185">
                  <c:v>45689</c:v>
                </c:pt>
                <c:pt idx="186">
                  <c:v>45688</c:v>
                </c:pt>
                <c:pt idx="187">
                  <c:v>45687</c:v>
                </c:pt>
                <c:pt idx="188">
                  <c:v>45686</c:v>
                </c:pt>
                <c:pt idx="189">
                  <c:v>45685</c:v>
                </c:pt>
                <c:pt idx="190">
                  <c:v>45684</c:v>
                </c:pt>
                <c:pt idx="191">
                  <c:v>45681</c:v>
                </c:pt>
                <c:pt idx="192">
                  <c:v>45680</c:v>
                </c:pt>
                <c:pt idx="193">
                  <c:v>45679</c:v>
                </c:pt>
                <c:pt idx="194">
                  <c:v>45678</c:v>
                </c:pt>
                <c:pt idx="195">
                  <c:v>45677</c:v>
                </c:pt>
                <c:pt idx="196">
                  <c:v>45674</c:v>
                </c:pt>
                <c:pt idx="197">
                  <c:v>45673</c:v>
                </c:pt>
                <c:pt idx="198">
                  <c:v>45672</c:v>
                </c:pt>
                <c:pt idx="199">
                  <c:v>45671</c:v>
                </c:pt>
                <c:pt idx="200">
                  <c:v>45670</c:v>
                </c:pt>
                <c:pt idx="201">
                  <c:v>45667</c:v>
                </c:pt>
                <c:pt idx="202">
                  <c:v>45666</c:v>
                </c:pt>
                <c:pt idx="203">
                  <c:v>45665</c:v>
                </c:pt>
                <c:pt idx="204">
                  <c:v>45664</c:v>
                </c:pt>
                <c:pt idx="205">
                  <c:v>45663</c:v>
                </c:pt>
                <c:pt idx="206">
                  <c:v>45660</c:v>
                </c:pt>
                <c:pt idx="207">
                  <c:v>45659</c:v>
                </c:pt>
                <c:pt idx="208">
                  <c:v>45658</c:v>
                </c:pt>
                <c:pt idx="209">
                  <c:v>45657</c:v>
                </c:pt>
                <c:pt idx="210">
                  <c:v>45656</c:v>
                </c:pt>
                <c:pt idx="211">
                  <c:v>45653</c:v>
                </c:pt>
                <c:pt idx="212">
                  <c:v>45652</c:v>
                </c:pt>
                <c:pt idx="213">
                  <c:v>45650</c:v>
                </c:pt>
                <c:pt idx="214">
                  <c:v>45649</c:v>
                </c:pt>
                <c:pt idx="215">
                  <c:v>45646</c:v>
                </c:pt>
                <c:pt idx="216">
                  <c:v>45645</c:v>
                </c:pt>
                <c:pt idx="217">
                  <c:v>45644</c:v>
                </c:pt>
                <c:pt idx="218">
                  <c:v>45643</c:v>
                </c:pt>
                <c:pt idx="219">
                  <c:v>45642</c:v>
                </c:pt>
                <c:pt idx="220">
                  <c:v>45639</c:v>
                </c:pt>
                <c:pt idx="221">
                  <c:v>45638</c:v>
                </c:pt>
                <c:pt idx="222">
                  <c:v>45637</c:v>
                </c:pt>
                <c:pt idx="223">
                  <c:v>45636</c:v>
                </c:pt>
                <c:pt idx="224">
                  <c:v>45635</c:v>
                </c:pt>
                <c:pt idx="225">
                  <c:v>45632</c:v>
                </c:pt>
                <c:pt idx="226">
                  <c:v>45631</c:v>
                </c:pt>
                <c:pt idx="227">
                  <c:v>45630</c:v>
                </c:pt>
                <c:pt idx="228">
                  <c:v>45629</c:v>
                </c:pt>
                <c:pt idx="229">
                  <c:v>45628</c:v>
                </c:pt>
                <c:pt idx="230">
                  <c:v>45625</c:v>
                </c:pt>
                <c:pt idx="231">
                  <c:v>45624</c:v>
                </c:pt>
                <c:pt idx="232">
                  <c:v>45623</c:v>
                </c:pt>
                <c:pt idx="233">
                  <c:v>45622</c:v>
                </c:pt>
                <c:pt idx="234">
                  <c:v>45621</c:v>
                </c:pt>
                <c:pt idx="235">
                  <c:v>45618</c:v>
                </c:pt>
                <c:pt idx="236">
                  <c:v>45617</c:v>
                </c:pt>
                <c:pt idx="237">
                  <c:v>45615</c:v>
                </c:pt>
                <c:pt idx="238">
                  <c:v>45614</c:v>
                </c:pt>
                <c:pt idx="239">
                  <c:v>45610</c:v>
                </c:pt>
                <c:pt idx="240">
                  <c:v>45609</c:v>
                </c:pt>
                <c:pt idx="241">
                  <c:v>45608</c:v>
                </c:pt>
                <c:pt idx="242">
                  <c:v>45607</c:v>
                </c:pt>
                <c:pt idx="243">
                  <c:v>45604</c:v>
                </c:pt>
                <c:pt idx="244">
                  <c:v>45603</c:v>
                </c:pt>
                <c:pt idx="245">
                  <c:v>45602</c:v>
                </c:pt>
                <c:pt idx="246">
                  <c:v>45601</c:v>
                </c:pt>
                <c:pt idx="247">
                  <c:v>45600</c:v>
                </c:pt>
                <c:pt idx="248">
                  <c:v>45597</c:v>
                </c:pt>
                <c:pt idx="249">
                  <c:v>45596</c:v>
                </c:pt>
                <c:pt idx="250">
                  <c:v>45595</c:v>
                </c:pt>
                <c:pt idx="251">
                  <c:v>45594</c:v>
                </c:pt>
                <c:pt idx="252">
                  <c:v>45593</c:v>
                </c:pt>
                <c:pt idx="253">
                  <c:v>45590</c:v>
                </c:pt>
                <c:pt idx="254">
                  <c:v>45589</c:v>
                </c:pt>
                <c:pt idx="255">
                  <c:v>45588</c:v>
                </c:pt>
                <c:pt idx="256">
                  <c:v>45587</c:v>
                </c:pt>
                <c:pt idx="257">
                  <c:v>45586</c:v>
                </c:pt>
                <c:pt idx="258">
                  <c:v>45583</c:v>
                </c:pt>
                <c:pt idx="259">
                  <c:v>45582</c:v>
                </c:pt>
                <c:pt idx="260">
                  <c:v>45581</c:v>
                </c:pt>
                <c:pt idx="261">
                  <c:v>45580</c:v>
                </c:pt>
                <c:pt idx="262">
                  <c:v>45579</c:v>
                </c:pt>
                <c:pt idx="263">
                  <c:v>45576</c:v>
                </c:pt>
                <c:pt idx="264">
                  <c:v>45575</c:v>
                </c:pt>
                <c:pt idx="265">
                  <c:v>45574</c:v>
                </c:pt>
                <c:pt idx="266">
                  <c:v>45573</c:v>
                </c:pt>
                <c:pt idx="267">
                  <c:v>45572</c:v>
                </c:pt>
                <c:pt idx="268">
                  <c:v>45569</c:v>
                </c:pt>
                <c:pt idx="269">
                  <c:v>45568</c:v>
                </c:pt>
                <c:pt idx="270">
                  <c:v>45566</c:v>
                </c:pt>
                <c:pt idx="271">
                  <c:v>45565</c:v>
                </c:pt>
                <c:pt idx="272">
                  <c:v>45562</c:v>
                </c:pt>
                <c:pt idx="273">
                  <c:v>45561</c:v>
                </c:pt>
                <c:pt idx="274">
                  <c:v>45560</c:v>
                </c:pt>
                <c:pt idx="275">
                  <c:v>45559</c:v>
                </c:pt>
                <c:pt idx="276">
                  <c:v>45558</c:v>
                </c:pt>
                <c:pt idx="277">
                  <c:v>45555</c:v>
                </c:pt>
                <c:pt idx="278">
                  <c:v>45554</c:v>
                </c:pt>
                <c:pt idx="279">
                  <c:v>45553</c:v>
                </c:pt>
                <c:pt idx="280">
                  <c:v>45552</c:v>
                </c:pt>
                <c:pt idx="281">
                  <c:v>45551</c:v>
                </c:pt>
                <c:pt idx="282">
                  <c:v>45548</c:v>
                </c:pt>
                <c:pt idx="283">
                  <c:v>45547</c:v>
                </c:pt>
                <c:pt idx="284">
                  <c:v>45546</c:v>
                </c:pt>
                <c:pt idx="285">
                  <c:v>45545</c:v>
                </c:pt>
                <c:pt idx="286">
                  <c:v>45544</c:v>
                </c:pt>
                <c:pt idx="287">
                  <c:v>45541</c:v>
                </c:pt>
                <c:pt idx="288">
                  <c:v>45540</c:v>
                </c:pt>
                <c:pt idx="289">
                  <c:v>45539</c:v>
                </c:pt>
                <c:pt idx="290">
                  <c:v>45538</c:v>
                </c:pt>
                <c:pt idx="291">
                  <c:v>45537</c:v>
                </c:pt>
                <c:pt idx="292">
                  <c:v>45534</c:v>
                </c:pt>
                <c:pt idx="293">
                  <c:v>45533</c:v>
                </c:pt>
                <c:pt idx="294">
                  <c:v>45532</c:v>
                </c:pt>
                <c:pt idx="295">
                  <c:v>45531</c:v>
                </c:pt>
                <c:pt idx="296">
                  <c:v>45530</c:v>
                </c:pt>
                <c:pt idx="297">
                  <c:v>45527</c:v>
                </c:pt>
                <c:pt idx="298">
                  <c:v>45526</c:v>
                </c:pt>
                <c:pt idx="299">
                  <c:v>45525</c:v>
                </c:pt>
                <c:pt idx="300">
                  <c:v>45524</c:v>
                </c:pt>
                <c:pt idx="301">
                  <c:v>45523</c:v>
                </c:pt>
                <c:pt idx="302">
                  <c:v>45520</c:v>
                </c:pt>
                <c:pt idx="303">
                  <c:v>45518</c:v>
                </c:pt>
                <c:pt idx="304">
                  <c:v>45517</c:v>
                </c:pt>
                <c:pt idx="305">
                  <c:v>45516</c:v>
                </c:pt>
                <c:pt idx="306">
                  <c:v>45513</c:v>
                </c:pt>
                <c:pt idx="307">
                  <c:v>45512</c:v>
                </c:pt>
                <c:pt idx="308">
                  <c:v>45511</c:v>
                </c:pt>
                <c:pt idx="309">
                  <c:v>45510</c:v>
                </c:pt>
                <c:pt idx="310">
                  <c:v>45509</c:v>
                </c:pt>
                <c:pt idx="311">
                  <c:v>45506</c:v>
                </c:pt>
                <c:pt idx="312">
                  <c:v>45505</c:v>
                </c:pt>
                <c:pt idx="313">
                  <c:v>45504</c:v>
                </c:pt>
                <c:pt idx="314">
                  <c:v>45503</c:v>
                </c:pt>
                <c:pt idx="315">
                  <c:v>45502</c:v>
                </c:pt>
                <c:pt idx="316">
                  <c:v>45499</c:v>
                </c:pt>
                <c:pt idx="317">
                  <c:v>45498</c:v>
                </c:pt>
                <c:pt idx="318">
                  <c:v>45497</c:v>
                </c:pt>
                <c:pt idx="319">
                  <c:v>45496</c:v>
                </c:pt>
                <c:pt idx="320">
                  <c:v>45495</c:v>
                </c:pt>
                <c:pt idx="321">
                  <c:v>45492</c:v>
                </c:pt>
                <c:pt idx="322">
                  <c:v>45491</c:v>
                </c:pt>
                <c:pt idx="323">
                  <c:v>45489</c:v>
                </c:pt>
                <c:pt idx="324">
                  <c:v>45488</c:v>
                </c:pt>
                <c:pt idx="325">
                  <c:v>45485</c:v>
                </c:pt>
                <c:pt idx="326">
                  <c:v>45484</c:v>
                </c:pt>
                <c:pt idx="327">
                  <c:v>45483</c:v>
                </c:pt>
                <c:pt idx="328">
                  <c:v>45482</c:v>
                </c:pt>
                <c:pt idx="329">
                  <c:v>45481</c:v>
                </c:pt>
                <c:pt idx="330">
                  <c:v>45478</c:v>
                </c:pt>
                <c:pt idx="331">
                  <c:v>45477</c:v>
                </c:pt>
                <c:pt idx="332">
                  <c:v>45476</c:v>
                </c:pt>
                <c:pt idx="333">
                  <c:v>45475</c:v>
                </c:pt>
                <c:pt idx="334">
                  <c:v>45474</c:v>
                </c:pt>
                <c:pt idx="335">
                  <c:v>45471</c:v>
                </c:pt>
                <c:pt idx="336">
                  <c:v>45470</c:v>
                </c:pt>
                <c:pt idx="337">
                  <c:v>45469</c:v>
                </c:pt>
                <c:pt idx="338">
                  <c:v>45468</c:v>
                </c:pt>
                <c:pt idx="339">
                  <c:v>45467</c:v>
                </c:pt>
                <c:pt idx="340">
                  <c:v>45464</c:v>
                </c:pt>
                <c:pt idx="341">
                  <c:v>45463</c:v>
                </c:pt>
                <c:pt idx="342">
                  <c:v>45462</c:v>
                </c:pt>
                <c:pt idx="343">
                  <c:v>45461</c:v>
                </c:pt>
                <c:pt idx="344">
                  <c:v>45457</c:v>
                </c:pt>
                <c:pt idx="345">
                  <c:v>45456</c:v>
                </c:pt>
                <c:pt idx="346">
                  <c:v>45455</c:v>
                </c:pt>
                <c:pt idx="347">
                  <c:v>45454</c:v>
                </c:pt>
                <c:pt idx="348">
                  <c:v>45453</c:v>
                </c:pt>
                <c:pt idx="349">
                  <c:v>45450</c:v>
                </c:pt>
                <c:pt idx="350">
                  <c:v>45449</c:v>
                </c:pt>
                <c:pt idx="351">
                  <c:v>45448</c:v>
                </c:pt>
                <c:pt idx="352">
                  <c:v>45447</c:v>
                </c:pt>
                <c:pt idx="353">
                  <c:v>45446</c:v>
                </c:pt>
                <c:pt idx="354">
                  <c:v>45443</c:v>
                </c:pt>
                <c:pt idx="355">
                  <c:v>45442</c:v>
                </c:pt>
                <c:pt idx="356">
                  <c:v>45441</c:v>
                </c:pt>
                <c:pt idx="357">
                  <c:v>45440</c:v>
                </c:pt>
                <c:pt idx="358">
                  <c:v>45439</c:v>
                </c:pt>
                <c:pt idx="359">
                  <c:v>45436</c:v>
                </c:pt>
                <c:pt idx="360">
                  <c:v>45435</c:v>
                </c:pt>
                <c:pt idx="361">
                  <c:v>45434</c:v>
                </c:pt>
                <c:pt idx="362">
                  <c:v>45433</c:v>
                </c:pt>
                <c:pt idx="363">
                  <c:v>45430</c:v>
                </c:pt>
                <c:pt idx="364">
                  <c:v>45429</c:v>
                </c:pt>
                <c:pt idx="365">
                  <c:v>45428</c:v>
                </c:pt>
                <c:pt idx="366">
                  <c:v>45427</c:v>
                </c:pt>
                <c:pt idx="367">
                  <c:v>45426</c:v>
                </c:pt>
                <c:pt idx="368">
                  <c:v>45425</c:v>
                </c:pt>
                <c:pt idx="369">
                  <c:v>45422</c:v>
                </c:pt>
                <c:pt idx="370">
                  <c:v>45421</c:v>
                </c:pt>
                <c:pt idx="371">
                  <c:v>45420</c:v>
                </c:pt>
                <c:pt idx="372">
                  <c:v>45419</c:v>
                </c:pt>
                <c:pt idx="373">
                  <c:v>45418</c:v>
                </c:pt>
                <c:pt idx="374">
                  <c:v>45415</c:v>
                </c:pt>
                <c:pt idx="375">
                  <c:v>45414</c:v>
                </c:pt>
                <c:pt idx="376">
                  <c:v>45412</c:v>
                </c:pt>
                <c:pt idx="377">
                  <c:v>45411</c:v>
                </c:pt>
                <c:pt idx="378">
                  <c:v>45408</c:v>
                </c:pt>
                <c:pt idx="379">
                  <c:v>45407</c:v>
                </c:pt>
                <c:pt idx="380">
                  <c:v>45406</c:v>
                </c:pt>
                <c:pt idx="381">
                  <c:v>45405</c:v>
                </c:pt>
                <c:pt idx="382">
                  <c:v>45404</c:v>
                </c:pt>
                <c:pt idx="383">
                  <c:v>45401</c:v>
                </c:pt>
                <c:pt idx="384">
                  <c:v>45400</c:v>
                </c:pt>
                <c:pt idx="385">
                  <c:v>45398</c:v>
                </c:pt>
                <c:pt idx="386">
                  <c:v>45397</c:v>
                </c:pt>
                <c:pt idx="387">
                  <c:v>45394</c:v>
                </c:pt>
                <c:pt idx="388">
                  <c:v>45392</c:v>
                </c:pt>
                <c:pt idx="389">
                  <c:v>45391</c:v>
                </c:pt>
                <c:pt idx="390">
                  <c:v>45390</c:v>
                </c:pt>
                <c:pt idx="391">
                  <c:v>45387</c:v>
                </c:pt>
                <c:pt idx="392">
                  <c:v>45386</c:v>
                </c:pt>
                <c:pt idx="393">
                  <c:v>45385</c:v>
                </c:pt>
                <c:pt idx="394">
                  <c:v>45384</c:v>
                </c:pt>
                <c:pt idx="395">
                  <c:v>45383</c:v>
                </c:pt>
                <c:pt idx="396">
                  <c:v>45379</c:v>
                </c:pt>
                <c:pt idx="397">
                  <c:v>45378</c:v>
                </c:pt>
                <c:pt idx="398">
                  <c:v>45377</c:v>
                </c:pt>
                <c:pt idx="399">
                  <c:v>45373</c:v>
                </c:pt>
                <c:pt idx="400">
                  <c:v>45372</c:v>
                </c:pt>
                <c:pt idx="401">
                  <c:v>45371</c:v>
                </c:pt>
                <c:pt idx="402">
                  <c:v>45370</c:v>
                </c:pt>
                <c:pt idx="403">
                  <c:v>45369</c:v>
                </c:pt>
                <c:pt idx="404">
                  <c:v>45366</c:v>
                </c:pt>
                <c:pt idx="405">
                  <c:v>45365</c:v>
                </c:pt>
                <c:pt idx="406">
                  <c:v>45364</c:v>
                </c:pt>
                <c:pt idx="407">
                  <c:v>45363</c:v>
                </c:pt>
                <c:pt idx="408">
                  <c:v>45362</c:v>
                </c:pt>
                <c:pt idx="409">
                  <c:v>45358</c:v>
                </c:pt>
                <c:pt idx="410">
                  <c:v>45357</c:v>
                </c:pt>
                <c:pt idx="411">
                  <c:v>45356</c:v>
                </c:pt>
                <c:pt idx="412">
                  <c:v>45355</c:v>
                </c:pt>
                <c:pt idx="413">
                  <c:v>45353</c:v>
                </c:pt>
                <c:pt idx="414">
                  <c:v>45352</c:v>
                </c:pt>
                <c:pt idx="415">
                  <c:v>45351</c:v>
                </c:pt>
                <c:pt idx="416">
                  <c:v>45350</c:v>
                </c:pt>
                <c:pt idx="417">
                  <c:v>45349</c:v>
                </c:pt>
                <c:pt idx="418">
                  <c:v>45348</c:v>
                </c:pt>
                <c:pt idx="419">
                  <c:v>45345</c:v>
                </c:pt>
                <c:pt idx="420">
                  <c:v>45344</c:v>
                </c:pt>
                <c:pt idx="421">
                  <c:v>45343</c:v>
                </c:pt>
                <c:pt idx="422">
                  <c:v>45342</c:v>
                </c:pt>
                <c:pt idx="423">
                  <c:v>45341</c:v>
                </c:pt>
                <c:pt idx="424">
                  <c:v>45338</c:v>
                </c:pt>
                <c:pt idx="425">
                  <c:v>45337</c:v>
                </c:pt>
                <c:pt idx="426">
                  <c:v>45336</c:v>
                </c:pt>
                <c:pt idx="427">
                  <c:v>45335</c:v>
                </c:pt>
                <c:pt idx="428">
                  <c:v>45334</c:v>
                </c:pt>
                <c:pt idx="429">
                  <c:v>45331</c:v>
                </c:pt>
                <c:pt idx="430">
                  <c:v>45330</c:v>
                </c:pt>
                <c:pt idx="431">
                  <c:v>45329</c:v>
                </c:pt>
                <c:pt idx="432">
                  <c:v>45328</c:v>
                </c:pt>
                <c:pt idx="433">
                  <c:v>45327</c:v>
                </c:pt>
                <c:pt idx="434">
                  <c:v>45324</c:v>
                </c:pt>
                <c:pt idx="435">
                  <c:v>45323</c:v>
                </c:pt>
                <c:pt idx="436">
                  <c:v>45322</c:v>
                </c:pt>
                <c:pt idx="437">
                  <c:v>45321</c:v>
                </c:pt>
                <c:pt idx="438">
                  <c:v>45320</c:v>
                </c:pt>
                <c:pt idx="439">
                  <c:v>45316</c:v>
                </c:pt>
                <c:pt idx="440">
                  <c:v>45315</c:v>
                </c:pt>
                <c:pt idx="441">
                  <c:v>45314</c:v>
                </c:pt>
                <c:pt idx="442">
                  <c:v>45311</c:v>
                </c:pt>
                <c:pt idx="443">
                  <c:v>45310</c:v>
                </c:pt>
                <c:pt idx="444">
                  <c:v>45309</c:v>
                </c:pt>
                <c:pt idx="445">
                  <c:v>45308</c:v>
                </c:pt>
                <c:pt idx="446">
                  <c:v>45307</c:v>
                </c:pt>
                <c:pt idx="447">
                  <c:v>45306</c:v>
                </c:pt>
                <c:pt idx="448">
                  <c:v>45303</c:v>
                </c:pt>
                <c:pt idx="449">
                  <c:v>45302</c:v>
                </c:pt>
                <c:pt idx="450">
                  <c:v>45301</c:v>
                </c:pt>
                <c:pt idx="451">
                  <c:v>45300</c:v>
                </c:pt>
                <c:pt idx="452">
                  <c:v>45299</c:v>
                </c:pt>
                <c:pt idx="453">
                  <c:v>45296</c:v>
                </c:pt>
                <c:pt idx="454">
                  <c:v>45295</c:v>
                </c:pt>
                <c:pt idx="455">
                  <c:v>45294</c:v>
                </c:pt>
                <c:pt idx="456">
                  <c:v>45293</c:v>
                </c:pt>
                <c:pt idx="457">
                  <c:v>45292</c:v>
                </c:pt>
                <c:pt idx="458">
                  <c:v>45289</c:v>
                </c:pt>
                <c:pt idx="459">
                  <c:v>45288</c:v>
                </c:pt>
                <c:pt idx="460">
                  <c:v>45287</c:v>
                </c:pt>
                <c:pt idx="461">
                  <c:v>45286</c:v>
                </c:pt>
                <c:pt idx="462">
                  <c:v>45282</c:v>
                </c:pt>
                <c:pt idx="463">
                  <c:v>45281</c:v>
                </c:pt>
                <c:pt idx="464">
                  <c:v>45280</c:v>
                </c:pt>
                <c:pt idx="465">
                  <c:v>45279</c:v>
                </c:pt>
                <c:pt idx="466">
                  <c:v>45278</c:v>
                </c:pt>
                <c:pt idx="467">
                  <c:v>45275</c:v>
                </c:pt>
                <c:pt idx="468">
                  <c:v>45274</c:v>
                </c:pt>
                <c:pt idx="469">
                  <c:v>45273</c:v>
                </c:pt>
                <c:pt idx="470">
                  <c:v>45272</c:v>
                </c:pt>
                <c:pt idx="471">
                  <c:v>45271</c:v>
                </c:pt>
                <c:pt idx="472">
                  <c:v>45268</c:v>
                </c:pt>
                <c:pt idx="473">
                  <c:v>45267</c:v>
                </c:pt>
                <c:pt idx="474">
                  <c:v>45266</c:v>
                </c:pt>
                <c:pt idx="475">
                  <c:v>45265</c:v>
                </c:pt>
                <c:pt idx="476">
                  <c:v>45264</c:v>
                </c:pt>
                <c:pt idx="477">
                  <c:v>45261</c:v>
                </c:pt>
                <c:pt idx="478">
                  <c:v>45260</c:v>
                </c:pt>
                <c:pt idx="479">
                  <c:v>45259</c:v>
                </c:pt>
                <c:pt idx="480">
                  <c:v>45258</c:v>
                </c:pt>
                <c:pt idx="481">
                  <c:v>45254</c:v>
                </c:pt>
                <c:pt idx="482">
                  <c:v>45253</c:v>
                </c:pt>
                <c:pt idx="483">
                  <c:v>45252</c:v>
                </c:pt>
                <c:pt idx="484">
                  <c:v>45251</c:v>
                </c:pt>
                <c:pt idx="485">
                  <c:v>45250</c:v>
                </c:pt>
                <c:pt idx="486">
                  <c:v>45247</c:v>
                </c:pt>
                <c:pt idx="487">
                  <c:v>45246</c:v>
                </c:pt>
                <c:pt idx="488">
                  <c:v>45245</c:v>
                </c:pt>
                <c:pt idx="489">
                  <c:v>45243</c:v>
                </c:pt>
                <c:pt idx="490">
                  <c:v>45242</c:v>
                </c:pt>
                <c:pt idx="491">
                  <c:v>45240</c:v>
                </c:pt>
                <c:pt idx="492">
                  <c:v>45239</c:v>
                </c:pt>
                <c:pt idx="493">
                  <c:v>45238</c:v>
                </c:pt>
                <c:pt idx="494">
                  <c:v>45237</c:v>
                </c:pt>
                <c:pt idx="495">
                  <c:v>45236</c:v>
                </c:pt>
                <c:pt idx="496">
                  <c:v>45233</c:v>
                </c:pt>
                <c:pt idx="497">
                  <c:v>45232</c:v>
                </c:pt>
                <c:pt idx="498">
                  <c:v>45231</c:v>
                </c:pt>
                <c:pt idx="499">
                  <c:v>45230</c:v>
                </c:pt>
                <c:pt idx="500">
                  <c:v>45229</c:v>
                </c:pt>
                <c:pt idx="501">
                  <c:v>45226</c:v>
                </c:pt>
                <c:pt idx="502">
                  <c:v>45225</c:v>
                </c:pt>
                <c:pt idx="503">
                  <c:v>45224</c:v>
                </c:pt>
                <c:pt idx="504">
                  <c:v>45222</c:v>
                </c:pt>
                <c:pt idx="505">
                  <c:v>45219</c:v>
                </c:pt>
                <c:pt idx="506">
                  <c:v>45218</c:v>
                </c:pt>
                <c:pt idx="507">
                  <c:v>45217</c:v>
                </c:pt>
                <c:pt idx="508">
                  <c:v>45216</c:v>
                </c:pt>
                <c:pt idx="509">
                  <c:v>45215</c:v>
                </c:pt>
                <c:pt idx="510">
                  <c:v>45212</c:v>
                </c:pt>
                <c:pt idx="511">
                  <c:v>45211</c:v>
                </c:pt>
                <c:pt idx="512">
                  <c:v>45210</c:v>
                </c:pt>
                <c:pt idx="513">
                  <c:v>45209</c:v>
                </c:pt>
                <c:pt idx="514">
                  <c:v>45208</c:v>
                </c:pt>
                <c:pt idx="515">
                  <c:v>45205</c:v>
                </c:pt>
                <c:pt idx="516">
                  <c:v>45204</c:v>
                </c:pt>
                <c:pt idx="517">
                  <c:v>45203</c:v>
                </c:pt>
                <c:pt idx="518">
                  <c:v>45202</c:v>
                </c:pt>
                <c:pt idx="519">
                  <c:v>45198</c:v>
                </c:pt>
                <c:pt idx="520">
                  <c:v>45197</c:v>
                </c:pt>
                <c:pt idx="521">
                  <c:v>45196</c:v>
                </c:pt>
                <c:pt idx="522">
                  <c:v>45195</c:v>
                </c:pt>
                <c:pt idx="523">
                  <c:v>45194</c:v>
                </c:pt>
                <c:pt idx="524">
                  <c:v>45191</c:v>
                </c:pt>
                <c:pt idx="525">
                  <c:v>45190</c:v>
                </c:pt>
                <c:pt idx="526">
                  <c:v>45189</c:v>
                </c:pt>
                <c:pt idx="527">
                  <c:v>45187</c:v>
                </c:pt>
                <c:pt idx="528">
                  <c:v>45184</c:v>
                </c:pt>
                <c:pt idx="529">
                  <c:v>45183</c:v>
                </c:pt>
                <c:pt idx="530">
                  <c:v>45182</c:v>
                </c:pt>
                <c:pt idx="531">
                  <c:v>45181</c:v>
                </c:pt>
                <c:pt idx="532">
                  <c:v>45180</c:v>
                </c:pt>
                <c:pt idx="533">
                  <c:v>45177</c:v>
                </c:pt>
                <c:pt idx="534">
                  <c:v>45176</c:v>
                </c:pt>
                <c:pt idx="535">
                  <c:v>45175</c:v>
                </c:pt>
                <c:pt idx="536">
                  <c:v>45174</c:v>
                </c:pt>
                <c:pt idx="537">
                  <c:v>45173</c:v>
                </c:pt>
                <c:pt idx="538">
                  <c:v>45170</c:v>
                </c:pt>
                <c:pt idx="539">
                  <c:v>45169</c:v>
                </c:pt>
                <c:pt idx="540">
                  <c:v>45168</c:v>
                </c:pt>
                <c:pt idx="541">
                  <c:v>45167</c:v>
                </c:pt>
                <c:pt idx="542">
                  <c:v>45166</c:v>
                </c:pt>
                <c:pt idx="543">
                  <c:v>45163</c:v>
                </c:pt>
                <c:pt idx="544">
                  <c:v>45162</c:v>
                </c:pt>
                <c:pt idx="545">
                  <c:v>45161</c:v>
                </c:pt>
                <c:pt idx="546">
                  <c:v>45160</c:v>
                </c:pt>
                <c:pt idx="547">
                  <c:v>45159</c:v>
                </c:pt>
                <c:pt idx="548">
                  <c:v>45156</c:v>
                </c:pt>
                <c:pt idx="549">
                  <c:v>45155</c:v>
                </c:pt>
                <c:pt idx="550">
                  <c:v>45154</c:v>
                </c:pt>
                <c:pt idx="551">
                  <c:v>45152</c:v>
                </c:pt>
                <c:pt idx="552">
                  <c:v>45149</c:v>
                </c:pt>
                <c:pt idx="553">
                  <c:v>45148</c:v>
                </c:pt>
                <c:pt idx="554">
                  <c:v>45147</c:v>
                </c:pt>
                <c:pt idx="555">
                  <c:v>45146</c:v>
                </c:pt>
                <c:pt idx="556">
                  <c:v>45145</c:v>
                </c:pt>
                <c:pt idx="557">
                  <c:v>45142</c:v>
                </c:pt>
                <c:pt idx="558">
                  <c:v>45141</c:v>
                </c:pt>
                <c:pt idx="559">
                  <c:v>45140</c:v>
                </c:pt>
                <c:pt idx="560">
                  <c:v>45139</c:v>
                </c:pt>
                <c:pt idx="561">
                  <c:v>45138</c:v>
                </c:pt>
                <c:pt idx="562">
                  <c:v>45135</c:v>
                </c:pt>
                <c:pt idx="563">
                  <c:v>45134</c:v>
                </c:pt>
                <c:pt idx="564">
                  <c:v>45133</c:v>
                </c:pt>
                <c:pt idx="565">
                  <c:v>45132</c:v>
                </c:pt>
                <c:pt idx="566">
                  <c:v>45131</c:v>
                </c:pt>
                <c:pt idx="567">
                  <c:v>45128</c:v>
                </c:pt>
                <c:pt idx="568">
                  <c:v>45127</c:v>
                </c:pt>
                <c:pt idx="569">
                  <c:v>45126</c:v>
                </c:pt>
                <c:pt idx="570">
                  <c:v>45125</c:v>
                </c:pt>
                <c:pt idx="571">
                  <c:v>45124</c:v>
                </c:pt>
                <c:pt idx="572">
                  <c:v>45121</c:v>
                </c:pt>
                <c:pt idx="573">
                  <c:v>45120</c:v>
                </c:pt>
                <c:pt idx="574">
                  <c:v>45119</c:v>
                </c:pt>
                <c:pt idx="575">
                  <c:v>45118</c:v>
                </c:pt>
                <c:pt idx="576">
                  <c:v>45117</c:v>
                </c:pt>
                <c:pt idx="577">
                  <c:v>45114</c:v>
                </c:pt>
                <c:pt idx="578">
                  <c:v>45113</c:v>
                </c:pt>
                <c:pt idx="579">
                  <c:v>45112</c:v>
                </c:pt>
                <c:pt idx="580">
                  <c:v>45111</c:v>
                </c:pt>
                <c:pt idx="581">
                  <c:v>45110</c:v>
                </c:pt>
                <c:pt idx="582">
                  <c:v>45107</c:v>
                </c:pt>
                <c:pt idx="583">
                  <c:v>45105</c:v>
                </c:pt>
                <c:pt idx="584">
                  <c:v>45104</c:v>
                </c:pt>
                <c:pt idx="585">
                  <c:v>45103</c:v>
                </c:pt>
                <c:pt idx="586">
                  <c:v>45100</c:v>
                </c:pt>
                <c:pt idx="587">
                  <c:v>45099</c:v>
                </c:pt>
                <c:pt idx="588">
                  <c:v>45098</c:v>
                </c:pt>
                <c:pt idx="589">
                  <c:v>45097</c:v>
                </c:pt>
                <c:pt idx="590">
                  <c:v>45096</c:v>
                </c:pt>
                <c:pt idx="591">
                  <c:v>45093</c:v>
                </c:pt>
                <c:pt idx="592">
                  <c:v>45092</c:v>
                </c:pt>
                <c:pt idx="593">
                  <c:v>45091</c:v>
                </c:pt>
                <c:pt idx="594">
                  <c:v>45090</c:v>
                </c:pt>
                <c:pt idx="595">
                  <c:v>45089</c:v>
                </c:pt>
                <c:pt idx="596">
                  <c:v>45086</c:v>
                </c:pt>
                <c:pt idx="597">
                  <c:v>45085</c:v>
                </c:pt>
                <c:pt idx="598">
                  <c:v>45084</c:v>
                </c:pt>
                <c:pt idx="599">
                  <c:v>45083</c:v>
                </c:pt>
                <c:pt idx="600">
                  <c:v>45082</c:v>
                </c:pt>
                <c:pt idx="601">
                  <c:v>45079</c:v>
                </c:pt>
                <c:pt idx="602">
                  <c:v>45078</c:v>
                </c:pt>
                <c:pt idx="603">
                  <c:v>45077</c:v>
                </c:pt>
                <c:pt idx="604">
                  <c:v>45076</c:v>
                </c:pt>
                <c:pt idx="605">
                  <c:v>45075</c:v>
                </c:pt>
                <c:pt idx="606">
                  <c:v>45072</c:v>
                </c:pt>
                <c:pt idx="607">
                  <c:v>45071</c:v>
                </c:pt>
                <c:pt idx="608">
                  <c:v>45070</c:v>
                </c:pt>
                <c:pt idx="609">
                  <c:v>45069</c:v>
                </c:pt>
                <c:pt idx="610">
                  <c:v>45068</c:v>
                </c:pt>
                <c:pt idx="611">
                  <c:v>45065</c:v>
                </c:pt>
                <c:pt idx="612">
                  <c:v>45064</c:v>
                </c:pt>
                <c:pt idx="613">
                  <c:v>45063</c:v>
                </c:pt>
                <c:pt idx="614">
                  <c:v>45062</c:v>
                </c:pt>
                <c:pt idx="615">
                  <c:v>45061</c:v>
                </c:pt>
                <c:pt idx="616">
                  <c:v>45058</c:v>
                </c:pt>
                <c:pt idx="617">
                  <c:v>45057</c:v>
                </c:pt>
                <c:pt idx="618">
                  <c:v>45056</c:v>
                </c:pt>
                <c:pt idx="619">
                  <c:v>45055</c:v>
                </c:pt>
                <c:pt idx="620">
                  <c:v>45054</c:v>
                </c:pt>
                <c:pt idx="621">
                  <c:v>45051</c:v>
                </c:pt>
                <c:pt idx="622">
                  <c:v>45050</c:v>
                </c:pt>
                <c:pt idx="623">
                  <c:v>45049</c:v>
                </c:pt>
                <c:pt idx="624">
                  <c:v>45048</c:v>
                </c:pt>
                <c:pt idx="625">
                  <c:v>45044</c:v>
                </c:pt>
                <c:pt idx="626">
                  <c:v>45043</c:v>
                </c:pt>
                <c:pt idx="627">
                  <c:v>45042</c:v>
                </c:pt>
                <c:pt idx="628">
                  <c:v>45041</c:v>
                </c:pt>
                <c:pt idx="629">
                  <c:v>45040</c:v>
                </c:pt>
                <c:pt idx="630">
                  <c:v>45037</c:v>
                </c:pt>
                <c:pt idx="631">
                  <c:v>45036</c:v>
                </c:pt>
                <c:pt idx="632">
                  <c:v>45035</c:v>
                </c:pt>
                <c:pt idx="633">
                  <c:v>45034</c:v>
                </c:pt>
                <c:pt idx="634">
                  <c:v>45033</c:v>
                </c:pt>
                <c:pt idx="635">
                  <c:v>45029</c:v>
                </c:pt>
                <c:pt idx="636">
                  <c:v>45028</c:v>
                </c:pt>
                <c:pt idx="637">
                  <c:v>45027</c:v>
                </c:pt>
                <c:pt idx="638">
                  <c:v>45026</c:v>
                </c:pt>
                <c:pt idx="639">
                  <c:v>45022</c:v>
                </c:pt>
                <c:pt idx="640">
                  <c:v>45021</c:v>
                </c:pt>
                <c:pt idx="641">
                  <c:v>45019</c:v>
                </c:pt>
                <c:pt idx="642">
                  <c:v>45016</c:v>
                </c:pt>
                <c:pt idx="643">
                  <c:v>45014</c:v>
                </c:pt>
                <c:pt idx="644">
                  <c:v>45013</c:v>
                </c:pt>
                <c:pt idx="645">
                  <c:v>45012</c:v>
                </c:pt>
                <c:pt idx="646">
                  <c:v>45009</c:v>
                </c:pt>
                <c:pt idx="647">
                  <c:v>45008</c:v>
                </c:pt>
                <c:pt idx="648">
                  <c:v>45007</c:v>
                </c:pt>
                <c:pt idx="649">
                  <c:v>45006</c:v>
                </c:pt>
                <c:pt idx="650">
                  <c:v>45005</c:v>
                </c:pt>
                <c:pt idx="651">
                  <c:v>45002</c:v>
                </c:pt>
                <c:pt idx="652">
                  <c:v>45001</c:v>
                </c:pt>
                <c:pt idx="653">
                  <c:v>45000</c:v>
                </c:pt>
                <c:pt idx="654">
                  <c:v>44999</c:v>
                </c:pt>
                <c:pt idx="655">
                  <c:v>44998</c:v>
                </c:pt>
                <c:pt idx="656">
                  <c:v>44995</c:v>
                </c:pt>
                <c:pt idx="657">
                  <c:v>44994</c:v>
                </c:pt>
                <c:pt idx="658">
                  <c:v>44993</c:v>
                </c:pt>
                <c:pt idx="659">
                  <c:v>44991</c:v>
                </c:pt>
                <c:pt idx="660">
                  <c:v>44988</c:v>
                </c:pt>
                <c:pt idx="661">
                  <c:v>44987</c:v>
                </c:pt>
                <c:pt idx="662">
                  <c:v>44986</c:v>
                </c:pt>
                <c:pt idx="663">
                  <c:v>44985</c:v>
                </c:pt>
                <c:pt idx="664">
                  <c:v>44984</c:v>
                </c:pt>
                <c:pt idx="665">
                  <c:v>44981</c:v>
                </c:pt>
                <c:pt idx="666">
                  <c:v>44980</c:v>
                </c:pt>
                <c:pt idx="667">
                  <c:v>44979</c:v>
                </c:pt>
                <c:pt idx="668">
                  <c:v>44978</c:v>
                </c:pt>
                <c:pt idx="669">
                  <c:v>44977</c:v>
                </c:pt>
                <c:pt idx="670">
                  <c:v>44974</c:v>
                </c:pt>
                <c:pt idx="671">
                  <c:v>44973</c:v>
                </c:pt>
                <c:pt idx="672">
                  <c:v>44972</c:v>
                </c:pt>
                <c:pt idx="673">
                  <c:v>44971</c:v>
                </c:pt>
                <c:pt idx="674">
                  <c:v>44970</c:v>
                </c:pt>
                <c:pt idx="675">
                  <c:v>44967</c:v>
                </c:pt>
                <c:pt idx="676">
                  <c:v>44966</c:v>
                </c:pt>
                <c:pt idx="677">
                  <c:v>44965</c:v>
                </c:pt>
                <c:pt idx="678">
                  <c:v>44964</c:v>
                </c:pt>
                <c:pt idx="679">
                  <c:v>44963</c:v>
                </c:pt>
                <c:pt idx="680">
                  <c:v>44960</c:v>
                </c:pt>
                <c:pt idx="681">
                  <c:v>44959</c:v>
                </c:pt>
                <c:pt idx="682">
                  <c:v>44958</c:v>
                </c:pt>
                <c:pt idx="683">
                  <c:v>44957</c:v>
                </c:pt>
                <c:pt idx="684">
                  <c:v>44956</c:v>
                </c:pt>
                <c:pt idx="685">
                  <c:v>44953</c:v>
                </c:pt>
                <c:pt idx="686">
                  <c:v>44951</c:v>
                </c:pt>
                <c:pt idx="687">
                  <c:v>44950</c:v>
                </c:pt>
                <c:pt idx="688">
                  <c:v>44949</c:v>
                </c:pt>
                <c:pt idx="689">
                  <c:v>44946</c:v>
                </c:pt>
                <c:pt idx="690">
                  <c:v>44945</c:v>
                </c:pt>
                <c:pt idx="691">
                  <c:v>44944</c:v>
                </c:pt>
                <c:pt idx="692">
                  <c:v>44943</c:v>
                </c:pt>
                <c:pt idx="693">
                  <c:v>44942</c:v>
                </c:pt>
                <c:pt idx="694">
                  <c:v>44939</c:v>
                </c:pt>
                <c:pt idx="695">
                  <c:v>44938</c:v>
                </c:pt>
                <c:pt idx="696">
                  <c:v>44937</c:v>
                </c:pt>
                <c:pt idx="697">
                  <c:v>44936</c:v>
                </c:pt>
                <c:pt idx="698">
                  <c:v>44935</c:v>
                </c:pt>
                <c:pt idx="699">
                  <c:v>44932</c:v>
                </c:pt>
                <c:pt idx="700">
                  <c:v>44931</c:v>
                </c:pt>
                <c:pt idx="701">
                  <c:v>44930</c:v>
                </c:pt>
                <c:pt idx="702">
                  <c:v>44929</c:v>
                </c:pt>
                <c:pt idx="703">
                  <c:v>44928</c:v>
                </c:pt>
                <c:pt idx="704">
                  <c:v>44925</c:v>
                </c:pt>
                <c:pt idx="705">
                  <c:v>44924</c:v>
                </c:pt>
                <c:pt idx="706">
                  <c:v>44923</c:v>
                </c:pt>
                <c:pt idx="707">
                  <c:v>44922</c:v>
                </c:pt>
                <c:pt idx="708">
                  <c:v>44921</c:v>
                </c:pt>
                <c:pt idx="709">
                  <c:v>44918</c:v>
                </c:pt>
                <c:pt idx="710">
                  <c:v>44917</c:v>
                </c:pt>
                <c:pt idx="711">
                  <c:v>44916</c:v>
                </c:pt>
                <c:pt idx="712">
                  <c:v>44915</c:v>
                </c:pt>
                <c:pt idx="713">
                  <c:v>44914</c:v>
                </c:pt>
                <c:pt idx="714">
                  <c:v>44911</c:v>
                </c:pt>
                <c:pt idx="715">
                  <c:v>44910</c:v>
                </c:pt>
                <c:pt idx="716">
                  <c:v>44909</c:v>
                </c:pt>
                <c:pt idx="717">
                  <c:v>44908</c:v>
                </c:pt>
                <c:pt idx="718">
                  <c:v>44907</c:v>
                </c:pt>
                <c:pt idx="719">
                  <c:v>44904</c:v>
                </c:pt>
                <c:pt idx="720">
                  <c:v>44903</c:v>
                </c:pt>
                <c:pt idx="721">
                  <c:v>44902</c:v>
                </c:pt>
                <c:pt idx="722">
                  <c:v>44901</c:v>
                </c:pt>
                <c:pt idx="723">
                  <c:v>44900</c:v>
                </c:pt>
                <c:pt idx="724">
                  <c:v>44897</c:v>
                </c:pt>
                <c:pt idx="725">
                  <c:v>44896</c:v>
                </c:pt>
                <c:pt idx="726">
                  <c:v>44895</c:v>
                </c:pt>
                <c:pt idx="727">
                  <c:v>44894</c:v>
                </c:pt>
                <c:pt idx="728">
                  <c:v>44893</c:v>
                </c:pt>
                <c:pt idx="729">
                  <c:v>44890</c:v>
                </c:pt>
                <c:pt idx="730">
                  <c:v>44889</c:v>
                </c:pt>
                <c:pt idx="731">
                  <c:v>44888</c:v>
                </c:pt>
                <c:pt idx="732">
                  <c:v>44887</c:v>
                </c:pt>
                <c:pt idx="733">
                  <c:v>44886</c:v>
                </c:pt>
                <c:pt idx="734">
                  <c:v>44883</c:v>
                </c:pt>
                <c:pt idx="735">
                  <c:v>44882</c:v>
                </c:pt>
                <c:pt idx="736">
                  <c:v>44881</c:v>
                </c:pt>
                <c:pt idx="737">
                  <c:v>44880</c:v>
                </c:pt>
                <c:pt idx="738">
                  <c:v>44879</c:v>
                </c:pt>
                <c:pt idx="739">
                  <c:v>44876</c:v>
                </c:pt>
                <c:pt idx="740">
                  <c:v>44875</c:v>
                </c:pt>
                <c:pt idx="741">
                  <c:v>44874</c:v>
                </c:pt>
                <c:pt idx="742">
                  <c:v>44872</c:v>
                </c:pt>
                <c:pt idx="743">
                  <c:v>44869</c:v>
                </c:pt>
                <c:pt idx="744">
                  <c:v>44868</c:v>
                </c:pt>
                <c:pt idx="745">
                  <c:v>44867</c:v>
                </c:pt>
                <c:pt idx="746">
                  <c:v>44866</c:v>
                </c:pt>
                <c:pt idx="747">
                  <c:v>44865</c:v>
                </c:pt>
                <c:pt idx="748">
                  <c:v>44862</c:v>
                </c:pt>
                <c:pt idx="749">
                  <c:v>44861</c:v>
                </c:pt>
                <c:pt idx="750">
                  <c:v>44859</c:v>
                </c:pt>
                <c:pt idx="751">
                  <c:v>44858</c:v>
                </c:pt>
                <c:pt idx="752">
                  <c:v>44855</c:v>
                </c:pt>
                <c:pt idx="753">
                  <c:v>44854</c:v>
                </c:pt>
                <c:pt idx="754">
                  <c:v>44853</c:v>
                </c:pt>
                <c:pt idx="755">
                  <c:v>44852</c:v>
                </c:pt>
                <c:pt idx="756">
                  <c:v>44851</c:v>
                </c:pt>
                <c:pt idx="757">
                  <c:v>44848</c:v>
                </c:pt>
                <c:pt idx="758">
                  <c:v>44847</c:v>
                </c:pt>
                <c:pt idx="759">
                  <c:v>44846</c:v>
                </c:pt>
                <c:pt idx="760">
                  <c:v>44845</c:v>
                </c:pt>
                <c:pt idx="761">
                  <c:v>44844</c:v>
                </c:pt>
                <c:pt idx="762">
                  <c:v>44841</c:v>
                </c:pt>
                <c:pt idx="763">
                  <c:v>44840</c:v>
                </c:pt>
                <c:pt idx="764">
                  <c:v>44838</c:v>
                </c:pt>
                <c:pt idx="765">
                  <c:v>44837</c:v>
                </c:pt>
                <c:pt idx="766">
                  <c:v>44834</c:v>
                </c:pt>
                <c:pt idx="767">
                  <c:v>44833</c:v>
                </c:pt>
                <c:pt idx="768">
                  <c:v>44832</c:v>
                </c:pt>
                <c:pt idx="769">
                  <c:v>44831</c:v>
                </c:pt>
                <c:pt idx="770">
                  <c:v>44830</c:v>
                </c:pt>
                <c:pt idx="771">
                  <c:v>44827</c:v>
                </c:pt>
                <c:pt idx="772">
                  <c:v>44826</c:v>
                </c:pt>
                <c:pt idx="773">
                  <c:v>44825</c:v>
                </c:pt>
                <c:pt idx="774">
                  <c:v>44824</c:v>
                </c:pt>
                <c:pt idx="775">
                  <c:v>44823</c:v>
                </c:pt>
                <c:pt idx="776">
                  <c:v>44820</c:v>
                </c:pt>
                <c:pt idx="777">
                  <c:v>44819</c:v>
                </c:pt>
                <c:pt idx="778">
                  <c:v>44818</c:v>
                </c:pt>
                <c:pt idx="779">
                  <c:v>44817</c:v>
                </c:pt>
                <c:pt idx="780">
                  <c:v>44816</c:v>
                </c:pt>
                <c:pt idx="781">
                  <c:v>44813</c:v>
                </c:pt>
                <c:pt idx="782">
                  <c:v>44812</c:v>
                </c:pt>
                <c:pt idx="783">
                  <c:v>44811</c:v>
                </c:pt>
                <c:pt idx="784">
                  <c:v>44810</c:v>
                </c:pt>
                <c:pt idx="785">
                  <c:v>44809</c:v>
                </c:pt>
                <c:pt idx="786">
                  <c:v>44806</c:v>
                </c:pt>
                <c:pt idx="787">
                  <c:v>44805</c:v>
                </c:pt>
                <c:pt idx="788">
                  <c:v>44803</c:v>
                </c:pt>
                <c:pt idx="789">
                  <c:v>44802</c:v>
                </c:pt>
                <c:pt idx="790">
                  <c:v>44799</c:v>
                </c:pt>
                <c:pt idx="791">
                  <c:v>44798</c:v>
                </c:pt>
                <c:pt idx="792">
                  <c:v>44797</c:v>
                </c:pt>
                <c:pt idx="793">
                  <c:v>44796</c:v>
                </c:pt>
                <c:pt idx="794">
                  <c:v>44795</c:v>
                </c:pt>
                <c:pt idx="795">
                  <c:v>44792</c:v>
                </c:pt>
                <c:pt idx="796">
                  <c:v>44791</c:v>
                </c:pt>
                <c:pt idx="797">
                  <c:v>44790</c:v>
                </c:pt>
                <c:pt idx="798">
                  <c:v>44789</c:v>
                </c:pt>
                <c:pt idx="799">
                  <c:v>44785</c:v>
                </c:pt>
                <c:pt idx="800">
                  <c:v>44784</c:v>
                </c:pt>
                <c:pt idx="801">
                  <c:v>44783</c:v>
                </c:pt>
                <c:pt idx="802">
                  <c:v>44781</c:v>
                </c:pt>
                <c:pt idx="803">
                  <c:v>44778</c:v>
                </c:pt>
                <c:pt idx="804">
                  <c:v>44777</c:v>
                </c:pt>
                <c:pt idx="805">
                  <c:v>44776</c:v>
                </c:pt>
                <c:pt idx="806">
                  <c:v>44775</c:v>
                </c:pt>
                <c:pt idx="807">
                  <c:v>44774</c:v>
                </c:pt>
                <c:pt idx="808">
                  <c:v>44771</c:v>
                </c:pt>
                <c:pt idx="809">
                  <c:v>44770</c:v>
                </c:pt>
                <c:pt idx="810">
                  <c:v>44769</c:v>
                </c:pt>
                <c:pt idx="811">
                  <c:v>44768</c:v>
                </c:pt>
                <c:pt idx="812">
                  <c:v>44767</c:v>
                </c:pt>
                <c:pt idx="813">
                  <c:v>44764</c:v>
                </c:pt>
                <c:pt idx="814">
                  <c:v>44763</c:v>
                </c:pt>
                <c:pt idx="815">
                  <c:v>44762</c:v>
                </c:pt>
                <c:pt idx="816">
                  <c:v>44761</c:v>
                </c:pt>
                <c:pt idx="817">
                  <c:v>44760</c:v>
                </c:pt>
                <c:pt idx="818">
                  <c:v>44757</c:v>
                </c:pt>
                <c:pt idx="819">
                  <c:v>44756</c:v>
                </c:pt>
                <c:pt idx="820">
                  <c:v>44755</c:v>
                </c:pt>
                <c:pt idx="821">
                  <c:v>44754</c:v>
                </c:pt>
                <c:pt idx="822">
                  <c:v>44753</c:v>
                </c:pt>
                <c:pt idx="823">
                  <c:v>44750</c:v>
                </c:pt>
                <c:pt idx="824">
                  <c:v>44749</c:v>
                </c:pt>
                <c:pt idx="825">
                  <c:v>44748</c:v>
                </c:pt>
                <c:pt idx="826">
                  <c:v>44747</c:v>
                </c:pt>
                <c:pt idx="827">
                  <c:v>44746</c:v>
                </c:pt>
                <c:pt idx="828">
                  <c:v>44743</c:v>
                </c:pt>
                <c:pt idx="829">
                  <c:v>44742</c:v>
                </c:pt>
                <c:pt idx="830">
                  <c:v>44741</c:v>
                </c:pt>
                <c:pt idx="831">
                  <c:v>44740</c:v>
                </c:pt>
                <c:pt idx="832">
                  <c:v>44739</c:v>
                </c:pt>
                <c:pt idx="833">
                  <c:v>44736</c:v>
                </c:pt>
                <c:pt idx="834">
                  <c:v>44735</c:v>
                </c:pt>
                <c:pt idx="835">
                  <c:v>44734</c:v>
                </c:pt>
                <c:pt idx="836">
                  <c:v>44733</c:v>
                </c:pt>
                <c:pt idx="837">
                  <c:v>44732</c:v>
                </c:pt>
                <c:pt idx="838">
                  <c:v>44729</c:v>
                </c:pt>
                <c:pt idx="839">
                  <c:v>44728</c:v>
                </c:pt>
                <c:pt idx="840">
                  <c:v>44727</c:v>
                </c:pt>
                <c:pt idx="841">
                  <c:v>44726</c:v>
                </c:pt>
                <c:pt idx="842">
                  <c:v>44725</c:v>
                </c:pt>
                <c:pt idx="843">
                  <c:v>44722</c:v>
                </c:pt>
                <c:pt idx="844">
                  <c:v>44721</c:v>
                </c:pt>
                <c:pt idx="845">
                  <c:v>44720</c:v>
                </c:pt>
                <c:pt idx="846">
                  <c:v>44719</c:v>
                </c:pt>
                <c:pt idx="847">
                  <c:v>44718</c:v>
                </c:pt>
                <c:pt idx="848">
                  <c:v>44715</c:v>
                </c:pt>
                <c:pt idx="849">
                  <c:v>44714</c:v>
                </c:pt>
                <c:pt idx="850">
                  <c:v>44713</c:v>
                </c:pt>
                <c:pt idx="851">
                  <c:v>44712</c:v>
                </c:pt>
                <c:pt idx="852">
                  <c:v>44711</c:v>
                </c:pt>
                <c:pt idx="853">
                  <c:v>44708</c:v>
                </c:pt>
                <c:pt idx="854">
                  <c:v>44707</c:v>
                </c:pt>
                <c:pt idx="855">
                  <c:v>44706</c:v>
                </c:pt>
                <c:pt idx="856">
                  <c:v>44705</c:v>
                </c:pt>
                <c:pt idx="857">
                  <c:v>44704</c:v>
                </c:pt>
                <c:pt idx="858">
                  <c:v>44701</c:v>
                </c:pt>
                <c:pt idx="859">
                  <c:v>44700</c:v>
                </c:pt>
                <c:pt idx="860">
                  <c:v>44699</c:v>
                </c:pt>
                <c:pt idx="861">
                  <c:v>44698</c:v>
                </c:pt>
                <c:pt idx="862">
                  <c:v>44697</c:v>
                </c:pt>
                <c:pt idx="863">
                  <c:v>44694</c:v>
                </c:pt>
                <c:pt idx="864">
                  <c:v>44693</c:v>
                </c:pt>
                <c:pt idx="865">
                  <c:v>44692</c:v>
                </c:pt>
                <c:pt idx="866">
                  <c:v>44691</c:v>
                </c:pt>
                <c:pt idx="867">
                  <c:v>44690</c:v>
                </c:pt>
                <c:pt idx="868">
                  <c:v>44687</c:v>
                </c:pt>
                <c:pt idx="869">
                  <c:v>44686</c:v>
                </c:pt>
                <c:pt idx="870">
                  <c:v>44685</c:v>
                </c:pt>
                <c:pt idx="871">
                  <c:v>44683</c:v>
                </c:pt>
                <c:pt idx="872">
                  <c:v>44680</c:v>
                </c:pt>
                <c:pt idx="873">
                  <c:v>44679</c:v>
                </c:pt>
                <c:pt idx="874">
                  <c:v>44678</c:v>
                </c:pt>
                <c:pt idx="875">
                  <c:v>44677</c:v>
                </c:pt>
                <c:pt idx="876">
                  <c:v>44676</c:v>
                </c:pt>
                <c:pt idx="877">
                  <c:v>44673</c:v>
                </c:pt>
                <c:pt idx="878">
                  <c:v>44672</c:v>
                </c:pt>
                <c:pt idx="879">
                  <c:v>44671</c:v>
                </c:pt>
                <c:pt idx="880">
                  <c:v>44670</c:v>
                </c:pt>
                <c:pt idx="881">
                  <c:v>44669</c:v>
                </c:pt>
                <c:pt idx="882">
                  <c:v>44664</c:v>
                </c:pt>
                <c:pt idx="883">
                  <c:v>44663</c:v>
                </c:pt>
                <c:pt idx="884">
                  <c:v>44662</c:v>
                </c:pt>
                <c:pt idx="885">
                  <c:v>44659</c:v>
                </c:pt>
                <c:pt idx="886">
                  <c:v>44658</c:v>
                </c:pt>
                <c:pt idx="887">
                  <c:v>44657</c:v>
                </c:pt>
                <c:pt idx="888">
                  <c:v>44656</c:v>
                </c:pt>
                <c:pt idx="889">
                  <c:v>44655</c:v>
                </c:pt>
                <c:pt idx="890">
                  <c:v>44652</c:v>
                </c:pt>
              </c:numCache>
            </c:numRef>
          </c:cat>
          <c:val>
            <c:numRef>
              <c:f>Sheet1!$B$2:$B$892</c:f>
              <c:numCache>
                <c:formatCode>_(* #,##0.00_);_(* \(#,##0.00\);_(* "-"??_);_(@_)</c:formatCode>
                <c:ptCount val="891"/>
                <c:pt idx="0">
                  <c:v>27.885999999999999</c:v>
                </c:pt>
                <c:pt idx="1">
                  <c:v>27.115712500000001</c:v>
                </c:pt>
                <c:pt idx="2">
                  <c:v>26.956474999999998</c:v>
                </c:pt>
                <c:pt idx="3">
                  <c:v>26.835850000000001</c:v>
                </c:pt>
                <c:pt idx="4">
                  <c:v>26.826649999999997</c:v>
                </c:pt>
                <c:pt idx="5">
                  <c:v>26.986999999999998</c:v>
                </c:pt>
                <c:pt idx="6">
                  <c:v>26.912312499999999</c:v>
                </c:pt>
                <c:pt idx="7">
                  <c:v>27.3684625</c:v>
                </c:pt>
                <c:pt idx="8">
                  <c:v>27.796199999999999</c:v>
                </c:pt>
                <c:pt idx="9">
                  <c:v>27.500149999999998</c:v>
                </c:pt>
                <c:pt idx="10">
                  <c:v>26.95</c:v>
                </c:pt>
                <c:pt idx="11">
                  <c:v>26.675062500000003</c:v>
                </c:pt>
                <c:pt idx="12">
                  <c:v>26.437862500000001</c:v>
                </c:pt>
                <c:pt idx="13">
                  <c:v>26.062425000000001</c:v>
                </c:pt>
                <c:pt idx="14">
                  <c:v>26.438099999999995</c:v>
                </c:pt>
                <c:pt idx="15">
                  <c:v>26.516300000000001</c:v>
                </c:pt>
                <c:pt idx="16">
                  <c:v>26.154775000000001</c:v>
                </c:pt>
                <c:pt idx="17">
                  <c:v>26.003162499999998</c:v>
                </c:pt>
                <c:pt idx="18">
                  <c:v>26.198762500000004</c:v>
                </c:pt>
                <c:pt idx="19">
                  <c:v>26.332125000000001</c:v>
                </c:pt>
                <c:pt idx="20">
                  <c:v>26.127737500000002</c:v>
                </c:pt>
                <c:pt idx="21">
                  <c:v>26.240637499999998</c:v>
                </c:pt>
                <c:pt idx="22">
                  <c:v>25.668900000000001</c:v>
                </c:pt>
                <c:pt idx="23">
                  <c:v>25.743712500000001</c:v>
                </c:pt>
                <c:pt idx="24">
                  <c:v>25.6365625</c:v>
                </c:pt>
                <c:pt idx="25">
                  <c:v>26.4851125</c:v>
                </c:pt>
                <c:pt idx="26">
                  <c:v>27.002074999999998</c:v>
                </c:pt>
                <c:pt idx="27">
                  <c:v>27.141487499999997</c:v>
                </c:pt>
                <c:pt idx="28">
                  <c:v>27.245562499999998</c:v>
                </c:pt>
                <c:pt idx="29">
                  <c:v>27.631225000000001</c:v>
                </c:pt>
                <c:pt idx="30">
                  <c:v>27.105899999999998</c:v>
                </c:pt>
                <c:pt idx="31">
                  <c:v>27.083524999999998</c:v>
                </c:pt>
                <c:pt idx="32">
                  <c:v>27.008500000000002</c:v>
                </c:pt>
                <c:pt idx="33">
                  <c:v>27.120950000000001</c:v>
                </c:pt>
                <c:pt idx="34">
                  <c:v>27.015337500000001</c:v>
                </c:pt>
                <c:pt idx="35">
                  <c:v>27.0013875</c:v>
                </c:pt>
                <c:pt idx="36">
                  <c:v>27.095325000000003</c:v>
                </c:pt>
                <c:pt idx="37">
                  <c:v>27.170275</c:v>
                </c:pt>
                <c:pt idx="38">
                  <c:v>26.9268125</c:v>
                </c:pt>
                <c:pt idx="39">
                  <c:v>27.150862500000002</c:v>
                </c:pt>
                <c:pt idx="40">
                  <c:v>26.783925</c:v>
                </c:pt>
                <c:pt idx="41">
                  <c:v>26.905850000000001</c:v>
                </c:pt>
                <c:pt idx="42">
                  <c:v>26.577912499999996</c:v>
                </c:pt>
                <c:pt idx="43">
                  <c:v>26.482324999999996</c:v>
                </c:pt>
                <c:pt idx="44">
                  <c:v>26.428287499999996</c:v>
                </c:pt>
                <c:pt idx="45">
                  <c:v>26.551412500000005</c:v>
                </c:pt>
                <c:pt idx="46">
                  <c:v>26.614337500000005</c:v>
                </c:pt>
                <c:pt idx="47">
                  <c:v>27.139287500000002</c:v>
                </c:pt>
                <c:pt idx="48">
                  <c:v>27.676362500000003</c:v>
                </c:pt>
                <c:pt idx="49">
                  <c:v>27.491925000000002</c:v>
                </c:pt>
                <c:pt idx="50">
                  <c:v>27.285324999999997</c:v>
                </c:pt>
                <c:pt idx="51">
                  <c:v>27.287312499999999</c:v>
                </c:pt>
                <c:pt idx="52">
                  <c:v>26.812437500000001</c:v>
                </c:pt>
                <c:pt idx="53">
                  <c:v>26.644749999999998</c:v>
                </c:pt>
                <c:pt idx="54">
                  <c:v>26.843274999999998</c:v>
                </c:pt>
                <c:pt idx="55">
                  <c:v>26.749374999999997</c:v>
                </c:pt>
                <c:pt idx="56">
                  <c:v>26.661474999999999</c:v>
                </c:pt>
                <c:pt idx="57">
                  <c:v>26.485775000000004</c:v>
                </c:pt>
                <c:pt idx="58">
                  <c:v>26.5022375</c:v>
                </c:pt>
                <c:pt idx="59">
                  <c:v>26.445062499999999</c:v>
                </c:pt>
                <c:pt idx="60">
                  <c:v>27.199799999999996</c:v>
                </c:pt>
                <c:pt idx="61">
                  <c:v>27.160575000000001</c:v>
                </c:pt>
                <c:pt idx="62">
                  <c:v>27.155175</c:v>
                </c:pt>
                <c:pt idx="63">
                  <c:v>27.805762500000004</c:v>
                </c:pt>
                <c:pt idx="64">
                  <c:v>27.763412500000001</c:v>
                </c:pt>
                <c:pt idx="65">
                  <c:v>27.507950000000001</c:v>
                </c:pt>
                <c:pt idx="66">
                  <c:v>27.332124999999998</c:v>
                </c:pt>
                <c:pt idx="67">
                  <c:v>27.632199999999997</c:v>
                </c:pt>
                <c:pt idx="68">
                  <c:v>27.944962499999999</c:v>
                </c:pt>
                <c:pt idx="69">
                  <c:v>28.143862500000001</c:v>
                </c:pt>
                <c:pt idx="70">
                  <c:v>28.5045</c:v>
                </c:pt>
                <c:pt idx="71">
                  <c:v>29.3322875</c:v>
                </c:pt>
                <c:pt idx="72">
                  <c:v>29.286112500000002</c:v>
                </c:pt>
                <c:pt idx="73">
                  <c:v>29.232324999999999</c:v>
                </c:pt>
                <c:pt idx="74">
                  <c:v>29.075375000000001</c:v>
                </c:pt>
                <c:pt idx="75">
                  <c:v>28.753237499999997</c:v>
                </c:pt>
                <c:pt idx="76">
                  <c:v>28.364475000000002</c:v>
                </c:pt>
                <c:pt idx="77">
                  <c:v>27.695350000000001</c:v>
                </c:pt>
                <c:pt idx="78">
                  <c:v>27.619525000000003</c:v>
                </c:pt>
                <c:pt idx="79">
                  <c:v>27.520350000000001</c:v>
                </c:pt>
                <c:pt idx="80">
                  <c:v>27.182774999999999</c:v>
                </c:pt>
                <c:pt idx="81">
                  <c:v>27.540124999999996</c:v>
                </c:pt>
                <c:pt idx="82">
                  <c:v>27.583737499999994</c:v>
                </c:pt>
                <c:pt idx="83">
                  <c:v>27.2767625</c:v>
                </c:pt>
                <c:pt idx="84">
                  <c:v>26.99635</c:v>
                </c:pt>
                <c:pt idx="85">
                  <c:v>27.165462499999997</c:v>
                </c:pt>
                <c:pt idx="86">
                  <c:v>27.492712500000003</c:v>
                </c:pt>
                <c:pt idx="87">
                  <c:v>27.0788875</c:v>
                </c:pt>
                <c:pt idx="88">
                  <c:v>26.813849999999999</c:v>
                </c:pt>
                <c:pt idx="89">
                  <c:v>26.840724999999999</c:v>
                </c:pt>
                <c:pt idx="90">
                  <c:v>26.647300000000001</c:v>
                </c:pt>
                <c:pt idx="91">
                  <c:v>26.779712499999999</c:v>
                </c:pt>
                <c:pt idx="92">
                  <c:v>27.0406625</c:v>
                </c:pt>
                <c:pt idx="93">
                  <c:v>27.075800000000001</c:v>
                </c:pt>
                <c:pt idx="94">
                  <c:v>27.697050000000001</c:v>
                </c:pt>
                <c:pt idx="95">
                  <c:v>28.049500000000002</c:v>
                </c:pt>
                <c:pt idx="96">
                  <c:v>28.587025000000004</c:v>
                </c:pt>
                <c:pt idx="97">
                  <c:v>28.7851</c:v>
                </c:pt>
                <c:pt idx="98">
                  <c:v>28.817374999999998</c:v>
                </c:pt>
                <c:pt idx="99">
                  <c:v>28.937062500000003</c:v>
                </c:pt>
                <c:pt idx="100">
                  <c:v>28.501137499999995</c:v>
                </c:pt>
                <c:pt idx="101">
                  <c:v>27.984412499999998</c:v>
                </c:pt>
                <c:pt idx="102">
                  <c:v>27.919850000000004</c:v>
                </c:pt>
                <c:pt idx="103">
                  <c:v>27.816575</c:v>
                </c:pt>
                <c:pt idx="104">
                  <c:v>27.764175000000002</c:v>
                </c:pt>
                <c:pt idx="105">
                  <c:v>27.599124999999997</c:v>
                </c:pt>
                <c:pt idx="106">
                  <c:v>27.703112499999996</c:v>
                </c:pt>
                <c:pt idx="107">
                  <c:v>27.721837500000003</c:v>
                </c:pt>
                <c:pt idx="108">
                  <c:v>27.637337499999997</c:v>
                </c:pt>
                <c:pt idx="109">
                  <c:v>27.312887499999999</c:v>
                </c:pt>
                <c:pt idx="110">
                  <c:v>26.799225</c:v>
                </c:pt>
                <c:pt idx="111">
                  <c:v>26.877687500000004</c:v>
                </c:pt>
                <c:pt idx="112">
                  <c:v>26.289762499999995</c:v>
                </c:pt>
                <c:pt idx="113">
                  <c:v>26.113400000000002</c:v>
                </c:pt>
                <c:pt idx="114">
                  <c:v>25.875812500000002</c:v>
                </c:pt>
                <c:pt idx="115">
                  <c:v>25.772749999999995</c:v>
                </c:pt>
                <c:pt idx="116">
                  <c:v>26.120637500000001</c:v>
                </c:pt>
                <c:pt idx="117">
                  <c:v>25.510275</c:v>
                </c:pt>
                <c:pt idx="118">
                  <c:v>25.973774999999996</c:v>
                </c:pt>
                <c:pt idx="119">
                  <c:v>25.425725000000003</c:v>
                </c:pt>
                <c:pt idx="120">
                  <c:v>25.104299999999995</c:v>
                </c:pt>
                <c:pt idx="121">
                  <c:v>24.751212499999998</c:v>
                </c:pt>
                <c:pt idx="122">
                  <c:v>24.420574999999999</c:v>
                </c:pt>
                <c:pt idx="123">
                  <c:v>24.307937500000001</c:v>
                </c:pt>
                <c:pt idx="124">
                  <c:v>23.926275000000004</c:v>
                </c:pt>
                <c:pt idx="125">
                  <c:v>23.348587500000001</c:v>
                </c:pt>
                <c:pt idx="126">
                  <c:v>24.190437499999998</c:v>
                </c:pt>
                <c:pt idx="127">
                  <c:v>23.799212499999996</c:v>
                </c:pt>
                <c:pt idx="128">
                  <c:v>23.800999999999998</c:v>
                </c:pt>
                <c:pt idx="129">
                  <c:v>23.792562499999999</c:v>
                </c:pt>
                <c:pt idx="130">
                  <c:v>24.016537499999998</c:v>
                </c:pt>
                <c:pt idx="131">
                  <c:v>23.9897375</c:v>
                </c:pt>
                <c:pt idx="132">
                  <c:v>24.857500000000002</c:v>
                </c:pt>
                <c:pt idx="133">
                  <c:v>24.573587500000002</c:v>
                </c:pt>
                <c:pt idx="134">
                  <c:v>24.588850000000001</c:v>
                </c:pt>
                <c:pt idx="135">
                  <c:v>24.772187499999998</c:v>
                </c:pt>
                <c:pt idx="136">
                  <c:v>25.057000000000002</c:v>
                </c:pt>
                <c:pt idx="137">
                  <c:v>24.9807375</c:v>
                </c:pt>
                <c:pt idx="138">
                  <c:v>24.854687500000001</c:v>
                </c:pt>
                <c:pt idx="139">
                  <c:v>23.741262500000001</c:v>
                </c:pt>
                <c:pt idx="140">
                  <c:v>22.513600000000004</c:v>
                </c:pt>
                <c:pt idx="141">
                  <c:v>23.559199999999997</c:v>
                </c:pt>
                <c:pt idx="142">
                  <c:v>22.786387500000004</c:v>
                </c:pt>
                <c:pt idx="143">
                  <c:v>24.168799999999997</c:v>
                </c:pt>
                <c:pt idx="144">
                  <c:v>26.036962500000001</c:v>
                </c:pt>
                <c:pt idx="145">
                  <c:v>25.757100000000001</c:v>
                </c:pt>
                <c:pt idx="146">
                  <c:v>25.801275000000004</c:v>
                </c:pt>
                <c:pt idx="147">
                  <c:v>26.027462500000002</c:v>
                </c:pt>
                <c:pt idx="148">
                  <c:v>37.238262499999998</c:v>
                </c:pt>
                <c:pt idx="149">
                  <c:v>36.437550000000002</c:v>
                </c:pt>
                <c:pt idx="150">
                  <c:v>36.972475000000003</c:v>
                </c:pt>
                <c:pt idx="151">
                  <c:v>37.830937499999997</c:v>
                </c:pt>
                <c:pt idx="152">
                  <c:v>37.532025000000004</c:v>
                </c:pt>
                <c:pt idx="153">
                  <c:v>36.881599999999992</c:v>
                </c:pt>
                <c:pt idx="154">
                  <c:v>36.760337499999999</c:v>
                </c:pt>
                <c:pt idx="155">
                  <c:v>36.326075000000003</c:v>
                </c:pt>
                <c:pt idx="156">
                  <c:v>34.951362500000002</c:v>
                </c:pt>
                <c:pt idx="157">
                  <c:v>34.548850000000002</c:v>
                </c:pt>
                <c:pt idx="158">
                  <c:v>34.575575000000001</c:v>
                </c:pt>
                <c:pt idx="159">
                  <c:v>34.902124999999998</c:v>
                </c:pt>
                <c:pt idx="160">
                  <c:v>35.4624375</c:v>
                </c:pt>
                <c:pt idx="161">
                  <c:v>36.546637500000003</c:v>
                </c:pt>
                <c:pt idx="162">
                  <c:v>36.095550000000003</c:v>
                </c:pt>
                <c:pt idx="163">
                  <c:v>35.711662500000003</c:v>
                </c:pt>
                <c:pt idx="164">
                  <c:v>34.756512499999999</c:v>
                </c:pt>
                <c:pt idx="165">
                  <c:v>32.928437500000001</c:v>
                </c:pt>
                <c:pt idx="166">
                  <c:v>32.805012499999997</c:v>
                </c:pt>
                <c:pt idx="167">
                  <c:v>34.027637500000004</c:v>
                </c:pt>
                <c:pt idx="168">
                  <c:v>34.846600000000002</c:v>
                </c:pt>
                <c:pt idx="169">
                  <c:v>34.737662499999999</c:v>
                </c:pt>
                <c:pt idx="170">
                  <c:v>34.612874999999995</c:v>
                </c:pt>
                <c:pt idx="171">
                  <c:v>35.552937499999999</c:v>
                </c:pt>
                <c:pt idx="172">
                  <c:v>34.903262499999997</c:v>
                </c:pt>
                <c:pt idx="173">
                  <c:v>34.667012499999998</c:v>
                </c:pt>
                <c:pt idx="174">
                  <c:v>34.733537499999997</c:v>
                </c:pt>
                <c:pt idx="175">
                  <c:v>34.158349999999999</c:v>
                </c:pt>
                <c:pt idx="176">
                  <c:v>36.590362499999998</c:v>
                </c:pt>
                <c:pt idx="177">
                  <c:v>37.416250000000005</c:v>
                </c:pt>
                <c:pt idx="178">
                  <c:v>37.022750000000002</c:v>
                </c:pt>
                <c:pt idx="179">
                  <c:v>38.931750000000008</c:v>
                </c:pt>
                <c:pt idx="180">
                  <c:v>39.980962499999997</c:v>
                </c:pt>
                <c:pt idx="181">
                  <c:v>40.040175000000005</c:v>
                </c:pt>
                <c:pt idx="182">
                  <c:v>40.012374999999999</c:v>
                </c:pt>
                <c:pt idx="183">
                  <c:v>39.445712499999999</c:v>
                </c:pt>
                <c:pt idx="184">
                  <c:v>37.677925000000002</c:v>
                </c:pt>
                <c:pt idx="185">
                  <c:v>37.218312499999996</c:v>
                </c:pt>
                <c:pt idx="186">
                  <c:v>37.316362499999997</c:v>
                </c:pt>
                <c:pt idx="187">
                  <c:v>36.2956</c:v>
                </c:pt>
                <c:pt idx="188">
                  <c:v>35.079699999999995</c:v>
                </c:pt>
                <c:pt idx="189">
                  <c:v>32.4831</c:v>
                </c:pt>
                <c:pt idx="190">
                  <c:v>32.899637499999997</c:v>
                </c:pt>
                <c:pt idx="191">
                  <c:v>34.2517</c:v>
                </c:pt>
                <c:pt idx="192">
                  <c:v>34.967599999999997</c:v>
                </c:pt>
                <c:pt idx="193">
                  <c:v>34.193937500000004</c:v>
                </c:pt>
                <c:pt idx="194">
                  <c:v>34.688000000000002</c:v>
                </c:pt>
                <c:pt idx="195">
                  <c:v>35.335012499999998</c:v>
                </c:pt>
                <c:pt idx="196">
                  <c:v>34.741225</c:v>
                </c:pt>
                <c:pt idx="197">
                  <c:v>34.858387499999999</c:v>
                </c:pt>
                <c:pt idx="198">
                  <c:v>34.692787499999994</c:v>
                </c:pt>
                <c:pt idx="199">
                  <c:v>34.704700000000003</c:v>
                </c:pt>
                <c:pt idx="200">
                  <c:v>33.952487499999997</c:v>
                </c:pt>
                <c:pt idx="201">
                  <c:v>34.633987499999996</c:v>
                </c:pt>
                <c:pt idx="202">
                  <c:v>35.777337500000002</c:v>
                </c:pt>
                <c:pt idx="203">
                  <c:v>36.738512499999999</c:v>
                </c:pt>
                <c:pt idx="204">
                  <c:v>36.242350000000002</c:v>
                </c:pt>
                <c:pt idx="205">
                  <c:v>34.898899999999998</c:v>
                </c:pt>
                <c:pt idx="206">
                  <c:v>35.610437500000003</c:v>
                </c:pt>
                <c:pt idx="207">
                  <c:v>35.610837500000002</c:v>
                </c:pt>
                <c:pt idx="208">
                  <c:v>35.322137499999997</c:v>
                </c:pt>
                <c:pt idx="209">
                  <c:v>35.435450000000003</c:v>
                </c:pt>
                <c:pt idx="210">
                  <c:v>34.6980875</c:v>
                </c:pt>
                <c:pt idx="211">
                  <c:v>35.110900000000001</c:v>
                </c:pt>
                <c:pt idx="212">
                  <c:v>35.004062499999996</c:v>
                </c:pt>
                <c:pt idx="213">
                  <c:v>35.008775</c:v>
                </c:pt>
                <c:pt idx="214">
                  <c:v>34.366362499999994</c:v>
                </c:pt>
                <c:pt idx="215">
                  <c:v>34.614924999999999</c:v>
                </c:pt>
                <c:pt idx="216">
                  <c:v>34.963575000000006</c:v>
                </c:pt>
                <c:pt idx="217">
                  <c:v>35.002474999999997</c:v>
                </c:pt>
                <c:pt idx="218">
                  <c:v>33.971512500000003</c:v>
                </c:pt>
                <c:pt idx="219">
                  <c:v>34.133775</c:v>
                </c:pt>
                <c:pt idx="220">
                  <c:v>34.222362500000003</c:v>
                </c:pt>
                <c:pt idx="221">
                  <c:v>34.5032</c:v>
                </c:pt>
                <c:pt idx="222">
                  <c:v>35.347674999999995</c:v>
                </c:pt>
                <c:pt idx="223">
                  <c:v>34.838725000000004</c:v>
                </c:pt>
                <c:pt idx="224">
                  <c:v>35.215687500000001</c:v>
                </c:pt>
                <c:pt idx="225">
                  <c:v>35.382950000000001</c:v>
                </c:pt>
                <c:pt idx="226">
                  <c:v>35.634350000000005</c:v>
                </c:pt>
                <c:pt idx="227">
                  <c:v>36.044925000000006</c:v>
                </c:pt>
                <c:pt idx="228">
                  <c:v>36.3787375</c:v>
                </c:pt>
                <c:pt idx="229">
                  <c:v>36.249924999999998</c:v>
                </c:pt>
                <c:pt idx="230">
                  <c:v>35.43065</c:v>
                </c:pt>
                <c:pt idx="231">
                  <c:v>34.835237500000005</c:v>
                </c:pt>
                <c:pt idx="232">
                  <c:v>35.219637499999997</c:v>
                </c:pt>
                <c:pt idx="233">
                  <c:v>35.3220125</c:v>
                </c:pt>
                <c:pt idx="234">
                  <c:v>35.417125000000006</c:v>
                </c:pt>
                <c:pt idx="235">
                  <c:v>35.169762499999997</c:v>
                </c:pt>
                <c:pt idx="236">
                  <c:v>34.600025000000002</c:v>
                </c:pt>
                <c:pt idx="237">
                  <c:v>33.976025</c:v>
                </c:pt>
                <c:pt idx="238">
                  <c:v>33.861725</c:v>
                </c:pt>
                <c:pt idx="239">
                  <c:v>33.545349999999999</c:v>
                </c:pt>
                <c:pt idx="240">
                  <c:v>32.593987499999997</c:v>
                </c:pt>
                <c:pt idx="241">
                  <c:v>33.638024999999999</c:v>
                </c:pt>
                <c:pt idx="242">
                  <c:v>33.303599999999996</c:v>
                </c:pt>
                <c:pt idx="243">
                  <c:v>33.628875000000001</c:v>
                </c:pt>
                <c:pt idx="244">
                  <c:v>33.821374999999996</c:v>
                </c:pt>
                <c:pt idx="245">
                  <c:v>34.010087499999997</c:v>
                </c:pt>
                <c:pt idx="246">
                  <c:v>32.957037499999998</c:v>
                </c:pt>
                <c:pt idx="247">
                  <c:v>32.235275000000001</c:v>
                </c:pt>
                <c:pt idx="248">
                  <c:v>32.529500000000006</c:v>
                </c:pt>
                <c:pt idx="249">
                  <c:v>32.313837499999998</c:v>
                </c:pt>
                <c:pt idx="250">
                  <c:v>31.957924999999999</c:v>
                </c:pt>
                <c:pt idx="251">
                  <c:v>31.318687499999999</c:v>
                </c:pt>
                <c:pt idx="252">
                  <c:v>30.127549999999999</c:v>
                </c:pt>
                <c:pt idx="253">
                  <c:v>29.218424999999996</c:v>
                </c:pt>
                <c:pt idx="254">
                  <c:v>29.900887499999996</c:v>
                </c:pt>
                <c:pt idx="255">
                  <c:v>29.963549999999998</c:v>
                </c:pt>
                <c:pt idx="256">
                  <c:v>29.333200000000001</c:v>
                </c:pt>
                <c:pt idx="257">
                  <c:v>30.863524999999996</c:v>
                </c:pt>
                <c:pt idx="258">
                  <c:v>31.5879625</c:v>
                </c:pt>
                <c:pt idx="259">
                  <c:v>31.572975000000003</c:v>
                </c:pt>
                <c:pt idx="260">
                  <c:v>32.193224999999998</c:v>
                </c:pt>
                <c:pt idx="261">
                  <c:v>32.047437500000001</c:v>
                </c:pt>
                <c:pt idx="262">
                  <c:v>31.672200000000004</c:v>
                </c:pt>
                <c:pt idx="263">
                  <c:v>31.807725000000001</c:v>
                </c:pt>
                <c:pt idx="264">
                  <c:v>31.765374999999999</c:v>
                </c:pt>
                <c:pt idx="265">
                  <c:v>31.6994875</c:v>
                </c:pt>
                <c:pt idx="266">
                  <c:v>31.418925000000002</c:v>
                </c:pt>
                <c:pt idx="267">
                  <c:v>30.101212500000003</c:v>
                </c:pt>
                <c:pt idx="268">
                  <c:v>31.34065</c:v>
                </c:pt>
                <c:pt idx="269">
                  <c:v>31.219750000000001</c:v>
                </c:pt>
                <c:pt idx="270">
                  <c:v>32.143374999999999</c:v>
                </c:pt>
                <c:pt idx="271">
                  <c:v>31.925662499999998</c:v>
                </c:pt>
                <c:pt idx="272">
                  <c:v>31.783924999999996</c:v>
                </c:pt>
                <c:pt idx="273">
                  <c:v>32.420037500000007</c:v>
                </c:pt>
                <c:pt idx="274">
                  <c:v>32.7004375</c:v>
                </c:pt>
                <c:pt idx="275">
                  <c:v>33.196587499999993</c:v>
                </c:pt>
                <c:pt idx="276">
                  <c:v>33.749475000000004</c:v>
                </c:pt>
                <c:pt idx="277">
                  <c:v>34.243537500000002</c:v>
                </c:pt>
                <c:pt idx="278">
                  <c:v>32.629300000000001</c:v>
                </c:pt>
                <c:pt idx="279">
                  <c:v>33.314374999999998</c:v>
                </c:pt>
                <c:pt idx="280">
                  <c:v>32.846537500000004</c:v>
                </c:pt>
                <c:pt idx="281">
                  <c:v>33.064549999999997</c:v>
                </c:pt>
                <c:pt idx="282">
                  <c:v>32.409712499999998</c:v>
                </c:pt>
                <c:pt idx="283">
                  <c:v>32.194424999999995</c:v>
                </c:pt>
                <c:pt idx="284">
                  <c:v>31.740087500000001</c:v>
                </c:pt>
                <c:pt idx="285">
                  <c:v>31.346675000000001</c:v>
                </c:pt>
                <c:pt idx="286">
                  <c:v>31.145749999999996</c:v>
                </c:pt>
                <c:pt idx="287">
                  <c:v>30.748412499999997</c:v>
                </c:pt>
                <c:pt idx="288">
                  <c:v>30.5737375</c:v>
                </c:pt>
                <c:pt idx="289">
                  <c:v>30.016912500000004</c:v>
                </c:pt>
                <c:pt idx="290">
                  <c:v>29.308750000000003</c:v>
                </c:pt>
                <c:pt idx="291">
                  <c:v>29.009912500000002</c:v>
                </c:pt>
                <c:pt idx="292">
                  <c:v>29.259812499999999</c:v>
                </c:pt>
                <c:pt idx="293">
                  <c:v>29.118100000000002</c:v>
                </c:pt>
                <c:pt idx="294">
                  <c:v>28.970274999999997</c:v>
                </c:pt>
                <c:pt idx="295">
                  <c:v>28.6574125</c:v>
                </c:pt>
                <c:pt idx="296">
                  <c:v>28.658625000000001</c:v>
                </c:pt>
                <c:pt idx="297">
                  <c:v>28.249600000000001</c:v>
                </c:pt>
                <c:pt idx="298">
                  <c:v>28.272925000000001</c:v>
                </c:pt>
                <c:pt idx="299">
                  <c:v>28.065799999999999</c:v>
                </c:pt>
                <c:pt idx="300">
                  <c:v>27.750687500000002</c:v>
                </c:pt>
                <c:pt idx="301">
                  <c:v>27.5142375</c:v>
                </c:pt>
                <c:pt idx="302">
                  <c:v>26.945237500000001</c:v>
                </c:pt>
                <c:pt idx="303">
                  <c:v>26.555575000000001</c:v>
                </c:pt>
                <c:pt idx="304">
                  <c:v>26.6309875</c:v>
                </c:pt>
                <c:pt idx="305">
                  <c:v>27.072975</c:v>
                </c:pt>
                <c:pt idx="306">
                  <c:v>26.716000000000001</c:v>
                </c:pt>
                <c:pt idx="307">
                  <c:v>26.795612499999997</c:v>
                </c:pt>
                <c:pt idx="308">
                  <c:v>26.903075000000001</c:v>
                </c:pt>
                <c:pt idx="309">
                  <c:v>26.093800000000002</c:v>
                </c:pt>
                <c:pt idx="310">
                  <c:v>26.565299999999997</c:v>
                </c:pt>
                <c:pt idx="311">
                  <c:v>27.161175</c:v>
                </c:pt>
                <c:pt idx="312">
                  <c:v>26.990112499999995</c:v>
                </c:pt>
                <c:pt idx="313">
                  <c:v>26.773025000000004</c:v>
                </c:pt>
                <c:pt idx="314">
                  <c:v>26.692212499999997</c:v>
                </c:pt>
                <c:pt idx="315">
                  <c:v>26.569287499999998</c:v>
                </c:pt>
                <c:pt idx="316">
                  <c:v>26.369699999999998</c:v>
                </c:pt>
                <c:pt idx="317">
                  <c:v>26.237137499999999</c:v>
                </c:pt>
                <c:pt idx="318">
                  <c:v>26.286100000000001</c:v>
                </c:pt>
                <c:pt idx="319">
                  <c:v>26.005662500000007</c:v>
                </c:pt>
                <c:pt idx="320">
                  <c:v>25.694875</c:v>
                </c:pt>
                <c:pt idx="321">
                  <c:v>25.567987500000001</c:v>
                </c:pt>
                <c:pt idx="322">
                  <c:v>26.071999999999999</c:v>
                </c:pt>
                <c:pt idx="323">
                  <c:v>26.304449999999996</c:v>
                </c:pt>
                <c:pt idx="324">
                  <c:v>26.386424999999999</c:v>
                </c:pt>
                <c:pt idx="325">
                  <c:v>26.359587500000004</c:v>
                </c:pt>
                <c:pt idx="326">
                  <c:v>26.364337500000005</c:v>
                </c:pt>
                <c:pt idx="327">
                  <c:v>26.502762499999999</c:v>
                </c:pt>
                <c:pt idx="328">
                  <c:v>26.846775000000001</c:v>
                </c:pt>
                <c:pt idx="329">
                  <c:v>27.013724999999997</c:v>
                </c:pt>
                <c:pt idx="330">
                  <c:v>26.987087499999998</c:v>
                </c:pt>
                <c:pt idx="331">
                  <c:v>26.360825000000002</c:v>
                </c:pt>
                <c:pt idx="332">
                  <c:v>25.960225000000001</c:v>
                </c:pt>
                <c:pt idx="333">
                  <c:v>25.486662500000001</c:v>
                </c:pt>
                <c:pt idx="334">
                  <c:v>25.303975000000005</c:v>
                </c:pt>
                <c:pt idx="335">
                  <c:v>24.910337500000001</c:v>
                </c:pt>
                <c:pt idx="336">
                  <c:v>24.859024999999995</c:v>
                </c:pt>
                <c:pt idx="337">
                  <c:v>25.247674999999997</c:v>
                </c:pt>
                <c:pt idx="338">
                  <c:v>24.702312499999998</c:v>
                </c:pt>
                <c:pt idx="339">
                  <c:v>24.819725000000002</c:v>
                </c:pt>
                <c:pt idx="340">
                  <c:v>25.082599999999999</c:v>
                </c:pt>
                <c:pt idx="341">
                  <c:v>25.246037499999996</c:v>
                </c:pt>
                <c:pt idx="342">
                  <c:v>24.763750000000005</c:v>
                </c:pt>
                <c:pt idx="343">
                  <c:v>24.593487499999998</c:v>
                </c:pt>
                <c:pt idx="344">
                  <c:v>24.237800000000004</c:v>
                </c:pt>
                <c:pt idx="345">
                  <c:v>24.027724999999997</c:v>
                </c:pt>
                <c:pt idx="346">
                  <c:v>23.798324999999998</c:v>
                </c:pt>
                <c:pt idx="347">
                  <c:v>23.492487499999996</c:v>
                </c:pt>
                <c:pt idx="348">
                  <c:v>23.473862499999996</c:v>
                </c:pt>
                <c:pt idx="349">
                  <c:v>23.363912500000001</c:v>
                </c:pt>
                <c:pt idx="350">
                  <c:v>23.016437500000002</c:v>
                </c:pt>
                <c:pt idx="351">
                  <c:v>22.322687500000001</c:v>
                </c:pt>
                <c:pt idx="352">
                  <c:v>21.549049999999994</c:v>
                </c:pt>
                <c:pt idx="353">
                  <c:v>22.806812500000003</c:v>
                </c:pt>
                <c:pt idx="354">
                  <c:v>22.811450000000001</c:v>
                </c:pt>
                <c:pt idx="355">
                  <c:v>22.577212500000002</c:v>
                </c:pt>
                <c:pt idx="356">
                  <c:v>22.705437499999999</c:v>
                </c:pt>
                <c:pt idx="357">
                  <c:v>22.564675000000001</c:v>
                </c:pt>
                <c:pt idx="358">
                  <c:v>22.740962500000002</c:v>
                </c:pt>
                <c:pt idx="359">
                  <c:v>22.865925000000001</c:v>
                </c:pt>
                <c:pt idx="360">
                  <c:v>23.003900000000002</c:v>
                </c:pt>
                <c:pt idx="361">
                  <c:v>23.004499999999997</c:v>
                </c:pt>
                <c:pt idx="362">
                  <c:v>22.911699999999996</c:v>
                </c:pt>
                <c:pt idx="363">
                  <c:v>23.188500000000001</c:v>
                </c:pt>
                <c:pt idx="364">
                  <c:v>22.968712500000002</c:v>
                </c:pt>
                <c:pt idx="365">
                  <c:v>23.056462499999999</c:v>
                </c:pt>
                <c:pt idx="366">
                  <c:v>23.002524999999999</c:v>
                </c:pt>
                <c:pt idx="367">
                  <c:v>23.137087500000003</c:v>
                </c:pt>
                <c:pt idx="368">
                  <c:v>22.793150000000001</c:v>
                </c:pt>
                <c:pt idx="369">
                  <c:v>22.804712500000004</c:v>
                </c:pt>
                <c:pt idx="370">
                  <c:v>22.617212500000001</c:v>
                </c:pt>
                <c:pt idx="371">
                  <c:v>23.065675000000002</c:v>
                </c:pt>
                <c:pt idx="372">
                  <c:v>22.933612500000002</c:v>
                </c:pt>
                <c:pt idx="373">
                  <c:v>23.360250000000001</c:v>
                </c:pt>
                <c:pt idx="374">
                  <c:v>23.520275000000005</c:v>
                </c:pt>
                <c:pt idx="375">
                  <c:v>23.973012499999999</c:v>
                </c:pt>
                <c:pt idx="376">
                  <c:v>23.965325</c:v>
                </c:pt>
                <c:pt idx="377">
                  <c:v>23.934462500000002</c:v>
                </c:pt>
                <c:pt idx="378">
                  <c:v>23.888500000000001</c:v>
                </c:pt>
                <c:pt idx="379">
                  <c:v>23.742437500000001</c:v>
                </c:pt>
                <c:pt idx="380">
                  <c:v>23.675275000000006</c:v>
                </c:pt>
                <c:pt idx="381">
                  <c:v>23.519937500000001</c:v>
                </c:pt>
                <c:pt idx="382">
                  <c:v>23.4331125</c:v>
                </c:pt>
                <c:pt idx="383">
                  <c:v>22.93975</c:v>
                </c:pt>
                <c:pt idx="384">
                  <c:v>22.925549999999998</c:v>
                </c:pt>
                <c:pt idx="385">
                  <c:v>22.824737500000005</c:v>
                </c:pt>
                <c:pt idx="386">
                  <c:v>22.520925000000002</c:v>
                </c:pt>
                <c:pt idx="387">
                  <c:v>22.767599999999998</c:v>
                </c:pt>
                <c:pt idx="388">
                  <c:v>22.933512499999999</c:v>
                </c:pt>
                <c:pt idx="389">
                  <c:v>22.729299999999999</c:v>
                </c:pt>
                <c:pt idx="390">
                  <c:v>22.470824999999998</c:v>
                </c:pt>
                <c:pt idx="391">
                  <c:v>22.64995</c:v>
                </c:pt>
                <c:pt idx="392">
                  <c:v>22.446899999999999</c:v>
                </c:pt>
                <c:pt idx="393">
                  <c:v>22.269637499999998</c:v>
                </c:pt>
                <c:pt idx="394">
                  <c:v>22.002537499999999</c:v>
                </c:pt>
                <c:pt idx="395">
                  <c:v>21.783725000000004</c:v>
                </c:pt>
                <c:pt idx="396">
                  <c:v>21.302275000000002</c:v>
                </c:pt>
                <c:pt idx="397">
                  <c:v>26.764200000000002</c:v>
                </c:pt>
                <c:pt idx="398">
                  <c:v>26.673874999999999</c:v>
                </c:pt>
                <c:pt idx="399">
                  <c:v>26.859962500000002</c:v>
                </c:pt>
                <c:pt idx="400">
                  <c:v>26.665512499999998</c:v>
                </c:pt>
                <c:pt idx="401">
                  <c:v>26.453687500000001</c:v>
                </c:pt>
                <c:pt idx="402">
                  <c:v>26.2776</c:v>
                </c:pt>
                <c:pt idx="403">
                  <c:v>26.552850000000003</c:v>
                </c:pt>
                <c:pt idx="404">
                  <c:v>25.784562500000003</c:v>
                </c:pt>
                <c:pt idx="405">
                  <c:v>25.592650000000003</c:v>
                </c:pt>
                <c:pt idx="406">
                  <c:v>24.631125000000004</c:v>
                </c:pt>
                <c:pt idx="407">
                  <c:v>25.489012500000001</c:v>
                </c:pt>
                <c:pt idx="408">
                  <c:v>25.916574999999998</c:v>
                </c:pt>
                <c:pt idx="409">
                  <c:v>26.640625</c:v>
                </c:pt>
                <c:pt idx="410">
                  <c:v>25.793125</c:v>
                </c:pt>
                <c:pt idx="411">
                  <c:v>26.556149999999995</c:v>
                </c:pt>
                <c:pt idx="412">
                  <c:v>27.036437500000002</c:v>
                </c:pt>
                <c:pt idx="413">
                  <c:v>26.821349999999995</c:v>
                </c:pt>
                <c:pt idx="414">
                  <c:v>26.792462500000003</c:v>
                </c:pt>
                <c:pt idx="415">
                  <c:v>26.605875000000001</c:v>
                </c:pt>
                <c:pt idx="416">
                  <c:v>26.733662500000001</c:v>
                </c:pt>
                <c:pt idx="417">
                  <c:v>27.4514</c:v>
                </c:pt>
                <c:pt idx="418">
                  <c:v>27.401762500000004</c:v>
                </c:pt>
                <c:pt idx="419">
                  <c:v>27.217824999999998</c:v>
                </c:pt>
                <c:pt idx="420">
                  <c:v>27.268725</c:v>
                </c:pt>
                <c:pt idx="421">
                  <c:v>27.104062499999998</c:v>
                </c:pt>
                <c:pt idx="422">
                  <c:v>26.895225</c:v>
                </c:pt>
                <c:pt idx="423">
                  <c:v>26.877912499999997</c:v>
                </c:pt>
                <c:pt idx="424">
                  <c:v>26.58135</c:v>
                </c:pt>
                <c:pt idx="425">
                  <c:v>26.304199999999994</c:v>
                </c:pt>
                <c:pt idx="426">
                  <c:v>26.150262500000004</c:v>
                </c:pt>
                <c:pt idx="427">
                  <c:v>25.890949999999997</c:v>
                </c:pt>
                <c:pt idx="428">
                  <c:v>25.7888375</c:v>
                </c:pt>
                <c:pt idx="429">
                  <c:v>26.369362499999994</c:v>
                </c:pt>
                <c:pt idx="430">
                  <c:v>26.701650000000001</c:v>
                </c:pt>
                <c:pt idx="431">
                  <c:v>26.578900000000004</c:v>
                </c:pt>
                <c:pt idx="432">
                  <c:v>26.336387500000001</c:v>
                </c:pt>
                <c:pt idx="433">
                  <c:v>25.896137499999998</c:v>
                </c:pt>
                <c:pt idx="434">
                  <c:v>25.892212499999999</c:v>
                </c:pt>
                <c:pt idx="435">
                  <c:v>26.142687500000001</c:v>
                </c:pt>
                <c:pt idx="436">
                  <c:v>26.332699999999996</c:v>
                </c:pt>
                <c:pt idx="437">
                  <c:v>25.634362500000002</c:v>
                </c:pt>
                <c:pt idx="438">
                  <c:v>25.576712499999999</c:v>
                </c:pt>
                <c:pt idx="439">
                  <c:v>25.304399999999998</c:v>
                </c:pt>
                <c:pt idx="440">
                  <c:v>25.317487500000002</c:v>
                </c:pt>
                <c:pt idx="441">
                  <c:v>25.236075</c:v>
                </c:pt>
                <c:pt idx="442">
                  <c:v>25.589862499999999</c:v>
                </c:pt>
                <c:pt idx="443">
                  <c:v>25.575362500000001</c:v>
                </c:pt>
                <c:pt idx="444">
                  <c:v>25.253725000000003</c:v>
                </c:pt>
                <c:pt idx="445">
                  <c:v>25.269850000000002</c:v>
                </c:pt>
                <c:pt idx="446">
                  <c:v>25.544425</c:v>
                </c:pt>
                <c:pt idx="447">
                  <c:v>25.494300000000003</c:v>
                </c:pt>
                <c:pt idx="448">
                  <c:v>25.7636875</c:v>
                </c:pt>
                <c:pt idx="449">
                  <c:v>25.978287499999997</c:v>
                </c:pt>
                <c:pt idx="450">
                  <c:v>25.859512500000001</c:v>
                </c:pt>
                <c:pt idx="451">
                  <c:v>26.036787499999996</c:v>
                </c:pt>
                <c:pt idx="452">
                  <c:v>26.053787499999999</c:v>
                </c:pt>
                <c:pt idx="453">
                  <c:v>25.898812500000002</c:v>
                </c:pt>
                <c:pt idx="454">
                  <c:v>26.231950000000005</c:v>
                </c:pt>
                <c:pt idx="455">
                  <c:v>26.144937500000005</c:v>
                </c:pt>
                <c:pt idx="456">
                  <c:v>25.831737500000003</c:v>
                </c:pt>
                <c:pt idx="457">
                  <c:v>25.347962499999998</c:v>
                </c:pt>
                <c:pt idx="458">
                  <c:v>25.317475000000002</c:v>
                </c:pt>
                <c:pt idx="459">
                  <c:v>25.600850000000001</c:v>
                </c:pt>
                <c:pt idx="460">
                  <c:v>26.080375</c:v>
                </c:pt>
                <c:pt idx="461">
                  <c:v>25.965087500000003</c:v>
                </c:pt>
                <c:pt idx="462">
                  <c:v>25.868774999999999</c:v>
                </c:pt>
                <c:pt idx="463">
                  <c:v>24.921512500000006</c:v>
                </c:pt>
                <c:pt idx="464">
                  <c:v>24.402925000000003</c:v>
                </c:pt>
                <c:pt idx="465">
                  <c:v>24.962800000000001</c:v>
                </c:pt>
                <c:pt idx="466">
                  <c:v>24.729387500000001</c:v>
                </c:pt>
                <c:pt idx="467">
                  <c:v>24.492024999999998</c:v>
                </c:pt>
                <c:pt idx="468">
                  <c:v>24.507537499999998</c:v>
                </c:pt>
                <c:pt idx="469">
                  <c:v>24.445287499999999</c:v>
                </c:pt>
                <c:pt idx="470">
                  <c:v>24.058062499999998</c:v>
                </c:pt>
                <c:pt idx="471">
                  <c:v>24.036224999999998</c:v>
                </c:pt>
                <c:pt idx="472">
                  <c:v>24.273199999999999</c:v>
                </c:pt>
                <c:pt idx="473">
                  <c:v>24.4965875</c:v>
                </c:pt>
                <c:pt idx="474">
                  <c:v>24.569925000000001</c:v>
                </c:pt>
                <c:pt idx="475">
                  <c:v>24.586212499999998</c:v>
                </c:pt>
                <c:pt idx="476">
                  <c:v>24.6585</c:v>
                </c:pt>
                <c:pt idx="477">
                  <c:v>24.111587499999999</c:v>
                </c:pt>
                <c:pt idx="478">
                  <c:v>24.501475000000003</c:v>
                </c:pt>
                <c:pt idx="479">
                  <c:v>24.337700000000002</c:v>
                </c:pt>
                <c:pt idx="480">
                  <c:v>24.167850000000001</c:v>
                </c:pt>
                <c:pt idx="481">
                  <c:v>24.213575000000002</c:v>
                </c:pt>
                <c:pt idx="482">
                  <c:v>24.123350000000002</c:v>
                </c:pt>
                <c:pt idx="483">
                  <c:v>24.067962499999997</c:v>
                </c:pt>
                <c:pt idx="484">
                  <c:v>24.0555375</c:v>
                </c:pt>
                <c:pt idx="485">
                  <c:v>23.869362499999998</c:v>
                </c:pt>
                <c:pt idx="486">
                  <c:v>24.083212500000002</c:v>
                </c:pt>
                <c:pt idx="487">
                  <c:v>24.173349999999999</c:v>
                </c:pt>
                <c:pt idx="488">
                  <c:v>24.530124999999998</c:v>
                </c:pt>
                <c:pt idx="489">
                  <c:v>24.258062500000001</c:v>
                </c:pt>
                <c:pt idx="490">
                  <c:v>24.574312499999998</c:v>
                </c:pt>
                <c:pt idx="491">
                  <c:v>24.216275</c:v>
                </c:pt>
                <c:pt idx="492">
                  <c:v>24.607037499999997</c:v>
                </c:pt>
                <c:pt idx="493">
                  <c:v>24.6613875</c:v>
                </c:pt>
                <c:pt idx="494">
                  <c:v>23.908162500000003</c:v>
                </c:pt>
                <c:pt idx="495">
                  <c:v>23.614050000000002</c:v>
                </c:pt>
                <c:pt idx="496">
                  <c:v>23.596662499999997</c:v>
                </c:pt>
                <c:pt idx="497">
                  <c:v>23.6261875</c:v>
                </c:pt>
                <c:pt idx="498">
                  <c:v>23.784062500000001</c:v>
                </c:pt>
                <c:pt idx="499">
                  <c:v>19.965500000000002</c:v>
                </c:pt>
                <c:pt idx="500">
                  <c:v>19.936750000000004</c:v>
                </c:pt>
                <c:pt idx="501">
                  <c:v>20.081125</c:v>
                </c:pt>
                <c:pt idx="502">
                  <c:v>19.574475</c:v>
                </c:pt>
                <c:pt idx="503">
                  <c:v>19.273949999999999</c:v>
                </c:pt>
                <c:pt idx="504">
                  <c:v>19.341562500000002</c:v>
                </c:pt>
                <c:pt idx="505">
                  <c:v>20.153387500000001</c:v>
                </c:pt>
                <c:pt idx="506">
                  <c:v>20.363287499999998</c:v>
                </c:pt>
                <c:pt idx="507">
                  <c:v>20.3872125</c:v>
                </c:pt>
                <c:pt idx="508">
                  <c:v>20.484087499999998</c:v>
                </c:pt>
                <c:pt idx="509">
                  <c:v>20.5565</c:v>
                </c:pt>
                <c:pt idx="510">
                  <c:v>20.428912499999999</c:v>
                </c:pt>
                <c:pt idx="511">
                  <c:v>20.518662500000001</c:v>
                </c:pt>
                <c:pt idx="512">
                  <c:v>20.473187500000002</c:v>
                </c:pt>
                <c:pt idx="513">
                  <c:v>20.249025000000003</c:v>
                </c:pt>
                <c:pt idx="514">
                  <c:v>20.075062500000001</c:v>
                </c:pt>
                <c:pt idx="515">
                  <c:v>20.345475</c:v>
                </c:pt>
                <c:pt idx="516">
                  <c:v>20.252600000000001</c:v>
                </c:pt>
                <c:pt idx="517">
                  <c:v>20.196637499999998</c:v>
                </c:pt>
                <c:pt idx="518">
                  <c:v>20.6657625</c:v>
                </c:pt>
                <c:pt idx="519">
                  <c:v>20.707237500000002</c:v>
                </c:pt>
                <c:pt idx="520">
                  <c:v>20.425137499999998</c:v>
                </c:pt>
                <c:pt idx="521">
                  <c:v>20.409287499999998</c:v>
                </c:pt>
                <c:pt idx="522">
                  <c:v>20.333774999999999</c:v>
                </c:pt>
                <c:pt idx="523">
                  <c:v>20.398425</c:v>
                </c:pt>
                <c:pt idx="524">
                  <c:v>20.431587500000003</c:v>
                </c:pt>
                <c:pt idx="525">
                  <c:v>20.3490875</c:v>
                </c:pt>
                <c:pt idx="526">
                  <c:v>20.598112499999999</c:v>
                </c:pt>
                <c:pt idx="527">
                  <c:v>20.974662500000001</c:v>
                </c:pt>
                <c:pt idx="528">
                  <c:v>21.052562500000001</c:v>
                </c:pt>
                <c:pt idx="529">
                  <c:v>20.935600000000001</c:v>
                </c:pt>
                <c:pt idx="530">
                  <c:v>20.929850000000002</c:v>
                </c:pt>
                <c:pt idx="531">
                  <c:v>20.51275</c:v>
                </c:pt>
                <c:pt idx="532">
                  <c:v>21.2225</c:v>
                </c:pt>
                <c:pt idx="533">
                  <c:v>21.401337499999997</c:v>
                </c:pt>
                <c:pt idx="534">
                  <c:v>21.169362499999998</c:v>
                </c:pt>
                <c:pt idx="535">
                  <c:v>20.994487500000002</c:v>
                </c:pt>
                <c:pt idx="536">
                  <c:v>20.975674999999999</c:v>
                </c:pt>
                <c:pt idx="537">
                  <c:v>20.772987499999999</c:v>
                </c:pt>
                <c:pt idx="538">
                  <c:v>20.5883</c:v>
                </c:pt>
                <c:pt idx="539">
                  <c:v>20.641925000000001</c:v>
                </c:pt>
                <c:pt idx="540">
                  <c:v>20.467549999999999</c:v>
                </c:pt>
                <c:pt idx="541">
                  <c:v>20.389824999999998</c:v>
                </c:pt>
                <c:pt idx="542">
                  <c:v>20.487400000000001</c:v>
                </c:pt>
                <c:pt idx="543">
                  <c:v>20.360199999999995</c:v>
                </c:pt>
                <c:pt idx="544">
                  <c:v>20.322912500000001</c:v>
                </c:pt>
                <c:pt idx="545">
                  <c:v>20.628812499999999</c:v>
                </c:pt>
                <c:pt idx="546">
                  <c:v>20.581125</c:v>
                </c:pt>
                <c:pt idx="547">
                  <c:v>20.336849999999998</c:v>
                </c:pt>
                <c:pt idx="548">
                  <c:v>20.140587499999999</c:v>
                </c:pt>
                <c:pt idx="549">
                  <c:v>16.4878</c:v>
                </c:pt>
                <c:pt idx="550">
                  <c:v>16.503612499999999</c:v>
                </c:pt>
                <c:pt idx="551">
                  <c:v>16.335225000000001</c:v>
                </c:pt>
                <c:pt idx="552">
                  <c:v>16.223424999999999</c:v>
                </c:pt>
                <c:pt idx="553">
                  <c:v>16.080412499999998</c:v>
                </c:pt>
                <c:pt idx="554">
                  <c:v>16.145187499999999</c:v>
                </c:pt>
                <c:pt idx="555">
                  <c:v>16.4569875</c:v>
                </c:pt>
                <c:pt idx="556">
                  <c:v>16.2966625</c:v>
                </c:pt>
                <c:pt idx="557">
                  <c:v>16.455737500000001</c:v>
                </c:pt>
                <c:pt idx="558">
                  <c:v>16.399987500000002</c:v>
                </c:pt>
                <c:pt idx="559">
                  <c:v>15.926825000000001</c:v>
                </c:pt>
                <c:pt idx="560">
                  <c:v>15.906412499999998</c:v>
                </c:pt>
                <c:pt idx="561">
                  <c:v>16.0242</c:v>
                </c:pt>
                <c:pt idx="562">
                  <c:v>15.916374999999999</c:v>
                </c:pt>
                <c:pt idx="563">
                  <c:v>15.8809</c:v>
                </c:pt>
                <c:pt idx="564">
                  <c:v>15.449675000000001</c:v>
                </c:pt>
                <c:pt idx="565">
                  <c:v>15.551825000000001</c:v>
                </c:pt>
                <c:pt idx="566">
                  <c:v>15.403949999999998</c:v>
                </c:pt>
                <c:pt idx="567">
                  <c:v>15.091487499999999</c:v>
                </c:pt>
                <c:pt idx="568">
                  <c:v>15.115925000000001</c:v>
                </c:pt>
                <c:pt idx="569">
                  <c:v>15.113637499999999</c:v>
                </c:pt>
                <c:pt idx="570">
                  <c:v>15.05255</c:v>
                </c:pt>
                <c:pt idx="571">
                  <c:v>15.036175</c:v>
                </c:pt>
                <c:pt idx="572">
                  <c:v>15.0185</c:v>
                </c:pt>
                <c:pt idx="573">
                  <c:v>14.696562500000002</c:v>
                </c:pt>
                <c:pt idx="574">
                  <c:v>14.995525000000001</c:v>
                </c:pt>
                <c:pt idx="575">
                  <c:v>14.928437499999999</c:v>
                </c:pt>
                <c:pt idx="576">
                  <c:v>14.7854375</c:v>
                </c:pt>
                <c:pt idx="577">
                  <c:v>15.204512500000002</c:v>
                </c:pt>
                <c:pt idx="578">
                  <c:v>15.188400000000001</c:v>
                </c:pt>
                <c:pt idx="579">
                  <c:v>15.218887500000001</c:v>
                </c:pt>
                <c:pt idx="580">
                  <c:v>15.120762500000001</c:v>
                </c:pt>
                <c:pt idx="581">
                  <c:v>15.044</c:v>
                </c:pt>
                <c:pt idx="582">
                  <c:v>15.018987499999998</c:v>
                </c:pt>
                <c:pt idx="583">
                  <c:v>14.62565</c:v>
                </c:pt>
                <c:pt idx="584">
                  <c:v>14.621874999999999</c:v>
                </c:pt>
                <c:pt idx="585">
                  <c:v>14.686837499999999</c:v>
                </c:pt>
                <c:pt idx="586">
                  <c:v>14.511312499999999</c:v>
                </c:pt>
                <c:pt idx="587">
                  <c:v>14.721824999999999</c:v>
                </c:pt>
                <c:pt idx="588">
                  <c:v>14.78975</c:v>
                </c:pt>
                <c:pt idx="589">
                  <c:v>14.9446625</c:v>
                </c:pt>
                <c:pt idx="590">
                  <c:v>14.791825000000001</c:v>
                </c:pt>
                <c:pt idx="591">
                  <c:v>14.87205</c:v>
                </c:pt>
                <c:pt idx="592">
                  <c:v>14.6889375</c:v>
                </c:pt>
                <c:pt idx="593">
                  <c:v>14.743675</c:v>
                </c:pt>
                <c:pt idx="594">
                  <c:v>14.667537500000002</c:v>
                </c:pt>
                <c:pt idx="595">
                  <c:v>14.60685</c:v>
                </c:pt>
                <c:pt idx="596">
                  <c:v>14.69425</c:v>
                </c:pt>
                <c:pt idx="597">
                  <c:v>14.577537499999998</c:v>
                </c:pt>
                <c:pt idx="598">
                  <c:v>14.549262499999999</c:v>
                </c:pt>
                <c:pt idx="599">
                  <c:v>14.2395</c:v>
                </c:pt>
                <c:pt idx="600">
                  <c:v>14.155175</c:v>
                </c:pt>
                <c:pt idx="601">
                  <c:v>14.2152125</c:v>
                </c:pt>
                <c:pt idx="602">
                  <c:v>14.230037499999998</c:v>
                </c:pt>
                <c:pt idx="603">
                  <c:v>14.150675000000001</c:v>
                </c:pt>
                <c:pt idx="604">
                  <c:v>14.002625</c:v>
                </c:pt>
                <c:pt idx="605">
                  <c:v>14.154612500000001</c:v>
                </c:pt>
                <c:pt idx="606">
                  <c:v>14.265625</c:v>
                </c:pt>
                <c:pt idx="607">
                  <c:v>14.308287499999999</c:v>
                </c:pt>
                <c:pt idx="608">
                  <c:v>14.135024999999999</c:v>
                </c:pt>
                <c:pt idx="609">
                  <c:v>14.070625</c:v>
                </c:pt>
                <c:pt idx="610">
                  <c:v>14.011362500000001</c:v>
                </c:pt>
                <c:pt idx="611">
                  <c:v>14.010787499999999</c:v>
                </c:pt>
                <c:pt idx="612">
                  <c:v>14.141625000000001</c:v>
                </c:pt>
                <c:pt idx="613">
                  <c:v>14.2041875</c:v>
                </c:pt>
                <c:pt idx="614">
                  <c:v>13.985175</c:v>
                </c:pt>
                <c:pt idx="615">
                  <c:v>14.140549999999999</c:v>
                </c:pt>
                <c:pt idx="616">
                  <c:v>13.994874999999999</c:v>
                </c:pt>
                <c:pt idx="617">
                  <c:v>13.612525</c:v>
                </c:pt>
                <c:pt idx="618">
                  <c:v>13.549799999999999</c:v>
                </c:pt>
                <c:pt idx="619">
                  <c:v>13.5563375</c:v>
                </c:pt>
                <c:pt idx="620">
                  <c:v>13.74615</c:v>
                </c:pt>
                <c:pt idx="621">
                  <c:v>13.501962499999999</c:v>
                </c:pt>
                <c:pt idx="622">
                  <c:v>13.547712499999999</c:v>
                </c:pt>
                <c:pt idx="623">
                  <c:v>13.583124999999999</c:v>
                </c:pt>
                <c:pt idx="624">
                  <c:v>13.610499999999998</c:v>
                </c:pt>
                <c:pt idx="625">
                  <c:v>13.374525</c:v>
                </c:pt>
                <c:pt idx="626">
                  <c:v>13.338625</c:v>
                </c:pt>
                <c:pt idx="627">
                  <c:v>13.113625000000001</c:v>
                </c:pt>
                <c:pt idx="628">
                  <c:v>13.167950000000001</c:v>
                </c:pt>
                <c:pt idx="629">
                  <c:v>13.3109625</c:v>
                </c:pt>
                <c:pt idx="630">
                  <c:v>13.283687499999999</c:v>
                </c:pt>
                <c:pt idx="631">
                  <c:v>13.311299999999999</c:v>
                </c:pt>
                <c:pt idx="632">
                  <c:v>13.244375000000002</c:v>
                </c:pt>
                <c:pt idx="633">
                  <c:v>13.266987500000001</c:v>
                </c:pt>
                <c:pt idx="634">
                  <c:v>12.857362500000001</c:v>
                </c:pt>
                <c:pt idx="635">
                  <c:v>12.6959125</c:v>
                </c:pt>
                <c:pt idx="636">
                  <c:v>12.676074999999999</c:v>
                </c:pt>
                <c:pt idx="637">
                  <c:v>12.490887499999999</c:v>
                </c:pt>
                <c:pt idx="638">
                  <c:v>12.1072875</c:v>
                </c:pt>
                <c:pt idx="639">
                  <c:v>12.000225</c:v>
                </c:pt>
                <c:pt idx="640">
                  <c:v>11.8079</c:v>
                </c:pt>
                <c:pt idx="641">
                  <c:v>11.583762499999999</c:v>
                </c:pt>
                <c:pt idx="642">
                  <c:v>11.347099999999999</c:v>
                </c:pt>
                <c:pt idx="643">
                  <c:v>10.017462500000001</c:v>
                </c:pt>
                <c:pt idx="644">
                  <c:v>10.0102125</c:v>
                </c:pt>
                <c:pt idx="645">
                  <c:v>10.13195</c:v>
                </c:pt>
                <c:pt idx="646">
                  <c:v>10.320562499999999</c:v>
                </c:pt>
                <c:pt idx="647">
                  <c:v>10.445600000000001</c:v>
                </c:pt>
                <c:pt idx="648">
                  <c:v>10.4879125</c:v>
                </c:pt>
                <c:pt idx="649">
                  <c:v>10.537775</c:v>
                </c:pt>
                <c:pt idx="650">
                  <c:v>10.366912499999998</c:v>
                </c:pt>
                <c:pt idx="651">
                  <c:v>10.226699999999999</c:v>
                </c:pt>
                <c:pt idx="652">
                  <c:v>10.1355375</c:v>
                </c:pt>
                <c:pt idx="653">
                  <c:v>10.341425000000001</c:v>
                </c:pt>
                <c:pt idx="654">
                  <c:v>10.351512499999998</c:v>
                </c:pt>
                <c:pt idx="655">
                  <c:v>10.5237</c:v>
                </c:pt>
                <c:pt idx="656">
                  <c:v>10.7591</c:v>
                </c:pt>
                <c:pt idx="657">
                  <c:v>10.8698125</c:v>
                </c:pt>
                <c:pt idx="658">
                  <c:v>10.707825</c:v>
                </c:pt>
                <c:pt idx="659">
                  <c:v>10.7071375</c:v>
                </c:pt>
                <c:pt idx="660">
                  <c:v>10.653862499999999</c:v>
                </c:pt>
                <c:pt idx="661">
                  <c:v>10.528612499999999</c:v>
                </c:pt>
                <c:pt idx="662">
                  <c:v>10.515725</c:v>
                </c:pt>
                <c:pt idx="663">
                  <c:v>10.5086625</c:v>
                </c:pt>
                <c:pt idx="664">
                  <c:v>10.601637499999999</c:v>
                </c:pt>
                <c:pt idx="665">
                  <c:v>10.70675</c:v>
                </c:pt>
                <c:pt idx="666">
                  <c:v>10.777975</c:v>
                </c:pt>
                <c:pt idx="667">
                  <c:v>10.717812500000001</c:v>
                </c:pt>
                <c:pt idx="668">
                  <c:v>10.935775</c:v>
                </c:pt>
                <c:pt idx="669">
                  <c:v>10.886125000000002</c:v>
                </c:pt>
                <c:pt idx="670">
                  <c:v>10.951500000000001</c:v>
                </c:pt>
                <c:pt idx="671">
                  <c:v>10.6537375</c:v>
                </c:pt>
                <c:pt idx="672">
                  <c:v>10.394887499999999</c:v>
                </c:pt>
                <c:pt idx="673">
                  <c:v>10.5164375</c:v>
                </c:pt>
                <c:pt idx="674">
                  <c:v>10.646850000000001</c:v>
                </c:pt>
                <c:pt idx="675">
                  <c:v>10.61585</c:v>
                </c:pt>
                <c:pt idx="676">
                  <c:v>10.632887500000001</c:v>
                </c:pt>
                <c:pt idx="677">
                  <c:v>10.573499999999999</c:v>
                </c:pt>
                <c:pt idx="678">
                  <c:v>10.4552</c:v>
                </c:pt>
                <c:pt idx="679">
                  <c:v>10.390287499999999</c:v>
                </c:pt>
                <c:pt idx="680">
                  <c:v>10.2311</c:v>
                </c:pt>
                <c:pt idx="681">
                  <c:v>10.2182</c:v>
                </c:pt>
                <c:pt idx="682">
                  <c:v>10.256975000000001</c:v>
                </c:pt>
                <c:pt idx="683">
                  <c:v>10.465775000000001</c:v>
                </c:pt>
                <c:pt idx="684">
                  <c:v>10.402000000000001</c:v>
                </c:pt>
                <c:pt idx="685">
                  <c:v>8.7501875000000009</c:v>
                </c:pt>
                <c:pt idx="686">
                  <c:v>8.8409125</c:v>
                </c:pt>
                <c:pt idx="687">
                  <c:v>8.8641500000000004</c:v>
                </c:pt>
                <c:pt idx="688">
                  <c:v>8.9273000000000007</c:v>
                </c:pt>
                <c:pt idx="689">
                  <c:v>9.0090125000000008</c:v>
                </c:pt>
                <c:pt idx="690">
                  <c:v>9.1331124999999993</c:v>
                </c:pt>
                <c:pt idx="691">
                  <c:v>9.1447624999999988</c:v>
                </c:pt>
                <c:pt idx="692">
                  <c:v>9.1405250000000002</c:v>
                </c:pt>
                <c:pt idx="693">
                  <c:v>9.3350749999999998</c:v>
                </c:pt>
                <c:pt idx="694">
                  <c:v>9.3544249999999991</c:v>
                </c:pt>
                <c:pt idx="695">
                  <c:v>9.4014625000000009</c:v>
                </c:pt>
                <c:pt idx="696">
                  <c:v>9.4387500000000006</c:v>
                </c:pt>
                <c:pt idx="697">
                  <c:v>9.4735750000000003</c:v>
                </c:pt>
                <c:pt idx="698">
                  <c:v>9.4797000000000011</c:v>
                </c:pt>
                <c:pt idx="699">
                  <c:v>9.5472874999999995</c:v>
                </c:pt>
                <c:pt idx="700">
                  <c:v>9.5909250000000004</c:v>
                </c:pt>
                <c:pt idx="701">
                  <c:v>9.6746999999999996</c:v>
                </c:pt>
                <c:pt idx="702">
                  <c:v>9.6800250000000005</c:v>
                </c:pt>
                <c:pt idx="703">
                  <c:v>9.6777875000000009</c:v>
                </c:pt>
                <c:pt idx="704">
                  <c:v>9.6787124999999996</c:v>
                </c:pt>
                <c:pt idx="705">
                  <c:v>9.5990500000000001</c:v>
                </c:pt>
                <c:pt idx="706">
                  <c:v>9.6145125</c:v>
                </c:pt>
                <c:pt idx="707">
                  <c:v>9.7145499999999991</c:v>
                </c:pt>
                <c:pt idx="708">
                  <c:v>9.6687875000000005</c:v>
                </c:pt>
                <c:pt idx="709">
                  <c:v>9.6952500000000015</c:v>
                </c:pt>
                <c:pt idx="710">
                  <c:v>9.6825875000000003</c:v>
                </c:pt>
                <c:pt idx="711">
                  <c:v>9.7933374999999998</c:v>
                </c:pt>
                <c:pt idx="712">
                  <c:v>9.7465125000000015</c:v>
                </c:pt>
                <c:pt idx="713">
                  <c:v>9.7411874999999988</c:v>
                </c:pt>
                <c:pt idx="714">
                  <c:v>9.6398250000000001</c:v>
                </c:pt>
                <c:pt idx="715">
                  <c:v>9.7087249999999994</c:v>
                </c:pt>
                <c:pt idx="716">
                  <c:v>9.846350000000001</c:v>
                </c:pt>
                <c:pt idx="717">
                  <c:v>9.7805125000000004</c:v>
                </c:pt>
                <c:pt idx="718">
                  <c:v>9.8450999999999986</c:v>
                </c:pt>
                <c:pt idx="719">
                  <c:v>9.6531374999999997</c:v>
                </c:pt>
                <c:pt idx="720">
                  <c:v>9.8682374999999993</c:v>
                </c:pt>
                <c:pt idx="721">
                  <c:v>9.8957875000000008</c:v>
                </c:pt>
                <c:pt idx="722">
                  <c:v>9.9161000000000001</c:v>
                </c:pt>
                <c:pt idx="723">
                  <c:v>9.9975500000000004</c:v>
                </c:pt>
                <c:pt idx="724">
                  <c:v>9.9776249999999997</c:v>
                </c:pt>
                <c:pt idx="725">
                  <c:v>10.015225000000001</c:v>
                </c:pt>
                <c:pt idx="726">
                  <c:v>9.7753250000000005</c:v>
                </c:pt>
                <c:pt idx="727">
                  <c:v>9.9122374999999998</c:v>
                </c:pt>
                <c:pt idx="728">
                  <c:v>9.6270375000000001</c:v>
                </c:pt>
                <c:pt idx="729">
                  <c:v>9.4119124999999997</c:v>
                </c:pt>
                <c:pt idx="730">
                  <c:v>9.3509250000000002</c:v>
                </c:pt>
                <c:pt idx="731">
                  <c:v>9.3699374999999989</c:v>
                </c:pt>
                <c:pt idx="732">
                  <c:v>9.3669000000000011</c:v>
                </c:pt>
                <c:pt idx="733">
                  <c:v>9.433325</c:v>
                </c:pt>
                <c:pt idx="734">
                  <c:v>9.4280625000000011</c:v>
                </c:pt>
                <c:pt idx="735">
                  <c:v>9.4097875000000002</c:v>
                </c:pt>
                <c:pt idx="736">
                  <c:v>9.4373500000000003</c:v>
                </c:pt>
                <c:pt idx="737">
                  <c:v>9.4610374999999998</c:v>
                </c:pt>
                <c:pt idx="738">
                  <c:v>9.4378999999999991</c:v>
                </c:pt>
                <c:pt idx="739">
                  <c:v>9.5722874999999998</c:v>
                </c:pt>
                <c:pt idx="740">
                  <c:v>9.5814374999999998</c:v>
                </c:pt>
                <c:pt idx="741">
                  <c:v>9.911975</c:v>
                </c:pt>
                <c:pt idx="742">
                  <c:v>10.0923625</c:v>
                </c:pt>
                <c:pt idx="743">
                  <c:v>10.242212500000001</c:v>
                </c:pt>
                <c:pt idx="744">
                  <c:v>10.0237625</c:v>
                </c:pt>
                <c:pt idx="745">
                  <c:v>10.0850875</c:v>
                </c:pt>
                <c:pt idx="746">
                  <c:v>10.117725</c:v>
                </c:pt>
                <c:pt idx="747">
                  <c:v>10.127275000000001</c:v>
                </c:pt>
                <c:pt idx="748">
                  <c:v>10.0299625</c:v>
                </c:pt>
                <c:pt idx="749">
                  <c:v>10.082862499999999</c:v>
                </c:pt>
                <c:pt idx="750">
                  <c:v>10.076812499999999</c:v>
                </c:pt>
                <c:pt idx="751">
                  <c:v>10.0602625</c:v>
                </c:pt>
                <c:pt idx="752">
                  <c:v>10.01435</c:v>
                </c:pt>
                <c:pt idx="753">
                  <c:v>9.9795875000000009</c:v>
                </c:pt>
                <c:pt idx="754">
                  <c:v>10.087775000000001</c:v>
                </c:pt>
                <c:pt idx="755">
                  <c:v>10.195399999999999</c:v>
                </c:pt>
                <c:pt idx="756">
                  <c:v>10.121600000000001</c:v>
                </c:pt>
                <c:pt idx="757">
                  <c:v>10.134162499999999</c:v>
                </c:pt>
                <c:pt idx="758">
                  <c:v>10.058024999999999</c:v>
                </c:pt>
                <c:pt idx="759">
                  <c:v>10.091362499999999</c:v>
                </c:pt>
                <c:pt idx="760">
                  <c:v>10.159262500000001</c:v>
                </c:pt>
                <c:pt idx="761">
                  <c:v>10.2642875</c:v>
                </c:pt>
                <c:pt idx="762">
                  <c:v>10.381599999999999</c:v>
                </c:pt>
                <c:pt idx="763">
                  <c:v>10.373249999999999</c:v>
                </c:pt>
                <c:pt idx="764">
                  <c:v>10.268712499999999</c:v>
                </c:pt>
                <c:pt idx="765">
                  <c:v>10.14875</c:v>
                </c:pt>
                <c:pt idx="766">
                  <c:v>10.276299999999999</c:v>
                </c:pt>
                <c:pt idx="767">
                  <c:v>10.081225</c:v>
                </c:pt>
                <c:pt idx="768">
                  <c:v>9.9251000000000005</c:v>
                </c:pt>
                <c:pt idx="769">
                  <c:v>10.1543375</c:v>
                </c:pt>
                <c:pt idx="770">
                  <c:v>10.20565</c:v>
                </c:pt>
                <c:pt idx="771">
                  <c:v>10.7384375</c:v>
                </c:pt>
                <c:pt idx="772">
                  <c:v>10.972637500000001</c:v>
                </c:pt>
                <c:pt idx="773">
                  <c:v>11.0964375</c:v>
                </c:pt>
                <c:pt idx="774">
                  <c:v>11.145687499999999</c:v>
                </c:pt>
                <c:pt idx="775">
                  <c:v>10.9877875</c:v>
                </c:pt>
                <c:pt idx="776">
                  <c:v>11.0613875</c:v>
                </c:pt>
                <c:pt idx="777">
                  <c:v>11.280025</c:v>
                </c:pt>
                <c:pt idx="778">
                  <c:v>11.367025000000002</c:v>
                </c:pt>
                <c:pt idx="779">
                  <c:v>11.5187375</c:v>
                </c:pt>
                <c:pt idx="780">
                  <c:v>11.163812500000001</c:v>
                </c:pt>
                <c:pt idx="781">
                  <c:v>11.259712499999999</c:v>
                </c:pt>
                <c:pt idx="782">
                  <c:v>11.336562499999999</c:v>
                </c:pt>
                <c:pt idx="783">
                  <c:v>11.222087500000001</c:v>
                </c:pt>
                <c:pt idx="784">
                  <c:v>11.171587500000001</c:v>
                </c:pt>
                <c:pt idx="785">
                  <c:v>10.894625000000001</c:v>
                </c:pt>
                <c:pt idx="786">
                  <c:v>10.892187499999999</c:v>
                </c:pt>
                <c:pt idx="787">
                  <c:v>10.949349999999999</c:v>
                </c:pt>
                <c:pt idx="788">
                  <c:v>10.925174999999999</c:v>
                </c:pt>
                <c:pt idx="789">
                  <c:v>10.795887500000001</c:v>
                </c:pt>
                <c:pt idx="790">
                  <c:v>10.9236375</c:v>
                </c:pt>
                <c:pt idx="791">
                  <c:v>10.946400000000001</c:v>
                </c:pt>
                <c:pt idx="792">
                  <c:v>11.013537500000002</c:v>
                </c:pt>
                <c:pt idx="793">
                  <c:v>10.89035</c:v>
                </c:pt>
                <c:pt idx="794">
                  <c:v>10.852012500000001</c:v>
                </c:pt>
                <c:pt idx="795">
                  <c:v>10.947825</c:v>
                </c:pt>
                <c:pt idx="796">
                  <c:v>11.092012499999999</c:v>
                </c:pt>
                <c:pt idx="797">
                  <c:v>11.106462499999999</c:v>
                </c:pt>
                <c:pt idx="798">
                  <c:v>10.979975</c:v>
                </c:pt>
                <c:pt idx="799">
                  <c:v>10.995225000000001</c:v>
                </c:pt>
                <c:pt idx="800">
                  <c:v>11.15105</c:v>
                </c:pt>
                <c:pt idx="801">
                  <c:v>11.084975</c:v>
                </c:pt>
                <c:pt idx="802">
                  <c:v>11.199512500000001</c:v>
                </c:pt>
                <c:pt idx="803">
                  <c:v>11.2580125</c:v>
                </c:pt>
                <c:pt idx="804">
                  <c:v>11.235250000000001</c:v>
                </c:pt>
                <c:pt idx="805">
                  <c:v>11.144100000000002</c:v>
                </c:pt>
                <c:pt idx="806">
                  <c:v>11.337250000000001</c:v>
                </c:pt>
                <c:pt idx="807">
                  <c:v>11.450312500000001</c:v>
                </c:pt>
                <c:pt idx="808">
                  <c:v>11.337700000000002</c:v>
                </c:pt>
                <c:pt idx="809">
                  <c:v>11.215737500000001</c:v>
                </c:pt>
                <c:pt idx="810">
                  <c:v>11.1433</c:v>
                </c:pt>
                <c:pt idx="811">
                  <c:v>11.096924999999999</c:v>
                </c:pt>
                <c:pt idx="812">
                  <c:v>11.2811375</c:v>
                </c:pt>
                <c:pt idx="813">
                  <c:v>11.304874999999999</c:v>
                </c:pt>
                <c:pt idx="814">
                  <c:v>11.3959875</c:v>
                </c:pt>
                <c:pt idx="815">
                  <c:v>11.507000000000001</c:v>
                </c:pt>
                <c:pt idx="816">
                  <c:v>11.7013</c:v>
                </c:pt>
                <c:pt idx="817">
                  <c:v>11.716337500000002</c:v>
                </c:pt>
                <c:pt idx="818">
                  <c:v>11.3408125</c:v>
                </c:pt>
                <c:pt idx="819">
                  <c:v>11.429612499999999</c:v>
                </c:pt>
                <c:pt idx="820">
                  <c:v>11.3525125</c:v>
                </c:pt>
                <c:pt idx="821">
                  <c:v>11.268025</c:v>
                </c:pt>
                <c:pt idx="822">
                  <c:v>11.3374875</c:v>
                </c:pt>
                <c:pt idx="823">
                  <c:v>10.9917625</c:v>
                </c:pt>
                <c:pt idx="824">
                  <c:v>10.833449999999999</c:v>
                </c:pt>
                <c:pt idx="825">
                  <c:v>10.2839125</c:v>
                </c:pt>
                <c:pt idx="826">
                  <c:v>10.323987499999999</c:v>
                </c:pt>
                <c:pt idx="827">
                  <c:v>10.3352875</c:v>
                </c:pt>
                <c:pt idx="828">
                  <c:v>10.275700000000001</c:v>
                </c:pt>
                <c:pt idx="829">
                  <c:v>10.3353375</c:v>
                </c:pt>
                <c:pt idx="830">
                  <c:v>10.28355</c:v>
                </c:pt>
                <c:pt idx="831">
                  <c:v>10.3635</c:v>
                </c:pt>
                <c:pt idx="832">
                  <c:v>10.266624999999999</c:v>
                </c:pt>
                <c:pt idx="833">
                  <c:v>10.2872</c:v>
                </c:pt>
                <c:pt idx="834">
                  <c:v>10.179124999999999</c:v>
                </c:pt>
                <c:pt idx="835">
                  <c:v>10.125624999999999</c:v>
                </c:pt>
                <c:pt idx="836">
                  <c:v>10.250475000000002</c:v>
                </c:pt>
                <c:pt idx="837">
                  <c:v>10.0130625</c:v>
                </c:pt>
                <c:pt idx="838">
                  <c:v>10.114100000000001</c:v>
                </c:pt>
                <c:pt idx="839">
                  <c:v>10.312162499999999</c:v>
                </c:pt>
                <c:pt idx="840">
                  <c:v>10.57605</c:v>
                </c:pt>
                <c:pt idx="841">
                  <c:v>10.566075</c:v>
                </c:pt>
                <c:pt idx="842">
                  <c:v>10.504149999999999</c:v>
                </c:pt>
                <c:pt idx="843">
                  <c:v>10.86515</c:v>
                </c:pt>
                <c:pt idx="844">
                  <c:v>10.959425</c:v>
                </c:pt>
                <c:pt idx="845">
                  <c:v>10.9062375</c:v>
                </c:pt>
                <c:pt idx="846">
                  <c:v>10.791912499999999</c:v>
                </c:pt>
                <c:pt idx="847">
                  <c:v>10.892374999999999</c:v>
                </c:pt>
                <c:pt idx="848">
                  <c:v>10.993525</c:v>
                </c:pt>
                <c:pt idx="849">
                  <c:v>10.888512499999999</c:v>
                </c:pt>
                <c:pt idx="850">
                  <c:v>10.836600000000001</c:v>
                </c:pt>
                <c:pt idx="851">
                  <c:v>10.557287500000001</c:v>
                </c:pt>
                <c:pt idx="852">
                  <c:v>10.599399999999999</c:v>
                </c:pt>
                <c:pt idx="853">
                  <c:v>10.493975000000001</c:v>
                </c:pt>
                <c:pt idx="854">
                  <c:v>10.393962499999999</c:v>
                </c:pt>
                <c:pt idx="855">
                  <c:v>10.479649999999999</c:v>
                </c:pt>
                <c:pt idx="856">
                  <c:v>10.7568</c:v>
                </c:pt>
                <c:pt idx="857">
                  <c:v>10.827662499999999</c:v>
                </c:pt>
                <c:pt idx="858">
                  <c:v>11.0124</c:v>
                </c:pt>
                <c:pt idx="859">
                  <c:v>10.6561875</c:v>
                </c:pt>
                <c:pt idx="860">
                  <c:v>11.1617</c:v>
                </c:pt>
                <c:pt idx="861">
                  <c:v>10.965612499999999</c:v>
                </c:pt>
                <c:pt idx="862">
                  <c:v>10.9087125</c:v>
                </c:pt>
                <c:pt idx="863">
                  <c:v>10.470912499999999</c:v>
                </c:pt>
                <c:pt idx="864">
                  <c:v>10.2534125</c:v>
                </c:pt>
                <c:pt idx="865">
                  <c:v>10.682849999999998</c:v>
                </c:pt>
                <c:pt idx="866">
                  <c:v>10.831675000000001</c:v>
                </c:pt>
                <c:pt idx="867">
                  <c:v>11.20645</c:v>
                </c:pt>
                <c:pt idx="868">
                  <c:v>11.370237500000002</c:v>
                </c:pt>
                <c:pt idx="869">
                  <c:v>11.578837499999999</c:v>
                </c:pt>
                <c:pt idx="870">
                  <c:v>11.665212500000001</c:v>
                </c:pt>
                <c:pt idx="871">
                  <c:v>12.345925000000001</c:v>
                </c:pt>
                <c:pt idx="872">
                  <c:v>12.366824999999999</c:v>
                </c:pt>
                <c:pt idx="873">
                  <c:v>12.401999999999999</c:v>
                </c:pt>
                <c:pt idx="874">
                  <c:v>12.202237499999999</c:v>
                </c:pt>
                <c:pt idx="875">
                  <c:v>12.361537500000001</c:v>
                </c:pt>
                <c:pt idx="876">
                  <c:v>12.109874999999999</c:v>
                </c:pt>
                <c:pt idx="877">
                  <c:v>12.18085</c:v>
                </c:pt>
                <c:pt idx="878">
                  <c:v>12.227012500000001</c:v>
                </c:pt>
                <c:pt idx="879">
                  <c:v>12.175650000000001</c:v>
                </c:pt>
                <c:pt idx="880">
                  <c:v>12.1915625</c:v>
                </c:pt>
                <c:pt idx="881">
                  <c:v>12.38355</c:v>
                </c:pt>
                <c:pt idx="882">
                  <c:v>12.545175</c:v>
                </c:pt>
                <c:pt idx="883">
                  <c:v>12.5474625</c:v>
                </c:pt>
                <c:pt idx="884">
                  <c:v>12.600200000000001</c:v>
                </c:pt>
                <c:pt idx="885">
                  <c:v>12.528275000000001</c:v>
                </c:pt>
                <c:pt idx="886">
                  <c:v>12.6862125</c:v>
                </c:pt>
                <c:pt idx="887">
                  <c:v>12.391649999999998</c:v>
                </c:pt>
                <c:pt idx="888">
                  <c:v>12.3373375</c:v>
                </c:pt>
                <c:pt idx="889">
                  <c:v>11.998412500000001</c:v>
                </c:pt>
                <c:pt idx="890">
                  <c:v>11.969574999999999</c:v>
                </c:pt>
              </c:numCache>
            </c:numRef>
          </c:val>
          <c:smooth val="0"/>
          <c:extLst>
            <c:ext xmlns:c16="http://schemas.microsoft.com/office/drawing/2014/chart" uri="{C3380CC4-5D6E-409C-BE32-E72D297353CC}">
              <c16:uniqueId val="{00000000-CFAF-4871-94AB-2241B485B6C7}"/>
            </c:ext>
          </c:extLst>
        </c:ser>
        <c:dLbls>
          <c:showLegendKey val="0"/>
          <c:showVal val="0"/>
          <c:showCatName val="0"/>
          <c:showSerName val="0"/>
          <c:showPercent val="0"/>
          <c:showBubbleSize val="0"/>
        </c:dLbls>
        <c:smooth val="0"/>
        <c:axId val="940975471"/>
        <c:axId val="940973551"/>
      </c:lineChart>
      <c:dateAx>
        <c:axId val="940975471"/>
        <c:scaling>
          <c:orientation val="minMax"/>
        </c:scaling>
        <c:delete val="0"/>
        <c:axPos val="b"/>
        <c:numFmt formatCode="yyyy"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40973551"/>
        <c:crosses val="autoZero"/>
        <c:auto val="1"/>
        <c:lblOffset val="100"/>
        <c:baseTimeUnit val="days"/>
        <c:majorUnit val="1"/>
        <c:majorTimeUnit val="years"/>
      </c:dateAx>
      <c:valAx>
        <c:axId val="940973551"/>
        <c:scaling>
          <c:orientation val="minMax"/>
          <c:max val="60"/>
          <c:min val="0"/>
        </c:scaling>
        <c:delete val="1"/>
        <c:axPos val="l"/>
        <c:numFmt formatCode="_(* #,##0.00_);_(* \(#,##0.00\);_(* &quot;-&quot;??_);_(@_)" sourceLinked="1"/>
        <c:majorTickMark val="none"/>
        <c:minorTickMark val="none"/>
        <c:tickLblPos val="nextTo"/>
        <c:crossAx val="940975471"/>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Formulations</c:v>
                </c:pt>
              </c:strCache>
            </c:strRef>
          </c:tx>
          <c:spPr>
            <a:ln w="28575" cap="rnd">
              <a:solidFill>
                <a:schemeClr val="accent1"/>
              </a:solidFill>
              <a:round/>
            </a:ln>
            <a:effectLst/>
          </c:spPr>
          <c:marker>
            <c:symbol val="none"/>
          </c:marker>
          <c:cat>
            <c:numRef>
              <c:f>Sheet1!$A$2:$A$892</c:f>
              <c:numCache>
                <c:formatCode>m/d/yyyy</c:formatCode>
                <c:ptCount val="891"/>
                <c:pt idx="0">
                  <c:v>45964</c:v>
                </c:pt>
                <c:pt idx="1">
                  <c:v>45961</c:v>
                </c:pt>
                <c:pt idx="2">
                  <c:v>45960</c:v>
                </c:pt>
                <c:pt idx="3">
                  <c:v>45959</c:v>
                </c:pt>
                <c:pt idx="4">
                  <c:v>45958</c:v>
                </c:pt>
                <c:pt idx="5">
                  <c:v>45957</c:v>
                </c:pt>
                <c:pt idx="6">
                  <c:v>45954</c:v>
                </c:pt>
                <c:pt idx="7">
                  <c:v>45953</c:v>
                </c:pt>
                <c:pt idx="8">
                  <c:v>45951</c:v>
                </c:pt>
                <c:pt idx="9">
                  <c:v>45950</c:v>
                </c:pt>
                <c:pt idx="10">
                  <c:v>45947</c:v>
                </c:pt>
                <c:pt idx="11">
                  <c:v>45946</c:v>
                </c:pt>
                <c:pt idx="12">
                  <c:v>45945</c:v>
                </c:pt>
                <c:pt idx="13">
                  <c:v>45944</c:v>
                </c:pt>
                <c:pt idx="14">
                  <c:v>45943</c:v>
                </c:pt>
                <c:pt idx="15">
                  <c:v>45940</c:v>
                </c:pt>
                <c:pt idx="16">
                  <c:v>45939</c:v>
                </c:pt>
                <c:pt idx="17">
                  <c:v>45938</c:v>
                </c:pt>
                <c:pt idx="18">
                  <c:v>45937</c:v>
                </c:pt>
                <c:pt idx="19">
                  <c:v>45936</c:v>
                </c:pt>
                <c:pt idx="20">
                  <c:v>45933</c:v>
                </c:pt>
                <c:pt idx="21">
                  <c:v>45931</c:v>
                </c:pt>
                <c:pt idx="22">
                  <c:v>45930</c:v>
                </c:pt>
                <c:pt idx="23">
                  <c:v>45929</c:v>
                </c:pt>
                <c:pt idx="24">
                  <c:v>45926</c:v>
                </c:pt>
                <c:pt idx="25">
                  <c:v>45925</c:v>
                </c:pt>
                <c:pt idx="26">
                  <c:v>45924</c:v>
                </c:pt>
                <c:pt idx="27">
                  <c:v>45923</c:v>
                </c:pt>
                <c:pt idx="28">
                  <c:v>45922</c:v>
                </c:pt>
                <c:pt idx="29">
                  <c:v>45919</c:v>
                </c:pt>
                <c:pt idx="30">
                  <c:v>45918</c:v>
                </c:pt>
                <c:pt idx="31">
                  <c:v>45917</c:v>
                </c:pt>
                <c:pt idx="32">
                  <c:v>45916</c:v>
                </c:pt>
                <c:pt idx="33">
                  <c:v>45915</c:v>
                </c:pt>
                <c:pt idx="34">
                  <c:v>45912</c:v>
                </c:pt>
                <c:pt idx="35">
                  <c:v>45911</c:v>
                </c:pt>
                <c:pt idx="36">
                  <c:v>45910</c:v>
                </c:pt>
                <c:pt idx="37">
                  <c:v>45909</c:v>
                </c:pt>
                <c:pt idx="38">
                  <c:v>45908</c:v>
                </c:pt>
                <c:pt idx="39">
                  <c:v>45905</c:v>
                </c:pt>
                <c:pt idx="40">
                  <c:v>45904</c:v>
                </c:pt>
                <c:pt idx="41">
                  <c:v>45903</c:v>
                </c:pt>
                <c:pt idx="42">
                  <c:v>45902</c:v>
                </c:pt>
                <c:pt idx="43">
                  <c:v>45901</c:v>
                </c:pt>
                <c:pt idx="44">
                  <c:v>45898</c:v>
                </c:pt>
                <c:pt idx="45">
                  <c:v>45897</c:v>
                </c:pt>
                <c:pt idx="46">
                  <c:v>45895</c:v>
                </c:pt>
                <c:pt idx="47">
                  <c:v>45894</c:v>
                </c:pt>
                <c:pt idx="48">
                  <c:v>45891</c:v>
                </c:pt>
                <c:pt idx="49">
                  <c:v>45890</c:v>
                </c:pt>
                <c:pt idx="50">
                  <c:v>45889</c:v>
                </c:pt>
                <c:pt idx="51">
                  <c:v>45888</c:v>
                </c:pt>
                <c:pt idx="52">
                  <c:v>45887</c:v>
                </c:pt>
                <c:pt idx="53">
                  <c:v>45883</c:v>
                </c:pt>
                <c:pt idx="54">
                  <c:v>45882</c:v>
                </c:pt>
                <c:pt idx="55">
                  <c:v>45881</c:v>
                </c:pt>
                <c:pt idx="56">
                  <c:v>45880</c:v>
                </c:pt>
                <c:pt idx="57">
                  <c:v>45877</c:v>
                </c:pt>
                <c:pt idx="58">
                  <c:v>45876</c:v>
                </c:pt>
                <c:pt idx="59">
                  <c:v>45875</c:v>
                </c:pt>
                <c:pt idx="60">
                  <c:v>45874</c:v>
                </c:pt>
                <c:pt idx="61">
                  <c:v>45873</c:v>
                </c:pt>
                <c:pt idx="62">
                  <c:v>45870</c:v>
                </c:pt>
                <c:pt idx="63">
                  <c:v>45869</c:v>
                </c:pt>
                <c:pt idx="64">
                  <c:v>45868</c:v>
                </c:pt>
                <c:pt idx="65">
                  <c:v>45867</c:v>
                </c:pt>
                <c:pt idx="66">
                  <c:v>45866</c:v>
                </c:pt>
                <c:pt idx="67">
                  <c:v>45863</c:v>
                </c:pt>
                <c:pt idx="68">
                  <c:v>45862</c:v>
                </c:pt>
                <c:pt idx="69">
                  <c:v>45861</c:v>
                </c:pt>
                <c:pt idx="70">
                  <c:v>45860</c:v>
                </c:pt>
                <c:pt idx="71">
                  <c:v>45859</c:v>
                </c:pt>
                <c:pt idx="72">
                  <c:v>45856</c:v>
                </c:pt>
                <c:pt idx="73">
                  <c:v>45855</c:v>
                </c:pt>
                <c:pt idx="74">
                  <c:v>45854</c:v>
                </c:pt>
                <c:pt idx="75">
                  <c:v>45853</c:v>
                </c:pt>
                <c:pt idx="76">
                  <c:v>45852</c:v>
                </c:pt>
                <c:pt idx="77">
                  <c:v>45849</c:v>
                </c:pt>
                <c:pt idx="78">
                  <c:v>45848</c:v>
                </c:pt>
                <c:pt idx="79">
                  <c:v>45847</c:v>
                </c:pt>
                <c:pt idx="80">
                  <c:v>45846</c:v>
                </c:pt>
                <c:pt idx="81">
                  <c:v>45845</c:v>
                </c:pt>
                <c:pt idx="82">
                  <c:v>45842</c:v>
                </c:pt>
                <c:pt idx="83">
                  <c:v>45841</c:v>
                </c:pt>
                <c:pt idx="84">
                  <c:v>45840</c:v>
                </c:pt>
                <c:pt idx="85">
                  <c:v>45839</c:v>
                </c:pt>
                <c:pt idx="86">
                  <c:v>45838</c:v>
                </c:pt>
                <c:pt idx="87">
                  <c:v>45835</c:v>
                </c:pt>
                <c:pt idx="88">
                  <c:v>45834</c:v>
                </c:pt>
                <c:pt idx="89">
                  <c:v>45833</c:v>
                </c:pt>
                <c:pt idx="90">
                  <c:v>45832</c:v>
                </c:pt>
                <c:pt idx="91">
                  <c:v>45831</c:v>
                </c:pt>
                <c:pt idx="92">
                  <c:v>45828</c:v>
                </c:pt>
                <c:pt idx="93">
                  <c:v>45827</c:v>
                </c:pt>
                <c:pt idx="94">
                  <c:v>45826</c:v>
                </c:pt>
                <c:pt idx="95">
                  <c:v>45825</c:v>
                </c:pt>
                <c:pt idx="96">
                  <c:v>45824</c:v>
                </c:pt>
                <c:pt idx="97">
                  <c:v>45821</c:v>
                </c:pt>
                <c:pt idx="98">
                  <c:v>45820</c:v>
                </c:pt>
                <c:pt idx="99">
                  <c:v>45819</c:v>
                </c:pt>
                <c:pt idx="100">
                  <c:v>45818</c:v>
                </c:pt>
                <c:pt idx="101">
                  <c:v>45817</c:v>
                </c:pt>
                <c:pt idx="102">
                  <c:v>45814</c:v>
                </c:pt>
                <c:pt idx="103">
                  <c:v>45813</c:v>
                </c:pt>
                <c:pt idx="104">
                  <c:v>45812</c:v>
                </c:pt>
                <c:pt idx="105">
                  <c:v>45811</c:v>
                </c:pt>
                <c:pt idx="106">
                  <c:v>45810</c:v>
                </c:pt>
                <c:pt idx="107">
                  <c:v>45807</c:v>
                </c:pt>
                <c:pt idx="108">
                  <c:v>45806</c:v>
                </c:pt>
                <c:pt idx="109">
                  <c:v>45805</c:v>
                </c:pt>
                <c:pt idx="110">
                  <c:v>45804</c:v>
                </c:pt>
                <c:pt idx="111">
                  <c:v>45803</c:v>
                </c:pt>
                <c:pt idx="112">
                  <c:v>45800</c:v>
                </c:pt>
                <c:pt idx="113">
                  <c:v>45799</c:v>
                </c:pt>
                <c:pt idx="114">
                  <c:v>45798</c:v>
                </c:pt>
                <c:pt idx="115">
                  <c:v>45797</c:v>
                </c:pt>
                <c:pt idx="116">
                  <c:v>45796</c:v>
                </c:pt>
                <c:pt idx="117">
                  <c:v>45793</c:v>
                </c:pt>
                <c:pt idx="118">
                  <c:v>45792</c:v>
                </c:pt>
                <c:pt idx="119">
                  <c:v>45791</c:v>
                </c:pt>
                <c:pt idx="120">
                  <c:v>45790</c:v>
                </c:pt>
                <c:pt idx="121">
                  <c:v>45789</c:v>
                </c:pt>
                <c:pt idx="122">
                  <c:v>45786</c:v>
                </c:pt>
                <c:pt idx="123">
                  <c:v>45785</c:v>
                </c:pt>
                <c:pt idx="124">
                  <c:v>45784</c:v>
                </c:pt>
                <c:pt idx="125">
                  <c:v>45783</c:v>
                </c:pt>
                <c:pt idx="126">
                  <c:v>45782</c:v>
                </c:pt>
                <c:pt idx="127">
                  <c:v>45779</c:v>
                </c:pt>
                <c:pt idx="128">
                  <c:v>45777</c:v>
                </c:pt>
                <c:pt idx="129">
                  <c:v>45776</c:v>
                </c:pt>
                <c:pt idx="130">
                  <c:v>45775</c:v>
                </c:pt>
                <c:pt idx="131">
                  <c:v>45772</c:v>
                </c:pt>
                <c:pt idx="132">
                  <c:v>45771</c:v>
                </c:pt>
                <c:pt idx="133">
                  <c:v>45770</c:v>
                </c:pt>
                <c:pt idx="134">
                  <c:v>45769</c:v>
                </c:pt>
                <c:pt idx="135">
                  <c:v>45768</c:v>
                </c:pt>
                <c:pt idx="136">
                  <c:v>45764</c:v>
                </c:pt>
                <c:pt idx="137">
                  <c:v>45763</c:v>
                </c:pt>
                <c:pt idx="138">
                  <c:v>45762</c:v>
                </c:pt>
                <c:pt idx="139">
                  <c:v>45758</c:v>
                </c:pt>
                <c:pt idx="140">
                  <c:v>45756</c:v>
                </c:pt>
                <c:pt idx="141">
                  <c:v>45755</c:v>
                </c:pt>
                <c:pt idx="142">
                  <c:v>45754</c:v>
                </c:pt>
                <c:pt idx="143">
                  <c:v>45751</c:v>
                </c:pt>
                <c:pt idx="144">
                  <c:v>45750</c:v>
                </c:pt>
                <c:pt idx="145">
                  <c:v>45749</c:v>
                </c:pt>
                <c:pt idx="146">
                  <c:v>45748</c:v>
                </c:pt>
                <c:pt idx="147">
                  <c:v>45744</c:v>
                </c:pt>
                <c:pt idx="148">
                  <c:v>45743</c:v>
                </c:pt>
                <c:pt idx="149">
                  <c:v>45742</c:v>
                </c:pt>
                <c:pt idx="150">
                  <c:v>45741</c:v>
                </c:pt>
                <c:pt idx="151">
                  <c:v>45740</c:v>
                </c:pt>
                <c:pt idx="152">
                  <c:v>45737</c:v>
                </c:pt>
                <c:pt idx="153">
                  <c:v>45736</c:v>
                </c:pt>
                <c:pt idx="154">
                  <c:v>45735</c:v>
                </c:pt>
                <c:pt idx="155">
                  <c:v>45734</c:v>
                </c:pt>
                <c:pt idx="156">
                  <c:v>45733</c:v>
                </c:pt>
                <c:pt idx="157">
                  <c:v>45729</c:v>
                </c:pt>
                <c:pt idx="158">
                  <c:v>45728</c:v>
                </c:pt>
                <c:pt idx="159">
                  <c:v>45727</c:v>
                </c:pt>
                <c:pt idx="160">
                  <c:v>45726</c:v>
                </c:pt>
                <c:pt idx="161">
                  <c:v>45723</c:v>
                </c:pt>
                <c:pt idx="162">
                  <c:v>45722</c:v>
                </c:pt>
                <c:pt idx="163">
                  <c:v>45721</c:v>
                </c:pt>
                <c:pt idx="164">
                  <c:v>45720</c:v>
                </c:pt>
                <c:pt idx="165">
                  <c:v>45719</c:v>
                </c:pt>
                <c:pt idx="166">
                  <c:v>45716</c:v>
                </c:pt>
                <c:pt idx="167">
                  <c:v>45715</c:v>
                </c:pt>
                <c:pt idx="168">
                  <c:v>45713</c:v>
                </c:pt>
                <c:pt idx="169">
                  <c:v>45712</c:v>
                </c:pt>
                <c:pt idx="170">
                  <c:v>45709</c:v>
                </c:pt>
                <c:pt idx="171">
                  <c:v>45708</c:v>
                </c:pt>
                <c:pt idx="172">
                  <c:v>45707</c:v>
                </c:pt>
                <c:pt idx="173">
                  <c:v>45706</c:v>
                </c:pt>
                <c:pt idx="174">
                  <c:v>45705</c:v>
                </c:pt>
                <c:pt idx="175">
                  <c:v>45702</c:v>
                </c:pt>
                <c:pt idx="176">
                  <c:v>45701</c:v>
                </c:pt>
                <c:pt idx="177">
                  <c:v>45700</c:v>
                </c:pt>
                <c:pt idx="178">
                  <c:v>45699</c:v>
                </c:pt>
                <c:pt idx="179">
                  <c:v>45698</c:v>
                </c:pt>
                <c:pt idx="180">
                  <c:v>45695</c:v>
                </c:pt>
                <c:pt idx="181">
                  <c:v>45694</c:v>
                </c:pt>
                <c:pt idx="182">
                  <c:v>45693</c:v>
                </c:pt>
                <c:pt idx="183">
                  <c:v>45692</c:v>
                </c:pt>
                <c:pt idx="184">
                  <c:v>45691</c:v>
                </c:pt>
                <c:pt idx="185">
                  <c:v>45689</c:v>
                </c:pt>
                <c:pt idx="186">
                  <c:v>45688</c:v>
                </c:pt>
                <c:pt idx="187">
                  <c:v>45687</c:v>
                </c:pt>
                <c:pt idx="188">
                  <c:v>45686</c:v>
                </c:pt>
                <c:pt idx="189">
                  <c:v>45685</c:v>
                </c:pt>
                <c:pt idx="190">
                  <c:v>45684</c:v>
                </c:pt>
                <c:pt idx="191">
                  <c:v>45681</c:v>
                </c:pt>
                <c:pt idx="192">
                  <c:v>45680</c:v>
                </c:pt>
                <c:pt idx="193">
                  <c:v>45679</c:v>
                </c:pt>
                <c:pt idx="194">
                  <c:v>45678</c:v>
                </c:pt>
                <c:pt idx="195">
                  <c:v>45677</c:v>
                </c:pt>
                <c:pt idx="196">
                  <c:v>45674</c:v>
                </c:pt>
                <c:pt idx="197">
                  <c:v>45673</c:v>
                </c:pt>
                <c:pt idx="198">
                  <c:v>45672</c:v>
                </c:pt>
                <c:pt idx="199">
                  <c:v>45671</c:v>
                </c:pt>
                <c:pt idx="200">
                  <c:v>45670</c:v>
                </c:pt>
                <c:pt idx="201">
                  <c:v>45667</c:v>
                </c:pt>
                <c:pt idx="202">
                  <c:v>45666</c:v>
                </c:pt>
                <c:pt idx="203">
                  <c:v>45665</c:v>
                </c:pt>
                <c:pt idx="204">
                  <c:v>45664</c:v>
                </c:pt>
                <c:pt idx="205">
                  <c:v>45663</c:v>
                </c:pt>
                <c:pt idx="206">
                  <c:v>45660</c:v>
                </c:pt>
                <c:pt idx="207">
                  <c:v>45659</c:v>
                </c:pt>
                <c:pt idx="208">
                  <c:v>45658</c:v>
                </c:pt>
                <c:pt idx="209">
                  <c:v>45657</c:v>
                </c:pt>
                <c:pt idx="210">
                  <c:v>45656</c:v>
                </c:pt>
                <c:pt idx="211">
                  <c:v>45653</c:v>
                </c:pt>
                <c:pt idx="212">
                  <c:v>45652</c:v>
                </c:pt>
                <c:pt idx="213">
                  <c:v>45650</c:v>
                </c:pt>
                <c:pt idx="214">
                  <c:v>45649</c:v>
                </c:pt>
                <c:pt idx="215">
                  <c:v>45646</c:v>
                </c:pt>
                <c:pt idx="216">
                  <c:v>45645</c:v>
                </c:pt>
                <c:pt idx="217">
                  <c:v>45644</c:v>
                </c:pt>
                <c:pt idx="218">
                  <c:v>45643</c:v>
                </c:pt>
                <c:pt idx="219">
                  <c:v>45642</c:v>
                </c:pt>
                <c:pt idx="220">
                  <c:v>45639</c:v>
                </c:pt>
                <c:pt idx="221">
                  <c:v>45638</c:v>
                </c:pt>
                <c:pt idx="222">
                  <c:v>45637</c:v>
                </c:pt>
                <c:pt idx="223">
                  <c:v>45636</c:v>
                </c:pt>
                <c:pt idx="224">
                  <c:v>45635</c:v>
                </c:pt>
                <c:pt idx="225">
                  <c:v>45632</c:v>
                </c:pt>
                <c:pt idx="226">
                  <c:v>45631</c:v>
                </c:pt>
                <c:pt idx="227">
                  <c:v>45630</c:v>
                </c:pt>
                <c:pt idx="228">
                  <c:v>45629</c:v>
                </c:pt>
                <c:pt idx="229">
                  <c:v>45628</c:v>
                </c:pt>
                <c:pt idx="230">
                  <c:v>45625</c:v>
                </c:pt>
                <c:pt idx="231">
                  <c:v>45624</c:v>
                </c:pt>
                <c:pt idx="232">
                  <c:v>45623</c:v>
                </c:pt>
                <c:pt idx="233">
                  <c:v>45622</c:v>
                </c:pt>
                <c:pt idx="234">
                  <c:v>45621</c:v>
                </c:pt>
                <c:pt idx="235">
                  <c:v>45618</c:v>
                </c:pt>
                <c:pt idx="236">
                  <c:v>45617</c:v>
                </c:pt>
                <c:pt idx="237">
                  <c:v>45615</c:v>
                </c:pt>
                <c:pt idx="238">
                  <c:v>45614</c:v>
                </c:pt>
                <c:pt idx="239">
                  <c:v>45610</c:v>
                </c:pt>
                <c:pt idx="240">
                  <c:v>45609</c:v>
                </c:pt>
                <c:pt idx="241">
                  <c:v>45608</c:v>
                </c:pt>
                <c:pt idx="242">
                  <c:v>45607</c:v>
                </c:pt>
                <c:pt idx="243">
                  <c:v>45604</c:v>
                </c:pt>
                <c:pt idx="244">
                  <c:v>45603</c:v>
                </c:pt>
                <c:pt idx="245">
                  <c:v>45602</c:v>
                </c:pt>
                <c:pt idx="246">
                  <c:v>45601</c:v>
                </c:pt>
                <c:pt idx="247">
                  <c:v>45600</c:v>
                </c:pt>
                <c:pt idx="248">
                  <c:v>45597</c:v>
                </c:pt>
                <c:pt idx="249">
                  <c:v>45596</c:v>
                </c:pt>
                <c:pt idx="250">
                  <c:v>45595</c:v>
                </c:pt>
                <c:pt idx="251">
                  <c:v>45594</c:v>
                </c:pt>
                <c:pt idx="252">
                  <c:v>45593</c:v>
                </c:pt>
                <c:pt idx="253">
                  <c:v>45590</c:v>
                </c:pt>
                <c:pt idx="254">
                  <c:v>45589</c:v>
                </c:pt>
                <c:pt idx="255">
                  <c:v>45588</c:v>
                </c:pt>
                <c:pt idx="256">
                  <c:v>45587</c:v>
                </c:pt>
                <c:pt idx="257">
                  <c:v>45586</c:v>
                </c:pt>
                <c:pt idx="258">
                  <c:v>45583</c:v>
                </c:pt>
                <c:pt idx="259">
                  <c:v>45582</c:v>
                </c:pt>
                <c:pt idx="260">
                  <c:v>45581</c:v>
                </c:pt>
                <c:pt idx="261">
                  <c:v>45580</c:v>
                </c:pt>
                <c:pt idx="262">
                  <c:v>45579</c:v>
                </c:pt>
                <c:pt idx="263">
                  <c:v>45576</c:v>
                </c:pt>
                <c:pt idx="264">
                  <c:v>45575</c:v>
                </c:pt>
                <c:pt idx="265">
                  <c:v>45574</c:v>
                </c:pt>
                <c:pt idx="266">
                  <c:v>45573</c:v>
                </c:pt>
                <c:pt idx="267">
                  <c:v>45572</c:v>
                </c:pt>
                <c:pt idx="268">
                  <c:v>45569</c:v>
                </c:pt>
                <c:pt idx="269">
                  <c:v>45568</c:v>
                </c:pt>
                <c:pt idx="270">
                  <c:v>45566</c:v>
                </c:pt>
                <c:pt idx="271">
                  <c:v>45565</c:v>
                </c:pt>
                <c:pt idx="272">
                  <c:v>45562</c:v>
                </c:pt>
                <c:pt idx="273">
                  <c:v>45561</c:v>
                </c:pt>
                <c:pt idx="274">
                  <c:v>45560</c:v>
                </c:pt>
                <c:pt idx="275">
                  <c:v>45559</c:v>
                </c:pt>
                <c:pt idx="276">
                  <c:v>45558</c:v>
                </c:pt>
                <c:pt idx="277">
                  <c:v>45555</c:v>
                </c:pt>
                <c:pt idx="278">
                  <c:v>45554</c:v>
                </c:pt>
                <c:pt idx="279">
                  <c:v>45553</c:v>
                </c:pt>
                <c:pt idx="280">
                  <c:v>45552</c:v>
                </c:pt>
                <c:pt idx="281">
                  <c:v>45551</c:v>
                </c:pt>
                <c:pt idx="282">
                  <c:v>45548</c:v>
                </c:pt>
                <c:pt idx="283">
                  <c:v>45547</c:v>
                </c:pt>
                <c:pt idx="284">
                  <c:v>45546</c:v>
                </c:pt>
                <c:pt idx="285">
                  <c:v>45545</c:v>
                </c:pt>
                <c:pt idx="286">
                  <c:v>45544</c:v>
                </c:pt>
                <c:pt idx="287">
                  <c:v>45541</c:v>
                </c:pt>
                <c:pt idx="288">
                  <c:v>45540</c:v>
                </c:pt>
                <c:pt idx="289">
                  <c:v>45539</c:v>
                </c:pt>
                <c:pt idx="290">
                  <c:v>45538</c:v>
                </c:pt>
                <c:pt idx="291">
                  <c:v>45537</c:v>
                </c:pt>
                <c:pt idx="292">
                  <c:v>45534</c:v>
                </c:pt>
                <c:pt idx="293">
                  <c:v>45533</c:v>
                </c:pt>
                <c:pt idx="294">
                  <c:v>45532</c:v>
                </c:pt>
                <c:pt idx="295">
                  <c:v>45531</c:v>
                </c:pt>
                <c:pt idx="296">
                  <c:v>45530</c:v>
                </c:pt>
                <c:pt idx="297">
                  <c:v>45527</c:v>
                </c:pt>
                <c:pt idx="298">
                  <c:v>45526</c:v>
                </c:pt>
                <c:pt idx="299">
                  <c:v>45525</c:v>
                </c:pt>
                <c:pt idx="300">
                  <c:v>45524</c:v>
                </c:pt>
                <c:pt idx="301">
                  <c:v>45523</c:v>
                </c:pt>
                <c:pt idx="302">
                  <c:v>45520</c:v>
                </c:pt>
                <c:pt idx="303">
                  <c:v>45518</c:v>
                </c:pt>
                <c:pt idx="304">
                  <c:v>45517</c:v>
                </c:pt>
                <c:pt idx="305">
                  <c:v>45516</c:v>
                </c:pt>
                <c:pt idx="306">
                  <c:v>45513</c:v>
                </c:pt>
                <c:pt idx="307">
                  <c:v>45512</c:v>
                </c:pt>
                <c:pt idx="308">
                  <c:v>45511</c:v>
                </c:pt>
                <c:pt idx="309">
                  <c:v>45510</c:v>
                </c:pt>
                <c:pt idx="310">
                  <c:v>45509</c:v>
                </c:pt>
                <c:pt idx="311">
                  <c:v>45506</c:v>
                </c:pt>
                <c:pt idx="312">
                  <c:v>45505</c:v>
                </c:pt>
                <c:pt idx="313">
                  <c:v>45504</c:v>
                </c:pt>
                <c:pt idx="314">
                  <c:v>45503</c:v>
                </c:pt>
                <c:pt idx="315">
                  <c:v>45502</c:v>
                </c:pt>
                <c:pt idx="316">
                  <c:v>45499</c:v>
                </c:pt>
                <c:pt idx="317">
                  <c:v>45498</c:v>
                </c:pt>
                <c:pt idx="318">
                  <c:v>45497</c:v>
                </c:pt>
                <c:pt idx="319">
                  <c:v>45496</c:v>
                </c:pt>
                <c:pt idx="320">
                  <c:v>45495</c:v>
                </c:pt>
                <c:pt idx="321">
                  <c:v>45492</c:v>
                </c:pt>
                <c:pt idx="322">
                  <c:v>45491</c:v>
                </c:pt>
                <c:pt idx="323">
                  <c:v>45489</c:v>
                </c:pt>
                <c:pt idx="324">
                  <c:v>45488</c:v>
                </c:pt>
                <c:pt idx="325">
                  <c:v>45485</c:v>
                </c:pt>
                <c:pt idx="326">
                  <c:v>45484</c:v>
                </c:pt>
                <c:pt idx="327">
                  <c:v>45483</c:v>
                </c:pt>
                <c:pt idx="328">
                  <c:v>45482</c:v>
                </c:pt>
                <c:pt idx="329">
                  <c:v>45481</c:v>
                </c:pt>
                <c:pt idx="330">
                  <c:v>45478</c:v>
                </c:pt>
                <c:pt idx="331">
                  <c:v>45477</c:v>
                </c:pt>
                <c:pt idx="332">
                  <c:v>45476</c:v>
                </c:pt>
                <c:pt idx="333">
                  <c:v>45475</c:v>
                </c:pt>
                <c:pt idx="334">
                  <c:v>45474</c:v>
                </c:pt>
                <c:pt idx="335">
                  <c:v>45471</c:v>
                </c:pt>
                <c:pt idx="336">
                  <c:v>45470</c:v>
                </c:pt>
                <c:pt idx="337">
                  <c:v>45469</c:v>
                </c:pt>
                <c:pt idx="338">
                  <c:v>45468</c:v>
                </c:pt>
                <c:pt idx="339">
                  <c:v>45467</c:v>
                </c:pt>
                <c:pt idx="340">
                  <c:v>45464</c:v>
                </c:pt>
                <c:pt idx="341">
                  <c:v>45463</c:v>
                </c:pt>
                <c:pt idx="342">
                  <c:v>45462</c:v>
                </c:pt>
                <c:pt idx="343">
                  <c:v>45461</c:v>
                </c:pt>
                <c:pt idx="344">
                  <c:v>45457</c:v>
                </c:pt>
                <c:pt idx="345">
                  <c:v>45456</c:v>
                </c:pt>
                <c:pt idx="346">
                  <c:v>45455</c:v>
                </c:pt>
                <c:pt idx="347">
                  <c:v>45454</c:v>
                </c:pt>
                <c:pt idx="348">
                  <c:v>45453</c:v>
                </c:pt>
                <c:pt idx="349">
                  <c:v>45450</c:v>
                </c:pt>
                <c:pt idx="350">
                  <c:v>45449</c:v>
                </c:pt>
                <c:pt idx="351">
                  <c:v>45448</c:v>
                </c:pt>
                <c:pt idx="352">
                  <c:v>45447</c:v>
                </c:pt>
                <c:pt idx="353">
                  <c:v>45446</c:v>
                </c:pt>
                <c:pt idx="354">
                  <c:v>45443</c:v>
                </c:pt>
                <c:pt idx="355">
                  <c:v>45442</c:v>
                </c:pt>
                <c:pt idx="356">
                  <c:v>45441</c:v>
                </c:pt>
                <c:pt idx="357">
                  <c:v>45440</c:v>
                </c:pt>
                <c:pt idx="358">
                  <c:v>45439</c:v>
                </c:pt>
                <c:pt idx="359">
                  <c:v>45436</c:v>
                </c:pt>
                <c:pt idx="360">
                  <c:v>45435</c:v>
                </c:pt>
                <c:pt idx="361">
                  <c:v>45434</c:v>
                </c:pt>
                <c:pt idx="362">
                  <c:v>45433</c:v>
                </c:pt>
                <c:pt idx="363">
                  <c:v>45430</c:v>
                </c:pt>
                <c:pt idx="364">
                  <c:v>45429</c:v>
                </c:pt>
                <c:pt idx="365">
                  <c:v>45428</c:v>
                </c:pt>
                <c:pt idx="366">
                  <c:v>45427</c:v>
                </c:pt>
                <c:pt idx="367">
                  <c:v>45426</c:v>
                </c:pt>
                <c:pt idx="368">
                  <c:v>45425</c:v>
                </c:pt>
                <c:pt idx="369">
                  <c:v>45422</c:v>
                </c:pt>
                <c:pt idx="370">
                  <c:v>45421</c:v>
                </c:pt>
                <c:pt idx="371">
                  <c:v>45420</c:v>
                </c:pt>
                <c:pt idx="372">
                  <c:v>45419</c:v>
                </c:pt>
                <c:pt idx="373">
                  <c:v>45418</c:v>
                </c:pt>
                <c:pt idx="374">
                  <c:v>45415</c:v>
                </c:pt>
                <c:pt idx="375">
                  <c:v>45414</c:v>
                </c:pt>
                <c:pt idx="376">
                  <c:v>45412</c:v>
                </c:pt>
                <c:pt idx="377">
                  <c:v>45411</c:v>
                </c:pt>
                <c:pt idx="378">
                  <c:v>45408</c:v>
                </c:pt>
                <c:pt idx="379">
                  <c:v>45407</c:v>
                </c:pt>
                <c:pt idx="380">
                  <c:v>45406</c:v>
                </c:pt>
                <c:pt idx="381">
                  <c:v>45405</c:v>
                </c:pt>
                <c:pt idx="382">
                  <c:v>45404</c:v>
                </c:pt>
                <c:pt idx="383">
                  <c:v>45401</c:v>
                </c:pt>
                <c:pt idx="384">
                  <c:v>45400</c:v>
                </c:pt>
                <c:pt idx="385">
                  <c:v>45398</c:v>
                </c:pt>
                <c:pt idx="386">
                  <c:v>45397</c:v>
                </c:pt>
                <c:pt idx="387">
                  <c:v>45394</c:v>
                </c:pt>
                <c:pt idx="388">
                  <c:v>45392</c:v>
                </c:pt>
                <c:pt idx="389">
                  <c:v>45391</c:v>
                </c:pt>
                <c:pt idx="390">
                  <c:v>45390</c:v>
                </c:pt>
                <c:pt idx="391">
                  <c:v>45387</c:v>
                </c:pt>
                <c:pt idx="392">
                  <c:v>45386</c:v>
                </c:pt>
                <c:pt idx="393">
                  <c:v>45385</c:v>
                </c:pt>
                <c:pt idx="394">
                  <c:v>45384</c:v>
                </c:pt>
                <c:pt idx="395">
                  <c:v>45383</c:v>
                </c:pt>
                <c:pt idx="396">
                  <c:v>45379</c:v>
                </c:pt>
                <c:pt idx="397">
                  <c:v>45378</c:v>
                </c:pt>
                <c:pt idx="398">
                  <c:v>45377</c:v>
                </c:pt>
                <c:pt idx="399">
                  <c:v>45373</c:v>
                </c:pt>
                <c:pt idx="400">
                  <c:v>45372</c:v>
                </c:pt>
                <c:pt idx="401">
                  <c:v>45371</c:v>
                </c:pt>
                <c:pt idx="402">
                  <c:v>45370</c:v>
                </c:pt>
                <c:pt idx="403">
                  <c:v>45369</c:v>
                </c:pt>
                <c:pt idx="404">
                  <c:v>45366</c:v>
                </c:pt>
                <c:pt idx="405">
                  <c:v>45365</c:v>
                </c:pt>
                <c:pt idx="406">
                  <c:v>45364</c:v>
                </c:pt>
                <c:pt idx="407">
                  <c:v>45363</c:v>
                </c:pt>
                <c:pt idx="408">
                  <c:v>45362</c:v>
                </c:pt>
                <c:pt idx="409">
                  <c:v>45358</c:v>
                </c:pt>
                <c:pt idx="410">
                  <c:v>45357</c:v>
                </c:pt>
                <c:pt idx="411">
                  <c:v>45356</c:v>
                </c:pt>
                <c:pt idx="412">
                  <c:v>45355</c:v>
                </c:pt>
                <c:pt idx="413">
                  <c:v>45353</c:v>
                </c:pt>
                <c:pt idx="414">
                  <c:v>45352</c:v>
                </c:pt>
                <c:pt idx="415">
                  <c:v>45351</c:v>
                </c:pt>
                <c:pt idx="416">
                  <c:v>45350</c:v>
                </c:pt>
                <c:pt idx="417">
                  <c:v>45349</c:v>
                </c:pt>
                <c:pt idx="418">
                  <c:v>45348</c:v>
                </c:pt>
                <c:pt idx="419">
                  <c:v>45345</c:v>
                </c:pt>
                <c:pt idx="420">
                  <c:v>45344</c:v>
                </c:pt>
                <c:pt idx="421">
                  <c:v>45343</c:v>
                </c:pt>
                <c:pt idx="422">
                  <c:v>45342</c:v>
                </c:pt>
                <c:pt idx="423">
                  <c:v>45341</c:v>
                </c:pt>
                <c:pt idx="424">
                  <c:v>45338</c:v>
                </c:pt>
                <c:pt idx="425">
                  <c:v>45337</c:v>
                </c:pt>
                <c:pt idx="426">
                  <c:v>45336</c:v>
                </c:pt>
                <c:pt idx="427">
                  <c:v>45335</c:v>
                </c:pt>
                <c:pt idx="428">
                  <c:v>45334</c:v>
                </c:pt>
                <c:pt idx="429">
                  <c:v>45331</c:v>
                </c:pt>
                <c:pt idx="430">
                  <c:v>45330</c:v>
                </c:pt>
                <c:pt idx="431">
                  <c:v>45329</c:v>
                </c:pt>
                <c:pt idx="432">
                  <c:v>45328</c:v>
                </c:pt>
                <c:pt idx="433">
                  <c:v>45327</c:v>
                </c:pt>
                <c:pt idx="434">
                  <c:v>45324</c:v>
                </c:pt>
                <c:pt idx="435">
                  <c:v>45323</c:v>
                </c:pt>
                <c:pt idx="436">
                  <c:v>45322</c:v>
                </c:pt>
                <c:pt idx="437">
                  <c:v>45321</c:v>
                </c:pt>
                <c:pt idx="438">
                  <c:v>45320</c:v>
                </c:pt>
                <c:pt idx="439">
                  <c:v>45316</c:v>
                </c:pt>
                <c:pt idx="440">
                  <c:v>45315</c:v>
                </c:pt>
                <c:pt idx="441">
                  <c:v>45314</c:v>
                </c:pt>
                <c:pt idx="442">
                  <c:v>45311</c:v>
                </c:pt>
                <c:pt idx="443">
                  <c:v>45310</c:v>
                </c:pt>
                <c:pt idx="444">
                  <c:v>45309</c:v>
                </c:pt>
                <c:pt idx="445">
                  <c:v>45308</c:v>
                </c:pt>
                <c:pt idx="446">
                  <c:v>45307</c:v>
                </c:pt>
                <c:pt idx="447">
                  <c:v>45306</c:v>
                </c:pt>
                <c:pt idx="448">
                  <c:v>45303</c:v>
                </c:pt>
                <c:pt idx="449">
                  <c:v>45302</c:v>
                </c:pt>
                <c:pt idx="450">
                  <c:v>45301</c:v>
                </c:pt>
                <c:pt idx="451">
                  <c:v>45300</c:v>
                </c:pt>
                <c:pt idx="452">
                  <c:v>45299</c:v>
                </c:pt>
                <c:pt idx="453">
                  <c:v>45296</c:v>
                </c:pt>
                <c:pt idx="454">
                  <c:v>45295</c:v>
                </c:pt>
                <c:pt idx="455">
                  <c:v>45294</c:v>
                </c:pt>
                <c:pt idx="456">
                  <c:v>45293</c:v>
                </c:pt>
                <c:pt idx="457">
                  <c:v>45292</c:v>
                </c:pt>
                <c:pt idx="458">
                  <c:v>45289</c:v>
                </c:pt>
                <c:pt idx="459">
                  <c:v>45288</c:v>
                </c:pt>
                <c:pt idx="460">
                  <c:v>45287</c:v>
                </c:pt>
                <c:pt idx="461">
                  <c:v>45286</c:v>
                </c:pt>
                <c:pt idx="462">
                  <c:v>45282</c:v>
                </c:pt>
                <c:pt idx="463">
                  <c:v>45281</c:v>
                </c:pt>
                <c:pt idx="464">
                  <c:v>45280</c:v>
                </c:pt>
                <c:pt idx="465">
                  <c:v>45279</c:v>
                </c:pt>
                <c:pt idx="466">
                  <c:v>45278</c:v>
                </c:pt>
                <c:pt idx="467">
                  <c:v>45275</c:v>
                </c:pt>
                <c:pt idx="468">
                  <c:v>45274</c:v>
                </c:pt>
                <c:pt idx="469">
                  <c:v>45273</c:v>
                </c:pt>
                <c:pt idx="470">
                  <c:v>45272</c:v>
                </c:pt>
                <c:pt idx="471">
                  <c:v>45271</c:v>
                </c:pt>
                <c:pt idx="472">
                  <c:v>45268</c:v>
                </c:pt>
                <c:pt idx="473">
                  <c:v>45267</c:v>
                </c:pt>
                <c:pt idx="474">
                  <c:v>45266</c:v>
                </c:pt>
                <c:pt idx="475">
                  <c:v>45265</c:v>
                </c:pt>
                <c:pt idx="476">
                  <c:v>45264</c:v>
                </c:pt>
                <c:pt idx="477">
                  <c:v>45261</c:v>
                </c:pt>
                <c:pt idx="478">
                  <c:v>45260</c:v>
                </c:pt>
                <c:pt idx="479">
                  <c:v>45259</c:v>
                </c:pt>
                <c:pt idx="480">
                  <c:v>45258</c:v>
                </c:pt>
                <c:pt idx="481">
                  <c:v>45254</c:v>
                </c:pt>
                <c:pt idx="482">
                  <c:v>45253</c:v>
                </c:pt>
                <c:pt idx="483">
                  <c:v>45252</c:v>
                </c:pt>
                <c:pt idx="484">
                  <c:v>45251</c:v>
                </c:pt>
                <c:pt idx="485">
                  <c:v>45250</c:v>
                </c:pt>
                <c:pt idx="486">
                  <c:v>45247</c:v>
                </c:pt>
                <c:pt idx="487">
                  <c:v>45246</c:v>
                </c:pt>
                <c:pt idx="488">
                  <c:v>45245</c:v>
                </c:pt>
                <c:pt idx="489">
                  <c:v>45243</c:v>
                </c:pt>
                <c:pt idx="490">
                  <c:v>45242</c:v>
                </c:pt>
                <c:pt idx="491">
                  <c:v>45240</c:v>
                </c:pt>
                <c:pt idx="492">
                  <c:v>45239</c:v>
                </c:pt>
                <c:pt idx="493">
                  <c:v>45238</c:v>
                </c:pt>
                <c:pt idx="494">
                  <c:v>45237</c:v>
                </c:pt>
                <c:pt idx="495">
                  <c:v>45236</c:v>
                </c:pt>
                <c:pt idx="496">
                  <c:v>45233</c:v>
                </c:pt>
                <c:pt idx="497">
                  <c:v>45232</c:v>
                </c:pt>
                <c:pt idx="498">
                  <c:v>45231</c:v>
                </c:pt>
                <c:pt idx="499">
                  <c:v>45230</c:v>
                </c:pt>
                <c:pt idx="500">
                  <c:v>45229</c:v>
                </c:pt>
                <c:pt idx="501">
                  <c:v>45226</c:v>
                </c:pt>
                <c:pt idx="502">
                  <c:v>45225</c:v>
                </c:pt>
                <c:pt idx="503">
                  <c:v>45224</c:v>
                </c:pt>
                <c:pt idx="504">
                  <c:v>45222</c:v>
                </c:pt>
                <c:pt idx="505">
                  <c:v>45219</c:v>
                </c:pt>
                <c:pt idx="506">
                  <c:v>45218</c:v>
                </c:pt>
                <c:pt idx="507">
                  <c:v>45217</c:v>
                </c:pt>
                <c:pt idx="508">
                  <c:v>45216</c:v>
                </c:pt>
                <c:pt idx="509">
                  <c:v>45215</c:v>
                </c:pt>
                <c:pt idx="510">
                  <c:v>45212</c:v>
                </c:pt>
                <c:pt idx="511">
                  <c:v>45211</c:v>
                </c:pt>
                <c:pt idx="512">
                  <c:v>45210</c:v>
                </c:pt>
                <c:pt idx="513">
                  <c:v>45209</c:v>
                </c:pt>
                <c:pt idx="514">
                  <c:v>45208</c:v>
                </c:pt>
                <c:pt idx="515">
                  <c:v>45205</c:v>
                </c:pt>
                <c:pt idx="516">
                  <c:v>45204</c:v>
                </c:pt>
                <c:pt idx="517">
                  <c:v>45203</c:v>
                </c:pt>
                <c:pt idx="518">
                  <c:v>45202</c:v>
                </c:pt>
                <c:pt idx="519">
                  <c:v>45198</c:v>
                </c:pt>
                <c:pt idx="520">
                  <c:v>45197</c:v>
                </c:pt>
                <c:pt idx="521">
                  <c:v>45196</c:v>
                </c:pt>
                <c:pt idx="522">
                  <c:v>45195</c:v>
                </c:pt>
                <c:pt idx="523">
                  <c:v>45194</c:v>
                </c:pt>
                <c:pt idx="524">
                  <c:v>45191</c:v>
                </c:pt>
                <c:pt idx="525">
                  <c:v>45190</c:v>
                </c:pt>
                <c:pt idx="526">
                  <c:v>45189</c:v>
                </c:pt>
                <c:pt idx="527">
                  <c:v>45187</c:v>
                </c:pt>
                <c:pt idx="528">
                  <c:v>45184</c:v>
                </c:pt>
                <c:pt idx="529">
                  <c:v>45183</c:v>
                </c:pt>
                <c:pt idx="530">
                  <c:v>45182</c:v>
                </c:pt>
                <c:pt idx="531">
                  <c:v>45181</c:v>
                </c:pt>
                <c:pt idx="532">
                  <c:v>45180</c:v>
                </c:pt>
                <c:pt idx="533">
                  <c:v>45177</c:v>
                </c:pt>
                <c:pt idx="534">
                  <c:v>45176</c:v>
                </c:pt>
                <c:pt idx="535">
                  <c:v>45175</c:v>
                </c:pt>
                <c:pt idx="536">
                  <c:v>45174</c:v>
                </c:pt>
                <c:pt idx="537">
                  <c:v>45173</c:v>
                </c:pt>
                <c:pt idx="538">
                  <c:v>45170</c:v>
                </c:pt>
                <c:pt idx="539">
                  <c:v>45169</c:v>
                </c:pt>
                <c:pt idx="540">
                  <c:v>45168</c:v>
                </c:pt>
                <c:pt idx="541">
                  <c:v>45167</c:v>
                </c:pt>
                <c:pt idx="542">
                  <c:v>45166</c:v>
                </c:pt>
                <c:pt idx="543">
                  <c:v>45163</c:v>
                </c:pt>
                <c:pt idx="544">
                  <c:v>45162</c:v>
                </c:pt>
                <c:pt idx="545">
                  <c:v>45161</c:v>
                </c:pt>
                <c:pt idx="546">
                  <c:v>45160</c:v>
                </c:pt>
                <c:pt idx="547">
                  <c:v>45159</c:v>
                </c:pt>
                <c:pt idx="548">
                  <c:v>45156</c:v>
                </c:pt>
                <c:pt idx="549">
                  <c:v>45155</c:v>
                </c:pt>
                <c:pt idx="550">
                  <c:v>45154</c:v>
                </c:pt>
                <c:pt idx="551">
                  <c:v>45152</c:v>
                </c:pt>
                <c:pt idx="552">
                  <c:v>45149</c:v>
                </c:pt>
                <c:pt idx="553">
                  <c:v>45148</c:v>
                </c:pt>
                <c:pt idx="554">
                  <c:v>45147</c:v>
                </c:pt>
                <c:pt idx="555">
                  <c:v>45146</c:v>
                </c:pt>
                <c:pt idx="556">
                  <c:v>45145</c:v>
                </c:pt>
                <c:pt idx="557">
                  <c:v>45142</c:v>
                </c:pt>
                <c:pt idx="558">
                  <c:v>45141</c:v>
                </c:pt>
                <c:pt idx="559">
                  <c:v>45140</c:v>
                </c:pt>
                <c:pt idx="560">
                  <c:v>45139</c:v>
                </c:pt>
                <c:pt idx="561">
                  <c:v>45138</c:v>
                </c:pt>
                <c:pt idx="562">
                  <c:v>45135</c:v>
                </c:pt>
                <c:pt idx="563">
                  <c:v>45134</c:v>
                </c:pt>
                <c:pt idx="564">
                  <c:v>45133</c:v>
                </c:pt>
                <c:pt idx="565">
                  <c:v>45132</c:v>
                </c:pt>
                <c:pt idx="566">
                  <c:v>45131</c:v>
                </c:pt>
                <c:pt idx="567">
                  <c:v>45128</c:v>
                </c:pt>
                <c:pt idx="568">
                  <c:v>45127</c:v>
                </c:pt>
                <c:pt idx="569">
                  <c:v>45126</c:v>
                </c:pt>
                <c:pt idx="570">
                  <c:v>45125</c:v>
                </c:pt>
                <c:pt idx="571">
                  <c:v>45124</c:v>
                </c:pt>
                <c:pt idx="572">
                  <c:v>45121</c:v>
                </c:pt>
                <c:pt idx="573">
                  <c:v>45120</c:v>
                </c:pt>
                <c:pt idx="574">
                  <c:v>45119</c:v>
                </c:pt>
                <c:pt idx="575">
                  <c:v>45118</c:v>
                </c:pt>
                <c:pt idx="576">
                  <c:v>45117</c:v>
                </c:pt>
                <c:pt idx="577">
                  <c:v>45114</c:v>
                </c:pt>
                <c:pt idx="578">
                  <c:v>45113</c:v>
                </c:pt>
                <c:pt idx="579">
                  <c:v>45112</c:v>
                </c:pt>
                <c:pt idx="580">
                  <c:v>45111</c:v>
                </c:pt>
                <c:pt idx="581">
                  <c:v>45110</c:v>
                </c:pt>
                <c:pt idx="582">
                  <c:v>45107</c:v>
                </c:pt>
                <c:pt idx="583">
                  <c:v>45105</c:v>
                </c:pt>
                <c:pt idx="584">
                  <c:v>45104</c:v>
                </c:pt>
                <c:pt idx="585">
                  <c:v>45103</c:v>
                </c:pt>
                <c:pt idx="586">
                  <c:v>45100</c:v>
                </c:pt>
                <c:pt idx="587">
                  <c:v>45099</c:v>
                </c:pt>
                <c:pt idx="588">
                  <c:v>45098</c:v>
                </c:pt>
                <c:pt idx="589">
                  <c:v>45097</c:v>
                </c:pt>
                <c:pt idx="590">
                  <c:v>45096</c:v>
                </c:pt>
                <c:pt idx="591">
                  <c:v>45093</c:v>
                </c:pt>
                <c:pt idx="592">
                  <c:v>45092</c:v>
                </c:pt>
                <c:pt idx="593">
                  <c:v>45091</c:v>
                </c:pt>
                <c:pt idx="594">
                  <c:v>45090</c:v>
                </c:pt>
                <c:pt idx="595">
                  <c:v>45089</c:v>
                </c:pt>
                <c:pt idx="596">
                  <c:v>45086</c:v>
                </c:pt>
                <c:pt idx="597">
                  <c:v>45085</c:v>
                </c:pt>
                <c:pt idx="598">
                  <c:v>45084</c:v>
                </c:pt>
                <c:pt idx="599">
                  <c:v>45083</c:v>
                </c:pt>
                <c:pt idx="600">
                  <c:v>45082</c:v>
                </c:pt>
                <c:pt idx="601">
                  <c:v>45079</c:v>
                </c:pt>
                <c:pt idx="602">
                  <c:v>45078</c:v>
                </c:pt>
                <c:pt idx="603">
                  <c:v>45077</c:v>
                </c:pt>
                <c:pt idx="604">
                  <c:v>45076</c:v>
                </c:pt>
                <c:pt idx="605">
                  <c:v>45075</c:v>
                </c:pt>
                <c:pt idx="606">
                  <c:v>45072</c:v>
                </c:pt>
                <c:pt idx="607">
                  <c:v>45071</c:v>
                </c:pt>
                <c:pt idx="608">
                  <c:v>45070</c:v>
                </c:pt>
                <c:pt idx="609">
                  <c:v>45069</c:v>
                </c:pt>
                <c:pt idx="610">
                  <c:v>45068</c:v>
                </c:pt>
                <c:pt idx="611">
                  <c:v>45065</c:v>
                </c:pt>
                <c:pt idx="612">
                  <c:v>45064</c:v>
                </c:pt>
                <c:pt idx="613">
                  <c:v>45063</c:v>
                </c:pt>
                <c:pt idx="614">
                  <c:v>45062</c:v>
                </c:pt>
                <c:pt idx="615">
                  <c:v>45061</c:v>
                </c:pt>
                <c:pt idx="616">
                  <c:v>45058</c:v>
                </c:pt>
                <c:pt idx="617">
                  <c:v>45057</c:v>
                </c:pt>
                <c:pt idx="618">
                  <c:v>45056</c:v>
                </c:pt>
                <c:pt idx="619">
                  <c:v>45055</c:v>
                </c:pt>
                <c:pt idx="620">
                  <c:v>45054</c:v>
                </c:pt>
                <c:pt idx="621">
                  <c:v>45051</c:v>
                </c:pt>
                <c:pt idx="622">
                  <c:v>45050</c:v>
                </c:pt>
                <c:pt idx="623">
                  <c:v>45049</c:v>
                </c:pt>
                <c:pt idx="624">
                  <c:v>45048</c:v>
                </c:pt>
                <c:pt idx="625">
                  <c:v>45044</c:v>
                </c:pt>
                <c:pt idx="626">
                  <c:v>45043</c:v>
                </c:pt>
                <c:pt idx="627">
                  <c:v>45042</c:v>
                </c:pt>
                <c:pt idx="628">
                  <c:v>45041</c:v>
                </c:pt>
                <c:pt idx="629">
                  <c:v>45040</c:v>
                </c:pt>
                <c:pt idx="630">
                  <c:v>45037</c:v>
                </c:pt>
                <c:pt idx="631">
                  <c:v>45036</c:v>
                </c:pt>
                <c:pt idx="632">
                  <c:v>45035</c:v>
                </c:pt>
                <c:pt idx="633">
                  <c:v>45034</c:v>
                </c:pt>
                <c:pt idx="634">
                  <c:v>45033</c:v>
                </c:pt>
                <c:pt idx="635">
                  <c:v>45029</c:v>
                </c:pt>
                <c:pt idx="636">
                  <c:v>45028</c:v>
                </c:pt>
                <c:pt idx="637">
                  <c:v>45027</c:v>
                </c:pt>
                <c:pt idx="638">
                  <c:v>45026</c:v>
                </c:pt>
                <c:pt idx="639">
                  <c:v>45022</c:v>
                </c:pt>
                <c:pt idx="640">
                  <c:v>45021</c:v>
                </c:pt>
                <c:pt idx="641">
                  <c:v>45019</c:v>
                </c:pt>
                <c:pt idx="642">
                  <c:v>45016</c:v>
                </c:pt>
                <c:pt idx="643">
                  <c:v>45014</c:v>
                </c:pt>
                <c:pt idx="644">
                  <c:v>45013</c:v>
                </c:pt>
                <c:pt idx="645">
                  <c:v>45012</c:v>
                </c:pt>
                <c:pt idx="646">
                  <c:v>45009</c:v>
                </c:pt>
                <c:pt idx="647">
                  <c:v>45008</c:v>
                </c:pt>
                <c:pt idx="648">
                  <c:v>45007</c:v>
                </c:pt>
                <c:pt idx="649">
                  <c:v>45006</c:v>
                </c:pt>
                <c:pt idx="650">
                  <c:v>45005</c:v>
                </c:pt>
                <c:pt idx="651">
                  <c:v>45002</c:v>
                </c:pt>
                <c:pt idx="652">
                  <c:v>45001</c:v>
                </c:pt>
                <c:pt idx="653">
                  <c:v>45000</c:v>
                </c:pt>
                <c:pt idx="654">
                  <c:v>44999</c:v>
                </c:pt>
                <c:pt idx="655">
                  <c:v>44998</c:v>
                </c:pt>
                <c:pt idx="656">
                  <c:v>44995</c:v>
                </c:pt>
                <c:pt idx="657">
                  <c:v>44994</c:v>
                </c:pt>
                <c:pt idx="658">
                  <c:v>44993</c:v>
                </c:pt>
                <c:pt idx="659">
                  <c:v>44991</c:v>
                </c:pt>
                <c:pt idx="660">
                  <c:v>44988</c:v>
                </c:pt>
                <c:pt idx="661">
                  <c:v>44987</c:v>
                </c:pt>
                <c:pt idx="662">
                  <c:v>44986</c:v>
                </c:pt>
                <c:pt idx="663">
                  <c:v>44985</c:v>
                </c:pt>
                <c:pt idx="664">
                  <c:v>44984</c:v>
                </c:pt>
                <c:pt idx="665">
                  <c:v>44981</c:v>
                </c:pt>
                <c:pt idx="666">
                  <c:v>44980</c:v>
                </c:pt>
                <c:pt idx="667">
                  <c:v>44979</c:v>
                </c:pt>
                <c:pt idx="668">
                  <c:v>44978</c:v>
                </c:pt>
                <c:pt idx="669">
                  <c:v>44977</c:v>
                </c:pt>
                <c:pt idx="670">
                  <c:v>44974</c:v>
                </c:pt>
                <c:pt idx="671">
                  <c:v>44973</c:v>
                </c:pt>
                <c:pt idx="672">
                  <c:v>44972</c:v>
                </c:pt>
                <c:pt idx="673">
                  <c:v>44971</c:v>
                </c:pt>
                <c:pt idx="674">
                  <c:v>44970</c:v>
                </c:pt>
                <c:pt idx="675">
                  <c:v>44967</c:v>
                </c:pt>
                <c:pt idx="676">
                  <c:v>44966</c:v>
                </c:pt>
                <c:pt idx="677">
                  <c:v>44965</c:v>
                </c:pt>
                <c:pt idx="678">
                  <c:v>44964</c:v>
                </c:pt>
                <c:pt idx="679">
                  <c:v>44963</c:v>
                </c:pt>
                <c:pt idx="680">
                  <c:v>44960</c:v>
                </c:pt>
                <c:pt idx="681">
                  <c:v>44959</c:v>
                </c:pt>
                <c:pt idx="682">
                  <c:v>44958</c:v>
                </c:pt>
                <c:pt idx="683">
                  <c:v>44957</c:v>
                </c:pt>
                <c:pt idx="684">
                  <c:v>44956</c:v>
                </c:pt>
                <c:pt idx="685">
                  <c:v>44953</c:v>
                </c:pt>
                <c:pt idx="686">
                  <c:v>44951</c:v>
                </c:pt>
                <c:pt idx="687">
                  <c:v>44950</c:v>
                </c:pt>
                <c:pt idx="688">
                  <c:v>44949</c:v>
                </c:pt>
                <c:pt idx="689">
                  <c:v>44946</c:v>
                </c:pt>
                <c:pt idx="690">
                  <c:v>44945</c:v>
                </c:pt>
                <c:pt idx="691">
                  <c:v>44944</c:v>
                </c:pt>
                <c:pt idx="692">
                  <c:v>44943</c:v>
                </c:pt>
                <c:pt idx="693">
                  <c:v>44942</c:v>
                </c:pt>
                <c:pt idx="694">
                  <c:v>44939</c:v>
                </c:pt>
                <c:pt idx="695">
                  <c:v>44938</c:v>
                </c:pt>
                <c:pt idx="696">
                  <c:v>44937</c:v>
                </c:pt>
                <c:pt idx="697">
                  <c:v>44936</c:v>
                </c:pt>
                <c:pt idx="698">
                  <c:v>44935</c:v>
                </c:pt>
                <c:pt idx="699">
                  <c:v>44932</c:v>
                </c:pt>
                <c:pt idx="700">
                  <c:v>44931</c:v>
                </c:pt>
                <c:pt idx="701">
                  <c:v>44930</c:v>
                </c:pt>
                <c:pt idx="702">
                  <c:v>44929</c:v>
                </c:pt>
                <c:pt idx="703">
                  <c:v>44928</c:v>
                </c:pt>
                <c:pt idx="704">
                  <c:v>44925</c:v>
                </c:pt>
                <c:pt idx="705">
                  <c:v>44924</c:v>
                </c:pt>
                <c:pt idx="706">
                  <c:v>44923</c:v>
                </c:pt>
                <c:pt idx="707">
                  <c:v>44922</c:v>
                </c:pt>
                <c:pt idx="708">
                  <c:v>44921</c:v>
                </c:pt>
                <c:pt idx="709">
                  <c:v>44918</c:v>
                </c:pt>
                <c:pt idx="710">
                  <c:v>44917</c:v>
                </c:pt>
                <c:pt idx="711">
                  <c:v>44916</c:v>
                </c:pt>
                <c:pt idx="712">
                  <c:v>44915</c:v>
                </c:pt>
                <c:pt idx="713">
                  <c:v>44914</c:v>
                </c:pt>
                <c:pt idx="714">
                  <c:v>44911</c:v>
                </c:pt>
                <c:pt idx="715">
                  <c:v>44910</c:v>
                </c:pt>
                <c:pt idx="716">
                  <c:v>44909</c:v>
                </c:pt>
                <c:pt idx="717">
                  <c:v>44908</c:v>
                </c:pt>
                <c:pt idx="718">
                  <c:v>44907</c:v>
                </c:pt>
                <c:pt idx="719">
                  <c:v>44904</c:v>
                </c:pt>
                <c:pt idx="720">
                  <c:v>44903</c:v>
                </c:pt>
                <c:pt idx="721">
                  <c:v>44902</c:v>
                </c:pt>
                <c:pt idx="722">
                  <c:v>44901</c:v>
                </c:pt>
                <c:pt idx="723">
                  <c:v>44900</c:v>
                </c:pt>
                <c:pt idx="724">
                  <c:v>44897</c:v>
                </c:pt>
                <c:pt idx="725">
                  <c:v>44896</c:v>
                </c:pt>
                <c:pt idx="726">
                  <c:v>44895</c:v>
                </c:pt>
                <c:pt idx="727">
                  <c:v>44894</c:v>
                </c:pt>
                <c:pt idx="728">
                  <c:v>44893</c:v>
                </c:pt>
                <c:pt idx="729">
                  <c:v>44890</c:v>
                </c:pt>
                <c:pt idx="730">
                  <c:v>44889</c:v>
                </c:pt>
                <c:pt idx="731">
                  <c:v>44888</c:v>
                </c:pt>
                <c:pt idx="732">
                  <c:v>44887</c:v>
                </c:pt>
                <c:pt idx="733">
                  <c:v>44886</c:v>
                </c:pt>
                <c:pt idx="734">
                  <c:v>44883</c:v>
                </c:pt>
                <c:pt idx="735">
                  <c:v>44882</c:v>
                </c:pt>
                <c:pt idx="736">
                  <c:v>44881</c:v>
                </c:pt>
                <c:pt idx="737">
                  <c:v>44880</c:v>
                </c:pt>
                <c:pt idx="738">
                  <c:v>44879</c:v>
                </c:pt>
                <c:pt idx="739">
                  <c:v>44876</c:v>
                </c:pt>
                <c:pt idx="740">
                  <c:v>44875</c:v>
                </c:pt>
                <c:pt idx="741">
                  <c:v>44874</c:v>
                </c:pt>
                <c:pt idx="742">
                  <c:v>44872</c:v>
                </c:pt>
                <c:pt idx="743">
                  <c:v>44869</c:v>
                </c:pt>
                <c:pt idx="744">
                  <c:v>44868</c:v>
                </c:pt>
                <c:pt idx="745">
                  <c:v>44867</c:v>
                </c:pt>
                <c:pt idx="746">
                  <c:v>44866</c:v>
                </c:pt>
                <c:pt idx="747">
                  <c:v>44865</c:v>
                </c:pt>
                <c:pt idx="748">
                  <c:v>44862</c:v>
                </c:pt>
                <c:pt idx="749">
                  <c:v>44861</c:v>
                </c:pt>
                <c:pt idx="750">
                  <c:v>44859</c:v>
                </c:pt>
                <c:pt idx="751">
                  <c:v>44858</c:v>
                </c:pt>
                <c:pt idx="752">
                  <c:v>44855</c:v>
                </c:pt>
                <c:pt idx="753">
                  <c:v>44854</c:v>
                </c:pt>
                <c:pt idx="754">
                  <c:v>44853</c:v>
                </c:pt>
                <c:pt idx="755">
                  <c:v>44852</c:v>
                </c:pt>
                <c:pt idx="756">
                  <c:v>44851</c:v>
                </c:pt>
                <c:pt idx="757">
                  <c:v>44848</c:v>
                </c:pt>
                <c:pt idx="758">
                  <c:v>44847</c:v>
                </c:pt>
                <c:pt idx="759">
                  <c:v>44846</c:v>
                </c:pt>
                <c:pt idx="760">
                  <c:v>44845</c:v>
                </c:pt>
                <c:pt idx="761">
                  <c:v>44844</c:v>
                </c:pt>
                <c:pt idx="762">
                  <c:v>44841</c:v>
                </c:pt>
                <c:pt idx="763">
                  <c:v>44840</c:v>
                </c:pt>
                <c:pt idx="764">
                  <c:v>44838</c:v>
                </c:pt>
                <c:pt idx="765">
                  <c:v>44837</c:v>
                </c:pt>
                <c:pt idx="766">
                  <c:v>44834</c:v>
                </c:pt>
                <c:pt idx="767">
                  <c:v>44833</c:v>
                </c:pt>
                <c:pt idx="768">
                  <c:v>44832</c:v>
                </c:pt>
                <c:pt idx="769">
                  <c:v>44831</c:v>
                </c:pt>
                <c:pt idx="770">
                  <c:v>44830</c:v>
                </c:pt>
                <c:pt idx="771">
                  <c:v>44827</c:v>
                </c:pt>
                <c:pt idx="772">
                  <c:v>44826</c:v>
                </c:pt>
                <c:pt idx="773">
                  <c:v>44825</c:v>
                </c:pt>
                <c:pt idx="774">
                  <c:v>44824</c:v>
                </c:pt>
                <c:pt idx="775">
                  <c:v>44823</c:v>
                </c:pt>
                <c:pt idx="776">
                  <c:v>44820</c:v>
                </c:pt>
                <c:pt idx="777">
                  <c:v>44819</c:v>
                </c:pt>
                <c:pt idx="778">
                  <c:v>44818</c:v>
                </c:pt>
                <c:pt idx="779">
                  <c:v>44817</c:v>
                </c:pt>
                <c:pt idx="780">
                  <c:v>44816</c:v>
                </c:pt>
                <c:pt idx="781">
                  <c:v>44813</c:v>
                </c:pt>
                <c:pt idx="782">
                  <c:v>44812</c:v>
                </c:pt>
                <c:pt idx="783">
                  <c:v>44811</c:v>
                </c:pt>
                <c:pt idx="784">
                  <c:v>44810</c:v>
                </c:pt>
                <c:pt idx="785">
                  <c:v>44809</c:v>
                </c:pt>
                <c:pt idx="786">
                  <c:v>44806</c:v>
                </c:pt>
                <c:pt idx="787">
                  <c:v>44805</c:v>
                </c:pt>
                <c:pt idx="788">
                  <c:v>44803</c:v>
                </c:pt>
                <c:pt idx="789">
                  <c:v>44802</c:v>
                </c:pt>
                <c:pt idx="790">
                  <c:v>44799</c:v>
                </c:pt>
                <c:pt idx="791">
                  <c:v>44798</c:v>
                </c:pt>
                <c:pt idx="792">
                  <c:v>44797</c:v>
                </c:pt>
                <c:pt idx="793">
                  <c:v>44796</c:v>
                </c:pt>
                <c:pt idx="794">
                  <c:v>44795</c:v>
                </c:pt>
                <c:pt idx="795">
                  <c:v>44792</c:v>
                </c:pt>
                <c:pt idx="796">
                  <c:v>44791</c:v>
                </c:pt>
                <c:pt idx="797">
                  <c:v>44790</c:v>
                </c:pt>
                <c:pt idx="798">
                  <c:v>44789</c:v>
                </c:pt>
                <c:pt idx="799">
                  <c:v>44785</c:v>
                </c:pt>
                <c:pt idx="800">
                  <c:v>44784</c:v>
                </c:pt>
                <c:pt idx="801">
                  <c:v>44783</c:v>
                </c:pt>
                <c:pt idx="802">
                  <c:v>44781</c:v>
                </c:pt>
                <c:pt idx="803">
                  <c:v>44778</c:v>
                </c:pt>
                <c:pt idx="804">
                  <c:v>44777</c:v>
                </c:pt>
                <c:pt idx="805">
                  <c:v>44776</c:v>
                </c:pt>
                <c:pt idx="806">
                  <c:v>44775</c:v>
                </c:pt>
                <c:pt idx="807">
                  <c:v>44774</c:v>
                </c:pt>
                <c:pt idx="808">
                  <c:v>44771</c:v>
                </c:pt>
                <c:pt idx="809">
                  <c:v>44770</c:v>
                </c:pt>
                <c:pt idx="810">
                  <c:v>44769</c:v>
                </c:pt>
                <c:pt idx="811">
                  <c:v>44768</c:v>
                </c:pt>
                <c:pt idx="812">
                  <c:v>44767</c:v>
                </c:pt>
                <c:pt idx="813">
                  <c:v>44764</c:v>
                </c:pt>
                <c:pt idx="814">
                  <c:v>44763</c:v>
                </c:pt>
                <c:pt idx="815">
                  <c:v>44762</c:v>
                </c:pt>
                <c:pt idx="816">
                  <c:v>44761</c:v>
                </c:pt>
                <c:pt idx="817">
                  <c:v>44760</c:v>
                </c:pt>
                <c:pt idx="818">
                  <c:v>44757</c:v>
                </c:pt>
                <c:pt idx="819">
                  <c:v>44756</c:v>
                </c:pt>
                <c:pt idx="820">
                  <c:v>44755</c:v>
                </c:pt>
                <c:pt idx="821">
                  <c:v>44754</c:v>
                </c:pt>
                <c:pt idx="822">
                  <c:v>44753</c:v>
                </c:pt>
                <c:pt idx="823">
                  <c:v>44750</c:v>
                </c:pt>
                <c:pt idx="824">
                  <c:v>44749</c:v>
                </c:pt>
                <c:pt idx="825">
                  <c:v>44748</c:v>
                </c:pt>
                <c:pt idx="826">
                  <c:v>44747</c:v>
                </c:pt>
                <c:pt idx="827">
                  <c:v>44746</c:v>
                </c:pt>
                <c:pt idx="828">
                  <c:v>44743</c:v>
                </c:pt>
                <c:pt idx="829">
                  <c:v>44742</c:v>
                </c:pt>
                <c:pt idx="830">
                  <c:v>44741</c:v>
                </c:pt>
                <c:pt idx="831">
                  <c:v>44740</c:v>
                </c:pt>
                <c:pt idx="832">
                  <c:v>44739</c:v>
                </c:pt>
                <c:pt idx="833">
                  <c:v>44736</c:v>
                </c:pt>
                <c:pt idx="834">
                  <c:v>44735</c:v>
                </c:pt>
                <c:pt idx="835">
                  <c:v>44734</c:v>
                </c:pt>
                <c:pt idx="836">
                  <c:v>44733</c:v>
                </c:pt>
                <c:pt idx="837">
                  <c:v>44732</c:v>
                </c:pt>
                <c:pt idx="838">
                  <c:v>44729</c:v>
                </c:pt>
                <c:pt idx="839">
                  <c:v>44728</c:v>
                </c:pt>
                <c:pt idx="840">
                  <c:v>44727</c:v>
                </c:pt>
                <c:pt idx="841">
                  <c:v>44726</c:v>
                </c:pt>
                <c:pt idx="842">
                  <c:v>44725</c:v>
                </c:pt>
                <c:pt idx="843">
                  <c:v>44722</c:v>
                </c:pt>
                <c:pt idx="844">
                  <c:v>44721</c:v>
                </c:pt>
                <c:pt idx="845">
                  <c:v>44720</c:v>
                </c:pt>
                <c:pt idx="846">
                  <c:v>44719</c:v>
                </c:pt>
                <c:pt idx="847">
                  <c:v>44718</c:v>
                </c:pt>
                <c:pt idx="848">
                  <c:v>44715</c:v>
                </c:pt>
                <c:pt idx="849">
                  <c:v>44714</c:v>
                </c:pt>
                <c:pt idx="850">
                  <c:v>44713</c:v>
                </c:pt>
                <c:pt idx="851">
                  <c:v>44712</c:v>
                </c:pt>
                <c:pt idx="852">
                  <c:v>44711</c:v>
                </c:pt>
                <c:pt idx="853">
                  <c:v>44708</c:v>
                </c:pt>
                <c:pt idx="854">
                  <c:v>44707</c:v>
                </c:pt>
                <c:pt idx="855">
                  <c:v>44706</c:v>
                </c:pt>
                <c:pt idx="856">
                  <c:v>44705</c:v>
                </c:pt>
                <c:pt idx="857">
                  <c:v>44704</c:v>
                </c:pt>
                <c:pt idx="858">
                  <c:v>44701</c:v>
                </c:pt>
                <c:pt idx="859">
                  <c:v>44700</c:v>
                </c:pt>
                <c:pt idx="860">
                  <c:v>44699</c:v>
                </c:pt>
                <c:pt idx="861">
                  <c:v>44698</c:v>
                </c:pt>
                <c:pt idx="862">
                  <c:v>44697</c:v>
                </c:pt>
                <c:pt idx="863">
                  <c:v>44694</c:v>
                </c:pt>
                <c:pt idx="864">
                  <c:v>44693</c:v>
                </c:pt>
                <c:pt idx="865">
                  <c:v>44692</c:v>
                </c:pt>
                <c:pt idx="866">
                  <c:v>44691</c:v>
                </c:pt>
                <c:pt idx="867">
                  <c:v>44690</c:v>
                </c:pt>
                <c:pt idx="868">
                  <c:v>44687</c:v>
                </c:pt>
                <c:pt idx="869">
                  <c:v>44686</c:v>
                </c:pt>
                <c:pt idx="870">
                  <c:v>44685</c:v>
                </c:pt>
                <c:pt idx="871">
                  <c:v>44683</c:v>
                </c:pt>
                <c:pt idx="872">
                  <c:v>44680</c:v>
                </c:pt>
                <c:pt idx="873">
                  <c:v>44679</c:v>
                </c:pt>
                <c:pt idx="874">
                  <c:v>44678</c:v>
                </c:pt>
                <c:pt idx="875">
                  <c:v>44677</c:v>
                </c:pt>
                <c:pt idx="876">
                  <c:v>44676</c:v>
                </c:pt>
                <c:pt idx="877">
                  <c:v>44673</c:v>
                </c:pt>
                <c:pt idx="878">
                  <c:v>44672</c:v>
                </c:pt>
                <c:pt idx="879">
                  <c:v>44671</c:v>
                </c:pt>
                <c:pt idx="880">
                  <c:v>44670</c:v>
                </c:pt>
                <c:pt idx="881">
                  <c:v>44669</c:v>
                </c:pt>
                <c:pt idx="882">
                  <c:v>44664</c:v>
                </c:pt>
                <c:pt idx="883">
                  <c:v>44663</c:v>
                </c:pt>
                <c:pt idx="884">
                  <c:v>44662</c:v>
                </c:pt>
                <c:pt idx="885">
                  <c:v>44659</c:v>
                </c:pt>
                <c:pt idx="886">
                  <c:v>44658</c:v>
                </c:pt>
                <c:pt idx="887">
                  <c:v>44657</c:v>
                </c:pt>
                <c:pt idx="888">
                  <c:v>44656</c:v>
                </c:pt>
                <c:pt idx="889">
                  <c:v>44655</c:v>
                </c:pt>
                <c:pt idx="890">
                  <c:v>44652</c:v>
                </c:pt>
              </c:numCache>
            </c:numRef>
          </c:cat>
          <c:val>
            <c:numRef>
              <c:f>Sheet1!$B$2:$B$892</c:f>
              <c:numCache>
                <c:formatCode>_(* #,##0.00_);_(* \(#,##0.00\);_(* "-"??_);_(@_)</c:formatCode>
                <c:ptCount val="891"/>
                <c:pt idx="0">
                  <c:v>26.203366666666668</c:v>
                </c:pt>
                <c:pt idx="1">
                  <c:v>25.869616666666669</c:v>
                </c:pt>
                <c:pt idx="2">
                  <c:v>26.234183333333334</c:v>
                </c:pt>
                <c:pt idx="3">
                  <c:v>26.233050000000002</c:v>
                </c:pt>
                <c:pt idx="4">
                  <c:v>25.985383333333331</c:v>
                </c:pt>
                <c:pt idx="5">
                  <c:v>26.155983333333335</c:v>
                </c:pt>
                <c:pt idx="6">
                  <c:v>26.138449999999995</c:v>
                </c:pt>
                <c:pt idx="7">
                  <c:v>26.306950000000001</c:v>
                </c:pt>
                <c:pt idx="8">
                  <c:v>26.234483333333333</c:v>
                </c:pt>
                <c:pt idx="9">
                  <c:v>26.232266666666671</c:v>
                </c:pt>
                <c:pt idx="10">
                  <c:v>26.244833333333332</c:v>
                </c:pt>
                <c:pt idx="11">
                  <c:v>26.010549999999999</c:v>
                </c:pt>
                <c:pt idx="12">
                  <c:v>26.038499999999999</c:v>
                </c:pt>
                <c:pt idx="13">
                  <c:v>25.907349999999997</c:v>
                </c:pt>
                <c:pt idx="14">
                  <c:v>26.003183333333336</c:v>
                </c:pt>
                <c:pt idx="15">
                  <c:v>26.143249999999998</c:v>
                </c:pt>
                <c:pt idx="16">
                  <c:v>26.162449999999996</c:v>
                </c:pt>
                <c:pt idx="17">
                  <c:v>26.151066666666665</c:v>
                </c:pt>
                <c:pt idx="18">
                  <c:v>26.161383333333333</c:v>
                </c:pt>
                <c:pt idx="19">
                  <c:v>26.171533333333333</c:v>
                </c:pt>
                <c:pt idx="20">
                  <c:v>25.885999999999996</c:v>
                </c:pt>
                <c:pt idx="21">
                  <c:v>26.01121666666667</c:v>
                </c:pt>
                <c:pt idx="22">
                  <c:v>25.942350000000001</c:v>
                </c:pt>
                <c:pt idx="23">
                  <c:v>25.909000000000002</c:v>
                </c:pt>
                <c:pt idx="24">
                  <c:v>25.884150000000002</c:v>
                </c:pt>
                <c:pt idx="25">
                  <c:v>26.160833333333329</c:v>
                </c:pt>
                <c:pt idx="26">
                  <c:v>26.424266666666668</c:v>
                </c:pt>
                <c:pt idx="27">
                  <c:v>26.59985</c:v>
                </c:pt>
                <c:pt idx="28">
                  <c:v>26.612283333333327</c:v>
                </c:pt>
                <c:pt idx="29">
                  <c:v>26.77473333333333</c:v>
                </c:pt>
                <c:pt idx="30">
                  <c:v>26.518283333333329</c:v>
                </c:pt>
                <c:pt idx="31">
                  <c:v>26.415633333333332</c:v>
                </c:pt>
                <c:pt idx="32">
                  <c:v>26.437416666666667</c:v>
                </c:pt>
                <c:pt idx="33">
                  <c:v>26.460366666666669</c:v>
                </c:pt>
                <c:pt idx="34">
                  <c:v>26.506649999999997</c:v>
                </c:pt>
                <c:pt idx="35">
                  <c:v>26.652716666666667</c:v>
                </c:pt>
                <c:pt idx="36">
                  <c:v>26.633500000000002</c:v>
                </c:pt>
                <c:pt idx="37">
                  <c:v>26.777150000000002</c:v>
                </c:pt>
                <c:pt idx="38">
                  <c:v>26.636616666666665</c:v>
                </c:pt>
                <c:pt idx="39">
                  <c:v>26.591266666666666</c:v>
                </c:pt>
                <c:pt idx="40">
                  <c:v>26.717533333333332</c:v>
                </c:pt>
                <c:pt idx="41">
                  <c:v>26.754050000000003</c:v>
                </c:pt>
                <c:pt idx="42">
                  <c:v>26.583766666666666</c:v>
                </c:pt>
                <c:pt idx="43">
                  <c:v>26.648966666666666</c:v>
                </c:pt>
                <c:pt idx="44">
                  <c:v>26.603149999999999</c:v>
                </c:pt>
                <c:pt idx="45">
                  <c:v>26.711633333333335</c:v>
                </c:pt>
                <c:pt idx="46">
                  <c:v>26.9756</c:v>
                </c:pt>
                <c:pt idx="47">
                  <c:v>27.302233333333334</c:v>
                </c:pt>
                <c:pt idx="48">
                  <c:v>27.351633333333336</c:v>
                </c:pt>
                <c:pt idx="49">
                  <c:v>27.139883333333334</c:v>
                </c:pt>
                <c:pt idx="50">
                  <c:v>27.04388333333333</c:v>
                </c:pt>
                <c:pt idx="51">
                  <c:v>26.891383333333334</c:v>
                </c:pt>
                <c:pt idx="52">
                  <c:v>26.730066666666669</c:v>
                </c:pt>
                <c:pt idx="53">
                  <c:v>26.58648333333333</c:v>
                </c:pt>
                <c:pt idx="54">
                  <c:v>26.571516666666668</c:v>
                </c:pt>
                <c:pt idx="55">
                  <c:v>26.209483333333338</c:v>
                </c:pt>
                <c:pt idx="56">
                  <c:v>26.040666666666667</c:v>
                </c:pt>
                <c:pt idx="57">
                  <c:v>25.915083333333339</c:v>
                </c:pt>
                <c:pt idx="58">
                  <c:v>26.13325</c:v>
                </c:pt>
                <c:pt idx="59">
                  <c:v>26.096133333333331</c:v>
                </c:pt>
                <c:pt idx="60">
                  <c:v>26.653699999999997</c:v>
                </c:pt>
                <c:pt idx="61">
                  <c:v>26.680216666666666</c:v>
                </c:pt>
                <c:pt idx="62">
                  <c:v>26.631933333333336</c:v>
                </c:pt>
                <c:pt idx="63">
                  <c:v>26.990133333333333</c:v>
                </c:pt>
                <c:pt idx="64">
                  <c:v>27.155283333333333</c:v>
                </c:pt>
                <c:pt idx="65">
                  <c:v>27.104266666666664</c:v>
                </c:pt>
                <c:pt idx="66">
                  <c:v>26.561116666666667</c:v>
                </c:pt>
                <c:pt idx="67">
                  <c:v>26.666999999999998</c:v>
                </c:pt>
                <c:pt idx="68">
                  <c:v>26.480900000000002</c:v>
                </c:pt>
                <c:pt idx="69">
                  <c:v>26.477116666666664</c:v>
                </c:pt>
                <c:pt idx="70">
                  <c:v>26.550566666666665</c:v>
                </c:pt>
                <c:pt idx="71">
                  <c:v>26.388216666666665</c:v>
                </c:pt>
                <c:pt idx="72">
                  <c:v>26.325050000000005</c:v>
                </c:pt>
                <c:pt idx="73">
                  <c:v>26.35071666666666</c:v>
                </c:pt>
                <c:pt idx="74">
                  <c:v>26.195049999999998</c:v>
                </c:pt>
                <c:pt idx="75">
                  <c:v>26.105699999999999</c:v>
                </c:pt>
                <c:pt idx="76">
                  <c:v>26.005883333333333</c:v>
                </c:pt>
                <c:pt idx="77">
                  <c:v>25.33263333333333</c:v>
                </c:pt>
                <c:pt idx="78">
                  <c:v>25.306150000000002</c:v>
                </c:pt>
                <c:pt idx="79">
                  <c:v>25.316166666666664</c:v>
                </c:pt>
                <c:pt idx="80">
                  <c:v>24.988716666666662</c:v>
                </c:pt>
                <c:pt idx="81">
                  <c:v>25.120883333333335</c:v>
                </c:pt>
                <c:pt idx="82">
                  <c:v>25.180049999999998</c:v>
                </c:pt>
                <c:pt idx="83">
                  <c:v>25.015816666666666</c:v>
                </c:pt>
                <c:pt idx="84">
                  <c:v>24.915216666666666</c:v>
                </c:pt>
                <c:pt idx="85">
                  <c:v>24.943699999999996</c:v>
                </c:pt>
                <c:pt idx="86">
                  <c:v>25.192516666666666</c:v>
                </c:pt>
                <c:pt idx="87">
                  <c:v>25.3948</c:v>
                </c:pt>
                <c:pt idx="88">
                  <c:v>24.891733333333335</c:v>
                </c:pt>
                <c:pt idx="89">
                  <c:v>25.090199999999999</c:v>
                </c:pt>
                <c:pt idx="90">
                  <c:v>24.965216666666667</c:v>
                </c:pt>
                <c:pt idx="91">
                  <c:v>24.911266666666666</c:v>
                </c:pt>
                <c:pt idx="92">
                  <c:v>24.783483333333333</c:v>
                </c:pt>
                <c:pt idx="93">
                  <c:v>24.872383333333332</c:v>
                </c:pt>
                <c:pt idx="94">
                  <c:v>25.30203333333333</c:v>
                </c:pt>
                <c:pt idx="95">
                  <c:v>25.35285</c:v>
                </c:pt>
                <c:pt idx="96">
                  <c:v>25.622033333333334</c:v>
                </c:pt>
                <c:pt idx="97">
                  <c:v>25.532033333333331</c:v>
                </c:pt>
                <c:pt idx="98">
                  <c:v>25.603666666666669</c:v>
                </c:pt>
                <c:pt idx="99">
                  <c:v>25.2774</c:v>
                </c:pt>
                <c:pt idx="100">
                  <c:v>25.105783333333335</c:v>
                </c:pt>
                <c:pt idx="101">
                  <c:v>24.818966666666665</c:v>
                </c:pt>
                <c:pt idx="102">
                  <c:v>24.832066666666666</c:v>
                </c:pt>
                <c:pt idx="103">
                  <c:v>24.842766666666673</c:v>
                </c:pt>
                <c:pt idx="104">
                  <c:v>24.725633333333334</c:v>
                </c:pt>
                <c:pt idx="105">
                  <c:v>24.792649999999998</c:v>
                </c:pt>
                <c:pt idx="106">
                  <c:v>24.934133333333335</c:v>
                </c:pt>
                <c:pt idx="107">
                  <c:v>25.085066666666663</c:v>
                </c:pt>
                <c:pt idx="108">
                  <c:v>25.366783333333334</c:v>
                </c:pt>
                <c:pt idx="109">
                  <c:v>25.306583333333336</c:v>
                </c:pt>
                <c:pt idx="110">
                  <c:v>25.260766666666665</c:v>
                </c:pt>
                <c:pt idx="111">
                  <c:v>25.281133333333333</c:v>
                </c:pt>
                <c:pt idx="112">
                  <c:v>24.959199999999999</c:v>
                </c:pt>
                <c:pt idx="113">
                  <c:v>24.778949999999998</c:v>
                </c:pt>
                <c:pt idx="114">
                  <c:v>24.864916666666673</c:v>
                </c:pt>
                <c:pt idx="115">
                  <c:v>24.707766666666668</c:v>
                </c:pt>
                <c:pt idx="116">
                  <c:v>24.759399999999999</c:v>
                </c:pt>
                <c:pt idx="117">
                  <c:v>24.619299999999999</c:v>
                </c:pt>
                <c:pt idx="118">
                  <c:v>24.655916666666666</c:v>
                </c:pt>
                <c:pt idx="119">
                  <c:v>24.403016666666669</c:v>
                </c:pt>
                <c:pt idx="120">
                  <c:v>24.178033333333332</c:v>
                </c:pt>
                <c:pt idx="121">
                  <c:v>23.855833333333333</c:v>
                </c:pt>
                <c:pt idx="122">
                  <c:v>23.441333333333333</c:v>
                </c:pt>
                <c:pt idx="123">
                  <c:v>23.667566666666669</c:v>
                </c:pt>
                <c:pt idx="124">
                  <c:v>23.857200000000002</c:v>
                </c:pt>
                <c:pt idx="125">
                  <c:v>23.62523333333333</c:v>
                </c:pt>
                <c:pt idx="126">
                  <c:v>24.047133333333335</c:v>
                </c:pt>
                <c:pt idx="127">
                  <c:v>23.915716666666668</c:v>
                </c:pt>
                <c:pt idx="128">
                  <c:v>24.158550000000002</c:v>
                </c:pt>
                <c:pt idx="129">
                  <c:v>24.247033333333334</c:v>
                </c:pt>
                <c:pt idx="130">
                  <c:v>24.41095</c:v>
                </c:pt>
                <c:pt idx="131">
                  <c:v>24.14533333333333</c:v>
                </c:pt>
                <c:pt idx="132">
                  <c:v>24.769666666666669</c:v>
                </c:pt>
                <c:pt idx="133">
                  <c:v>24.616199999999996</c:v>
                </c:pt>
                <c:pt idx="134">
                  <c:v>24.323850000000004</c:v>
                </c:pt>
                <c:pt idx="135">
                  <c:v>24.338283333333326</c:v>
                </c:pt>
                <c:pt idx="136">
                  <c:v>24.293083333333332</c:v>
                </c:pt>
                <c:pt idx="137">
                  <c:v>23.927816666666669</c:v>
                </c:pt>
                <c:pt idx="138">
                  <c:v>23.461033333333333</c:v>
                </c:pt>
                <c:pt idx="139">
                  <c:v>23.034983333333333</c:v>
                </c:pt>
                <c:pt idx="140">
                  <c:v>22.763283333333334</c:v>
                </c:pt>
                <c:pt idx="141">
                  <c:v>22.951366666666669</c:v>
                </c:pt>
                <c:pt idx="142">
                  <c:v>22.766516666666664</c:v>
                </c:pt>
                <c:pt idx="143">
                  <c:v>23.319500000000001</c:v>
                </c:pt>
                <c:pt idx="144">
                  <c:v>23.659866666666669</c:v>
                </c:pt>
                <c:pt idx="145">
                  <c:v>23.541450000000001</c:v>
                </c:pt>
                <c:pt idx="146">
                  <c:v>23.578233333333333</c:v>
                </c:pt>
                <c:pt idx="147">
                  <c:v>23.8535</c:v>
                </c:pt>
                <c:pt idx="148">
                  <c:v>28.619666666666664</c:v>
                </c:pt>
                <c:pt idx="149">
                  <c:v>28.419633333333334</c:v>
                </c:pt>
                <c:pt idx="150">
                  <c:v>28.628616666666662</c:v>
                </c:pt>
                <c:pt idx="151">
                  <c:v>28.635716666666667</c:v>
                </c:pt>
                <c:pt idx="152">
                  <c:v>28.526616666666669</c:v>
                </c:pt>
                <c:pt idx="153">
                  <c:v>27.847616666666667</c:v>
                </c:pt>
                <c:pt idx="154">
                  <c:v>27.180449999999997</c:v>
                </c:pt>
                <c:pt idx="155">
                  <c:v>26.834183333333332</c:v>
                </c:pt>
                <c:pt idx="156">
                  <c:v>26.460766666666668</c:v>
                </c:pt>
                <c:pt idx="157">
                  <c:v>26.38175</c:v>
                </c:pt>
                <c:pt idx="158">
                  <c:v>26.393016666666668</c:v>
                </c:pt>
                <c:pt idx="159">
                  <c:v>26.705516666666664</c:v>
                </c:pt>
                <c:pt idx="160">
                  <c:v>26.785366666666665</c:v>
                </c:pt>
                <c:pt idx="161">
                  <c:v>27.074883333333332</c:v>
                </c:pt>
                <c:pt idx="162">
                  <c:v>27.000033333333334</c:v>
                </c:pt>
                <c:pt idx="163">
                  <c:v>26.844200000000001</c:v>
                </c:pt>
                <c:pt idx="164">
                  <c:v>26.39961666666667</c:v>
                </c:pt>
                <c:pt idx="165">
                  <c:v>26.499183333333335</c:v>
                </c:pt>
                <c:pt idx="166">
                  <c:v>26.630899999999997</c:v>
                </c:pt>
                <c:pt idx="167">
                  <c:v>26.579183333333333</c:v>
                </c:pt>
                <c:pt idx="168">
                  <c:v>26.866583333333335</c:v>
                </c:pt>
                <c:pt idx="169">
                  <c:v>26.783766666666665</c:v>
                </c:pt>
                <c:pt idx="170">
                  <c:v>27.086100000000002</c:v>
                </c:pt>
                <c:pt idx="171">
                  <c:v>27.382016666666662</c:v>
                </c:pt>
                <c:pt idx="172">
                  <c:v>27.644933333333331</c:v>
                </c:pt>
                <c:pt idx="173">
                  <c:v>27.231449999999995</c:v>
                </c:pt>
                <c:pt idx="174">
                  <c:v>27.279266666666668</c:v>
                </c:pt>
                <c:pt idx="175">
                  <c:v>27.326816666666669</c:v>
                </c:pt>
                <c:pt idx="176">
                  <c:v>28.022550000000006</c:v>
                </c:pt>
                <c:pt idx="177">
                  <c:v>27.775350000000003</c:v>
                </c:pt>
                <c:pt idx="178">
                  <c:v>28.081633333333333</c:v>
                </c:pt>
                <c:pt idx="179">
                  <c:v>29.031850000000002</c:v>
                </c:pt>
                <c:pt idx="180">
                  <c:v>29.814766666666667</c:v>
                </c:pt>
                <c:pt idx="181">
                  <c:v>29.881733333333333</c:v>
                </c:pt>
                <c:pt idx="182">
                  <c:v>29.378033333333335</c:v>
                </c:pt>
                <c:pt idx="183">
                  <c:v>29.085866666666664</c:v>
                </c:pt>
                <c:pt idx="184">
                  <c:v>29.180249999999997</c:v>
                </c:pt>
                <c:pt idx="185">
                  <c:v>29.135850000000001</c:v>
                </c:pt>
                <c:pt idx="186">
                  <c:v>29.018000000000001</c:v>
                </c:pt>
                <c:pt idx="187">
                  <c:v>29.086733333333338</c:v>
                </c:pt>
                <c:pt idx="188">
                  <c:v>28.861650000000001</c:v>
                </c:pt>
                <c:pt idx="189">
                  <c:v>28.484949999999998</c:v>
                </c:pt>
                <c:pt idx="190">
                  <c:v>28.834616666666665</c:v>
                </c:pt>
                <c:pt idx="191">
                  <c:v>29.227083333333336</c:v>
                </c:pt>
                <c:pt idx="192">
                  <c:v>30.086933333333331</c:v>
                </c:pt>
                <c:pt idx="193">
                  <c:v>29.583216666666672</c:v>
                </c:pt>
                <c:pt idx="194">
                  <c:v>29.785083333333336</c:v>
                </c:pt>
                <c:pt idx="195">
                  <c:v>30.349933333333329</c:v>
                </c:pt>
                <c:pt idx="196">
                  <c:v>29.936699999999998</c:v>
                </c:pt>
                <c:pt idx="197">
                  <c:v>29.94993333333333</c:v>
                </c:pt>
                <c:pt idx="198">
                  <c:v>30.039683333333333</c:v>
                </c:pt>
                <c:pt idx="199">
                  <c:v>30.204650000000001</c:v>
                </c:pt>
                <c:pt idx="200">
                  <c:v>29.859566666666666</c:v>
                </c:pt>
                <c:pt idx="201">
                  <c:v>30.748466666666669</c:v>
                </c:pt>
                <c:pt idx="202">
                  <c:v>31.49625</c:v>
                </c:pt>
                <c:pt idx="203">
                  <c:v>31.812899999999999</c:v>
                </c:pt>
                <c:pt idx="204">
                  <c:v>31.988416666666669</c:v>
                </c:pt>
                <c:pt idx="205">
                  <c:v>31.543049999999997</c:v>
                </c:pt>
                <c:pt idx="206">
                  <c:v>31.994950000000003</c:v>
                </c:pt>
                <c:pt idx="207">
                  <c:v>32.145616666666662</c:v>
                </c:pt>
                <c:pt idx="208">
                  <c:v>32.07568333333333</c:v>
                </c:pt>
                <c:pt idx="209">
                  <c:v>32.041000000000004</c:v>
                </c:pt>
                <c:pt idx="210">
                  <c:v>32.046266666666668</c:v>
                </c:pt>
                <c:pt idx="211">
                  <c:v>31.776916666666665</c:v>
                </c:pt>
                <c:pt idx="212">
                  <c:v>31.856099999999998</c:v>
                </c:pt>
                <c:pt idx="213">
                  <c:v>31.843699999999998</c:v>
                </c:pt>
                <c:pt idx="214">
                  <c:v>31.850950000000001</c:v>
                </c:pt>
                <c:pt idx="215">
                  <c:v>31.576150000000002</c:v>
                </c:pt>
                <c:pt idx="216">
                  <c:v>32.04196666666666</c:v>
                </c:pt>
                <c:pt idx="217">
                  <c:v>31.54761666666667</c:v>
                </c:pt>
                <c:pt idx="218">
                  <c:v>31.064016666666664</c:v>
                </c:pt>
                <c:pt idx="219">
                  <c:v>31.22</c:v>
                </c:pt>
                <c:pt idx="220">
                  <c:v>31.092133333333337</c:v>
                </c:pt>
                <c:pt idx="221">
                  <c:v>31.259683333333339</c:v>
                </c:pt>
                <c:pt idx="222">
                  <c:v>31.337</c:v>
                </c:pt>
                <c:pt idx="223">
                  <c:v>31.253816666666665</c:v>
                </c:pt>
                <c:pt idx="224">
                  <c:v>31.084350000000001</c:v>
                </c:pt>
                <c:pt idx="225">
                  <c:v>30.821850000000001</c:v>
                </c:pt>
                <c:pt idx="226">
                  <c:v>31.0825</c:v>
                </c:pt>
                <c:pt idx="227">
                  <c:v>31.214483333333334</c:v>
                </c:pt>
                <c:pt idx="228">
                  <c:v>31.083783333333329</c:v>
                </c:pt>
                <c:pt idx="229">
                  <c:v>31.115350000000003</c:v>
                </c:pt>
                <c:pt idx="230">
                  <c:v>30.712699999999998</c:v>
                </c:pt>
                <c:pt idx="231">
                  <c:v>30.244633333333336</c:v>
                </c:pt>
                <c:pt idx="232">
                  <c:v>30.547599999999999</c:v>
                </c:pt>
                <c:pt idx="233">
                  <c:v>30.639083333333332</c:v>
                </c:pt>
                <c:pt idx="234">
                  <c:v>30.618583333333333</c:v>
                </c:pt>
                <c:pt idx="235">
                  <c:v>30.043483333333338</c:v>
                </c:pt>
                <c:pt idx="236">
                  <c:v>29.747566666666668</c:v>
                </c:pt>
                <c:pt idx="237">
                  <c:v>29.667216666666665</c:v>
                </c:pt>
                <c:pt idx="238">
                  <c:v>29.711949999999998</c:v>
                </c:pt>
                <c:pt idx="239">
                  <c:v>29.854600000000001</c:v>
                </c:pt>
                <c:pt idx="240">
                  <c:v>29.718833333333336</c:v>
                </c:pt>
                <c:pt idx="241">
                  <c:v>30.437633333333334</c:v>
                </c:pt>
                <c:pt idx="242">
                  <c:v>30.52161666666667</c:v>
                </c:pt>
                <c:pt idx="243">
                  <c:v>30.719899999999999</c:v>
                </c:pt>
                <c:pt idx="244">
                  <c:v>30.993300000000001</c:v>
                </c:pt>
                <c:pt idx="245">
                  <c:v>31.308316666666673</c:v>
                </c:pt>
                <c:pt idx="246">
                  <c:v>30.96853333333333</c:v>
                </c:pt>
                <c:pt idx="247">
                  <c:v>31.166299999999996</c:v>
                </c:pt>
                <c:pt idx="248">
                  <c:v>31.470383333333334</c:v>
                </c:pt>
                <c:pt idx="249">
                  <c:v>31.328666666666663</c:v>
                </c:pt>
                <c:pt idx="250">
                  <c:v>30.812983333333332</c:v>
                </c:pt>
                <c:pt idx="251">
                  <c:v>30.693316666666671</c:v>
                </c:pt>
                <c:pt idx="252">
                  <c:v>30.685400000000001</c:v>
                </c:pt>
                <c:pt idx="253">
                  <c:v>30.873350000000002</c:v>
                </c:pt>
                <c:pt idx="254">
                  <c:v>30.864133333333331</c:v>
                </c:pt>
                <c:pt idx="255">
                  <c:v>30.856750000000005</c:v>
                </c:pt>
                <c:pt idx="256">
                  <c:v>31.148266666666672</c:v>
                </c:pt>
                <c:pt idx="257">
                  <c:v>31.82213333333333</c:v>
                </c:pt>
                <c:pt idx="258">
                  <c:v>32.015516666666663</c:v>
                </c:pt>
                <c:pt idx="259">
                  <c:v>31.885733333333334</c:v>
                </c:pt>
                <c:pt idx="260">
                  <c:v>32.349550000000001</c:v>
                </c:pt>
                <c:pt idx="261">
                  <c:v>32.482033333333334</c:v>
                </c:pt>
                <c:pt idx="262">
                  <c:v>32.336266666666667</c:v>
                </c:pt>
                <c:pt idx="263">
                  <c:v>32.317033333333335</c:v>
                </c:pt>
                <c:pt idx="264">
                  <c:v>31.977983333333331</c:v>
                </c:pt>
                <c:pt idx="265">
                  <c:v>32.396449999999994</c:v>
                </c:pt>
                <c:pt idx="266">
                  <c:v>31.586049999999997</c:v>
                </c:pt>
                <c:pt idx="267">
                  <c:v>30.726283333333338</c:v>
                </c:pt>
                <c:pt idx="268">
                  <c:v>31.36078333333333</c:v>
                </c:pt>
                <c:pt idx="269">
                  <c:v>31.130816666666664</c:v>
                </c:pt>
                <c:pt idx="270">
                  <c:v>31.506783333333328</c:v>
                </c:pt>
                <c:pt idx="271">
                  <c:v>31.404766666666664</c:v>
                </c:pt>
                <c:pt idx="272">
                  <c:v>31.472433333333331</c:v>
                </c:pt>
                <c:pt idx="273">
                  <c:v>31.695699999999999</c:v>
                </c:pt>
                <c:pt idx="274">
                  <c:v>31.965183333333332</c:v>
                </c:pt>
                <c:pt idx="275">
                  <c:v>32.042816666666667</c:v>
                </c:pt>
                <c:pt idx="276">
                  <c:v>31.884416666666667</c:v>
                </c:pt>
                <c:pt idx="277">
                  <c:v>31.697199999999999</c:v>
                </c:pt>
                <c:pt idx="278">
                  <c:v>31.447733333333332</c:v>
                </c:pt>
                <c:pt idx="279">
                  <c:v>31.387966666666667</c:v>
                </c:pt>
                <c:pt idx="280">
                  <c:v>31.756799999999998</c:v>
                </c:pt>
                <c:pt idx="281">
                  <c:v>31.807500000000001</c:v>
                </c:pt>
                <c:pt idx="282">
                  <c:v>31.938066666666668</c:v>
                </c:pt>
                <c:pt idx="283">
                  <c:v>31.857550000000003</c:v>
                </c:pt>
                <c:pt idx="284">
                  <c:v>31.733583333333332</c:v>
                </c:pt>
                <c:pt idx="285">
                  <c:v>31.872499999999999</c:v>
                </c:pt>
                <c:pt idx="286">
                  <c:v>31.801666666666666</c:v>
                </c:pt>
                <c:pt idx="287">
                  <c:v>31.782266666666668</c:v>
                </c:pt>
                <c:pt idx="288">
                  <c:v>31.99591666666667</c:v>
                </c:pt>
                <c:pt idx="289">
                  <c:v>31.764250000000001</c:v>
                </c:pt>
                <c:pt idx="290">
                  <c:v>31.566566666666663</c:v>
                </c:pt>
                <c:pt idx="291">
                  <c:v>31.537683333333334</c:v>
                </c:pt>
                <c:pt idx="292">
                  <c:v>31.84023333333333</c:v>
                </c:pt>
                <c:pt idx="293">
                  <c:v>31.235583333333327</c:v>
                </c:pt>
                <c:pt idx="294">
                  <c:v>31.219800000000003</c:v>
                </c:pt>
                <c:pt idx="295">
                  <c:v>30.879149999999999</c:v>
                </c:pt>
                <c:pt idx="296">
                  <c:v>30.458766666666666</c:v>
                </c:pt>
                <c:pt idx="297">
                  <c:v>30.266133333333332</c:v>
                </c:pt>
                <c:pt idx="298">
                  <c:v>30.200400000000002</c:v>
                </c:pt>
                <c:pt idx="299">
                  <c:v>29.99755</c:v>
                </c:pt>
                <c:pt idx="300">
                  <c:v>30.10853333333333</c:v>
                </c:pt>
                <c:pt idx="301">
                  <c:v>29.931883333333335</c:v>
                </c:pt>
                <c:pt idx="302">
                  <c:v>29.784899999999997</c:v>
                </c:pt>
                <c:pt idx="303">
                  <c:v>29.437616666666671</c:v>
                </c:pt>
                <c:pt idx="304">
                  <c:v>29.387600000000003</c:v>
                </c:pt>
                <c:pt idx="305">
                  <c:v>29.407799999999998</c:v>
                </c:pt>
                <c:pt idx="306">
                  <c:v>29.406099999999999</c:v>
                </c:pt>
                <c:pt idx="307">
                  <c:v>29.096050000000002</c:v>
                </c:pt>
                <c:pt idx="308">
                  <c:v>28.700283333333331</c:v>
                </c:pt>
                <c:pt idx="309">
                  <c:v>28.137066666666669</c:v>
                </c:pt>
                <c:pt idx="310">
                  <c:v>27.782716666666673</c:v>
                </c:pt>
                <c:pt idx="311">
                  <c:v>28.222216666666665</c:v>
                </c:pt>
                <c:pt idx="312">
                  <c:v>28.175966666666667</c:v>
                </c:pt>
                <c:pt idx="313">
                  <c:v>28.257899999999996</c:v>
                </c:pt>
                <c:pt idx="314">
                  <c:v>28.169066666666666</c:v>
                </c:pt>
                <c:pt idx="315">
                  <c:v>28.117850000000001</c:v>
                </c:pt>
                <c:pt idx="316">
                  <c:v>28.008266666666668</c:v>
                </c:pt>
                <c:pt idx="317">
                  <c:v>27.887116666666667</c:v>
                </c:pt>
                <c:pt idx="318">
                  <c:v>27.826899999999998</c:v>
                </c:pt>
                <c:pt idx="319">
                  <c:v>27.548166666666663</c:v>
                </c:pt>
                <c:pt idx="320">
                  <c:v>27.451666666666664</c:v>
                </c:pt>
                <c:pt idx="321">
                  <c:v>27.26863333333333</c:v>
                </c:pt>
                <c:pt idx="322">
                  <c:v>27.761899999999997</c:v>
                </c:pt>
                <c:pt idx="323">
                  <c:v>27.51445</c:v>
                </c:pt>
                <c:pt idx="324">
                  <c:v>27.618816666666664</c:v>
                </c:pt>
                <c:pt idx="325">
                  <c:v>27.418566666666667</c:v>
                </c:pt>
                <c:pt idx="326">
                  <c:v>27.247066666666665</c:v>
                </c:pt>
                <c:pt idx="327">
                  <c:v>27.341799999999996</c:v>
                </c:pt>
                <c:pt idx="328">
                  <c:v>23.525766666666669</c:v>
                </c:pt>
                <c:pt idx="329">
                  <c:v>23.277599999999996</c:v>
                </c:pt>
                <c:pt idx="330">
                  <c:v>23.28488333333333</c:v>
                </c:pt>
                <c:pt idx="331">
                  <c:v>23.447533333333336</c:v>
                </c:pt>
                <c:pt idx="332">
                  <c:v>23.404516666666666</c:v>
                </c:pt>
                <c:pt idx="333">
                  <c:v>23.247366666666665</c:v>
                </c:pt>
                <c:pt idx="334">
                  <c:v>23.33765</c:v>
                </c:pt>
                <c:pt idx="335">
                  <c:v>23.107783333333334</c:v>
                </c:pt>
                <c:pt idx="336">
                  <c:v>22.841316666666668</c:v>
                </c:pt>
                <c:pt idx="337">
                  <c:v>23.094233333333335</c:v>
                </c:pt>
                <c:pt idx="338">
                  <c:v>23.200083333333328</c:v>
                </c:pt>
                <c:pt idx="339">
                  <c:v>23.341049999999999</c:v>
                </c:pt>
                <c:pt idx="340">
                  <c:v>23.448633333333333</c:v>
                </c:pt>
                <c:pt idx="341">
                  <c:v>23.702416666666668</c:v>
                </c:pt>
                <c:pt idx="342">
                  <c:v>23.860466666666667</c:v>
                </c:pt>
                <c:pt idx="343">
                  <c:v>23.955116666666665</c:v>
                </c:pt>
                <c:pt idx="344">
                  <c:v>23.859966666666665</c:v>
                </c:pt>
                <c:pt idx="345">
                  <c:v>23.974799999999998</c:v>
                </c:pt>
                <c:pt idx="346">
                  <c:v>23.954666666666668</c:v>
                </c:pt>
                <c:pt idx="347">
                  <c:v>23.677849999999996</c:v>
                </c:pt>
                <c:pt idx="348">
                  <c:v>23.70998333333333</c:v>
                </c:pt>
                <c:pt idx="349">
                  <c:v>23.194383333333334</c:v>
                </c:pt>
                <c:pt idx="350">
                  <c:v>22.930316666666666</c:v>
                </c:pt>
                <c:pt idx="351">
                  <c:v>22.724666666666664</c:v>
                </c:pt>
                <c:pt idx="352">
                  <c:v>22.213899999999995</c:v>
                </c:pt>
                <c:pt idx="353">
                  <c:v>22.474400000000003</c:v>
                </c:pt>
                <c:pt idx="354">
                  <c:v>22.503299999999999</c:v>
                </c:pt>
                <c:pt idx="355">
                  <c:v>22.370750000000001</c:v>
                </c:pt>
                <c:pt idx="356">
                  <c:v>22.81658333333333</c:v>
                </c:pt>
                <c:pt idx="357">
                  <c:v>22.766433333333328</c:v>
                </c:pt>
                <c:pt idx="358">
                  <c:v>22.750733333333333</c:v>
                </c:pt>
                <c:pt idx="359">
                  <c:v>22.310366666666667</c:v>
                </c:pt>
                <c:pt idx="360">
                  <c:v>22.593900000000001</c:v>
                </c:pt>
                <c:pt idx="361">
                  <c:v>22.569500000000001</c:v>
                </c:pt>
                <c:pt idx="362">
                  <c:v>22.783133333333335</c:v>
                </c:pt>
                <c:pt idx="363">
                  <c:v>23.146066666666666</c:v>
                </c:pt>
                <c:pt idx="364">
                  <c:v>22.993566666666666</c:v>
                </c:pt>
                <c:pt idx="365">
                  <c:v>22.897716666666668</c:v>
                </c:pt>
                <c:pt idx="366">
                  <c:v>22.928966666666668</c:v>
                </c:pt>
                <c:pt idx="367">
                  <c:v>22.9161</c:v>
                </c:pt>
                <c:pt idx="368">
                  <c:v>22.633216666666666</c:v>
                </c:pt>
                <c:pt idx="369">
                  <c:v>22.780716666666663</c:v>
                </c:pt>
                <c:pt idx="370">
                  <c:v>22.267466666666664</c:v>
                </c:pt>
                <c:pt idx="371">
                  <c:v>22.665199999999999</c:v>
                </c:pt>
                <c:pt idx="372">
                  <c:v>22.756699999999999</c:v>
                </c:pt>
                <c:pt idx="373">
                  <c:v>23.267633333333333</c:v>
                </c:pt>
                <c:pt idx="374">
                  <c:v>23.250733333333333</c:v>
                </c:pt>
                <c:pt idx="375">
                  <c:v>23.142199999999999</c:v>
                </c:pt>
                <c:pt idx="376">
                  <c:v>23.284483333333331</c:v>
                </c:pt>
                <c:pt idx="377">
                  <c:v>23.429516666666668</c:v>
                </c:pt>
                <c:pt idx="378">
                  <c:v>23.317599999999999</c:v>
                </c:pt>
                <c:pt idx="379">
                  <c:v>23.317916666666672</c:v>
                </c:pt>
                <c:pt idx="380">
                  <c:v>23.019683333333333</c:v>
                </c:pt>
                <c:pt idx="381">
                  <c:v>22.837</c:v>
                </c:pt>
                <c:pt idx="382">
                  <c:v>22.677983333333334</c:v>
                </c:pt>
                <c:pt idx="383">
                  <c:v>22.423666666666666</c:v>
                </c:pt>
                <c:pt idx="384">
                  <c:v>22.641033333333336</c:v>
                </c:pt>
                <c:pt idx="385">
                  <c:v>22.407300000000003</c:v>
                </c:pt>
                <c:pt idx="386">
                  <c:v>22.306583333333336</c:v>
                </c:pt>
                <c:pt idx="387">
                  <c:v>22.51646666666667</c:v>
                </c:pt>
                <c:pt idx="388">
                  <c:v>22.586683333333337</c:v>
                </c:pt>
                <c:pt idx="389">
                  <c:v>22.531700000000001</c:v>
                </c:pt>
                <c:pt idx="390">
                  <c:v>22.506399999999999</c:v>
                </c:pt>
                <c:pt idx="391">
                  <c:v>22.499949999999998</c:v>
                </c:pt>
                <c:pt idx="392">
                  <c:v>22.304083333333335</c:v>
                </c:pt>
                <c:pt idx="393">
                  <c:v>22.45505</c:v>
                </c:pt>
                <c:pt idx="394">
                  <c:v>22.664533333333335</c:v>
                </c:pt>
                <c:pt idx="395">
                  <c:v>22.606350000000003</c:v>
                </c:pt>
                <c:pt idx="396">
                  <c:v>22.242716666666666</c:v>
                </c:pt>
                <c:pt idx="397">
                  <c:v>28.875533333333333</c:v>
                </c:pt>
                <c:pt idx="398">
                  <c:v>28.499383333333331</c:v>
                </c:pt>
                <c:pt idx="399">
                  <c:v>28.126733333333334</c:v>
                </c:pt>
                <c:pt idx="400">
                  <c:v>27.836650000000002</c:v>
                </c:pt>
                <c:pt idx="401">
                  <c:v>27.624166666666664</c:v>
                </c:pt>
                <c:pt idx="402">
                  <c:v>27.626716666666667</c:v>
                </c:pt>
                <c:pt idx="403">
                  <c:v>28.105850000000004</c:v>
                </c:pt>
                <c:pt idx="404">
                  <c:v>28.143733333333333</c:v>
                </c:pt>
                <c:pt idx="405">
                  <c:v>28.130299999999995</c:v>
                </c:pt>
                <c:pt idx="406">
                  <c:v>27.720933333333335</c:v>
                </c:pt>
                <c:pt idx="407">
                  <c:v>28.435300000000002</c:v>
                </c:pt>
                <c:pt idx="408">
                  <c:v>28.738133333333334</c:v>
                </c:pt>
                <c:pt idx="409">
                  <c:v>28.708233333333329</c:v>
                </c:pt>
                <c:pt idx="410">
                  <c:v>28.745099999999997</c:v>
                </c:pt>
                <c:pt idx="411">
                  <c:v>28.520600000000002</c:v>
                </c:pt>
                <c:pt idx="412">
                  <c:v>28.601266666666664</c:v>
                </c:pt>
                <c:pt idx="413">
                  <c:v>28.36718333333333</c:v>
                </c:pt>
                <c:pt idx="414">
                  <c:v>28.364349999999998</c:v>
                </c:pt>
                <c:pt idx="415">
                  <c:v>28.430633333333333</c:v>
                </c:pt>
                <c:pt idx="416">
                  <c:v>27.982533333333336</c:v>
                </c:pt>
                <c:pt idx="417">
                  <c:v>28.385349999999999</c:v>
                </c:pt>
                <c:pt idx="418">
                  <c:v>28.351633333333329</c:v>
                </c:pt>
                <c:pt idx="419">
                  <c:v>29.050583333333332</c:v>
                </c:pt>
                <c:pt idx="420">
                  <c:v>29.13933333333333</c:v>
                </c:pt>
                <c:pt idx="421">
                  <c:v>29.128933333333332</c:v>
                </c:pt>
                <c:pt idx="422">
                  <c:v>29.103816666666663</c:v>
                </c:pt>
                <c:pt idx="423">
                  <c:v>29.284133333333333</c:v>
                </c:pt>
                <c:pt idx="424">
                  <c:v>29.388450000000002</c:v>
                </c:pt>
                <c:pt idx="425">
                  <c:v>28.992466666666662</c:v>
                </c:pt>
                <c:pt idx="426">
                  <c:v>29.000299999999996</c:v>
                </c:pt>
                <c:pt idx="427">
                  <c:v>29.229099999999999</c:v>
                </c:pt>
                <c:pt idx="428">
                  <c:v>29.177450000000004</c:v>
                </c:pt>
                <c:pt idx="429">
                  <c:v>29.719183333333334</c:v>
                </c:pt>
                <c:pt idx="430">
                  <c:v>29.986000000000001</c:v>
                </c:pt>
                <c:pt idx="431">
                  <c:v>29.346633333333333</c:v>
                </c:pt>
                <c:pt idx="432">
                  <c:v>28.717366666666667</c:v>
                </c:pt>
                <c:pt idx="433">
                  <c:v>28.424533333333333</c:v>
                </c:pt>
                <c:pt idx="434">
                  <c:v>28.062416666666667</c:v>
                </c:pt>
                <c:pt idx="435">
                  <c:v>28.046150000000001</c:v>
                </c:pt>
                <c:pt idx="436">
                  <c:v>28.139083333333332</c:v>
                </c:pt>
                <c:pt idx="437">
                  <c:v>28.019899999999996</c:v>
                </c:pt>
                <c:pt idx="438">
                  <c:v>28.259333333333334</c:v>
                </c:pt>
                <c:pt idx="439">
                  <c:v>28.023899999999998</c:v>
                </c:pt>
                <c:pt idx="440">
                  <c:v>28.248050000000003</c:v>
                </c:pt>
                <c:pt idx="441">
                  <c:v>28.066199999999998</c:v>
                </c:pt>
                <c:pt idx="442">
                  <c:v>28.204016666666664</c:v>
                </c:pt>
                <c:pt idx="443">
                  <c:v>28.144100000000005</c:v>
                </c:pt>
                <c:pt idx="444">
                  <c:v>27.974683333333335</c:v>
                </c:pt>
                <c:pt idx="445">
                  <c:v>28.549566666666664</c:v>
                </c:pt>
                <c:pt idx="446">
                  <c:v>28.631900000000002</c:v>
                </c:pt>
                <c:pt idx="447">
                  <c:v>28.620233333333331</c:v>
                </c:pt>
                <c:pt idx="448">
                  <c:v>28.798333333333332</c:v>
                </c:pt>
                <c:pt idx="449">
                  <c:v>28.733933333333329</c:v>
                </c:pt>
                <c:pt idx="450">
                  <c:v>28.361216666666664</c:v>
                </c:pt>
                <c:pt idx="451">
                  <c:v>28.148166666666668</c:v>
                </c:pt>
                <c:pt idx="452">
                  <c:v>27.913783333333331</c:v>
                </c:pt>
                <c:pt idx="453">
                  <c:v>28.364616666666667</c:v>
                </c:pt>
                <c:pt idx="454">
                  <c:v>28.357249999999997</c:v>
                </c:pt>
                <c:pt idx="455">
                  <c:v>28.642300000000002</c:v>
                </c:pt>
                <c:pt idx="456">
                  <c:v>28.215083333333336</c:v>
                </c:pt>
                <c:pt idx="457">
                  <c:v>27.461933333333334</c:v>
                </c:pt>
                <c:pt idx="458">
                  <c:v>27.643133333333335</c:v>
                </c:pt>
                <c:pt idx="459">
                  <c:v>27.411216666666672</c:v>
                </c:pt>
                <c:pt idx="460">
                  <c:v>27.480699999999999</c:v>
                </c:pt>
                <c:pt idx="461">
                  <c:v>27.096616666666666</c:v>
                </c:pt>
                <c:pt idx="462">
                  <c:v>26.839850000000002</c:v>
                </c:pt>
                <c:pt idx="463">
                  <c:v>26.12851666666667</c:v>
                </c:pt>
                <c:pt idx="464">
                  <c:v>25.851616666666668</c:v>
                </c:pt>
                <c:pt idx="465">
                  <c:v>26.2439</c:v>
                </c:pt>
                <c:pt idx="466">
                  <c:v>26.097766666666672</c:v>
                </c:pt>
                <c:pt idx="467">
                  <c:v>25.677016666666663</c:v>
                </c:pt>
                <c:pt idx="468">
                  <c:v>25.565200000000001</c:v>
                </c:pt>
                <c:pt idx="469">
                  <c:v>25.5932</c:v>
                </c:pt>
                <c:pt idx="470">
                  <c:v>25.474833333333333</c:v>
                </c:pt>
                <c:pt idx="471">
                  <c:v>25.765650000000004</c:v>
                </c:pt>
                <c:pt idx="472">
                  <c:v>25.776300000000003</c:v>
                </c:pt>
                <c:pt idx="473">
                  <c:v>26.382949999999997</c:v>
                </c:pt>
                <c:pt idx="474">
                  <c:v>26.024899999999999</c:v>
                </c:pt>
                <c:pt idx="475">
                  <c:v>25.950150000000004</c:v>
                </c:pt>
                <c:pt idx="476">
                  <c:v>25.82683333333333</c:v>
                </c:pt>
                <c:pt idx="477">
                  <c:v>25.899699999999996</c:v>
                </c:pt>
                <c:pt idx="478">
                  <c:v>25.889800000000005</c:v>
                </c:pt>
                <c:pt idx="479">
                  <c:v>25.527966666666668</c:v>
                </c:pt>
                <c:pt idx="480">
                  <c:v>25.402383333333333</c:v>
                </c:pt>
                <c:pt idx="481">
                  <c:v>25.518816666666666</c:v>
                </c:pt>
                <c:pt idx="482">
                  <c:v>25.72635</c:v>
                </c:pt>
                <c:pt idx="483">
                  <c:v>25.981983333333332</c:v>
                </c:pt>
                <c:pt idx="484">
                  <c:v>25.885899999999996</c:v>
                </c:pt>
                <c:pt idx="485">
                  <c:v>25.977066666666662</c:v>
                </c:pt>
                <c:pt idx="486">
                  <c:v>25.772533333333332</c:v>
                </c:pt>
                <c:pt idx="487">
                  <c:v>25.268566666666668</c:v>
                </c:pt>
                <c:pt idx="488">
                  <c:v>25.23953333333333</c:v>
                </c:pt>
                <c:pt idx="489">
                  <c:v>25.104916666666668</c:v>
                </c:pt>
                <c:pt idx="490">
                  <c:v>25.153383333333334</c:v>
                </c:pt>
                <c:pt idx="491">
                  <c:v>25.107416666666669</c:v>
                </c:pt>
                <c:pt idx="492">
                  <c:v>25.030350000000002</c:v>
                </c:pt>
                <c:pt idx="493">
                  <c:v>24.799049999999998</c:v>
                </c:pt>
                <c:pt idx="494">
                  <c:v>24.169149999999998</c:v>
                </c:pt>
                <c:pt idx="495">
                  <c:v>23.576599999999999</c:v>
                </c:pt>
                <c:pt idx="496">
                  <c:v>23.598233333333337</c:v>
                </c:pt>
                <c:pt idx="497">
                  <c:v>23.550266666666662</c:v>
                </c:pt>
                <c:pt idx="498">
                  <c:v>23.263433333333335</c:v>
                </c:pt>
                <c:pt idx="499">
                  <c:v>23.236183333333333</c:v>
                </c:pt>
                <c:pt idx="500">
                  <c:v>23.225283333333334</c:v>
                </c:pt>
                <c:pt idx="501">
                  <c:v>23.011133333333333</c:v>
                </c:pt>
                <c:pt idx="502">
                  <c:v>22.326400000000003</c:v>
                </c:pt>
                <c:pt idx="503">
                  <c:v>22.544600000000003</c:v>
                </c:pt>
                <c:pt idx="504">
                  <c:v>22.392483333333335</c:v>
                </c:pt>
                <c:pt idx="505">
                  <c:v>23.054116666666662</c:v>
                </c:pt>
                <c:pt idx="506">
                  <c:v>23.106200000000001</c:v>
                </c:pt>
                <c:pt idx="507">
                  <c:v>23.309866666666665</c:v>
                </c:pt>
                <c:pt idx="508">
                  <c:v>23.408333333333331</c:v>
                </c:pt>
                <c:pt idx="509">
                  <c:v>23.380066666666668</c:v>
                </c:pt>
                <c:pt idx="510">
                  <c:v>23.544299999999996</c:v>
                </c:pt>
                <c:pt idx="511">
                  <c:v>23.508883333333333</c:v>
                </c:pt>
                <c:pt idx="512">
                  <c:v>23.56273333333333</c:v>
                </c:pt>
                <c:pt idx="513">
                  <c:v>23.477183333333333</c:v>
                </c:pt>
                <c:pt idx="514">
                  <c:v>23.415783333333334</c:v>
                </c:pt>
                <c:pt idx="515">
                  <c:v>23.629466666666669</c:v>
                </c:pt>
                <c:pt idx="516">
                  <c:v>23.333666666666669</c:v>
                </c:pt>
                <c:pt idx="517">
                  <c:v>23.561016666666664</c:v>
                </c:pt>
                <c:pt idx="518">
                  <c:v>23.740566666666666</c:v>
                </c:pt>
                <c:pt idx="519">
                  <c:v>23.658566666666669</c:v>
                </c:pt>
                <c:pt idx="520">
                  <c:v>22.949666666666669</c:v>
                </c:pt>
                <c:pt idx="521">
                  <c:v>22.859116666666665</c:v>
                </c:pt>
                <c:pt idx="522">
                  <c:v>22.699516666666668</c:v>
                </c:pt>
                <c:pt idx="523">
                  <c:v>22.8781</c:v>
                </c:pt>
                <c:pt idx="524">
                  <c:v>22.637083333333333</c:v>
                </c:pt>
                <c:pt idx="525">
                  <c:v>23.003866666666667</c:v>
                </c:pt>
                <c:pt idx="526">
                  <c:v>23.1448</c:v>
                </c:pt>
                <c:pt idx="527">
                  <c:v>23.201733333333333</c:v>
                </c:pt>
                <c:pt idx="528">
                  <c:v>23.288600000000002</c:v>
                </c:pt>
                <c:pt idx="529">
                  <c:v>23.381183333333336</c:v>
                </c:pt>
                <c:pt idx="530">
                  <c:v>23.422833333333333</c:v>
                </c:pt>
                <c:pt idx="531">
                  <c:v>23.152866666666664</c:v>
                </c:pt>
                <c:pt idx="532">
                  <c:v>23.012833333333333</c:v>
                </c:pt>
                <c:pt idx="533">
                  <c:v>22.893033333333335</c:v>
                </c:pt>
                <c:pt idx="534">
                  <c:v>23.024000000000001</c:v>
                </c:pt>
                <c:pt idx="535">
                  <c:v>23.272566666666666</c:v>
                </c:pt>
                <c:pt idx="536">
                  <c:v>22.973366666666667</c:v>
                </c:pt>
                <c:pt idx="537">
                  <c:v>22.727833333333333</c:v>
                </c:pt>
                <c:pt idx="538">
                  <c:v>22.546966666666666</c:v>
                </c:pt>
                <c:pt idx="539">
                  <c:v>22.917466666666666</c:v>
                </c:pt>
                <c:pt idx="540">
                  <c:v>23.148766666666663</c:v>
                </c:pt>
                <c:pt idx="541">
                  <c:v>23.288350000000005</c:v>
                </c:pt>
                <c:pt idx="542">
                  <c:v>23.373400000000004</c:v>
                </c:pt>
                <c:pt idx="543">
                  <c:v>23.256499999999999</c:v>
                </c:pt>
                <c:pt idx="544">
                  <c:v>23.378616666666669</c:v>
                </c:pt>
                <c:pt idx="545">
                  <c:v>23.551916666666667</c:v>
                </c:pt>
                <c:pt idx="546">
                  <c:v>23.419383333333332</c:v>
                </c:pt>
                <c:pt idx="547">
                  <c:v>23.479366666666664</c:v>
                </c:pt>
                <c:pt idx="548">
                  <c:v>23.434366666666662</c:v>
                </c:pt>
                <c:pt idx="549">
                  <c:v>23.082483333333329</c:v>
                </c:pt>
                <c:pt idx="550">
                  <c:v>23.182000000000002</c:v>
                </c:pt>
                <c:pt idx="551">
                  <c:v>23.311166666666665</c:v>
                </c:pt>
                <c:pt idx="552">
                  <c:v>23.419416666666667</c:v>
                </c:pt>
                <c:pt idx="553">
                  <c:v>23.995999999999999</c:v>
                </c:pt>
                <c:pt idx="554">
                  <c:v>24.106099999999998</c:v>
                </c:pt>
                <c:pt idx="555">
                  <c:v>23.424633333333333</c:v>
                </c:pt>
                <c:pt idx="556">
                  <c:v>23.638200000000001</c:v>
                </c:pt>
                <c:pt idx="557">
                  <c:v>23.89831666666667</c:v>
                </c:pt>
                <c:pt idx="558">
                  <c:v>23.555516666666666</c:v>
                </c:pt>
                <c:pt idx="559">
                  <c:v>22.893766666666664</c:v>
                </c:pt>
                <c:pt idx="560">
                  <c:v>23.097799999999996</c:v>
                </c:pt>
                <c:pt idx="561">
                  <c:v>22.879599999999996</c:v>
                </c:pt>
                <c:pt idx="562">
                  <c:v>22.887649999999997</c:v>
                </c:pt>
                <c:pt idx="563">
                  <c:v>23.07641666666667</c:v>
                </c:pt>
                <c:pt idx="564">
                  <c:v>22.891216666666665</c:v>
                </c:pt>
                <c:pt idx="565">
                  <c:v>23.212983333333337</c:v>
                </c:pt>
                <c:pt idx="566">
                  <c:v>22.763116666666665</c:v>
                </c:pt>
                <c:pt idx="567">
                  <c:v>22.749549999999999</c:v>
                </c:pt>
                <c:pt idx="568">
                  <c:v>22.638649999999998</c:v>
                </c:pt>
                <c:pt idx="569">
                  <c:v>22.558716666666669</c:v>
                </c:pt>
                <c:pt idx="570">
                  <c:v>22.43075</c:v>
                </c:pt>
                <c:pt idx="571">
                  <c:v>22.500033333333331</c:v>
                </c:pt>
                <c:pt idx="572">
                  <c:v>22.255233333333333</c:v>
                </c:pt>
                <c:pt idx="573">
                  <c:v>22.071066666666667</c:v>
                </c:pt>
                <c:pt idx="574">
                  <c:v>22.436883333333331</c:v>
                </c:pt>
                <c:pt idx="575">
                  <c:v>21.732466666666667</c:v>
                </c:pt>
                <c:pt idx="576">
                  <c:v>21.428516666666667</c:v>
                </c:pt>
                <c:pt idx="577">
                  <c:v>21.381816666666666</c:v>
                </c:pt>
                <c:pt idx="578">
                  <c:v>21.297233333333335</c:v>
                </c:pt>
                <c:pt idx="579">
                  <c:v>21.166033333333335</c:v>
                </c:pt>
                <c:pt idx="580">
                  <c:v>21.117466666666665</c:v>
                </c:pt>
                <c:pt idx="581">
                  <c:v>21.232716666666665</c:v>
                </c:pt>
                <c:pt idx="582">
                  <c:v>21.35938333333333</c:v>
                </c:pt>
                <c:pt idx="583">
                  <c:v>21.222266666666666</c:v>
                </c:pt>
                <c:pt idx="584">
                  <c:v>20.929766666666669</c:v>
                </c:pt>
                <c:pt idx="585">
                  <c:v>20.953299999999999</c:v>
                </c:pt>
                <c:pt idx="586">
                  <c:v>20.791300000000003</c:v>
                </c:pt>
                <c:pt idx="587">
                  <c:v>20.908799999999999</c:v>
                </c:pt>
                <c:pt idx="588">
                  <c:v>20.945900000000002</c:v>
                </c:pt>
                <c:pt idx="589">
                  <c:v>21.197766666666666</c:v>
                </c:pt>
                <c:pt idx="590">
                  <c:v>20.982466666666667</c:v>
                </c:pt>
                <c:pt idx="591">
                  <c:v>20.486983333333335</c:v>
                </c:pt>
                <c:pt idx="592">
                  <c:v>20.234366666666663</c:v>
                </c:pt>
                <c:pt idx="593">
                  <c:v>20.258983333333333</c:v>
                </c:pt>
                <c:pt idx="594">
                  <c:v>19.890833333333333</c:v>
                </c:pt>
                <c:pt idx="595">
                  <c:v>19.618133333333336</c:v>
                </c:pt>
                <c:pt idx="596">
                  <c:v>19.70868333333333</c:v>
                </c:pt>
                <c:pt idx="597">
                  <c:v>19.601100000000002</c:v>
                </c:pt>
                <c:pt idx="598">
                  <c:v>19.725766666666669</c:v>
                </c:pt>
                <c:pt idx="599">
                  <c:v>19.563016666666666</c:v>
                </c:pt>
                <c:pt idx="600">
                  <c:v>19.334350000000001</c:v>
                </c:pt>
                <c:pt idx="601">
                  <c:v>19.422633333333334</c:v>
                </c:pt>
                <c:pt idx="602">
                  <c:v>19.209916666666668</c:v>
                </c:pt>
                <c:pt idx="603">
                  <c:v>19.171600000000002</c:v>
                </c:pt>
                <c:pt idx="604">
                  <c:v>18.891416666666668</c:v>
                </c:pt>
                <c:pt idx="605">
                  <c:v>18.896683333333332</c:v>
                </c:pt>
                <c:pt idx="606">
                  <c:v>18.638466666666666</c:v>
                </c:pt>
                <c:pt idx="607">
                  <c:v>18.579266666666665</c:v>
                </c:pt>
                <c:pt idx="608">
                  <c:v>18.269616666666668</c:v>
                </c:pt>
                <c:pt idx="609">
                  <c:v>18.298500000000001</c:v>
                </c:pt>
                <c:pt idx="610">
                  <c:v>18.22818333333333</c:v>
                </c:pt>
                <c:pt idx="611">
                  <c:v>18.362683333333333</c:v>
                </c:pt>
                <c:pt idx="612">
                  <c:v>18.515350000000002</c:v>
                </c:pt>
                <c:pt idx="613">
                  <c:v>18.564016666666664</c:v>
                </c:pt>
                <c:pt idx="614">
                  <c:v>18.569683333333334</c:v>
                </c:pt>
                <c:pt idx="615">
                  <c:v>18.8506</c:v>
                </c:pt>
                <c:pt idx="616">
                  <c:v>18.817299999999999</c:v>
                </c:pt>
                <c:pt idx="617">
                  <c:v>18.982700000000001</c:v>
                </c:pt>
                <c:pt idx="618">
                  <c:v>19.127083333333335</c:v>
                </c:pt>
                <c:pt idx="619">
                  <c:v>19.200633333333332</c:v>
                </c:pt>
                <c:pt idx="620">
                  <c:v>17.472940000000001</c:v>
                </c:pt>
                <c:pt idx="621">
                  <c:v>17.21874</c:v>
                </c:pt>
                <c:pt idx="622">
                  <c:v>17.349799999999998</c:v>
                </c:pt>
                <c:pt idx="623">
                  <c:v>17.397739999999999</c:v>
                </c:pt>
                <c:pt idx="624">
                  <c:v>17.408259999999999</c:v>
                </c:pt>
                <c:pt idx="625">
                  <c:v>17.536340000000003</c:v>
                </c:pt>
                <c:pt idx="626">
                  <c:v>17.370139999999999</c:v>
                </c:pt>
                <c:pt idx="627">
                  <c:v>17.208779999999997</c:v>
                </c:pt>
                <c:pt idx="628">
                  <c:v>17.135120000000001</c:v>
                </c:pt>
                <c:pt idx="629">
                  <c:v>17.14002</c:v>
                </c:pt>
                <c:pt idx="630">
                  <c:v>17.245760000000001</c:v>
                </c:pt>
                <c:pt idx="631">
                  <c:v>17.056739999999998</c:v>
                </c:pt>
                <c:pt idx="632">
                  <c:v>17.08766</c:v>
                </c:pt>
                <c:pt idx="633">
                  <c:v>17.110399999999998</c:v>
                </c:pt>
                <c:pt idx="634">
                  <c:v>17.05152</c:v>
                </c:pt>
                <c:pt idx="635">
                  <c:v>17.02196</c:v>
                </c:pt>
                <c:pt idx="636">
                  <c:v>16.841799999999999</c:v>
                </c:pt>
                <c:pt idx="637">
                  <c:v>16.61074</c:v>
                </c:pt>
                <c:pt idx="638">
                  <c:v>16.82282</c:v>
                </c:pt>
                <c:pt idx="639">
                  <c:v>16.772179999999999</c:v>
                </c:pt>
                <c:pt idx="640">
                  <c:v>16.595279999999999</c:v>
                </c:pt>
                <c:pt idx="641">
                  <c:v>16.483240000000002</c:v>
                </c:pt>
                <c:pt idx="642">
                  <c:v>16.458600000000001</c:v>
                </c:pt>
                <c:pt idx="643">
                  <c:v>16.819600000000001</c:v>
                </c:pt>
                <c:pt idx="644">
                  <c:v>16.771340000000002</c:v>
                </c:pt>
                <c:pt idx="645">
                  <c:v>16.685840000000002</c:v>
                </c:pt>
                <c:pt idx="646">
                  <c:v>16.616900000000001</c:v>
                </c:pt>
                <c:pt idx="647">
                  <c:v>16.625520000000002</c:v>
                </c:pt>
                <c:pt idx="648">
                  <c:v>16.635020000000001</c:v>
                </c:pt>
                <c:pt idx="649">
                  <c:v>16.503260000000001</c:v>
                </c:pt>
                <c:pt idx="650">
                  <c:v>16.558199999999999</c:v>
                </c:pt>
                <c:pt idx="651">
                  <c:v>16.560860000000002</c:v>
                </c:pt>
                <c:pt idx="652">
                  <c:v>16.765260000000001</c:v>
                </c:pt>
                <c:pt idx="653">
                  <c:v>16.639460000000003</c:v>
                </c:pt>
                <c:pt idx="654">
                  <c:v>16.645379999999999</c:v>
                </c:pt>
                <c:pt idx="655">
                  <c:v>16.641500000000001</c:v>
                </c:pt>
                <c:pt idx="656">
                  <c:v>16.790059999999997</c:v>
                </c:pt>
                <c:pt idx="657">
                  <c:v>16.824579999999997</c:v>
                </c:pt>
                <c:pt idx="658">
                  <c:v>16.859439999999999</c:v>
                </c:pt>
                <c:pt idx="659">
                  <c:v>16.830959999999997</c:v>
                </c:pt>
                <c:pt idx="660">
                  <c:v>16.813659999999999</c:v>
                </c:pt>
                <c:pt idx="661">
                  <c:v>16.891060000000003</c:v>
                </c:pt>
                <c:pt idx="662">
                  <c:v>16.84516</c:v>
                </c:pt>
                <c:pt idx="663">
                  <c:v>16.74624</c:v>
                </c:pt>
                <c:pt idx="664">
                  <c:v>17.063679999999998</c:v>
                </c:pt>
                <c:pt idx="665">
                  <c:v>17.08868</c:v>
                </c:pt>
                <c:pt idx="666">
                  <c:v>16.978020000000001</c:v>
                </c:pt>
                <c:pt idx="667">
                  <c:v>16.823240000000002</c:v>
                </c:pt>
                <c:pt idx="668">
                  <c:v>16.958500000000001</c:v>
                </c:pt>
                <c:pt idx="669">
                  <c:v>16.980700000000002</c:v>
                </c:pt>
                <c:pt idx="670">
                  <c:v>17.052479999999996</c:v>
                </c:pt>
                <c:pt idx="671">
                  <c:v>17.170380000000002</c:v>
                </c:pt>
                <c:pt idx="672">
                  <c:v>17.138460000000002</c:v>
                </c:pt>
                <c:pt idx="673">
                  <c:v>17.125360000000001</c:v>
                </c:pt>
                <c:pt idx="674">
                  <c:v>17.0791</c:v>
                </c:pt>
                <c:pt idx="675">
                  <c:v>17.229480000000002</c:v>
                </c:pt>
                <c:pt idx="676">
                  <c:v>17.118639999999999</c:v>
                </c:pt>
                <c:pt idx="677">
                  <c:v>17.33464</c:v>
                </c:pt>
                <c:pt idx="678">
                  <c:v>17.023619999999998</c:v>
                </c:pt>
                <c:pt idx="679">
                  <c:v>17.036180000000002</c:v>
                </c:pt>
                <c:pt idx="680">
                  <c:v>17.070599999999999</c:v>
                </c:pt>
                <c:pt idx="681">
                  <c:v>17.074840000000002</c:v>
                </c:pt>
                <c:pt idx="682">
                  <c:v>16.884779999999999</c:v>
                </c:pt>
                <c:pt idx="683">
                  <c:v>16.870039999999999</c:v>
                </c:pt>
                <c:pt idx="684">
                  <c:v>16.90164</c:v>
                </c:pt>
                <c:pt idx="685">
                  <c:v>16.974879999999999</c:v>
                </c:pt>
                <c:pt idx="686">
                  <c:v>16.95082</c:v>
                </c:pt>
                <c:pt idx="687">
                  <c:v>17.017059999999997</c:v>
                </c:pt>
                <c:pt idx="688">
                  <c:v>17.070659999999997</c:v>
                </c:pt>
                <c:pt idx="689">
                  <c:v>16.893079999999998</c:v>
                </c:pt>
                <c:pt idx="690">
                  <c:v>17.155339999999999</c:v>
                </c:pt>
                <c:pt idx="691">
                  <c:v>17.180619999999998</c:v>
                </c:pt>
                <c:pt idx="692">
                  <c:v>17.178899999999999</c:v>
                </c:pt>
                <c:pt idx="693">
                  <c:v>17.020500000000002</c:v>
                </c:pt>
                <c:pt idx="694">
                  <c:v>16.916900000000002</c:v>
                </c:pt>
                <c:pt idx="695">
                  <c:v>16.936060000000001</c:v>
                </c:pt>
                <c:pt idx="696">
                  <c:v>16.847519999999999</c:v>
                </c:pt>
                <c:pt idx="697">
                  <c:v>16.921960000000002</c:v>
                </c:pt>
                <c:pt idx="698">
                  <c:v>16.928059999999999</c:v>
                </c:pt>
                <c:pt idx="699">
                  <c:v>16.926600000000001</c:v>
                </c:pt>
                <c:pt idx="700">
                  <c:v>17.1065</c:v>
                </c:pt>
                <c:pt idx="701">
                  <c:v>17.031100000000002</c:v>
                </c:pt>
                <c:pt idx="702">
                  <c:v>17.078440000000001</c:v>
                </c:pt>
                <c:pt idx="703">
                  <c:v>17.046299999999999</c:v>
                </c:pt>
                <c:pt idx="704">
                  <c:v>16.886299999999999</c:v>
                </c:pt>
                <c:pt idx="705">
                  <c:v>16.847739999999998</c:v>
                </c:pt>
                <c:pt idx="706">
                  <c:v>16.917380000000001</c:v>
                </c:pt>
                <c:pt idx="707">
                  <c:v>17.055479999999996</c:v>
                </c:pt>
                <c:pt idx="708">
                  <c:v>17.114699999999996</c:v>
                </c:pt>
                <c:pt idx="709">
                  <c:v>17.003620000000002</c:v>
                </c:pt>
                <c:pt idx="710">
                  <c:v>17.275480000000002</c:v>
                </c:pt>
                <c:pt idx="711">
                  <c:v>17.307580000000002</c:v>
                </c:pt>
                <c:pt idx="712">
                  <c:v>17.194979999999997</c:v>
                </c:pt>
                <c:pt idx="713">
                  <c:v>17.422419999999995</c:v>
                </c:pt>
                <c:pt idx="714">
                  <c:v>17.640280000000001</c:v>
                </c:pt>
                <c:pt idx="715">
                  <c:v>17.582940000000001</c:v>
                </c:pt>
                <c:pt idx="716">
                  <c:v>17.494419999999998</c:v>
                </c:pt>
                <c:pt idx="717">
                  <c:v>17.532160000000001</c:v>
                </c:pt>
                <c:pt idx="718">
                  <c:v>17.607619999999997</c:v>
                </c:pt>
                <c:pt idx="719">
                  <c:v>17.666779999999999</c:v>
                </c:pt>
                <c:pt idx="720">
                  <c:v>17.522500000000001</c:v>
                </c:pt>
                <c:pt idx="721">
                  <c:v>17.4726</c:v>
                </c:pt>
                <c:pt idx="722">
                  <c:v>17.474340000000002</c:v>
                </c:pt>
                <c:pt idx="723">
                  <c:v>17.480640000000001</c:v>
                </c:pt>
                <c:pt idx="724">
                  <c:v>17.458159999999999</c:v>
                </c:pt>
                <c:pt idx="725">
                  <c:v>17.608139999999999</c:v>
                </c:pt>
                <c:pt idx="726">
                  <c:v>17.6724</c:v>
                </c:pt>
                <c:pt idx="727">
                  <c:v>17.594079999999998</c:v>
                </c:pt>
                <c:pt idx="728">
                  <c:v>17.64236</c:v>
                </c:pt>
                <c:pt idx="729">
                  <c:v>17.604220000000002</c:v>
                </c:pt>
                <c:pt idx="730">
                  <c:v>17.613460000000003</c:v>
                </c:pt>
                <c:pt idx="731">
                  <c:v>17.564299999999999</c:v>
                </c:pt>
                <c:pt idx="732">
                  <c:v>17.621259999999999</c:v>
                </c:pt>
                <c:pt idx="733">
                  <c:v>17.731999999999999</c:v>
                </c:pt>
                <c:pt idx="734">
                  <c:v>17.849600000000002</c:v>
                </c:pt>
                <c:pt idx="735">
                  <c:v>17.724979999999999</c:v>
                </c:pt>
                <c:pt idx="736">
                  <c:v>17.690959999999997</c:v>
                </c:pt>
                <c:pt idx="737">
                  <c:v>17.731580000000001</c:v>
                </c:pt>
                <c:pt idx="738">
                  <c:v>17.741539999999997</c:v>
                </c:pt>
                <c:pt idx="739">
                  <c:v>17.866019999999999</c:v>
                </c:pt>
                <c:pt idx="740">
                  <c:v>17.85914</c:v>
                </c:pt>
                <c:pt idx="741">
                  <c:v>17.823799999999999</c:v>
                </c:pt>
                <c:pt idx="742">
                  <c:v>18.031780000000001</c:v>
                </c:pt>
                <c:pt idx="743">
                  <c:v>18.057639999999999</c:v>
                </c:pt>
                <c:pt idx="744">
                  <c:v>18.270720000000001</c:v>
                </c:pt>
                <c:pt idx="745">
                  <c:v>18.14404</c:v>
                </c:pt>
                <c:pt idx="746">
                  <c:v>18.123139999999999</c:v>
                </c:pt>
                <c:pt idx="747">
                  <c:v>17.925739999999998</c:v>
                </c:pt>
                <c:pt idx="748">
                  <c:v>17.459520000000001</c:v>
                </c:pt>
                <c:pt idx="749">
                  <c:v>17.538319999999999</c:v>
                </c:pt>
                <c:pt idx="750">
                  <c:v>17.40692</c:v>
                </c:pt>
                <c:pt idx="751">
                  <c:v>17.611799999999999</c:v>
                </c:pt>
                <c:pt idx="752">
                  <c:v>17.626159999999999</c:v>
                </c:pt>
                <c:pt idx="753">
                  <c:v>17.33792</c:v>
                </c:pt>
                <c:pt idx="754">
                  <c:v>17.442439999999998</c:v>
                </c:pt>
                <c:pt idx="755">
                  <c:v>17.493919999999999</c:v>
                </c:pt>
                <c:pt idx="756">
                  <c:v>17.554579999999998</c:v>
                </c:pt>
                <c:pt idx="757">
                  <c:v>17.514400000000002</c:v>
                </c:pt>
                <c:pt idx="758">
                  <c:v>17.44388</c:v>
                </c:pt>
                <c:pt idx="759">
                  <c:v>17.622019999999999</c:v>
                </c:pt>
                <c:pt idx="760">
                  <c:v>17.665100000000002</c:v>
                </c:pt>
                <c:pt idx="761">
                  <c:v>17.685579999999998</c:v>
                </c:pt>
                <c:pt idx="762">
                  <c:v>17.752079999999999</c:v>
                </c:pt>
                <c:pt idx="763">
                  <c:v>17.920359999999999</c:v>
                </c:pt>
                <c:pt idx="764">
                  <c:v>18.0686</c:v>
                </c:pt>
                <c:pt idx="765">
                  <c:v>17.800219999999999</c:v>
                </c:pt>
                <c:pt idx="766">
                  <c:v>17.51942</c:v>
                </c:pt>
                <c:pt idx="767">
                  <c:v>17.384340000000002</c:v>
                </c:pt>
                <c:pt idx="768">
                  <c:v>17.213919999999998</c:v>
                </c:pt>
                <c:pt idx="769">
                  <c:v>17.329140000000002</c:v>
                </c:pt>
                <c:pt idx="770">
                  <c:v>17.285920000000001</c:v>
                </c:pt>
                <c:pt idx="771">
                  <c:v>17.094439999999999</c:v>
                </c:pt>
                <c:pt idx="772">
                  <c:v>17.28716</c:v>
                </c:pt>
                <c:pt idx="773">
                  <c:v>17.176479999999998</c:v>
                </c:pt>
                <c:pt idx="774">
                  <c:v>17.319020000000002</c:v>
                </c:pt>
                <c:pt idx="775">
                  <c:v>17.043600000000001</c:v>
                </c:pt>
                <c:pt idx="776">
                  <c:v>17.14556</c:v>
                </c:pt>
                <c:pt idx="777">
                  <c:v>17.274100000000001</c:v>
                </c:pt>
                <c:pt idx="778">
                  <c:v>17.320140000000002</c:v>
                </c:pt>
                <c:pt idx="779">
                  <c:v>17.365960000000001</c:v>
                </c:pt>
                <c:pt idx="780">
                  <c:v>17.097079999999998</c:v>
                </c:pt>
                <c:pt idx="781">
                  <c:v>17.084099999999999</c:v>
                </c:pt>
                <c:pt idx="782">
                  <c:v>17.143440000000002</c:v>
                </c:pt>
                <c:pt idx="783">
                  <c:v>16.95712</c:v>
                </c:pt>
                <c:pt idx="784">
                  <c:v>16.80846</c:v>
                </c:pt>
                <c:pt idx="785">
                  <c:v>16.861060000000002</c:v>
                </c:pt>
                <c:pt idx="786">
                  <c:v>16.616340000000001</c:v>
                </c:pt>
                <c:pt idx="787">
                  <c:v>16.727219999999999</c:v>
                </c:pt>
                <c:pt idx="788">
                  <c:v>16.664340000000003</c:v>
                </c:pt>
                <c:pt idx="789">
                  <c:v>16.594140000000003</c:v>
                </c:pt>
                <c:pt idx="790">
                  <c:v>16.674320000000002</c:v>
                </c:pt>
                <c:pt idx="791">
                  <c:v>16.574680000000001</c:v>
                </c:pt>
                <c:pt idx="792">
                  <c:v>16.539659999999998</c:v>
                </c:pt>
                <c:pt idx="793">
                  <c:v>16.350940000000001</c:v>
                </c:pt>
                <c:pt idx="794">
                  <c:v>16.289940000000001</c:v>
                </c:pt>
                <c:pt idx="795">
                  <c:v>16.538339999999998</c:v>
                </c:pt>
                <c:pt idx="796">
                  <c:v>16.699779999999997</c:v>
                </c:pt>
                <c:pt idx="797">
                  <c:v>16.728500000000004</c:v>
                </c:pt>
                <c:pt idx="798">
                  <c:v>16.928819999999998</c:v>
                </c:pt>
                <c:pt idx="799">
                  <c:v>16.799280000000003</c:v>
                </c:pt>
                <c:pt idx="800">
                  <c:v>16.680119999999999</c:v>
                </c:pt>
                <c:pt idx="801">
                  <c:v>16.775580000000001</c:v>
                </c:pt>
                <c:pt idx="802">
                  <c:v>16.929600000000001</c:v>
                </c:pt>
                <c:pt idx="803">
                  <c:v>17.046199999999999</c:v>
                </c:pt>
                <c:pt idx="804">
                  <c:v>17.035339999999998</c:v>
                </c:pt>
                <c:pt idx="805">
                  <c:v>16.829000000000001</c:v>
                </c:pt>
                <c:pt idx="806">
                  <c:v>16.860059999999997</c:v>
                </c:pt>
                <c:pt idx="807">
                  <c:v>16.880700000000001</c:v>
                </c:pt>
                <c:pt idx="808">
                  <c:v>16.78884</c:v>
                </c:pt>
                <c:pt idx="809">
                  <c:v>16.625520000000002</c:v>
                </c:pt>
                <c:pt idx="810">
                  <c:v>16.470199999999998</c:v>
                </c:pt>
                <c:pt idx="811">
                  <c:v>16.278700000000001</c:v>
                </c:pt>
                <c:pt idx="812">
                  <c:v>16.346179999999997</c:v>
                </c:pt>
                <c:pt idx="813">
                  <c:v>16.49672</c:v>
                </c:pt>
                <c:pt idx="814">
                  <c:v>16.381959999999999</c:v>
                </c:pt>
                <c:pt idx="815">
                  <c:v>16.323539999999998</c:v>
                </c:pt>
                <c:pt idx="816">
                  <c:v>16.38748</c:v>
                </c:pt>
                <c:pt idx="817">
                  <c:v>16.360399999999998</c:v>
                </c:pt>
                <c:pt idx="818">
                  <c:v>16.36918</c:v>
                </c:pt>
                <c:pt idx="819">
                  <c:v>16.18666</c:v>
                </c:pt>
                <c:pt idx="820">
                  <c:v>16.053019999999997</c:v>
                </c:pt>
                <c:pt idx="821">
                  <c:v>15.856299999999999</c:v>
                </c:pt>
                <c:pt idx="822">
                  <c:v>15.983340000000002</c:v>
                </c:pt>
                <c:pt idx="823">
                  <c:v>15.845179999999999</c:v>
                </c:pt>
                <c:pt idx="824">
                  <c:v>15.901839999999998</c:v>
                </c:pt>
                <c:pt idx="825">
                  <c:v>15.734220000000002</c:v>
                </c:pt>
                <c:pt idx="826">
                  <c:v>15.69572</c:v>
                </c:pt>
                <c:pt idx="827">
                  <c:v>15.664339999999999</c:v>
                </c:pt>
                <c:pt idx="828">
                  <c:v>15.675299999999998</c:v>
                </c:pt>
                <c:pt idx="829">
                  <c:v>15.66316</c:v>
                </c:pt>
                <c:pt idx="830">
                  <c:v>15.47148</c:v>
                </c:pt>
                <c:pt idx="831">
                  <c:v>15.533759999999997</c:v>
                </c:pt>
                <c:pt idx="832">
                  <c:v>15.62002</c:v>
                </c:pt>
                <c:pt idx="833">
                  <c:v>15.58526</c:v>
                </c:pt>
                <c:pt idx="834">
                  <c:v>15.460919999999998</c:v>
                </c:pt>
                <c:pt idx="835">
                  <c:v>15.35636</c:v>
                </c:pt>
                <c:pt idx="836">
                  <c:v>15.397719999999998</c:v>
                </c:pt>
                <c:pt idx="837">
                  <c:v>15.21026</c:v>
                </c:pt>
                <c:pt idx="838">
                  <c:v>15.026159999999999</c:v>
                </c:pt>
                <c:pt idx="839">
                  <c:v>15.189100000000002</c:v>
                </c:pt>
                <c:pt idx="840">
                  <c:v>15.480600000000001</c:v>
                </c:pt>
                <c:pt idx="841">
                  <c:v>15.453899999999999</c:v>
                </c:pt>
                <c:pt idx="842">
                  <c:v>15.47372</c:v>
                </c:pt>
                <c:pt idx="843">
                  <c:v>15.78534</c:v>
                </c:pt>
                <c:pt idx="844">
                  <c:v>15.79092</c:v>
                </c:pt>
                <c:pt idx="845">
                  <c:v>15.77416</c:v>
                </c:pt>
                <c:pt idx="846">
                  <c:v>15.647079999999999</c:v>
                </c:pt>
                <c:pt idx="847">
                  <c:v>15.707220000000001</c:v>
                </c:pt>
                <c:pt idx="848">
                  <c:v>15.659699999999997</c:v>
                </c:pt>
                <c:pt idx="849">
                  <c:v>15.861140000000001</c:v>
                </c:pt>
                <c:pt idx="850">
                  <c:v>15.79838</c:v>
                </c:pt>
                <c:pt idx="851">
                  <c:v>15.943819999999999</c:v>
                </c:pt>
                <c:pt idx="852">
                  <c:v>16.108799999999999</c:v>
                </c:pt>
                <c:pt idx="853">
                  <c:v>16.085599999999999</c:v>
                </c:pt>
                <c:pt idx="854">
                  <c:v>15.904019999999999</c:v>
                </c:pt>
                <c:pt idx="855">
                  <c:v>15.398959999999999</c:v>
                </c:pt>
                <c:pt idx="856">
                  <c:v>15.271879999999999</c:v>
                </c:pt>
                <c:pt idx="857">
                  <c:v>15.558959999999995</c:v>
                </c:pt>
                <c:pt idx="858">
                  <c:v>15.71744</c:v>
                </c:pt>
                <c:pt idx="859">
                  <c:v>15.382139999999998</c:v>
                </c:pt>
                <c:pt idx="860">
                  <c:v>15.555359999999999</c:v>
                </c:pt>
                <c:pt idx="861">
                  <c:v>15.505039999999999</c:v>
                </c:pt>
                <c:pt idx="862">
                  <c:v>15.417219999999997</c:v>
                </c:pt>
                <c:pt idx="863">
                  <c:v>15.249680000000001</c:v>
                </c:pt>
                <c:pt idx="864">
                  <c:v>15.069979999999997</c:v>
                </c:pt>
                <c:pt idx="865">
                  <c:v>15.221460000000002</c:v>
                </c:pt>
                <c:pt idx="866">
                  <c:v>15.31162</c:v>
                </c:pt>
                <c:pt idx="867">
                  <c:v>15.584459999999998</c:v>
                </c:pt>
                <c:pt idx="868">
                  <c:v>15.57474</c:v>
                </c:pt>
                <c:pt idx="869">
                  <c:v>15.881919999999999</c:v>
                </c:pt>
                <c:pt idx="870">
                  <c:v>15.795319999999998</c:v>
                </c:pt>
                <c:pt idx="871">
                  <c:v>16.29054</c:v>
                </c:pt>
                <c:pt idx="872">
                  <c:v>16.356760000000001</c:v>
                </c:pt>
                <c:pt idx="873">
                  <c:v>16.398040000000002</c:v>
                </c:pt>
                <c:pt idx="874">
                  <c:v>16.276299999999999</c:v>
                </c:pt>
                <c:pt idx="875">
                  <c:v>16.43976</c:v>
                </c:pt>
                <c:pt idx="876">
                  <c:v>16.336739999999999</c:v>
                </c:pt>
                <c:pt idx="877">
                  <c:v>16.429539999999999</c:v>
                </c:pt>
                <c:pt idx="878">
                  <c:v>16.39434</c:v>
                </c:pt>
                <c:pt idx="879">
                  <c:v>16.426179999999999</c:v>
                </c:pt>
                <c:pt idx="880">
                  <c:v>16.314959999999999</c:v>
                </c:pt>
                <c:pt idx="881">
                  <c:v>16.485480000000003</c:v>
                </c:pt>
                <c:pt idx="882">
                  <c:v>16.426759999999998</c:v>
                </c:pt>
                <c:pt idx="883">
                  <c:v>16.42624</c:v>
                </c:pt>
                <c:pt idx="884">
                  <c:v>16.531479999999998</c:v>
                </c:pt>
                <c:pt idx="885">
                  <c:v>16.582940000000001</c:v>
                </c:pt>
                <c:pt idx="886">
                  <c:v>16.57826</c:v>
                </c:pt>
                <c:pt idx="887">
                  <c:v>16.527560000000001</c:v>
                </c:pt>
                <c:pt idx="888">
                  <c:v>16.71414</c:v>
                </c:pt>
                <c:pt idx="889">
                  <c:v>16.476400000000002</c:v>
                </c:pt>
                <c:pt idx="890">
                  <c:v>16.29984</c:v>
                </c:pt>
              </c:numCache>
            </c:numRef>
          </c:val>
          <c:smooth val="0"/>
          <c:extLst>
            <c:ext xmlns:c16="http://schemas.microsoft.com/office/drawing/2014/chart" uri="{C3380CC4-5D6E-409C-BE32-E72D297353CC}">
              <c16:uniqueId val="{00000000-0D90-4FCF-83A9-9700EB217466}"/>
            </c:ext>
          </c:extLst>
        </c:ser>
        <c:dLbls>
          <c:showLegendKey val="0"/>
          <c:showVal val="0"/>
          <c:showCatName val="0"/>
          <c:showSerName val="0"/>
          <c:showPercent val="0"/>
          <c:showBubbleSize val="0"/>
        </c:dLbls>
        <c:smooth val="0"/>
        <c:axId val="1238265263"/>
        <c:axId val="1238266703"/>
      </c:lineChart>
      <c:dateAx>
        <c:axId val="1238265263"/>
        <c:scaling>
          <c:orientation val="minMax"/>
        </c:scaling>
        <c:delete val="0"/>
        <c:axPos val="b"/>
        <c:numFmt formatCode="yyyy"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38266703"/>
        <c:crosses val="autoZero"/>
        <c:auto val="1"/>
        <c:lblOffset val="100"/>
        <c:baseTimeUnit val="days"/>
        <c:majorUnit val="1"/>
        <c:majorTimeUnit val="years"/>
      </c:dateAx>
      <c:valAx>
        <c:axId val="1238266703"/>
        <c:scaling>
          <c:orientation val="minMax"/>
          <c:max val="60"/>
        </c:scaling>
        <c:delete val="1"/>
        <c:axPos val="l"/>
        <c:numFmt formatCode="_(* #,##0.00_);_(* \(#,##0.00\);_(* &quot;-&quot;??_);_(@_)" sourceLinked="1"/>
        <c:majorTickMark val="none"/>
        <c:minorTickMark val="none"/>
        <c:tickLblPos val="nextTo"/>
        <c:crossAx val="1238265263"/>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CDMO</c:v>
                </c:pt>
              </c:strCache>
            </c:strRef>
          </c:tx>
          <c:spPr>
            <a:ln w="28575" cap="rnd">
              <a:solidFill>
                <a:schemeClr val="accent1"/>
              </a:solidFill>
              <a:round/>
            </a:ln>
            <a:effectLst/>
          </c:spPr>
          <c:marker>
            <c:symbol val="none"/>
          </c:marker>
          <c:cat>
            <c:numRef>
              <c:f>Sheet1!$A$2:$A$892</c:f>
              <c:numCache>
                <c:formatCode>m/d/yyyy</c:formatCode>
                <c:ptCount val="891"/>
                <c:pt idx="0">
                  <c:v>45964</c:v>
                </c:pt>
                <c:pt idx="1">
                  <c:v>45961</c:v>
                </c:pt>
                <c:pt idx="2">
                  <c:v>45960</c:v>
                </c:pt>
                <c:pt idx="3">
                  <c:v>45959</c:v>
                </c:pt>
                <c:pt idx="4">
                  <c:v>45958</c:v>
                </c:pt>
                <c:pt idx="5">
                  <c:v>45957</c:v>
                </c:pt>
                <c:pt idx="6">
                  <c:v>45954</c:v>
                </c:pt>
                <c:pt idx="7">
                  <c:v>45953</c:v>
                </c:pt>
                <c:pt idx="8">
                  <c:v>45951</c:v>
                </c:pt>
                <c:pt idx="9">
                  <c:v>45950</c:v>
                </c:pt>
                <c:pt idx="10">
                  <c:v>45947</c:v>
                </c:pt>
                <c:pt idx="11">
                  <c:v>45946</c:v>
                </c:pt>
                <c:pt idx="12">
                  <c:v>45945</c:v>
                </c:pt>
                <c:pt idx="13">
                  <c:v>45944</c:v>
                </c:pt>
                <c:pt idx="14">
                  <c:v>45943</c:v>
                </c:pt>
                <c:pt idx="15">
                  <c:v>45940</c:v>
                </c:pt>
                <c:pt idx="16">
                  <c:v>45939</c:v>
                </c:pt>
                <c:pt idx="17">
                  <c:v>45938</c:v>
                </c:pt>
                <c:pt idx="18">
                  <c:v>45937</c:v>
                </c:pt>
                <c:pt idx="19">
                  <c:v>45936</c:v>
                </c:pt>
                <c:pt idx="20">
                  <c:v>45933</c:v>
                </c:pt>
                <c:pt idx="21">
                  <c:v>45931</c:v>
                </c:pt>
                <c:pt idx="22">
                  <c:v>45930</c:v>
                </c:pt>
                <c:pt idx="23">
                  <c:v>45929</c:v>
                </c:pt>
                <c:pt idx="24">
                  <c:v>45926</c:v>
                </c:pt>
                <c:pt idx="25">
                  <c:v>45925</c:v>
                </c:pt>
                <c:pt idx="26">
                  <c:v>45924</c:v>
                </c:pt>
                <c:pt idx="27">
                  <c:v>45923</c:v>
                </c:pt>
                <c:pt idx="28">
                  <c:v>45922</c:v>
                </c:pt>
                <c:pt idx="29">
                  <c:v>45919</c:v>
                </c:pt>
                <c:pt idx="30">
                  <c:v>45918</c:v>
                </c:pt>
                <c:pt idx="31">
                  <c:v>45917</c:v>
                </c:pt>
                <c:pt idx="32">
                  <c:v>45916</c:v>
                </c:pt>
                <c:pt idx="33">
                  <c:v>45915</c:v>
                </c:pt>
                <c:pt idx="34">
                  <c:v>45912</c:v>
                </c:pt>
                <c:pt idx="35">
                  <c:v>45911</c:v>
                </c:pt>
                <c:pt idx="36">
                  <c:v>45910</c:v>
                </c:pt>
                <c:pt idx="37">
                  <c:v>45909</c:v>
                </c:pt>
                <c:pt idx="38">
                  <c:v>45908</c:v>
                </c:pt>
                <c:pt idx="39">
                  <c:v>45905</c:v>
                </c:pt>
                <c:pt idx="40">
                  <c:v>45904</c:v>
                </c:pt>
                <c:pt idx="41">
                  <c:v>45903</c:v>
                </c:pt>
                <c:pt idx="42">
                  <c:v>45902</c:v>
                </c:pt>
                <c:pt idx="43">
                  <c:v>45901</c:v>
                </c:pt>
                <c:pt idx="44">
                  <c:v>45898</c:v>
                </c:pt>
                <c:pt idx="45">
                  <c:v>45897</c:v>
                </c:pt>
                <c:pt idx="46">
                  <c:v>45895</c:v>
                </c:pt>
                <c:pt idx="47">
                  <c:v>45894</c:v>
                </c:pt>
                <c:pt idx="48">
                  <c:v>45891</c:v>
                </c:pt>
                <c:pt idx="49">
                  <c:v>45890</c:v>
                </c:pt>
                <c:pt idx="50">
                  <c:v>45889</c:v>
                </c:pt>
                <c:pt idx="51">
                  <c:v>45888</c:v>
                </c:pt>
                <c:pt idx="52">
                  <c:v>45887</c:v>
                </c:pt>
                <c:pt idx="53">
                  <c:v>45883</c:v>
                </c:pt>
                <c:pt idx="54">
                  <c:v>45882</c:v>
                </c:pt>
                <c:pt idx="55">
                  <c:v>45881</c:v>
                </c:pt>
                <c:pt idx="56">
                  <c:v>45880</c:v>
                </c:pt>
                <c:pt idx="57">
                  <c:v>45877</c:v>
                </c:pt>
                <c:pt idx="58">
                  <c:v>45876</c:v>
                </c:pt>
                <c:pt idx="59">
                  <c:v>45875</c:v>
                </c:pt>
                <c:pt idx="60">
                  <c:v>45874</c:v>
                </c:pt>
                <c:pt idx="61">
                  <c:v>45873</c:v>
                </c:pt>
                <c:pt idx="62">
                  <c:v>45870</c:v>
                </c:pt>
                <c:pt idx="63">
                  <c:v>45869</c:v>
                </c:pt>
                <c:pt idx="64">
                  <c:v>45868</c:v>
                </c:pt>
                <c:pt idx="65">
                  <c:v>45867</c:v>
                </c:pt>
                <c:pt idx="66">
                  <c:v>45866</c:v>
                </c:pt>
                <c:pt idx="67">
                  <c:v>45863</c:v>
                </c:pt>
                <c:pt idx="68">
                  <c:v>45862</c:v>
                </c:pt>
                <c:pt idx="69">
                  <c:v>45861</c:v>
                </c:pt>
                <c:pt idx="70">
                  <c:v>45860</c:v>
                </c:pt>
                <c:pt idx="71">
                  <c:v>45859</c:v>
                </c:pt>
                <c:pt idx="72">
                  <c:v>45856</c:v>
                </c:pt>
                <c:pt idx="73">
                  <c:v>45855</c:v>
                </c:pt>
                <c:pt idx="74">
                  <c:v>45854</c:v>
                </c:pt>
                <c:pt idx="75">
                  <c:v>45853</c:v>
                </c:pt>
                <c:pt idx="76">
                  <c:v>45852</c:v>
                </c:pt>
                <c:pt idx="77">
                  <c:v>45849</c:v>
                </c:pt>
                <c:pt idx="78">
                  <c:v>45848</c:v>
                </c:pt>
                <c:pt idx="79">
                  <c:v>45847</c:v>
                </c:pt>
                <c:pt idx="80">
                  <c:v>45846</c:v>
                </c:pt>
                <c:pt idx="81">
                  <c:v>45845</c:v>
                </c:pt>
                <c:pt idx="82">
                  <c:v>45842</c:v>
                </c:pt>
                <c:pt idx="83">
                  <c:v>45841</c:v>
                </c:pt>
                <c:pt idx="84">
                  <c:v>45840</c:v>
                </c:pt>
                <c:pt idx="85">
                  <c:v>45839</c:v>
                </c:pt>
                <c:pt idx="86">
                  <c:v>45838</c:v>
                </c:pt>
                <c:pt idx="87">
                  <c:v>45835</c:v>
                </c:pt>
                <c:pt idx="88">
                  <c:v>45834</c:v>
                </c:pt>
                <c:pt idx="89">
                  <c:v>45833</c:v>
                </c:pt>
                <c:pt idx="90">
                  <c:v>45832</c:v>
                </c:pt>
                <c:pt idx="91">
                  <c:v>45831</c:v>
                </c:pt>
                <c:pt idx="92">
                  <c:v>45828</c:v>
                </c:pt>
                <c:pt idx="93">
                  <c:v>45827</c:v>
                </c:pt>
                <c:pt idx="94">
                  <c:v>45826</c:v>
                </c:pt>
                <c:pt idx="95">
                  <c:v>45825</c:v>
                </c:pt>
                <c:pt idx="96">
                  <c:v>45824</c:v>
                </c:pt>
                <c:pt idx="97">
                  <c:v>45821</c:v>
                </c:pt>
                <c:pt idx="98">
                  <c:v>45820</c:v>
                </c:pt>
                <c:pt idx="99">
                  <c:v>45819</c:v>
                </c:pt>
                <c:pt idx="100">
                  <c:v>45818</c:v>
                </c:pt>
                <c:pt idx="101">
                  <c:v>45817</c:v>
                </c:pt>
                <c:pt idx="102">
                  <c:v>45814</c:v>
                </c:pt>
                <c:pt idx="103">
                  <c:v>45813</c:v>
                </c:pt>
                <c:pt idx="104">
                  <c:v>45812</c:v>
                </c:pt>
                <c:pt idx="105">
                  <c:v>45811</c:v>
                </c:pt>
                <c:pt idx="106">
                  <c:v>45810</c:v>
                </c:pt>
                <c:pt idx="107">
                  <c:v>45807</c:v>
                </c:pt>
                <c:pt idx="108">
                  <c:v>45806</c:v>
                </c:pt>
                <c:pt idx="109">
                  <c:v>45805</c:v>
                </c:pt>
                <c:pt idx="110">
                  <c:v>45804</c:v>
                </c:pt>
                <c:pt idx="111">
                  <c:v>45803</c:v>
                </c:pt>
                <c:pt idx="112">
                  <c:v>45800</c:v>
                </c:pt>
                <c:pt idx="113">
                  <c:v>45799</c:v>
                </c:pt>
                <c:pt idx="114">
                  <c:v>45798</c:v>
                </c:pt>
                <c:pt idx="115">
                  <c:v>45797</c:v>
                </c:pt>
                <c:pt idx="116">
                  <c:v>45796</c:v>
                </c:pt>
                <c:pt idx="117">
                  <c:v>45793</c:v>
                </c:pt>
                <c:pt idx="118">
                  <c:v>45792</c:v>
                </c:pt>
                <c:pt idx="119">
                  <c:v>45791</c:v>
                </c:pt>
                <c:pt idx="120">
                  <c:v>45790</c:v>
                </c:pt>
                <c:pt idx="121">
                  <c:v>45789</c:v>
                </c:pt>
                <c:pt idx="122">
                  <c:v>45786</c:v>
                </c:pt>
                <c:pt idx="123">
                  <c:v>45785</c:v>
                </c:pt>
                <c:pt idx="124">
                  <c:v>45784</c:v>
                </c:pt>
                <c:pt idx="125">
                  <c:v>45783</c:v>
                </c:pt>
                <c:pt idx="126">
                  <c:v>45782</c:v>
                </c:pt>
                <c:pt idx="127">
                  <c:v>45779</c:v>
                </c:pt>
                <c:pt idx="128">
                  <c:v>45777</c:v>
                </c:pt>
                <c:pt idx="129">
                  <c:v>45776</c:v>
                </c:pt>
                <c:pt idx="130">
                  <c:v>45775</c:v>
                </c:pt>
                <c:pt idx="131">
                  <c:v>45772</c:v>
                </c:pt>
                <c:pt idx="132">
                  <c:v>45771</c:v>
                </c:pt>
                <c:pt idx="133">
                  <c:v>45770</c:v>
                </c:pt>
                <c:pt idx="134">
                  <c:v>45769</c:v>
                </c:pt>
                <c:pt idx="135">
                  <c:v>45768</c:v>
                </c:pt>
                <c:pt idx="136">
                  <c:v>45764</c:v>
                </c:pt>
                <c:pt idx="137">
                  <c:v>45763</c:v>
                </c:pt>
                <c:pt idx="138">
                  <c:v>45762</c:v>
                </c:pt>
                <c:pt idx="139">
                  <c:v>45758</c:v>
                </c:pt>
                <c:pt idx="140">
                  <c:v>45756</c:v>
                </c:pt>
                <c:pt idx="141">
                  <c:v>45755</c:v>
                </c:pt>
                <c:pt idx="142">
                  <c:v>45754</c:v>
                </c:pt>
                <c:pt idx="143">
                  <c:v>45751</c:v>
                </c:pt>
                <c:pt idx="144">
                  <c:v>45750</c:v>
                </c:pt>
                <c:pt idx="145">
                  <c:v>45749</c:v>
                </c:pt>
                <c:pt idx="146">
                  <c:v>45748</c:v>
                </c:pt>
                <c:pt idx="147">
                  <c:v>45744</c:v>
                </c:pt>
                <c:pt idx="148">
                  <c:v>45743</c:v>
                </c:pt>
                <c:pt idx="149">
                  <c:v>45742</c:v>
                </c:pt>
                <c:pt idx="150">
                  <c:v>45741</c:v>
                </c:pt>
                <c:pt idx="151">
                  <c:v>45740</c:v>
                </c:pt>
                <c:pt idx="152">
                  <c:v>45737</c:v>
                </c:pt>
                <c:pt idx="153">
                  <c:v>45736</c:v>
                </c:pt>
                <c:pt idx="154">
                  <c:v>45735</c:v>
                </c:pt>
                <c:pt idx="155">
                  <c:v>45734</c:v>
                </c:pt>
                <c:pt idx="156">
                  <c:v>45733</c:v>
                </c:pt>
                <c:pt idx="157">
                  <c:v>45729</c:v>
                </c:pt>
                <c:pt idx="158">
                  <c:v>45728</c:v>
                </c:pt>
                <c:pt idx="159">
                  <c:v>45727</c:v>
                </c:pt>
                <c:pt idx="160">
                  <c:v>45726</c:v>
                </c:pt>
                <c:pt idx="161">
                  <c:v>45723</c:v>
                </c:pt>
                <c:pt idx="162">
                  <c:v>45722</c:v>
                </c:pt>
                <c:pt idx="163">
                  <c:v>45721</c:v>
                </c:pt>
                <c:pt idx="164">
                  <c:v>45720</c:v>
                </c:pt>
                <c:pt idx="165">
                  <c:v>45719</c:v>
                </c:pt>
                <c:pt idx="166">
                  <c:v>45716</c:v>
                </c:pt>
                <c:pt idx="167">
                  <c:v>45715</c:v>
                </c:pt>
                <c:pt idx="168">
                  <c:v>45713</c:v>
                </c:pt>
                <c:pt idx="169">
                  <c:v>45712</c:v>
                </c:pt>
                <c:pt idx="170">
                  <c:v>45709</c:v>
                </c:pt>
                <c:pt idx="171">
                  <c:v>45708</c:v>
                </c:pt>
                <c:pt idx="172">
                  <c:v>45707</c:v>
                </c:pt>
                <c:pt idx="173">
                  <c:v>45706</c:v>
                </c:pt>
                <c:pt idx="174">
                  <c:v>45705</c:v>
                </c:pt>
                <c:pt idx="175">
                  <c:v>45702</c:v>
                </c:pt>
                <c:pt idx="176">
                  <c:v>45701</c:v>
                </c:pt>
                <c:pt idx="177">
                  <c:v>45700</c:v>
                </c:pt>
                <c:pt idx="178">
                  <c:v>45699</c:v>
                </c:pt>
                <c:pt idx="179">
                  <c:v>45698</c:v>
                </c:pt>
                <c:pt idx="180">
                  <c:v>45695</c:v>
                </c:pt>
                <c:pt idx="181">
                  <c:v>45694</c:v>
                </c:pt>
                <c:pt idx="182">
                  <c:v>45693</c:v>
                </c:pt>
                <c:pt idx="183">
                  <c:v>45692</c:v>
                </c:pt>
                <c:pt idx="184">
                  <c:v>45691</c:v>
                </c:pt>
                <c:pt idx="185">
                  <c:v>45689</c:v>
                </c:pt>
                <c:pt idx="186">
                  <c:v>45688</c:v>
                </c:pt>
                <c:pt idx="187">
                  <c:v>45687</c:v>
                </c:pt>
                <c:pt idx="188">
                  <c:v>45686</c:v>
                </c:pt>
                <c:pt idx="189">
                  <c:v>45685</c:v>
                </c:pt>
                <c:pt idx="190">
                  <c:v>45684</c:v>
                </c:pt>
                <c:pt idx="191">
                  <c:v>45681</c:v>
                </c:pt>
                <c:pt idx="192">
                  <c:v>45680</c:v>
                </c:pt>
                <c:pt idx="193">
                  <c:v>45679</c:v>
                </c:pt>
                <c:pt idx="194">
                  <c:v>45678</c:v>
                </c:pt>
                <c:pt idx="195">
                  <c:v>45677</c:v>
                </c:pt>
                <c:pt idx="196">
                  <c:v>45674</c:v>
                </c:pt>
                <c:pt idx="197">
                  <c:v>45673</c:v>
                </c:pt>
                <c:pt idx="198">
                  <c:v>45672</c:v>
                </c:pt>
                <c:pt idx="199">
                  <c:v>45671</c:v>
                </c:pt>
                <c:pt idx="200">
                  <c:v>45670</c:v>
                </c:pt>
                <c:pt idx="201">
                  <c:v>45667</c:v>
                </c:pt>
                <c:pt idx="202">
                  <c:v>45666</c:v>
                </c:pt>
                <c:pt idx="203">
                  <c:v>45665</c:v>
                </c:pt>
                <c:pt idx="204">
                  <c:v>45664</c:v>
                </c:pt>
                <c:pt idx="205">
                  <c:v>45663</c:v>
                </c:pt>
                <c:pt idx="206">
                  <c:v>45660</c:v>
                </c:pt>
                <c:pt idx="207">
                  <c:v>45659</c:v>
                </c:pt>
                <c:pt idx="208">
                  <c:v>45658</c:v>
                </c:pt>
                <c:pt idx="209">
                  <c:v>45657</c:v>
                </c:pt>
                <c:pt idx="210">
                  <c:v>45656</c:v>
                </c:pt>
                <c:pt idx="211">
                  <c:v>45653</c:v>
                </c:pt>
                <c:pt idx="212">
                  <c:v>45652</c:v>
                </c:pt>
                <c:pt idx="213">
                  <c:v>45650</c:v>
                </c:pt>
                <c:pt idx="214">
                  <c:v>45649</c:v>
                </c:pt>
                <c:pt idx="215">
                  <c:v>45646</c:v>
                </c:pt>
                <c:pt idx="216">
                  <c:v>45645</c:v>
                </c:pt>
                <c:pt idx="217">
                  <c:v>45644</c:v>
                </c:pt>
                <c:pt idx="218">
                  <c:v>45643</c:v>
                </c:pt>
                <c:pt idx="219">
                  <c:v>45642</c:v>
                </c:pt>
                <c:pt idx="220">
                  <c:v>45639</c:v>
                </c:pt>
                <c:pt idx="221">
                  <c:v>45638</c:v>
                </c:pt>
                <c:pt idx="222">
                  <c:v>45637</c:v>
                </c:pt>
                <c:pt idx="223">
                  <c:v>45636</c:v>
                </c:pt>
                <c:pt idx="224">
                  <c:v>45635</c:v>
                </c:pt>
                <c:pt idx="225">
                  <c:v>45632</c:v>
                </c:pt>
                <c:pt idx="226">
                  <c:v>45631</c:v>
                </c:pt>
                <c:pt idx="227">
                  <c:v>45630</c:v>
                </c:pt>
                <c:pt idx="228">
                  <c:v>45629</c:v>
                </c:pt>
                <c:pt idx="229">
                  <c:v>45628</c:v>
                </c:pt>
                <c:pt idx="230">
                  <c:v>45625</c:v>
                </c:pt>
                <c:pt idx="231">
                  <c:v>45624</c:v>
                </c:pt>
                <c:pt idx="232">
                  <c:v>45623</c:v>
                </c:pt>
                <c:pt idx="233">
                  <c:v>45622</c:v>
                </c:pt>
                <c:pt idx="234">
                  <c:v>45621</c:v>
                </c:pt>
                <c:pt idx="235">
                  <c:v>45618</c:v>
                </c:pt>
                <c:pt idx="236">
                  <c:v>45617</c:v>
                </c:pt>
                <c:pt idx="237">
                  <c:v>45615</c:v>
                </c:pt>
                <c:pt idx="238">
                  <c:v>45614</c:v>
                </c:pt>
                <c:pt idx="239">
                  <c:v>45610</c:v>
                </c:pt>
                <c:pt idx="240">
                  <c:v>45609</c:v>
                </c:pt>
                <c:pt idx="241">
                  <c:v>45608</c:v>
                </c:pt>
                <c:pt idx="242">
                  <c:v>45607</c:v>
                </c:pt>
                <c:pt idx="243">
                  <c:v>45604</c:v>
                </c:pt>
                <c:pt idx="244">
                  <c:v>45603</c:v>
                </c:pt>
                <c:pt idx="245">
                  <c:v>45602</c:v>
                </c:pt>
                <c:pt idx="246">
                  <c:v>45601</c:v>
                </c:pt>
                <c:pt idx="247">
                  <c:v>45600</c:v>
                </c:pt>
                <c:pt idx="248">
                  <c:v>45597</c:v>
                </c:pt>
                <c:pt idx="249">
                  <c:v>45596</c:v>
                </c:pt>
                <c:pt idx="250">
                  <c:v>45595</c:v>
                </c:pt>
                <c:pt idx="251">
                  <c:v>45594</c:v>
                </c:pt>
                <c:pt idx="252">
                  <c:v>45593</c:v>
                </c:pt>
                <c:pt idx="253">
                  <c:v>45590</c:v>
                </c:pt>
                <c:pt idx="254">
                  <c:v>45589</c:v>
                </c:pt>
                <c:pt idx="255">
                  <c:v>45588</c:v>
                </c:pt>
                <c:pt idx="256">
                  <c:v>45587</c:v>
                </c:pt>
                <c:pt idx="257">
                  <c:v>45586</c:v>
                </c:pt>
                <c:pt idx="258">
                  <c:v>45583</c:v>
                </c:pt>
                <c:pt idx="259">
                  <c:v>45582</c:v>
                </c:pt>
                <c:pt idx="260">
                  <c:v>45581</c:v>
                </c:pt>
                <c:pt idx="261">
                  <c:v>45580</c:v>
                </c:pt>
                <c:pt idx="262">
                  <c:v>45579</c:v>
                </c:pt>
                <c:pt idx="263">
                  <c:v>45576</c:v>
                </c:pt>
                <c:pt idx="264">
                  <c:v>45575</c:v>
                </c:pt>
                <c:pt idx="265">
                  <c:v>45574</c:v>
                </c:pt>
                <c:pt idx="266">
                  <c:v>45573</c:v>
                </c:pt>
                <c:pt idx="267">
                  <c:v>45572</c:v>
                </c:pt>
                <c:pt idx="268">
                  <c:v>45569</c:v>
                </c:pt>
                <c:pt idx="269">
                  <c:v>45568</c:v>
                </c:pt>
                <c:pt idx="270">
                  <c:v>45566</c:v>
                </c:pt>
                <c:pt idx="271">
                  <c:v>45565</c:v>
                </c:pt>
                <c:pt idx="272">
                  <c:v>45562</c:v>
                </c:pt>
                <c:pt idx="273">
                  <c:v>45561</c:v>
                </c:pt>
                <c:pt idx="274">
                  <c:v>45560</c:v>
                </c:pt>
                <c:pt idx="275">
                  <c:v>45559</c:v>
                </c:pt>
                <c:pt idx="276">
                  <c:v>45558</c:v>
                </c:pt>
                <c:pt idx="277">
                  <c:v>45555</c:v>
                </c:pt>
                <c:pt idx="278">
                  <c:v>45554</c:v>
                </c:pt>
                <c:pt idx="279">
                  <c:v>45553</c:v>
                </c:pt>
                <c:pt idx="280">
                  <c:v>45552</c:v>
                </c:pt>
                <c:pt idx="281">
                  <c:v>45551</c:v>
                </c:pt>
                <c:pt idx="282">
                  <c:v>45548</c:v>
                </c:pt>
                <c:pt idx="283">
                  <c:v>45547</c:v>
                </c:pt>
                <c:pt idx="284">
                  <c:v>45546</c:v>
                </c:pt>
                <c:pt idx="285">
                  <c:v>45545</c:v>
                </c:pt>
                <c:pt idx="286">
                  <c:v>45544</c:v>
                </c:pt>
                <c:pt idx="287">
                  <c:v>45541</c:v>
                </c:pt>
                <c:pt idx="288">
                  <c:v>45540</c:v>
                </c:pt>
                <c:pt idx="289">
                  <c:v>45539</c:v>
                </c:pt>
                <c:pt idx="290">
                  <c:v>45538</c:v>
                </c:pt>
                <c:pt idx="291">
                  <c:v>45537</c:v>
                </c:pt>
                <c:pt idx="292">
                  <c:v>45534</c:v>
                </c:pt>
                <c:pt idx="293">
                  <c:v>45533</c:v>
                </c:pt>
                <c:pt idx="294">
                  <c:v>45532</c:v>
                </c:pt>
                <c:pt idx="295">
                  <c:v>45531</c:v>
                </c:pt>
                <c:pt idx="296">
                  <c:v>45530</c:v>
                </c:pt>
                <c:pt idx="297">
                  <c:v>45527</c:v>
                </c:pt>
                <c:pt idx="298">
                  <c:v>45526</c:v>
                </c:pt>
                <c:pt idx="299">
                  <c:v>45525</c:v>
                </c:pt>
                <c:pt idx="300">
                  <c:v>45524</c:v>
                </c:pt>
                <c:pt idx="301">
                  <c:v>45523</c:v>
                </c:pt>
                <c:pt idx="302">
                  <c:v>45520</c:v>
                </c:pt>
                <c:pt idx="303">
                  <c:v>45518</c:v>
                </c:pt>
                <c:pt idx="304">
                  <c:v>45517</c:v>
                </c:pt>
                <c:pt idx="305">
                  <c:v>45516</c:v>
                </c:pt>
                <c:pt idx="306">
                  <c:v>45513</c:v>
                </c:pt>
                <c:pt idx="307">
                  <c:v>45512</c:v>
                </c:pt>
                <c:pt idx="308">
                  <c:v>45511</c:v>
                </c:pt>
                <c:pt idx="309">
                  <c:v>45510</c:v>
                </c:pt>
                <c:pt idx="310">
                  <c:v>45509</c:v>
                </c:pt>
                <c:pt idx="311">
                  <c:v>45506</c:v>
                </c:pt>
                <c:pt idx="312">
                  <c:v>45505</c:v>
                </c:pt>
                <c:pt idx="313">
                  <c:v>45504</c:v>
                </c:pt>
                <c:pt idx="314">
                  <c:v>45503</c:v>
                </c:pt>
                <c:pt idx="315">
                  <c:v>45502</c:v>
                </c:pt>
                <c:pt idx="316">
                  <c:v>45499</c:v>
                </c:pt>
                <c:pt idx="317">
                  <c:v>45498</c:v>
                </c:pt>
                <c:pt idx="318">
                  <c:v>45497</c:v>
                </c:pt>
                <c:pt idx="319">
                  <c:v>45496</c:v>
                </c:pt>
                <c:pt idx="320">
                  <c:v>45495</c:v>
                </c:pt>
                <c:pt idx="321">
                  <c:v>45492</c:v>
                </c:pt>
                <c:pt idx="322">
                  <c:v>45491</c:v>
                </c:pt>
                <c:pt idx="323">
                  <c:v>45489</c:v>
                </c:pt>
                <c:pt idx="324">
                  <c:v>45488</c:v>
                </c:pt>
                <c:pt idx="325">
                  <c:v>45485</c:v>
                </c:pt>
                <c:pt idx="326">
                  <c:v>45484</c:v>
                </c:pt>
                <c:pt idx="327">
                  <c:v>45483</c:v>
                </c:pt>
                <c:pt idx="328">
                  <c:v>45482</c:v>
                </c:pt>
                <c:pt idx="329">
                  <c:v>45481</c:v>
                </c:pt>
                <c:pt idx="330">
                  <c:v>45478</c:v>
                </c:pt>
                <c:pt idx="331">
                  <c:v>45477</c:v>
                </c:pt>
                <c:pt idx="332">
                  <c:v>45476</c:v>
                </c:pt>
                <c:pt idx="333">
                  <c:v>45475</c:v>
                </c:pt>
                <c:pt idx="334">
                  <c:v>45474</c:v>
                </c:pt>
                <c:pt idx="335">
                  <c:v>45471</c:v>
                </c:pt>
                <c:pt idx="336">
                  <c:v>45470</c:v>
                </c:pt>
                <c:pt idx="337">
                  <c:v>45469</c:v>
                </c:pt>
                <c:pt idx="338">
                  <c:v>45468</c:v>
                </c:pt>
                <c:pt idx="339">
                  <c:v>45467</c:v>
                </c:pt>
                <c:pt idx="340">
                  <c:v>45464</c:v>
                </c:pt>
                <c:pt idx="341">
                  <c:v>45463</c:v>
                </c:pt>
                <c:pt idx="342">
                  <c:v>45462</c:v>
                </c:pt>
                <c:pt idx="343">
                  <c:v>45461</c:v>
                </c:pt>
                <c:pt idx="344">
                  <c:v>45457</c:v>
                </c:pt>
                <c:pt idx="345">
                  <c:v>45456</c:v>
                </c:pt>
                <c:pt idx="346">
                  <c:v>45455</c:v>
                </c:pt>
                <c:pt idx="347">
                  <c:v>45454</c:v>
                </c:pt>
                <c:pt idx="348">
                  <c:v>45453</c:v>
                </c:pt>
                <c:pt idx="349">
                  <c:v>45450</c:v>
                </c:pt>
                <c:pt idx="350">
                  <c:v>45449</c:v>
                </c:pt>
                <c:pt idx="351">
                  <c:v>45448</c:v>
                </c:pt>
                <c:pt idx="352">
                  <c:v>45447</c:v>
                </c:pt>
                <c:pt idx="353">
                  <c:v>45446</c:v>
                </c:pt>
                <c:pt idx="354">
                  <c:v>45443</c:v>
                </c:pt>
                <c:pt idx="355">
                  <c:v>45442</c:v>
                </c:pt>
                <c:pt idx="356">
                  <c:v>45441</c:v>
                </c:pt>
                <c:pt idx="357">
                  <c:v>45440</c:v>
                </c:pt>
                <c:pt idx="358">
                  <c:v>45439</c:v>
                </c:pt>
                <c:pt idx="359">
                  <c:v>45436</c:v>
                </c:pt>
                <c:pt idx="360">
                  <c:v>45435</c:v>
                </c:pt>
                <c:pt idx="361">
                  <c:v>45434</c:v>
                </c:pt>
                <c:pt idx="362">
                  <c:v>45433</c:v>
                </c:pt>
                <c:pt idx="363">
                  <c:v>45430</c:v>
                </c:pt>
                <c:pt idx="364">
                  <c:v>45429</c:v>
                </c:pt>
                <c:pt idx="365">
                  <c:v>45428</c:v>
                </c:pt>
                <c:pt idx="366">
                  <c:v>45427</c:v>
                </c:pt>
                <c:pt idx="367">
                  <c:v>45426</c:v>
                </c:pt>
                <c:pt idx="368">
                  <c:v>45425</c:v>
                </c:pt>
                <c:pt idx="369">
                  <c:v>45422</c:v>
                </c:pt>
                <c:pt idx="370">
                  <c:v>45421</c:v>
                </c:pt>
                <c:pt idx="371">
                  <c:v>45420</c:v>
                </c:pt>
                <c:pt idx="372">
                  <c:v>45419</c:v>
                </c:pt>
                <c:pt idx="373">
                  <c:v>45418</c:v>
                </c:pt>
                <c:pt idx="374">
                  <c:v>45415</c:v>
                </c:pt>
                <c:pt idx="375">
                  <c:v>45414</c:v>
                </c:pt>
                <c:pt idx="376">
                  <c:v>45412</c:v>
                </c:pt>
                <c:pt idx="377">
                  <c:v>45411</c:v>
                </c:pt>
                <c:pt idx="378">
                  <c:v>45408</c:v>
                </c:pt>
                <c:pt idx="379">
                  <c:v>45407</c:v>
                </c:pt>
                <c:pt idx="380">
                  <c:v>45406</c:v>
                </c:pt>
                <c:pt idx="381">
                  <c:v>45405</c:v>
                </c:pt>
                <c:pt idx="382">
                  <c:v>45404</c:v>
                </c:pt>
                <c:pt idx="383">
                  <c:v>45401</c:v>
                </c:pt>
                <c:pt idx="384">
                  <c:v>45400</c:v>
                </c:pt>
                <c:pt idx="385">
                  <c:v>45398</c:v>
                </c:pt>
                <c:pt idx="386">
                  <c:v>45397</c:v>
                </c:pt>
                <c:pt idx="387">
                  <c:v>45394</c:v>
                </c:pt>
                <c:pt idx="388">
                  <c:v>45392</c:v>
                </c:pt>
                <c:pt idx="389">
                  <c:v>45391</c:v>
                </c:pt>
                <c:pt idx="390">
                  <c:v>45390</c:v>
                </c:pt>
                <c:pt idx="391">
                  <c:v>45387</c:v>
                </c:pt>
                <c:pt idx="392">
                  <c:v>45386</c:v>
                </c:pt>
                <c:pt idx="393">
                  <c:v>45385</c:v>
                </c:pt>
                <c:pt idx="394">
                  <c:v>45384</c:v>
                </c:pt>
                <c:pt idx="395">
                  <c:v>45383</c:v>
                </c:pt>
                <c:pt idx="396">
                  <c:v>45379</c:v>
                </c:pt>
                <c:pt idx="397">
                  <c:v>45378</c:v>
                </c:pt>
                <c:pt idx="398">
                  <c:v>45377</c:v>
                </c:pt>
                <c:pt idx="399">
                  <c:v>45373</c:v>
                </c:pt>
                <c:pt idx="400">
                  <c:v>45372</c:v>
                </c:pt>
                <c:pt idx="401">
                  <c:v>45371</c:v>
                </c:pt>
                <c:pt idx="402">
                  <c:v>45370</c:v>
                </c:pt>
                <c:pt idx="403">
                  <c:v>45369</c:v>
                </c:pt>
                <c:pt idx="404">
                  <c:v>45366</c:v>
                </c:pt>
                <c:pt idx="405">
                  <c:v>45365</c:v>
                </c:pt>
                <c:pt idx="406">
                  <c:v>45364</c:v>
                </c:pt>
                <c:pt idx="407">
                  <c:v>45363</c:v>
                </c:pt>
                <c:pt idx="408">
                  <c:v>45362</c:v>
                </c:pt>
                <c:pt idx="409">
                  <c:v>45358</c:v>
                </c:pt>
                <c:pt idx="410">
                  <c:v>45357</c:v>
                </c:pt>
                <c:pt idx="411">
                  <c:v>45356</c:v>
                </c:pt>
                <c:pt idx="412">
                  <c:v>45355</c:v>
                </c:pt>
                <c:pt idx="413">
                  <c:v>45353</c:v>
                </c:pt>
                <c:pt idx="414">
                  <c:v>45352</c:v>
                </c:pt>
                <c:pt idx="415">
                  <c:v>45351</c:v>
                </c:pt>
                <c:pt idx="416">
                  <c:v>45350</c:v>
                </c:pt>
                <c:pt idx="417">
                  <c:v>45349</c:v>
                </c:pt>
                <c:pt idx="418">
                  <c:v>45348</c:v>
                </c:pt>
                <c:pt idx="419">
                  <c:v>45345</c:v>
                </c:pt>
                <c:pt idx="420">
                  <c:v>45344</c:v>
                </c:pt>
                <c:pt idx="421">
                  <c:v>45343</c:v>
                </c:pt>
                <c:pt idx="422">
                  <c:v>45342</c:v>
                </c:pt>
                <c:pt idx="423">
                  <c:v>45341</c:v>
                </c:pt>
                <c:pt idx="424">
                  <c:v>45338</c:v>
                </c:pt>
                <c:pt idx="425">
                  <c:v>45337</c:v>
                </c:pt>
                <c:pt idx="426">
                  <c:v>45336</c:v>
                </c:pt>
                <c:pt idx="427">
                  <c:v>45335</c:v>
                </c:pt>
                <c:pt idx="428">
                  <c:v>45334</c:v>
                </c:pt>
                <c:pt idx="429">
                  <c:v>45331</c:v>
                </c:pt>
                <c:pt idx="430">
                  <c:v>45330</c:v>
                </c:pt>
                <c:pt idx="431">
                  <c:v>45329</c:v>
                </c:pt>
                <c:pt idx="432">
                  <c:v>45328</c:v>
                </c:pt>
                <c:pt idx="433">
                  <c:v>45327</c:v>
                </c:pt>
                <c:pt idx="434">
                  <c:v>45324</c:v>
                </c:pt>
                <c:pt idx="435">
                  <c:v>45323</c:v>
                </c:pt>
                <c:pt idx="436">
                  <c:v>45322</c:v>
                </c:pt>
                <c:pt idx="437">
                  <c:v>45321</c:v>
                </c:pt>
                <c:pt idx="438">
                  <c:v>45320</c:v>
                </c:pt>
                <c:pt idx="439">
                  <c:v>45316</c:v>
                </c:pt>
                <c:pt idx="440">
                  <c:v>45315</c:v>
                </c:pt>
                <c:pt idx="441">
                  <c:v>45314</c:v>
                </c:pt>
                <c:pt idx="442">
                  <c:v>45311</c:v>
                </c:pt>
                <c:pt idx="443">
                  <c:v>45310</c:v>
                </c:pt>
                <c:pt idx="444">
                  <c:v>45309</c:v>
                </c:pt>
                <c:pt idx="445">
                  <c:v>45308</c:v>
                </c:pt>
                <c:pt idx="446">
                  <c:v>45307</c:v>
                </c:pt>
                <c:pt idx="447">
                  <c:v>45306</c:v>
                </c:pt>
                <c:pt idx="448">
                  <c:v>45303</c:v>
                </c:pt>
                <c:pt idx="449">
                  <c:v>45302</c:v>
                </c:pt>
                <c:pt idx="450">
                  <c:v>45301</c:v>
                </c:pt>
                <c:pt idx="451">
                  <c:v>45300</c:v>
                </c:pt>
                <c:pt idx="452">
                  <c:v>45299</c:v>
                </c:pt>
                <c:pt idx="453">
                  <c:v>45296</c:v>
                </c:pt>
                <c:pt idx="454">
                  <c:v>45295</c:v>
                </c:pt>
                <c:pt idx="455">
                  <c:v>45294</c:v>
                </c:pt>
                <c:pt idx="456">
                  <c:v>45293</c:v>
                </c:pt>
                <c:pt idx="457">
                  <c:v>45292</c:v>
                </c:pt>
                <c:pt idx="458">
                  <c:v>45289</c:v>
                </c:pt>
                <c:pt idx="459">
                  <c:v>45288</c:v>
                </c:pt>
                <c:pt idx="460">
                  <c:v>45287</c:v>
                </c:pt>
                <c:pt idx="461">
                  <c:v>45286</c:v>
                </c:pt>
                <c:pt idx="462">
                  <c:v>45282</c:v>
                </c:pt>
                <c:pt idx="463">
                  <c:v>45281</c:v>
                </c:pt>
                <c:pt idx="464">
                  <c:v>45280</c:v>
                </c:pt>
                <c:pt idx="465">
                  <c:v>45279</c:v>
                </c:pt>
                <c:pt idx="466">
                  <c:v>45278</c:v>
                </c:pt>
                <c:pt idx="467">
                  <c:v>45275</c:v>
                </c:pt>
                <c:pt idx="468">
                  <c:v>45274</c:v>
                </c:pt>
                <c:pt idx="469">
                  <c:v>45273</c:v>
                </c:pt>
                <c:pt idx="470">
                  <c:v>45272</c:v>
                </c:pt>
                <c:pt idx="471">
                  <c:v>45271</c:v>
                </c:pt>
                <c:pt idx="472">
                  <c:v>45268</c:v>
                </c:pt>
                <c:pt idx="473">
                  <c:v>45267</c:v>
                </c:pt>
                <c:pt idx="474">
                  <c:v>45266</c:v>
                </c:pt>
                <c:pt idx="475">
                  <c:v>45265</c:v>
                </c:pt>
                <c:pt idx="476">
                  <c:v>45264</c:v>
                </c:pt>
                <c:pt idx="477">
                  <c:v>45261</c:v>
                </c:pt>
                <c:pt idx="478">
                  <c:v>45260</c:v>
                </c:pt>
                <c:pt idx="479">
                  <c:v>45259</c:v>
                </c:pt>
                <c:pt idx="480">
                  <c:v>45258</c:v>
                </c:pt>
                <c:pt idx="481">
                  <c:v>45254</c:v>
                </c:pt>
                <c:pt idx="482">
                  <c:v>45253</c:v>
                </c:pt>
                <c:pt idx="483">
                  <c:v>45252</c:v>
                </c:pt>
                <c:pt idx="484">
                  <c:v>45251</c:v>
                </c:pt>
                <c:pt idx="485">
                  <c:v>45250</c:v>
                </c:pt>
                <c:pt idx="486">
                  <c:v>45247</c:v>
                </c:pt>
                <c:pt idx="487">
                  <c:v>45246</c:v>
                </c:pt>
                <c:pt idx="488">
                  <c:v>45245</c:v>
                </c:pt>
                <c:pt idx="489">
                  <c:v>45243</c:v>
                </c:pt>
                <c:pt idx="490">
                  <c:v>45242</c:v>
                </c:pt>
                <c:pt idx="491">
                  <c:v>45240</c:v>
                </c:pt>
                <c:pt idx="492">
                  <c:v>45239</c:v>
                </c:pt>
                <c:pt idx="493">
                  <c:v>45238</c:v>
                </c:pt>
                <c:pt idx="494">
                  <c:v>45237</c:v>
                </c:pt>
                <c:pt idx="495">
                  <c:v>45236</c:v>
                </c:pt>
                <c:pt idx="496">
                  <c:v>45233</c:v>
                </c:pt>
                <c:pt idx="497">
                  <c:v>45232</c:v>
                </c:pt>
                <c:pt idx="498">
                  <c:v>45231</c:v>
                </c:pt>
                <c:pt idx="499">
                  <c:v>45230</c:v>
                </c:pt>
                <c:pt idx="500">
                  <c:v>45229</c:v>
                </c:pt>
                <c:pt idx="501">
                  <c:v>45226</c:v>
                </c:pt>
                <c:pt idx="502">
                  <c:v>45225</c:v>
                </c:pt>
                <c:pt idx="503">
                  <c:v>45224</c:v>
                </c:pt>
                <c:pt idx="504">
                  <c:v>45222</c:v>
                </c:pt>
                <c:pt idx="505">
                  <c:v>45219</c:v>
                </c:pt>
                <c:pt idx="506">
                  <c:v>45218</c:v>
                </c:pt>
                <c:pt idx="507">
                  <c:v>45217</c:v>
                </c:pt>
                <c:pt idx="508">
                  <c:v>45216</c:v>
                </c:pt>
                <c:pt idx="509">
                  <c:v>45215</c:v>
                </c:pt>
                <c:pt idx="510">
                  <c:v>45212</c:v>
                </c:pt>
                <c:pt idx="511">
                  <c:v>45211</c:v>
                </c:pt>
                <c:pt idx="512">
                  <c:v>45210</c:v>
                </c:pt>
                <c:pt idx="513">
                  <c:v>45209</c:v>
                </c:pt>
                <c:pt idx="514">
                  <c:v>45208</c:v>
                </c:pt>
                <c:pt idx="515">
                  <c:v>45205</c:v>
                </c:pt>
                <c:pt idx="516">
                  <c:v>45204</c:v>
                </c:pt>
                <c:pt idx="517">
                  <c:v>45203</c:v>
                </c:pt>
                <c:pt idx="518">
                  <c:v>45202</c:v>
                </c:pt>
                <c:pt idx="519">
                  <c:v>45198</c:v>
                </c:pt>
                <c:pt idx="520">
                  <c:v>45197</c:v>
                </c:pt>
                <c:pt idx="521">
                  <c:v>45196</c:v>
                </c:pt>
                <c:pt idx="522">
                  <c:v>45195</c:v>
                </c:pt>
                <c:pt idx="523">
                  <c:v>45194</c:v>
                </c:pt>
                <c:pt idx="524">
                  <c:v>45191</c:v>
                </c:pt>
                <c:pt idx="525">
                  <c:v>45190</c:v>
                </c:pt>
                <c:pt idx="526">
                  <c:v>45189</c:v>
                </c:pt>
                <c:pt idx="527">
                  <c:v>45187</c:v>
                </c:pt>
                <c:pt idx="528">
                  <c:v>45184</c:v>
                </c:pt>
                <c:pt idx="529">
                  <c:v>45183</c:v>
                </c:pt>
                <c:pt idx="530">
                  <c:v>45182</c:v>
                </c:pt>
                <c:pt idx="531">
                  <c:v>45181</c:v>
                </c:pt>
                <c:pt idx="532">
                  <c:v>45180</c:v>
                </c:pt>
                <c:pt idx="533">
                  <c:v>45177</c:v>
                </c:pt>
                <c:pt idx="534">
                  <c:v>45176</c:v>
                </c:pt>
                <c:pt idx="535">
                  <c:v>45175</c:v>
                </c:pt>
                <c:pt idx="536">
                  <c:v>45174</c:v>
                </c:pt>
                <c:pt idx="537">
                  <c:v>45173</c:v>
                </c:pt>
                <c:pt idx="538">
                  <c:v>45170</c:v>
                </c:pt>
                <c:pt idx="539">
                  <c:v>45169</c:v>
                </c:pt>
                <c:pt idx="540">
                  <c:v>45168</c:v>
                </c:pt>
                <c:pt idx="541">
                  <c:v>45167</c:v>
                </c:pt>
                <c:pt idx="542">
                  <c:v>45166</c:v>
                </c:pt>
                <c:pt idx="543">
                  <c:v>45163</c:v>
                </c:pt>
                <c:pt idx="544">
                  <c:v>45162</c:v>
                </c:pt>
                <c:pt idx="545">
                  <c:v>45161</c:v>
                </c:pt>
                <c:pt idx="546">
                  <c:v>45160</c:v>
                </c:pt>
                <c:pt idx="547">
                  <c:v>45159</c:v>
                </c:pt>
                <c:pt idx="548">
                  <c:v>45156</c:v>
                </c:pt>
                <c:pt idx="549">
                  <c:v>45155</c:v>
                </c:pt>
                <c:pt idx="550">
                  <c:v>45154</c:v>
                </c:pt>
                <c:pt idx="551">
                  <c:v>45152</c:v>
                </c:pt>
                <c:pt idx="552">
                  <c:v>45149</c:v>
                </c:pt>
                <c:pt idx="553">
                  <c:v>45148</c:v>
                </c:pt>
                <c:pt idx="554">
                  <c:v>45147</c:v>
                </c:pt>
                <c:pt idx="555">
                  <c:v>45146</c:v>
                </c:pt>
                <c:pt idx="556">
                  <c:v>45145</c:v>
                </c:pt>
                <c:pt idx="557">
                  <c:v>45142</c:v>
                </c:pt>
                <c:pt idx="558">
                  <c:v>45141</c:v>
                </c:pt>
                <c:pt idx="559">
                  <c:v>45140</c:v>
                </c:pt>
                <c:pt idx="560">
                  <c:v>45139</c:v>
                </c:pt>
                <c:pt idx="561">
                  <c:v>45138</c:v>
                </c:pt>
                <c:pt idx="562">
                  <c:v>45135</c:v>
                </c:pt>
                <c:pt idx="563">
                  <c:v>45134</c:v>
                </c:pt>
                <c:pt idx="564">
                  <c:v>45133</c:v>
                </c:pt>
                <c:pt idx="565">
                  <c:v>45132</c:v>
                </c:pt>
                <c:pt idx="566">
                  <c:v>45131</c:v>
                </c:pt>
                <c:pt idx="567">
                  <c:v>45128</c:v>
                </c:pt>
                <c:pt idx="568">
                  <c:v>45127</c:v>
                </c:pt>
                <c:pt idx="569">
                  <c:v>45126</c:v>
                </c:pt>
                <c:pt idx="570">
                  <c:v>45125</c:v>
                </c:pt>
                <c:pt idx="571">
                  <c:v>45124</c:v>
                </c:pt>
                <c:pt idx="572">
                  <c:v>45121</c:v>
                </c:pt>
                <c:pt idx="573">
                  <c:v>45120</c:v>
                </c:pt>
                <c:pt idx="574">
                  <c:v>45119</c:v>
                </c:pt>
                <c:pt idx="575">
                  <c:v>45118</c:v>
                </c:pt>
                <c:pt idx="576">
                  <c:v>45117</c:v>
                </c:pt>
                <c:pt idx="577">
                  <c:v>45114</c:v>
                </c:pt>
                <c:pt idx="578">
                  <c:v>45113</c:v>
                </c:pt>
                <c:pt idx="579">
                  <c:v>45112</c:v>
                </c:pt>
                <c:pt idx="580">
                  <c:v>45111</c:v>
                </c:pt>
                <c:pt idx="581">
                  <c:v>45110</c:v>
                </c:pt>
                <c:pt idx="582">
                  <c:v>45107</c:v>
                </c:pt>
                <c:pt idx="583">
                  <c:v>45105</c:v>
                </c:pt>
                <c:pt idx="584">
                  <c:v>45104</c:v>
                </c:pt>
                <c:pt idx="585">
                  <c:v>45103</c:v>
                </c:pt>
                <c:pt idx="586">
                  <c:v>45100</c:v>
                </c:pt>
                <c:pt idx="587">
                  <c:v>45099</c:v>
                </c:pt>
                <c:pt idx="588">
                  <c:v>45098</c:v>
                </c:pt>
                <c:pt idx="589">
                  <c:v>45097</c:v>
                </c:pt>
                <c:pt idx="590">
                  <c:v>45096</c:v>
                </c:pt>
                <c:pt idx="591">
                  <c:v>45093</c:v>
                </c:pt>
                <c:pt idx="592">
                  <c:v>45092</c:v>
                </c:pt>
                <c:pt idx="593">
                  <c:v>45091</c:v>
                </c:pt>
                <c:pt idx="594">
                  <c:v>45090</c:v>
                </c:pt>
                <c:pt idx="595">
                  <c:v>45089</c:v>
                </c:pt>
                <c:pt idx="596">
                  <c:v>45086</c:v>
                </c:pt>
                <c:pt idx="597">
                  <c:v>45085</c:v>
                </c:pt>
                <c:pt idx="598">
                  <c:v>45084</c:v>
                </c:pt>
                <c:pt idx="599">
                  <c:v>45083</c:v>
                </c:pt>
                <c:pt idx="600">
                  <c:v>45082</c:v>
                </c:pt>
                <c:pt idx="601">
                  <c:v>45079</c:v>
                </c:pt>
                <c:pt idx="602">
                  <c:v>45078</c:v>
                </c:pt>
                <c:pt idx="603">
                  <c:v>45077</c:v>
                </c:pt>
                <c:pt idx="604">
                  <c:v>45076</c:v>
                </c:pt>
                <c:pt idx="605">
                  <c:v>45075</c:v>
                </c:pt>
                <c:pt idx="606">
                  <c:v>45072</c:v>
                </c:pt>
                <c:pt idx="607">
                  <c:v>45071</c:v>
                </c:pt>
                <c:pt idx="608">
                  <c:v>45070</c:v>
                </c:pt>
                <c:pt idx="609">
                  <c:v>45069</c:v>
                </c:pt>
                <c:pt idx="610">
                  <c:v>45068</c:v>
                </c:pt>
                <c:pt idx="611">
                  <c:v>45065</c:v>
                </c:pt>
                <c:pt idx="612">
                  <c:v>45064</c:v>
                </c:pt>
                <c:pt idx="613">
                  <c:v>45063</c:v>
                </c:pt>
                <c:pt idx="614">
                  <c:v>45062</c:v>
                </c:pt>
                <c:pt idx="615">
                  <c:v>45061</c:v>
                </c:pt>
                <c:pt idx="616">
                  <c:v>45058</c:v>
                </c:pt>
                <c:pt idx="617">
                  <c:v>45057</c:v>
                </c:pt>
                <c:pt idx="618">
                  <c:v>45056</c:v>
                </c:pt>
                <c:pt idx="619">
                  <c:v>45055</c:v>
                </c:pt>
                <c:pt idx="620">
                  <c:v>45054</c:v>
                </c:pt>
                <c:pt idx="621">
                  <c:v>45051</c:v>
                </c:pt>
                <c:pt idx="622">
                  <c:v>45050</c:v>
                </c:pt>
                <c:pt idx="623">
                  <c:v>45049</c:v>
                </c:pt>
                <c:pt idx="624">
                  <c:v>45048</c:v>
                </c:pt>
                <c:pt idx="625">
                  <c:v>45044</c:v>
                </c:pt>
                <c:pt idx="626">
                  <c:v>45043</c:v>
                </c:pt>
                <c:pt idx="627">
                  <c:v>45042</c:v>
                </c:pt>
                <c:pt idx="628">
                  <c:v>45041</c:v>
                </c:pt>
                <c:pt idx="629">
                  <c:v>45040</c:v>
                </c:pt>
                <c:pt idx="630">
                  <c:v>45037</c:v>
                </c:pt>
                <c:pt idx="631">
                  <c:v>45036</c:v>
                </c:pt>
                <c:pt idx="632">
                  <c:v>45035</c:v>
                </c:pt>
                <c:pt idx="633">
                  <c:v>45034</c:v>
                </c:pt>
                <c:pt idx="634">
                  <c:v>45033</c:v>
                </c:pt>
                <c:pt idx="635">
                  <c:v>45029</c:v>
                </c:pt>
                <c:pt idx="636">
                  <c:v>45028</c:v>
                </c:pt>
                <c:pt idx="637">
                  <c:v>45027</c:v>
                </c:pt>
                <c:pt idx="638">
                  <c:v>45026</c:v>
                </c:pt>
                <c:pt idx="639">
                  <c:v>45022</c:v>
                </c:pt>
                <c:pt idx="640">
                  <c:v>45021</c:v>
                </c:pt>
                <c:pt idx="641">
                  <c:v>45019</c:v>
                </c:pt>
                <c:pt idx="642">
                  <c:v>45016</c:v>
                </c:pt>
                <c:pt idx="643">
                  <c:v>45014</c:v>
                </c:pt>
                <c:pt idx="644">
                  <c:v>45013</c:v>
                </c:pt>
                <c:pt idx="645">
                  <c:v>45012</c:v>
                </c:pt>
                <c:pt idx="646">
                  <c:v>45009</c:v>
                </c:pt>
                <c:pt idx="647">
                  <c:v>45008</c:v>
                </c:pt>
                <c:pt idx="648">
                  <c:v>45007</c:v>
                </c:pt>
                <c:pt idx="649">
                  <c:v>45006</c:v>
                </c:pt>
                <c:pt idx="650">
                  <c:v>45005</c:v>
                </c:pt>
                <c:pt idx="651">
                  <c:v>45002</c:v>
                </c:pt>
                <c:pt idx="652">
                  <c:v>45001</c:v>
                </c:pt>
                <c:pt idx="653">
                  <c:v>45000</c:v>
                </c:pt>
                <c:pt idx="654">
                  <c:v>44999</c:v>
                </c:pt>
                <c:pt idx="655">
                  <c:v>44998</c:v>
                </c:pt>
                <c:pt idx="656">
                  <c:v>44995</c:v>
                </c:pt>
                <c:pt idx="657">
                  <c:v>44994</c:v>
                </c:pt>
                <c:pt idx="658">
                  <c:v>44993</c:v>
                </c:pt>
                <c:pt idx="659">
                  <c:v>44991</c:v>
                </c:pt>
                <c:pt idx="660">
                  <c:v>44988</c:v>
                </c:pt>
                <c:pt idx="661">
                  <c:v>44987</c:v>
                </c:pt>
                <c:pt idx="662">
                  <c:v>44986</c:v>
                </c:pt>
                <c:pt idx="663">
                  <c:v>44985</c:v>
                </c:pt>
                <c:pt idx="664">
                  <c:v>44984</c:v>
                </c:pt>
                <c:pt idx="665">
                  <c:v>44981</c:v>
                </c:pt>
                <c:pt idx="666">
                  <c:v>44980</c:v>
                </c:pt>
                <c:pt idx="667">
                  <c:v>44979</c:v>
                </c:pt>
                <c:pt idx="668">
                  <c:v>44978</c:v>
                </c:pt>
                <c:pt idx="669">
                  <c:v>44977</c:v>
                </c:pt>
                <c:pt idx="670">
                  <c:v>44974</c:v>
                </c:pt>
                <c:pt idx="671">
                  <c:v>44973</c:v>
                </c:pt>
                <c:pt idx="672">
                  <c:v>44972</c:v>
                </c:pt>
                <c:pt idx="673">
                  <c:v>44971</c:v>
                </c:pt>
                <c:pt idx="674">
                  <c:v>44970</c:v>
                </c:pt>
                <c:pt idx="675">
                  <c:v>44967</c:v>
                </c:pt>
                <c:pt idx="676">
                  <c:v>44966</c:v>
                </c:pt>
                <c:pt idx="677">
                  <c:v>44965</c:v>
                </c:pt>
                <c:pt idx="678">
                  <c:v>44964</c:v>
                </c:pt>
                <c:pt idx="679">
                  <c:v>44963</c:v>
                </c:pt>
                <c:pt idx="680">
                  <c:v>44960</c:v>
                </c:pt>
                <c:pt idx="681">
                  <c:v>44959</c:v>
                </c:pt>
                <c:pt idx="682">
                  <c:v>44958</c:v>
                </c:pt>
                <c:pt idx="683">
                  <c:v>44957</c:v>
                </c:pt>
                <c:pt idx="684">
                  <c:v>44956</c:v>
                </c:pt>
                <c:pt idx="685">
                  <c:v>44953</c:v>
                </c:pt>
                <c:pt idx="686">
                  <c:v>44951</c:v>
                </c:pt>
                <c:pt idx="687">
                  <c:v>44950</c:v>
                </c:pt>
                <c:pt idx="688">
                  <c:v>44949</c:v>
                </c:pt>
                <c:pt idx="689">
                  <c:v>44946</c:v>
                </c:pt>
                <c:pt idx="690">
                  <c:v>44945</c:v>
                </c:pt>
                <c:pt idx="691">
                  <c:v>44944</c:v>
                </c:pt>
                <c:pt idx="692">
                  <c:v>44943</c:v>
                </c:pt>
                <c:pt idx="693">
                  <c:v>44942</c:v>
                </c:pt>
                <c:pt idx="694">
                  <c:v>44939</c:v>
                </c:pt>
                <c:pt idx="695">
                  <c:v>44938</c:v>
                </c:pt>
                <c:pt idx="696">
                  <c:v>44937</c:v>
                </c:pt>
                <c:pt idx="697">
                  <c:v>44936</c:v>
                </c:pt>
                <c:pt idx="698">
                  <c:v>44935</c:v>
                </c:pt>
                <c:pt idx="699">
                  <c:v>44932</c:v>
                </c:pt>
                <c:pt idx="700">
                  <c:v>44931</c:v>
                </c:pt>
                <c:pt idx="701">
                  <c:v>44930</c:v>
                </c:pt>
                <c:pt idx="702">
                  <c:v>44929</c:v>
                </c:pt>
                <c:pt idx="703">
                  <c:v>44928</c:v>
                </c:pt>
                <c:pt idx="704">
                  <c:v>44925</c:v>
                </c:pt>
                <c:pt idx="705">
                  <c:v>44924</c:v>
                </c:pt>
                <c:pt idx="706">
                  <c:v>44923</c:v>
                </c:pt>
                <c:pt idx="707">
                  <c:v>44922</c:v>
                </c:pt>
                <c:pt idx="708">
                  <c:v>44921</c:v>
                </c:pt>
                <c:pt idx="709">
                  <c:v>44918</c:v>
                </c:pt>
                <c:pt idx="710">
                  <c:v>44917</c:v>
                </c:pt>
                <c:pt idx="711">
                  <c:v>44916</c:v>
                </c:pt>
                <c:pt idx="712">
                  <c:v>44915</c:v>
                </c:pt>
                <c:pt idx="713">
                  <c:v>44914</c:v>
                </c:pt>
                <c:pt idx="714">
                  <c:v>44911</c:v>
                </c:pt>
                <c:pt idx="715">
                  <c:v>44910</c:v>
                </c:pt>
                <c:pt idx="716">
                  <c:v>44909</c:v>
                </c:pt>
                <c:pt idx="717">
                  <c:v>44908</c:v>
                </c:pt>
                <c:pt idx="718">
                  <c:v>44907</c:v>
                </c:pt>
                <c:pt idx="719">
                  <c:v>44904</c:v>
                </c:pt>
                <c:pt idx="720">
                  <c:v>44903</c:v>
                </c:pt>
                <c:pt idx="721">
                  <c:v>44902</c:v>
                </c:pt>
                <c:pt idx="722">
                  <c:v>44901</c:v>
                </c:pt>
                <c:pt idx="723">
                  <c:v>44900</c:v>
                </c:pt>
                <c:pt idx="724">
                  <c:v>44897</c:v>
                </c:pt>
                <c:pt idx="725">
                  <c:v>44896</c:v>
                </c:pt>
                <c:pt idx="726">
                  <c:v>44895</c:v>
                </c:pt>
                <c:pt idx="727">
                  <c:v>44894</c:v>
                </c:pt>
                <c:pt idx="728">
                  <c:v>44893</c:v>
                </c:pt>
                <c:pt idx="729">
                  <c:v>44890</c:v>
                </c:pt>
                <c:pt idx="730">
                  <c:v>44889</c:v>
                </c:pt>
                <c:pt idx="731">
                  <c:v>44888</c:v>
                </c:pt>
                <c:pt idx="732">
                  <c:v>44887</c:v>
                </c:pt>
                <c:pt idx="733">
                  <c:v>44886</c:v>
                </c:pt>
                <c:pt idx="734">
                  <c:v>44883</c:v>
                </c:pt>
                <c:pt idx="735">
                  <c:v>44882</c:v>
                </c:pt>
                <c:pt idx="736">
                  <c:v>44881</c:v>
                </c:pt>
                <c:pt idx="737">
                  <c:v>44880</c:v>
                </c:pt>
                <c:pt idx="738">
                  <c:v>44879</c:v>
                </c:pt>
                <c:pt idx="739">
                  <c:v>44876</c:v>
                </c:pt>
                <c:pt idx="740">
                  <c:v>44875</c:v>
                </c:pt>
                <c:pt idx="741">
                  <c:v>44874</c:v>
                </c:pt>
                <c:pt idx="742">
                  <c:v>44872</c:v>
                </c:pt>
                <c:pt idx="743">
                  <c:v>44869</c:v>
                </c:pt>
                <c:pt idx="744">
                  <c:v>44868</c:v>
                </c:pt>
                <c:pt idx="745">
                  <c:v>44867</c:v>
                </c:pt>
                <c:pt idx="746">
                  <c:v>44866</c:v>
                </c:pt>
                <c:pt idx="747">
                  <c:v>44865</c:v>
                </c:pt>
                <c:pt idx="748">
                  <c:v>44862</c:v>
                </c:pt>
                <c:pt idx="749">
                  <c:v>44861</c:v>
                </c:pt>
                <c:pt idx="750">
                  <c:v>44859</c:v>
                </c:pt>
                <c:pt idx="751">
                  <c:v>44858</c:v>
                </c:pt>
                <c:pt idx="752">
                  <c:v>44855</c:v>
                </c:pt>
                <c:pt idx="753">
                  <c:v>44854</c:v>
                </c:pt>
                <c:pt idx="754">
                  <c:v>44853</c:v>
                </c:pt>
                <c:pt idx="755">
                  <c:v>44852</c:v>
                </c:pt>
                <c:pt idx="756">
                  <c:v>44851</c:v>
                </c:pt>
                <c:pt idx="757">
                  <c:v>44848</c:v>
                </c:pt>
                <c:pt idx="758">
                  <c:v>44847</c:v>
                </c:pt>
                <c:pt idx="759">
                  <c:v>44846</c:v>
                </c:pt>
                <c:pt idx="760">
                  <c:v>44845</c:v>
                </c:pt>
                <c:pt idx="761">
                  <c:v>44844</c:v>
                </c:pt>
                <c:pt idx="762">
                  <c:v>44841</c:v>
                </c:pt>
                <c:pt idx="763">
                  <c:v>44840</c:v>
                </c:pt>
                <c:pt idx="764">
                  <c:v>44838</c:v>
                </c:pt>
                <c:pt idx="765">
                  <c:v>44837</c:v>
                </c:pt>
                <c:pt idx="766">
                  <c:v>44834</c:v>
                </c:pt>
                <c:pt idx="767">
                  <c:v>44833</c:v>
                </c:pt>
                <c:pt idx="768">
                  <c:v>44832</c:v>
                </c:pt>
                <c:pt idx="769">
                  <c:v>44831</c:v>
                </c:pt>
                <c:pt idx="770">
                  <c:v>44830</c:v>
                </c:pt>
                <c:pt idx="771">
                  <c:v>44827</c:v>
                </c:pt>
                <c:pt idx="772">
                  <c:v>44826</c:v>
                </c:pt>
                <c:pt idx="773">
                  <c:v>44825</c:v>
                </c:pt>
                <c:pt idx="774">
                  <c:v>44824</c:v>
                </c:pt>
                <c:pt idx="775">
                  <c:v>44823</c:v>
                </c:pt>
                <c:pt idx="776">
                  <c:v>44820</c:v>
                </c:pt>
                <c:pt idx="777">
                  <c:v>44819</c:v>
                </c:pt>
                <c:pt idx="778">
                  <c:v>44818</c:v>
                </c:pt>
                <c:pt idx="779">
                  <c:v>44817</c:v>
                </c:pt>
                <c:pt idx="780">
                  <c:v>44816</c:v>
                </c:pt>
                <c:pt idx="781">
                  <c:v>44813</c:v>
                </c:pt>
                <c:pt idx="782">
                  <c:v>44812</c:v>
                </c:pt>
                <c:pt idx="783">
                  <c:v>44811</c:v>
                </c:pt>
                <c:pt idx="784">
                  <c:v>44810</c:v>
                </c:pt>
                <c:pt idx="785">
                  <c:v>44809</c:v>
                </c:pt>
                <c:pt idx="786">
                  <c:v>44806</c:v>
                </c:pt>
                <c:pt idx="787">
                  <c:v>44805</c:v>
                </c:pt>
                <c:pt idx="788">
                  <c:v>44803</c:v>
                </c:pt>
                <c:pt idx="789">
                  <c:v>44802</c:v>
                </c:pt>
                <c:pt idx="790">
                  <c:v>44799</c:v>
                </c:pt>
                <c:pt idx="791">
                  <c:v>44798</c:v>
                </c:pt>
                <c:pt idx="792">
                  <c:v>44797</c:v>
                </c:pt>
                <c:pt idx="793">
                  <c:v>44796</c:v>
                </c:pt>
                <c:pt idx="794">
                  <c:v>44795</c:v>
                </c:pt>
                <c:pt idx="795">
                  <c:v>44792</c:v>
                </c:pt>
                <c:pt idx="796">
                  <c:v>44791</c:v>
                </c:pt>
                <c:pt idx="797">
                  <c:v>44790</c:v>
                </c:pt>
                <c:pt idx="798">
                  <c:v>44789</c:v>
                </c:pt>
                <c:pt idx="799">
                  <c:v>44785</c:v>
                </c:pt>
                <c:pt idx="800">
                  <c:v>44784</c:v>
                </c:pt>
                <c:pt idx="801">
                  <c:v>44783</c:v>
                </c:pt>
                <c:pt idx="802">
                  <c:v>44781</c:v>
                </c:pt>
                <c:pt idx="803">
                  <c:v>44778</c:v>
                </c:pt>
                <c:pt idx="804">
                  <c:v>44777</c:v>
                </c:pt>
                <c:pt idx="805">
                  <c:v>44776</c:v>
                </c:pt>
                <c:pt idx="806">
                  <c:v>44775</c:v>
                </c:pt>
                <c:pt idx="807">
                  <c:v>44774</c:v>
                </c:pt>
                <c:pt idx="808">
                  <c:v>44771</c:v>
                </c:pt>
                <c:pt idx="809">
                  <c:v>44770</c:v>
                </c:pt>
                <c:pt idx="810">
                  <c:v>44769</c:v>
                </c:pt>
                <c:pt idx="811">
                  <c:v>44768</c:v>
                </c:pt>
                <c:pt idx="812">
                  <c:v>44767</c:v>
                </c:pt>
                <c:pt idx="813">
                  <c:v>44764</c:v>
                </c:pt>
                <c:pt idx="814">
                  <c:v>44763</c:v>
                </c:pt>
                <c:pt idx="815">
                  <c:v>44762</c:v>
                </c:pt>
                <c:pt idx="816">
                  <c:v>44761</c:v>
                </c:pt>
                <c:pt idx="817">
                  <c:v>44760</c:v>
                </c:pt>
                <c:pt idx="818">
                  <c:v>44757</c:v>
                </c:pt>
                <c:pt idx="819">
                  <c:v>44756</c:v>
                </c:pt>
                <c:pt idx="820">
                  <c:v>44755</c:v>
                </c:pt>
                <c:pt idx="821">
                  <c:v>44754</c:v>
                </c:pt>
                <c:pt idx="822">
                  <c:v>44753</c:v>
                </c:pt>
                <c:pt idx="823">
                  <c:v>44750</c:v>
                </c:pt>
                <c:pt idx="824">
                  <c:v>44749</c:v>
                </c:pt>
                <c:pt idx="825">
                  <c:v>44748</c:v>
                </c:pt>
                <c:pt idx="826">
                  <c:v>44747</c:v>
                </c:pt>
                <c:pt idx="827">
                  <c:v>44746</c:v>
                </c:pt>
                <c:pt idx="828">
                  <c:v>44743</c:v>
                </c:pt>
                <c:pt idx="829">
                  <c:v>44742</c:v>
                </c:pt>
                <c:pt idx="830">
                  <c:v>44741</c:v>
                </c:pt>
                <c:pt idx="831">
                  <c:v>44740</c:v>
                </c:pt>
                <c:pt idx="832">
                  <c:v>44739</c:v>
                </c:pt>
                <c:pt idx="833">
                  <c:v>44736</c:v>
                </c:pt>
                <c:pt idx="834">
                  <c:v>44735</c:v>
                </c:pt>
                <c:pt idx="835">
                  <c:v>44734</c:v>
                </c:pt>
                <c:pt idx="836">
                  <c:v>44733</c:v>
                </c:pt>
                <c:pt idx="837">
                  <c:v>44732</c:v>
                </c:pt>
                <c:pt idx="838">
                  <c:v>44729</c:v>
                </c:pt>
                <c:pt idx="839">
                  <c:v>44728</c:v>
                </c:pt>
                <c:pt idx="840">
                  <c:v>44727</c:v>
                </c:pt>
                <c:pt idx="841">
                  <c:v>44726</c:v>
                </c:pt>
                <c:pt idx="842">
                  <c:v>44725</c:v>
                </c:pt>
                <c:pt idx="843">
                  <c:v>44722</c:v>
                </c:pt>
                <c:pt idx="844">
                  <c:v>44721</c:v>
                </c:pt>
                <c:pt idx="845">
                  <c:v>44720</c:v>
                </c:pt>
                <c:pt idx="846">
                  <c:v>44719</c:v>
                </c:pt>
                <c:pt idx="847">
                  <c:v>44718</c:v>
                </c:pt>
                <c:pt idx="848">
                  <c:v>44715</c:v>
                </c:pt>
                <c:pt idx="849">
                  <c:v>44714</c:v>
                </c:pt>
                <c:pt idx="850">
                  <c:v>44713</c:v>
                </c:pt>
                <c:pt idx="851">
                  <c:v>44712</c:v>
                </c:pt>
                <c:pt idx="852">
                  <c:v>44711</c:v>
                </c:pt>
                <c:pt idx="853">
                  <c:v>44708</c:v>
                </c:pt>
                <c:pt idx="854">
                  <c:v>44707</c:v>
                </c:pt>
                <c:pt idx="855">
                  <c:v>44706</c:v>
                </c:pt>
                <c:pt idx="856">
                  <c:v>44705</c:v>
                </c:pt>
                <c:pt idx="857">
                  <c:v>44704</c:v>
                </c:pt>
                <c:pt idx="858">
                  <c:v>44701</c:v>
                </c:pt>
                <c:pt idx="859">
                  <c:v>44700</c:v>
                </c:pt>
                <c:pt idx="860">
                  <c:v>44699</c:v>
                </c:pt>
                <c:pt idx="861">
                  <c:v>44698</c:v>
                </c:pt>
                <c:pt idx="862">
                  <c:v>44697</c:v>
                </c:pt>
                <c:pt idx="863">
                  <c:v>44694</c:v>
                </c:pt>
                <c:pt idx="864">
                  <c:v>44693</c:v>
                </c:pt>
                <c:pt idx="865">
                  <c:v>44692</c:v>
                </c:pt>
                <c:pt idx="866">
                  <c:v>44691</c:v>
                </c:pt>
                <c:pt idx="867">
                  <c:v>44690</c:v>
                </c:pt>
                <c:pt idx="868">
                  <c:v>44687</c:v>
                </c:pt>
                <c:pt idx="869">
                  <c:v>44686</c:v>
                </c:pt>
                <c:pt idx="870">
                  <c:v>44685</c:v>
                </c:pt>
                <c:pt idx="871">
                  <c:v>44683</c:v>
                </c:pt>
                <c:pt idx="872">
                  <c:v>44680</c:v>
                </c:pt>
                <c:pt idx="873">
                  <c:v>44679</c:v>
                </c:pt>
                <c:pt idx="874">
                  <c:v>44678</c:v>
                </c:pt>
                <c:pt idx="875">
                  <c:v>44677</c:v>
                </c:pt>
                <c:pt idx="876">
                  <c:v>44676</c:v>
                </c:pt>
                <c:pt idx="877">
                  <c:v>44673</c:v>
                </c:pt>
                <c:pt idx="878">
                  <c:v>44672</c:v>
                </c:pt>
                <c:pt idx="879">
                  <c:v>44671</c:v>
                </c:pt>
                <c:pt idx="880">
                  <c:v>44670</c:v>
                </c:pt>
                <c:pt idx="881">
                  <c:v>44669</c:v>
                </c:pt>
                <c:pt idx="882">
                  <c:v>44664</c:v>
                </c:pt>
                <c:pt idx="883">
                  <c:v>44663</c:v>
                </c:pt>
                <c:pt idx="884">
                  <c:v>44662</c:v>
                </c:pt>
                <c:pt idx="885">
                  <c:v>44659</c:v>
                </c:pt>
                <c:pt idx="886">
                  <c:v>44658</c:v>
                </c:pt>
                <c:pt idx="887">
                  <c:v>44657</c:v>
                </c:pt>
                <c:pt idx="888">
                  <c:v>44656</c:v>
                </c:pt>
                <c:pt idx="889">
                  <c:v>44655</c:v>
                </c:pt>
                <c:pt idx="890">
                  <c:v>44652</c:v>
                </c:pt>
              </c:numCache>
            </c:numRef>
          </c:cat>
          <c:val>
            <c:numRef>
              <c:f>Sheet1!$B$2:$B$892</c:f>
              <c:numCache>
                <c:formatCode>_(* #,##0.00_);_(* \(#,##0.00\);_(* "-"??_);_(@_)</c:formatCode>
                <c:ptCount val="891"/>
                <c:pt idx="0">
                  <c:v>44.4131</c:v>
                </c:pt>
                <c:pt idx="1">
                  <c:v>43.820300000000003</c:v>
                </c:pt>
                <c:pt idx="2">
                  <c:v>43.722359999999995</c:v>
                </c:pt>
                <c:pt idx="3">
                  <c:v>43.379280000000001</c:v>
                </c:pt>
                <c:pt idx="4">
                  <c:v>43.212039999999995</c:v>
                </c:pt>
                <c:pt idx="5">
                  <c:v>43.382219999999997</c:v>
                </c:pt>
                <c:pt idx="6">
                  <c:v>43.590700000000005</c:v>
                </c:pt>
                <c:pt idx="7">
                  <c:v>43.63364</c:v>
                </c:pt>
                <c:pt idx="8">
                  <c:v>43.68168</c:v>
                </c:pt>
                <c:pt idx="9">
                  <c:v>43.539600000000007</c:v>
                </c:pt>
                <c:pt idx="10">
                  <c:v>43.788460000000001</c:v>
                </c:pt>
                <c:pt idx="11">
                  <c:v>44.076700000000002</c:v>
                </c:pt>
                <c:pt idx="12">
                  <c:v>43.643520000000002</c:v>
                </c:pt>
                <c:pt idx="13">
                  <c:v>43.758560000000003</c:v>
                </c:pt>
                <c:pt idx="14">
                  <c:v>44.160679999999999</c:v>
                </c:pt>
                <c:pt idx="15">
                  <c:v>44.621139999999997</c:v>
                </c:pt>
                <c:pt idx="16">
                  <c:v>43.377760000000002</c:v>
                </c:pt>
                <c:pt idx="17">
                  <c:v>43.088880000000003</c:v>
                </c:pt>
                <c:pt idx="18">
                  <c:v>43.562879999999993</c:v>
                </c:pt>
                <c:pt idx="19">
                  <c:v>42.886519999999997</c:v>
                </c:pt>
                <c:pt idx="20">
                  <c:v>43.021740000000001</c:v>
                </c:pt>
                <c:pt idx="21">
                  <c:v>43.344059999999999</c:v>
                </c:pt>
                <c:pt idx="22">
                  <c:v>42.152900000000002</c:v>
                </c:pt>
                <c:pt idx="23">
                  <c:v>42.214919999999999</c:v>
                </c:pt>
                <c:pt idx="24">
                  <c:v>41.744800000000005</c:v>
                </c:pt>
                <c:pt idx="25">
                  <c:v>43.497680000000003</c:v>
                </c:pt>
                <c:pt idx="26">
                  <c:v>44.086759999999998</c:v>
                </c:pt>
                <c:pt idx="27">
                  <c:v>44.116700000000002</c:v>
                </c:pt>
                <c:pt idx="28">
                  <c:v>44.52364</c:v>
                </c:pt>
                <c:pt idx="29">
                  <c:v>45.462740000000011</c:v>
                </c:pt>
                <c:pt idx="30">
                  <c:v>45.656539999999993</c:v>
                </c:pt>
                <c:pt idx="31">
                  <c:v>45.916800000000002</c:v>
                </c:pt>
                <c:pt idx="32">
                  <c:v>45.34442</c:v>
                </c:pt>
                <c:pt idx="33">
                  <c:v>45.185699999999997</c:v>
                </c:pt>
                <c:pt idx="34">
                  <c:v>45.253840000000004</c:v>
                </c:pt>
                <c:pt idx="35">
                  <c:v>44.560639999999999</c:v>
                </c:pt>
                <c:pt idx="36">
                  <c:v>43.665980000000005</c:v>
                </c:pt>
                <c:pt idx="37">
                  <c:v>43.249180000000003</c:v>
                </c:pt>
                <c:pt idx="38">
                  <c:v>43.240200000000002</c:v>
                </c:pt>
                <c:pt idx="39">
                  <c:v>43.55838</c:v>
                </c:pt>
                <c:pt idx="40">
                  <c:v>43.926299999999991</c:v>
                </c:pt>
                <c:pt idx="41">
                  <c:v>43.309519999999999</c:v>
                </c:pt>
                <c:pt idx="42">
                  <c:v>41.992899999999999</c:v>
                </c:pt>
                <c:pt idx="43">
                  <c:v>42.096820000000001</c:v>
                </c:pt>
                <c:pt idx="44">
                  <c:v>41.85116</c:v>
                </c:pt>
                <c:pt idx="45">
                  <c:v>41.533959999999993</c:v>
                </c:pt>
                <c:pt idx="46">
                  <c:v>42.63944</c:v>
                </c:pt>
                <c:pt idx="47">
                  <c:v>43.815939999999998</c:v>
                </c:pt>
                <c:pt idx="48">
                  <c:v>43.94256</c:v>
                </c:pt>
                <c:pt idx="49">
                  <c:v>44.254959999999997</c:v>
                </c:pt>
                <c:pt idx="50">
                  <c:v>43.938299999999998</c:v>
                </c:pt>
                <c:pt idx="51">
                  <c:v>43.282259999999994</c:v>
                </c:pt>
                <c:pt idx="52">
                  <c:v>42.964819999999996</c:v>
                </c:pt>
                <c:pt idx="53">
                  <c:v>43.102580000000003</c:v>
                </c:pt>
                <c:pt idx="54">
                  <c:v>41.750420000000005</c:v>
                </c:pt>
                <c:pt idx="55">
                  <c:v>41.101120000000002</c:v>
                </c:pt>
                <c:pt idx="56">
                  <c:v>41.587900000000005</c:v>
                </c:pt>
                <c:pt idx="57">
                  <c:v>40.559139999999999</c:v>
                </c:pt>
                <c:pt idx="58">
                  <c:v>40.585659999999997</c:v>
                </c:pt>
                <c:pt idx="59">
                  <c:v>40.136200000000002</c:v>
                </c:pt>
                <c:pt idx="60">
                  <c:v>40.779039999999995</c:v>
                </c:pt>
                <c:pt idx="61">
                  <c:v>41.4602</c:v>
                </c:pt>
                <c:pt idx="62">
                  <c:v>40.972519999999996</c:v>
                </c:pt>
                <c:pt idx="63">
                  <c:v>41.905700000000003</c:v>
                </c:pt>
                <c:pt idx="64">
                  <c:v>43.114100000000001</c:v>
                </c:pt>
                <c:pt idx="65">
                  <c:v>42.935819999999993</c:v>
                </c:pt>
                <c:pt idx="66">
                  <c:v>42.123339999999999</c:v>
                </c:pt>
                <c:pt idx="67">
                  <c:v>42.056579999999997</c:v>
                </c:pt>
                <c:pt idx="68">
                  <c:v>41.79616</c:v>
                </c:pt>
                <c:pt idx="69">
                  <c:v>41.759879999999995</c:v>
                </c:pt>
                <c:pt idx="70">
                  <c:v>41.422139999999999</c:v>
                </c:pt>
                <c:pt idx="71">
                  <c:v>41.423400000000001</c:v>
                </c:pt>
                <c:pt idx="72">
                  <c:v>36.690174999999996</c:v>
                </c:pt>
                <c:pt idx="73">
                  <c:v>37.286149999999999</c:v>
                </c:pt>
                <c:pt idx="74">
                  <c:v>36.970050000000001</c:v>
                </c:pt>
                <c:pt idx="75">
                  <c:v>37.602924999999999</c:v>
                </c:pt>
                <c:pt idx="76">
                  <c:v>36.67</c:v>
                </c:pt>
                <c:pt idx="77">
                  <c:v>33.718425000000003</c:v>
                </c:pt>
                <c:pt idx="78">
                  <c:v>33.469549999999998</c:v>
                </c:pt>
                <c:pt idx="79">
                  <c:v>33.629625000000004</c:v>
                </c:pt>
                <c:pt idx="80">
                  <c:v>33.308425</c:v>
                </c:pt>
                <c:pt idx="81">
                  <c:v>33.530825</c:v>
                </c:pt>
                <c:pt idx="82">
                  <c:v>33.903374999999997</c:v>
                </c:pt>
                <c:pt idx="83">
                  <c:v>33.463374999999999</c:v>
                </c:pt>
                <c:pt idx="84">
                  <c:v>33.735399999999998</c:v>
                </c:pt>
                <c:pt idx="85">
                  <c:v>33.470199999999998</c:v>
                </c:pt>
                <c:pt idx="86">
                  <c:v>33.554699999999997</c:v>
                </c:pt>
                <c:pt idx="87">
                  <c:v>33.629900000000006</c:v>
                </c:pt>
                <c:pt idx="88">
                  <c:v>33.332174999999999</c:v>
                </c:pt>
                <c:pt idx="89">
                  <c:v>33.632474999999999</c:v>
                </c:pt>
                <c:pt idx="90">
                  <c:v>33.459049999999998</c:v>
                </c:pt>
                <c:pt idx="91">
                  <c:v>33.556699999999999</c:v>
                </c:pt>
                <c:pt idx="92">
                  <c:v>33.543149999999997</c:v>
                </c:pt>
                <c:pt idx="93">
                  <c:v>32.955224999999999</c:v>
                </c:pt>
                <c:pt idx="94">
                  <c:v>33.478349999999999</c:v>
                </c:pt>
                <c:pt idx="95">
                  <c:v>33.990049999999997</c:v>
                </c:pt>
                <c:pt idx="96">
                  <c:v>34.662599999999998</c:v>
                </c:pt>
                <c:pt idx="97">
                  <c:v>34.967574999999997</c:v>
                </c:pt>
                <c:pt idx="98">
                  <c:v>35.076500000000003</c:v>
                </c:pt>
                <c:pt idx="99">
                  <c:v>35.581699999999998</c:v>
                </c:pt>
                <c:pt idx="100">
                  <c:v>34.451475000000002</c:v>
                </c:pt>
                <c:pt idx="101">
                  <c:v>34.488900000000001</c:v>
                </c:pt>
                <c:pt idx="102">
                  <c:v>34.248350000000002</c:v>
                </c:pt>
                <c:pt idx="103">
                  <c:v>32.910499999999999</c:v>
                </c:pt>
                <c:pt idx="104">
                  <c:v>32.948250000000002</c:v>
                </c:pt>
                <c:pt idx="105">
                  <c:v>32.8142</c:v>
                </c:pt>
                <c:pt idx="106">
                  <c:v>32.789724999999997</c:v>
                </c:pt>
                <c:pt idx="107">
                  <c:v>32.995474999999999</c:v>
                </c:pt>
                <c:pt idx="108">
                  <c:v>32.230024999999998</c:v>
                </c:pt>
                <c:pt idx="109">
                  <c:v>32.264175000000002</c:v>
                </c:pt>
                <c:pt idx="110">
                  <c:v>32.374549999999999</c:v>
                </c:pt>
                <c:pt idx="111">
                  <c:v>32.596600000000002</c:v>
                </c:pt>
                <c:pt idx="112">
                  <c:v>31.974350000000001</c:v>
                </c:pt>
                <c:pt idx="113">
                  <c:v>32.005575</c:v>
                </c:pt>
                <c:pt idx="114">
                  <c:v>32.32555</c:v>
                </c:pt>
                <c:pt idx="115">
                  <c:v>31.956774999999997</c:v>
                </c:pt>
                <c:pt idx="116">
                  <c:v>32.510950000000001</c:v>
                </c:pt>
                <c:pt idx="117">
                  <c:v>32.436349999999997</c:v>
                </c:pt>
                <c:pt idx="118">
                  <c:v>33.158175</c:v>
                </c:pt>
                <c:pt idx="119">
                  <c:v>33.848075000000001</c:v>
                </c:pt>
                <c:pt idx="120">
                  <c:v>33.323349999999998</c:v>
                </c:pt>
                <c:pt idx="121">
                  <c:v>33.083524999999995</c:v>
                </c:pt>
                <c:pt idx="122">
                  <c:v>32.605324999999993</c:v>
                </c:pt>
                <c:pt idx="123">
                  <c:v>32.467725000000002</c:v>
                </c:pt>
                <c:pt idx="124">
                  <c:v>32.592300000000002</c:v>
                </c:pt>
                <c:pt idx="125">
                  <c:v>32.536924999999997</c:v>
                </c:pt>
                <c:pt idx="126">
                  <c:v>32.974599999999995</c:v>
                </c:pt>
                <c:pt idx="127">
                  <c:v>32.546850000000006</c:v>
                </c:pt>
                <c:pt idx="128">
                  <c:v>32.452399999999997</c:v>
                </c:pt>
                <c:pt idx="129">
                  <c:v>32.861649999999997</c:v>
                </c:pt>
                <c:pt idx="130">
                  <c:v>32.481000000000002</c:v>
                </c:pt>
                <c:pt idx="131">
                  <c:v>32.564975000000004</c:v>
                </c:pt>
                <c:pt idx="132">
                  <c:v>34.046674999999993</c:v>
                </c:pt>
                <c:pt idx="133">
                  <c:v>35.653724999999994</c:v>
                </c:pt>
                <c:pt idx="134">
                  <c:v>35.615250000000003</c:v>
                </c:pt>
                <c:pt idx="135">
                  <c:v>35.657375000000002</c:v>
                </c:pt>
                <c:pt idx="136">
                  <c:v>35.384649999999993</c:v>
                </c:pt>
                <c:pt idx="137">
                  <c:v>35.486374999999995</c:v>
                </c:pt>
                <c:pt idx="138">
                  <c:v>35.753374999999998</c:v>
                </c:pt>
                <c:pt idx="139">
                  <c:v>33.171050000000001</c:v>
                </c:pt>
                <c:pt idx="140">
                  <c:v>31.812799999999996</c:v>
                </c:pt>
                <c:pt idx="141">
                  <c:v>32.628124999999997</c:v>
                </c:pt>
                <c:pt idx="142">
                  <c:v>32.227424999999997</c:v>
                </c:pt>
                <c:pt idx="143">
                  <c:v>33.909275000000001</c:v>
                </c:pt>
                <c:pt idx="144">
                  <c:v>35.5015</c:v>
                </c:pt>
                <c:pt idx="145">
                  <c:v>34.3919</c:v>
                </c:pt>
                <c:pt idx="146">
                  <c:v>34.339500000000001</c:v>
                </c:pt>
                <c:pt idx="147">
                  <c:v>35.116275000000002</c:v>
                </c:pt>
                <c:pt idx="148">
                  <c:v>36.1</c:v>
                </c:pt>
                <c:pt idx="149">
                  <c:v>35.265524999999997</c:v>
                </c:pt>
                <c:pt idx="150">
                  <c:v>35.511674999999997</c:v>
                </c:pt>
                <c:pt idx="151">
                  <c:v>35.68965</c:v>
                </c:pt>
                <c:pt idx="152">
                  <c:v>35.311399999999999</c:v>
                </c:pt>
                <c:pt idx="153">
                  <c:v>34.938575</c:v>
                </c:pt>
                <c:pt idx="154">
                  <c:v>34.565150000000003</c:v>
                </c:pt>
                <c:pt idx="155">
                  <c:v>33.852350000000001</c:v>
                </c:pt>
                <c:pt idx="156">
                  <c:v>33.457374999999999</c:v>
                </c:pt>
                <c:pt idx="157">
                  <c:v>33.390724999999996</c:v>
                </c:pt>
                <c:pt idx="158">
                  <c:v>33.481899999999996</c:v>
                </c:pt>
                <c:pt idx="159">
                  <c:v>33.7849</c:v>
                </c:pt>
                <c:pt idx="160">
                  <c:v>33.814750000000004</c:v>
                </c:pt>
                <c:pt idx="161">
                  <c:v>34.07</c:v>
                </c:pt>
                <c:pt idx="162">
                  <c:v>34.277475000000003</c:v>
                </c:pt>
                <c:pt idx="163">
                  <c:v>34.680975000000004</c:v>
                </c:pt>
                <c:pt idx="164">
                  <c:v>33.795499999999997</c:v>
                </c:pt>
                <c:pt idx="165">
                  <c:v>32.8018</c:v>
                </c:pt>
                <c:pt idx="166">
                  <c:v>32.623100000000001</c:v>
                </c:pt>
                <c:pt idx="167">
                  <c:v>33.517049999999998</c:v>
                </c:pt>
                <c:pt idx="168">
                  <c:v>34.369500000000002</c:v>
                </c:pt>
                <c:pt idx="169">
                  <c:v>34.278525000000002</c:v>
                </c:pt>
                <c:pt idx="170">
                  <c:v>34.332175000000007</c:v>
                </c:pt>
                <c:pt idx="171">
                  <c:v>35.157125000000001</c:v>
                </c:pt>
                <c:pt idx="172">
                  <c:v>33.614075</c:v>
                </c:pt>
                <c:pt idx="173">
                  <c:v>33.475724999999997</c:v>
                </c:pt>
                <c:pt idx="174">
                  <c:v>33.762450000000001</c:v>
                </c:pt>
                <c:pt idx="175">
                  <c:v>33.674199999999999</c:v>
                </c:pt>
                <c:pt idx="176">
                  <c:v>34.873149999999995</c:v>
                </c:pt>
                <c:pt idx="177">
                  <c:v>35.590449999999997</c:v>
                </c:pt>
                <c:pt idx="178">
                  <c:v>35.8384</c:v>
                </c:pt>
                <c:pt idx="179">
                  <c:v>37.517575000000001</c:v>
                </c:pt>
                <c:pt idx="180">
                  <c:v>37.98865</c:v>
                </c:pt>
                <c:pt idx="181">
                  <c:v>38.002800000000001</c:v>
                </c:pt>
                <c:pt idx="182">
                  <c:v>37.391199999999998</c:v>
                </c:pt>
                <c:pt idx="183">
                  <c:v>36.842675</c:v>
                </c:pt>
                <c:pt idx="184">
                  <c:v>36.692350000000005</c:v>
                </c:pt>
                <c:pt idx="185">
                  <c:v>36.113275000000002</c:v>
                </c:pt>
                <c:pt idx="186">
                  <c:v>36.228074999999997</c:v>
                </c:pt>
                <c:pt idx="187">
                  <c:v>36.409974999999996</c:v>
                </c:pt>
                <c:pt idx="188">
                  <c:v>36.610275000000001</c:v>
                </c:pt>
                <c:pt idx="189">
                  <c:v>35.624474999999997</c:v>
                </c:pt>
                <c:pt idx="190">
                  <c:v>36.076125000000005</c:v>
                </c:pt>
                <c:pt idx="191">
                  <c:v>37.241300000000003</c:v>
                </c:pt>
                <c:pt idx="192">
                  <c:v>38.6404</c:v>
                </c:pt>
                <c:pt idx="193">
                  <c:v>38.215500000000006</c:v>
                </c:pt>
                <c:pt idx="194">
                  <c:v>38.228124999999999</c:v>
                </c:pt>
                <c:pt idx="195">
                  <c:v>38.717725000000002</c:v>
                </c:pt>
                <c:pt idx="196">
                  <c:v>38.358000000000004</c:v>
                </c:pt>
                <c:pt idx="197">
                  <c:v>38.322074999999998</c:v>
                </c:pt>
                <c:pt idx="198">
                  <c:v>38.098824999999998</c:v>
                </c:pt>
                <c:pt idx="199">
                  <c:v>38.49485</c:v>
                </c:pt>
                <c:pt idx="200">
                  <c:v>37.925924999999999</c:v>
                </c:pt>
                <c:pt idx="201">
                  <c:v>39.446174999999997</c:v>
                </c:pt>
                <c:pt idx="202">
                  <c:v>40.346050000000005</c:v>
                </c:pt>
                <c:pt idx="203">
                  <c:v>40.421274999999994</c:v>
                </c:pt>
                <c:pt idx="204">
                  <c:v>40.166575000000002</c:v>
                </c:pt>
                <c:pt idx="205">
                  <c:v>39.345425000000006</c:v>
                </c:pt>
                <c:pt idx="206">
                  <c:v>40.300575000000002</c:v>
                </c:pt>
                <c:pt idx="207">
                  <c:v>40.784599999999998</c:v>
                </c:pt>
                <c:pt idx="208">
                  <c:v>40.683475000000001</c:v>
                </c:pt>
                <c:pt idx="209">
                  <c:v>39.772999999999996</c:v>
                </c:pt>
                <c:pt idx="210">
                  <c:v>39.779425000000003</c:v>
                </c:pt>
                <c:pt idx="211">
                  <c:v>39.074849999999998</c:v>
                </c:pt>
                <c:pt idx="212">
                  <c:v>39.257874999999999</c:v>
                </c:pt>
                <c:pt idx="213">
                  <c:v>39.856974999999998</c:v>
                </c:pt>
                <c:pt idx="214">
                  <c:v>38.789025000000002</c:v>
                </c:pt>
                <c:pt idx="215">
                  <c:v>38.751224999999998</c:v>
                </c:pt>
                <c:pt idx="216">
                  <c:v>39.832049999999995</c:v>
                </c:pt>
                <c:pt idx="217">
                  <c:v>40.781424999999999</c:v>
                </c:pt>
                <c:pt idx="218">
                  <c:v>34.885600000000004</c:v>
                </c:pt>
                <c:pt idx="219">
                  <c:v>34.907499999999999</c:v>
                </c:pt>
                <c:pt idx="220">
                  <c:v>35.537700000000001</c:v>
                </c:pt>
                <c:pt idx="221">
                  <c:v>36.258766666666666</c:v>
                </c:pt>
                <c:pt idx="222">
                  <c:v>38.021300000000004</c:v>
                </c:pt>
                <c:pt idx="223">
                  <c:v>37.312466666666666</c:v>
                </c:pt>
                <c:pt idx="224">
                  <c:v>37.186833333333333</c:v>
                </c:pt>
                <c:pt idx="225">
                  <c:v>38.989100000000001</c:v>
                </c:pt>
                <c:pt idx="226">
                  <c:v>39.436233333333327</c:v>
                </c:pt>
                <c:pt idx="227">
                  <c:v>39.381400000000006</c:v>
                </c:pt>
                <c:pt idx="228">
                  <c:v>38.954599999999999</c:v>
                </c:pt>
                <c:pt idx="229">
                  <c:v>38.81686666666667</c:v>
                </c:pt>
                <c:pt idx="230">
                  <c:v>38.698499999999996</c:v>
                </c:pt>
                <c:pt idx="231">
                  <c:v>37.991833333333339</c:v>
                </c:pt>
                <c:pt idx="232">
                  <c:v>37.497033333333327</c:v>
                </c:pt>
                <c:pt idx="233">
                  <c:v>36.306466666666665</c:v>
                </c:pt>
                <c:pt idx="234">
                  <c:v>35.842233333333333</c:v>
                </c:pt>
                <c:pt idx="235">
                  <c:v>35.237433333333335</c:v>
                </c:pt>
                <c:pt idx="236">
                  <c:v>34.549166666666672</c:v>
                </c:pt>
                <c:pt idx="237">
                  <c:v>34.75886666666667</c:v>
                </c:pt>
                <c:pt idx="238">
                  <c:v>34.627299999999998</c:v>
                </c:pt>
                <c:pt idx="239">
                  <c:v>35.677933333333335</c:v>
                </c:pt>
                <c:pt idx="240">
                  <c:v>34.852566666666668</c:v>
                </c:pt>
                <c:pt idx="241">
                  <c:v>36.131466666666668</c:v>
                </c:pt>
                <c:pt idx="242">
                  <c:v>34.704233333333327</c:v>
                </c:pt>
                <c:pt idx="243">
                  <c:v>34.939966666666663</c:v>
                </c:pt>
                <c:pt idx="244">
                  <c:v>35.305100000000003</c:v>
                </c:pt>
                <c:pt idx="245">
                  <c:v>35.419933333333333</c:v>
                </c:pt>
                <c:pt idx="246">
                  <c:v>36.079833333333333</c:v>
                </c:pt>
                <c:pt idx="247">
                  <c:v>34.971800000000002</c:v>
                </c:pt>
                <c:pt idx="248">
                  <c:v>34.719966666666664</c:v>
                </c:pt>
                <c:pt idx="249">
                  <c:v>34.734666666666669</c:v>
                </c:pt>
                <c:pt idx="250">
                  <c:v>34.056233333333331</c:v>
                </c:pt>
                <c:pt idx="251">
                  <c:v>33.830733333333335</c:v>
                </c:pt>
                <c:pt idx="252">
                  <c:v>34.405499999999996</c:v>
                </c:pt>
                <c:pt idx="253">
                  <c:v>34.3581</c:v>
                </c:pt>
                <c:pt idx="254">
                  <c:v>34.349833333333329</c:v>
                </c:pt>
                <c:pt idx="255">
                  <c:v>33.484033333333336</c:v>
                </c:pt>
                <c:pt idx="256">
                  <c:v>33.035666666666664</c:v>
                </c:pt>
                <c:pt idx="257">
                  <c:v>33.695300000000003</c:v>
                </c:pt>
                <c:pt idx="258">
                  <c:v>34.682200000000002</c:v>
                </c:pt>
                <c:pt idx="259">
                  <c:v>35.9651</c:v>
                </c:pt>
                <c:pt idx="260">
                  <c:v>36.9041</c:v>
                </c:pt>
                <c:pt idx="261">
                  <c:v>36.36076666666667</c:v>
                </c:pt>
                <c:pt idx="262">
                  <c:v>35.156166666666671</c:v>
                </c:pt>
                <c:pt idx="263">
                  <c:v>34.895566666666667</c:v>
                </c:pt>
                <c:pt idx="264">
                  <c:v>33.304133333333333</c:v>
                </c:pt>
                <c:pt idx="265">
                  <c:v>32.800999999999995</c:v>
                </c:pt>
                <c:pt idx="266">
                  <c:v>32.46543333333333</c:v>
                </c:pt>
                <c:pt idx="267">
                  <c:v>31.944699999999997</c:v>
                </c:pt>
                <c:pt idx="268">
                  <c:v>32.532733333333333</c:v>
                </c:pt>
                <c:pt idx="269">
                  <c:v>32.921400000000006</c:v>
                </c:pt>
                <c:pt idx="270">
                  <c:v>34.023500000000006</c:v>
                </c:pt>
                <c:pt idx="271">
                  <c:v>33.638766666666662</c:v>
                </c:pt>
                <c:pt idx="272">
                  <c:v>33.655033333333336</c:v>
                </c:pt>
                <c:pt idx="273">
                  <c:v>33.187633333333338</c:v>
                </c:pt>
                <c:pt idx="274">
                  <c:v>33.27643333333333</c:v>
                </c:pt>
                <c:pt idx="275">
                  <c:v>34.110700000000001</c:v>
                </c:pt>
                <c:pt idx="276">
                  <c:v>33.549200000000006</c:v>
                </c:pt>
                <c:pt idx="277">
                  <c:v>34.281500000000001</c:v>
                </c:pt>
                <c:pt idx="278">
                  <c:v>33.896099999999997</c:v>
                </c:pt>
                <c:pt idx="279">
                  <c:v>33.798133333333332</c:v>
                </c:pt>
                <c:pt idx="280">
                  <c:v>34.378266666666669</c:v>
                </c:pt>
                <c:pt idx="281">
                  <c:v>35.022099999999995</c:v>
                </c:pt>
                <c:pt idx="282">
                  <c:v>34.398166666666668</c:v>
                </c:pt>
                <c:pt idx="283">
                  <c:v>34.382833333333338</c:v>
                </c:pt>
                <c:pt idx="284">
                  <c:v>34.164999999999999</c:v>
                </c:pt>
                <c:pt idx="285">
                  <c:v>34.413899999999998</c:v>
                </c:pt>
                <c:pt idx="286">
                  <c:v>33.768799999999999</c:v>
                </c:pt>
                <c:pt idx="287">
                  <c:v>34.1494</c:v>
                </c:pt>
                <c:pt idx="288">
                  <c:v>34.1995</c:v>
                </c:pt>
                <c:pt idx="289">
                  <c:v>33.461833333333338</c:v>
                </c:pt>
                <c:pt idx="290">
                  <c:v>33.253899999999994</c:v>
                </c:pt>
                <c:pt idx="291">
                  <c:v>32.977800000000002</c:v>
                </c:pt>
                <c:pt idx="292">
                  <c:v>33.002299999999998</c:v>
                </c:pt>
                <c:pt idx="293">
                  <c:v>32.537399999999998</c:v>
                </c:pt>
                <c:pt idx="294">
                  <c:v>32.387300000000003</c:v>
                </c:pt>
                <c:pt idx="295">
                  <c:v>31.632466666666669</c:v>
                </c:pt>
                <c:pt idx="296">
                  <c:v>32.063499999999998</c:v>
                </c:pt>
                <c:pt idx="297">
                  <c:v>32.064466666666668</c:v>
                </c:pt>
                <c:pt idx="298">
                  <c:v>31.897833333333335</c:v>
                </c:pt>
                <c:pt idx="299">
                  <c:v>31.258199999999999</c:v>
                </c:pt>
                <c:pt idx="300">
                  <c:v>31.063400000000001</c:v>
                </c:pt>
                <c:pt idx="301">
                  <c:v>31.004666666666665</c:v>
                </c:pt>
                <c:pt idx="302">
                  <c:v>31.280566666666669</c:v>
                </c:pt>
                <c:pt idx="303">
                  <c:v>30.808166666666665</c:v>
                </c:pt>
                <c:pt idx="304">
                  <c:v>30.9679</c:v>
                </c:pt>
                <c:pt idx="305">
                  <c:v>31.102266666666669</c:v>
                </c:pt>
                <c:pt idx="306">
                  <c:v>31.381499999999999</c:v>
                </c:pt>
                <c:pt idx="307">
                  <c:v>31.547299999999996</c:v>
                </c:pt>
                <c:pt idx="308">
                  <c:v>31.290433333333329</c:v>
                </c:pt>
                <c:pt idx="309">
                  <c:v>30.218333333333334</c:v>
                </c:pt>
                <c:pt idx="310">
                  <c:v>29.871300000000002</c:v>
                </c:pt>
                <c:pt idx="311">
                  <c:v>30.481800000000003</c:v>
                </c:pt>
                <c:pt idx="312">
                  <c:v>29.108000000000001</c:v>
                </c:pt>
                <c:pt idx="313">
                  <c:v>28.012799999999999</c:v>
                </c:pt>
                <c:pt idx="314">
                  <c:v>27.929933333333334</c:v>
                </c:pt>
                <c:pt idx="315">
                  <c:v>27.407666666666668</c:v>
                </c:pt>
                <c:pt idx="316">
                  <c:v>27.033299999999997</c:v>
                </c:pt>
                <c:pt idx="317">
                  <c:v>27.131466666666668</c:v>
                </c:pt>
                <c:pt idx="318">
                  <c:v>26.097866666666665</c:v>
                </c:pt>
                <c:pt idx="319">
                  <c:v>26.1066</c:v>
                </c:pt>
                <c:pt idx="320">
                  <c:v>25.948633333333333</c:v>
                </c:pt>
                <c:pt idx="321">
                  <c:v>25.9849</c:v>
                </c:pt>
                <c:pt idx="322">
                  <c:v>26.719333333333335</c:v>
                </c:pt>
                <c:pt idx="323">
                  <c:v>26.358366666666665</c:v>
                </c:pt>
                <c:pt idx="324">
                  <c:v>25.996166666666667</c:v>
                </c:pt>
                <c:pt idx="325">
                  <c:v>25.739133333333331</c:v>
                </c:pt>
                <c:pt idx="326">
                  <c:v>25.605933333333336</c:v>
                </c:pt>
                <c:pt idx="327">
                  <c:v>25.653300000000002</c:v>
                </c:pt>
                <c:pt idx="328">
                  <c:v>25.054533333333335</c:v>
                </c:pt>
                <c:pt idx="329">
                  <c:v>25.129766666666669</c:v>
                </c:pt>
                <c:pt idx="330">
                  <c:v>25.203999999999997</c:v>
                </c:pt>
                <c:pt idx="331">
                  <c:v>24.978733333333334</c:v>
                </c:pt>
                <c:pt idx="332">
                  <c:v>24.737666666666666</c:v>
                </c:pt>
                <c:pt idx="333">
                  <c:v>24.666033333333331</c:v>
                </c:pt>
                <c:pt idx="334">
                  <c:v>24.742466666666669</c:v>
                </c:pt>
                <c:pt idx="335">
                  <c:v>24.383066666666668</c:v>
                </c:pt>
                <c:pt idx="336">
                  <c:v>24.502766666666663</c:v>
                </c:pt>
                <c:pt idx="337">
                  <c:v>24.163566666666668</c:v>
                </c:pt>
                <c:pt idx="338">
                  <c:v>24.054166666666664</c:v>
                </c:pt>
                <c:pt idx="339">
                  <c:v>23.587999999999997</c:v>
                </c:pt>
                <c:pt idx="340">
                  <c:v>23.612833333333331</c:v>
                </c:pt>
                <c:pt idx="341">
                  <c:v>23.598500000000001</c:v>
                </c:pt>
                <c:pt idx="342">
                  <c:v>23.498166666666666</c:v>
                </c:pt>
                <c:pt idx="343">
                  <c:v>23.411333333333335</c:v>
                </c:pt>
                <c:pt idx="344">
                  <c:v>23.388300000000001</c:v>
                </c:pt>
                <c:pt idx="345">
                  <c:v>23.216799999999996</c:v>
                </c:pt>
                <c:pt idx="346">
                  <c:v>22.953000000000003</c:v>
                </c:pt>
                <c:pt idx="347">
                  <c:v>23.262133333333335</c:v>
                </c:pt>
                <c:pt idx="348">
                  <c:v>23.272333333333332</c:v>
                </c:pt>
                <c:pt idx="349">
                  <c:v>22.908000000000001</c:v>
                </c:pt>
                <c:pt idx="350">
                  <c:v>22.535399999999999</c:v>
                </c:pt>
                <c:pt idx="351">
                  <c:v>22.2788</c:v>
                </c:pt>
                <c:pt idx="352">
                  <c:v>21.851966666666666</c:v>
                </c:pt>
                <c:pt idx="353">
                  <c:v>22.010266666666666</c:v>
                </c:pt>
                <c:pt idx="354">
                  <c:v>22.099266666666665</c:v>
                </c:pt>
                <c:pt idx="355">
                  <c:v>22.314533333333333</c:v>
                </c:pt>
                <c:pt idx="356">
                  <c:v>22.572833333333335</c:v>
                </c:pt>
                <c:pt idx="357">
                  <c:v>22.622666666666664</c:v>
                </c:pt>
                <c:pt idx="358">
                  <c:v>22.253299999999999</c:v>
                </c:pt>
                <c:pt idx="359">
                  <c:v>22.415333333333333</c:v>
                </c:pt>
                <c:pt idx="360">
                  <c:v>22.6373</c:v>
                </c:pt>
                <c:pt idx="361">
                  <c:v>23.020099999999999</c:v>
                </c:pt>
                <c:pt idx="362">
                  <c:v>22.785733333333337</c:v>
                </c:pt>
                <c:pt idx="363">
                  <c:v>22.710833333333337</c:v>
                </c:pt>
                <c:pt idx="364">
                  <c:v>22.748499999999996</c:v>
                </c:pt>
                <c:pt idx="365">
                  <c:v>22.616733333333332</c:v>
                </c:pt>
                <c:pt idx="366">
                  <c:v>22.29546666666667</c:v>
                </c:pt>
                <c:pt idx="367">
                  <c:v>22.125299999999999</c:v>
                </c:pt>
                <c:pt idx="368">
                  <c:v>22.160866666666667</c:v>
                </c:pt>
                <c:pt idx="369">
                  <c:v>22.95526666666667</c:v>
                </c:pt>
                <c:pt idx="370">
                  <c:v>22.594966666666664</c:v>
                </c:pt>
                <c:pt idx="371">
                  <c:v>23.226699999999997</c:v>
                </c:pt>
                <c:pt idx="372">
                  <c:v>23.21683333333333</c:v>
                </c:pt>
                <c:pt idx="373">
                  <c:v>23.428333333333331</c:v>
                </c:pt>
                <c:pt idx="374">
                  <c:v>23.688666666666666</c:v>
                </c:pt>
                <c:pt idx="375">
                  <c:v>23.960033333333332</c:v>
                </c:pt>
                <c:pt idx="376">
                  <c:v>23.938233333333333</c:v>
                </c:pt>
                <c:pt idx="377">
                  <c:v>23.774333333333335</c:v>
                </c:pt>
                <c:pt idx="378">
                  <c:v>23.601600000000001</c:v>
                </c:pt>
                <c:pt idx="379">
                  <c:v>23.723933333333335</c:v>
                </c:pt>
                <c:pt idx="380">
                  <c:v>23.714600000000001</c:v>
                </c:pt>
                <c:pt idx="381">
                  <c:v>24.18386666666667</c:v>
                </c:pt>
                <c:pt idx="382">
                  <c:v>24.373466666666662</c:v>
                </c:pt>
                <c:pt idx="383">
                  <c:v>24.350266666666666</c:v>
                </c:pt>
                <c:pt idx="384">
                  <c:v>24.484733333333335</c:v>
                </c:pt>
                <c:pt idx="385">
                  <c:v>24.422700000000003</c:v>
                </c:pt>
                <c:pt idx="386">
                  <c:v>24.360233333333337</c:v>
                </c:pt>
                <c:pt idx="387">
                  <c:v>24.580333333333332</c:v>
                </c:pt>
                <c:pt idx="388">
                  <c:v>23.714366666666667</c:v>
                </c:pt>
                <c:pt idx="389">
                  <c:v>23.726433333333333</c:v>
                </c:pt>
                <c:pt idx="390">
                  <c:v>23.502633333333335</c:v>
                </c:pt>
                <c:pt idx="391">
                  <c:v>23.815633333333334</c:v>
                </c:pt>
                <c:pt idx="392">
                  <c:v>23.900933333333331</c:v>
                </c:pt>
                <c:pt idx="393">
                  <c:v>23.702166666666667</c:v>
                </c:pt>
                <c:pt idx="394">
                  <c:v>23.759266666666665</c:v>
                </c:pt>
                <c:pt idx="395">
                  <c:v>23.192933333333333</c:v>
                </c:pt>
                <c:pt idx="396">
                  <c:v>23.098466666666667</c:v>
                </c:pt>
                <c:pt idx="397">
                  <c:v>29.267300000000002</c:v>
                </c:pt>
                <c:pt idx="398">
                  <c:v>29.230499999999996</c:v>
                </c:pt>
                <c:pt idx="399">
                  <c:v>28.935666666666666</c:v>
                </c:pt>
                <c:pt idx="400">
                  <c:v>28.0334</c:v>
                </c:pt>
                <c:pt idx="401">
                  <c:v>27.614999999999998</c:v>
                </c:pt>
                <c:pt idx="402">
                  <c:v>27.845333333333333</c:v>
                </c:pt>
                <c:pt idx="403">
                  <c:v>28.311466666666664</c:v>
                </c:pt>
                <c:pt idx="404">
                  <c:v>27.512133333333335</c:v>
                </c:pt>
                <c:pt idx="405">
                  <c:v>27.334000000000003</c:v>
                </c:pt>
                <c:pt idx="406">
                  <c:v>27.000299999999999</c:v>
                </c:pt>
                <c:pt idx="407">
                  <c:v>28.050666666666668</c:v>
                </c:pt>
                <c:pt idx="408">
                  <c:v>27.892166666666668</c:v>
                </c:pt>
                <c:pt idx="409">
                  <c:v>28.964366666666667</c:v>
                </c:pt>
                <c:pt idx="410">
                  <c:v>29.006833333333333</c:v>
                </c:pt>
                <c:pt idx="411">
                  <c:v>29.759733333333333</c:v>
                </c:pt>
                <c:pt idx="412">
                  <c:v>30.041266666666669</c:v>
                </c:pt>
                <c:pt idx="413">
                  <c:v>30.5608</c:v>
                </c:pt>
                <c:pt idx="414">
                  <c:v>30.520900000000001</c:v>
                </c:pt>
                <c:pt idx="415">
                  <c:v>30.367000000000001</c:v>
                </c:pt>
                <c:pt idx="416">
                  <c:v>30.351433333333336</c:v>
                </c:pt>
                <c:pt idx="417">
                  <c:v>30.804233333333332</c:v>
                </c:pt>
                <c:pt idx="418">
                  <c:v>30.743500000000001</c:v>
                </c:pt>
                <c:pt idx="419">
                  <c:v>31.170666666666666</c:v>
                </c:pt>
                <c:pt idx="420">
                  <c:v>31.581666666666667</c:v>
                </c:pt>
                <c:pt idx="421">
                  <c:v>31.687899999999999</c:v>
                </c:pt>
                <c:pt idx="422">
                  <c:v>31.660033333333331</c:v>
                </c:pt>
                <c:pt idx="423">
                  <c:v>31.778199999999998</c:v>
                </c:pt>
                <c:pt idx="424">
                  <c:v>31.958500000000001</c:v>
                </c:pt>
                <c:pt idx="425">
                  <c:v>31.104066666666668</c:v>
                </c:pt>
                <c:pt idx="426">
                  <c:v>30.805433333333337</c:v>
                </c:pt>
                <c:pt idx="427">
                  <c:v>30.283533333333335</c:v>
                </c:pt>
                <c:pt idx="428">
                  <c:v>30.179766666666666</c:v>
                </c:pt>
                <c:pt idx="429">
                  <c:v>30.910399999999999</c:v>
                </c:pt>
                <c:pt idx="430">
                  <c:v>30.173533333333335</c:v>
                </c:pt>
                <c:pt idx="431">
                  <c:v>30.719899999999999</c:v>
                </c:pt>
                <c:pt idx="432">
                  <c:v>30.808699999999998</c:v>
                </c:pt>
                <c:pt idx="433">
                  <c:v>29.836466666666666</c:v>
                </c:pt>
                <c:pt idx="434">
                  <c:v>29.811199999999999</c:v>
                </c:pt>
                <c:pt idx="435">
                  <c:v>30.034033333333337</c:v>
                </c:pt>
                <c:pt idx="436">
                  <c:v>30.410133333333334</c:v>
                </c:pt>
                <c:pt idx="437">
                  <c:v>29.283599999999996</c:v>
                </c:pt>
                <c:pt idx="438">
                  <c:v>28.760966666666665</c:v>
                </c:pt>
                <c:pt idx="439">
                  <c:v>28.120066666666663</c:v>
                </c:pt>
                <c:pt idx="440">
                  <c:v>27.632866666666668</c:v>
                </c:pt>
                <c:pt idx="441">
                  <c:v>27.295400000000001</c:v>
                </c:pt>
                <c:pt idx="442">
                  <c:v>27.715433333333333</c:v>
                </c:pt>
                <c:pt idx="443">
                  <c:v>28.124033333333333</c:v>
                </c:pt>
                <c:pt idx="444">
                  <c:v>27.782499999999999</c:v>
                </c:pt>
                <c:pt idx="445">
                  <c:v>27.703566666666664</c:v>
                </c:pt>
                <c:pt idx="446">
                  <c:v>28.271900000000002</c:v>
                </c:pt>
                <c:pt idx="447">
                  <c:v>28.748566666666665</c:v>
                </c:pt>
                <c:pt idx="448">
                  <c:v>28.522433333333336</c:v>
                </c:pt>
                <c:pt idx="449">
                  <c:v>29.068133333333332</c:v>
                </c:pt>
                <c:pt idx="450">
                  <c:v>28.058066666666665</c:v>
                </c:pt>
                <c:pt idx="451">
                  <c:v>27.994666666666671</c:v>
                </c:pt>
                <c:pt idx="452">
                  <c:v>27.896866666666668</c:v>
                </c:pt>
                <c:pt idx="453">
                  <c:v>28.349299999999999</c:v>
                </c:pt>
                <c:pt idx="454">
                  <c:v>28.630700000000001</c:v>
                </c:pt>
                <c:pt idx="455">
                  <c:v>28.380833333333332</c:v>
                </c:pt>
                <c:pt idx="456">
                  <c:v>28.145766666666663</c:v>
                </c:pt>
                <c:pt idx="457">
                  <c:v>27.511933333333332</c:v>
                </c:pt>
                <c:pt idx="458">
                  <c:v>27.298000000000002</c:v>
                </c:pt>
                <c:pt idx="459">
                  <c:v>27.262766666666664</c:v>
                </c:pt>
                <c:pt idx="460">
                  <c:v>27.171733333333336</c:v>
                </c:pt>
                <c:pt idx="461">
                  <c:v>27.323899999999998</c:v>
                </c:pt>
                <c:pt idx="462">
                  <c:v>27.122799999999998</c:v>
                </c:pt>
                <c:pt idx="463">
                  <c:v>26.523466666666668</c:v>
                </c:pt>
                <c:pt idx="464">
                  <c:v>26.516833333333334</c:v>
                </c:pt>
                <c:pt idx="465">
                  <c:v>27.205400000000001</c:v>
                </c:pt>
                <c:pt idx="466">
                  <c:v>27.194033333333334</c:v>
                </c:pt>
                <c:pt idx="467">
                  <c:v>27.10796666666667</c:v>
                </c:pt>
                <c:pt idx="468">
                  <c:v>26.932766666666666</c:v>
                </c:pt>
                <c:pt idx="469">
                  <c:v>27.109033333333333</c:v>
                </c:pt>
                <c:pt idx="470">
                  <c:v>26.960166666666666</c:v>
                </c:pt>
                <c:pt idx="471">
                  <c:v>27.233099999999997</c:v>
                </c:pt>
                <c:pt idx="472">
                  <c:v>27.692299999999999</c:v>
                </c:pt>
                <c:pt idx="473">
                  <c:v>27.705699999999997</c:v>
                </c:pt>
                <c:pt idx="474">
                  <c:v>27.498166666666666</c:v>
                </c:pt>
                <c:pt idx="475">
                  <c:v>27.916033333333331</c:v>
                </c:pt>
                <c:pt idx="476">
                  <c:v>28.536799999999999</c:v>
                </c:pt>
                <c:pt idx="477">
                  <c:v>28.664933333333334</c:v>
                </c:pt>
                <c:pt idx="478">
                  <c:v>28.967433333333332</c:v>
                </c:pt>
                <c:pt idx="479">
                  <c:v>28.384733333333333</c:v>
                </c:pt>
                <c:pt idx="480">
                  <c:v>28.525166666666667</c:v>
                </c:pt>
                <c:pt idx="481">
                  <c:v>28.186766666666667</c:v>
                </c:pt>
                <c:pt idx="482">
                  <c:v>28.055133333333334</c:v>
                </c:pt>
                <c:pt idx="483">
                  <c:v>27.9451</c:v>
                </c:pt>
                <c:pt idx="484">
                  <c:v>27.911300000000001</c:v>
                </c:pt>
                <c:pt idx="485">
                  <c:v>28.139900000000001</c:v>
                </c:pt>
                <c:pt idx="486">
                  <c:v>28.358066666666662</c:v>
                </c:pt>
                <c:pt idx="487">
                  <c:v>27.838733333333334</c:v>
                </c:pt>
                <c:pt idx="488">
                  <c:v>27.795299999999997</c:v>
                </c:pt>
                <c:pt idx="489">
                  <c:v>27.214733333333331</c:v>
                </c:pt>
                <c:pt idx="490">
                  <c:v>27.878733333333333</c:v>
                </c:pt>
                <c:pt idx="491">
                  <c:v>27.837999999999997</c:v>
                </c:pt>
                <c:pt idx="492">
                  <c:v>27.856433333333332</c:v>
                </c:pt>
                <c:pt idx="493">
                  <c:v>27.352566666666664</c:v>
                </c:pt>
                <c:pt idx="494">
                  <c:v>26.511833333333332</c:v>
                </c:pt>
                <c:pt idx="495">
                  <c:v>25.665933333333331</c:v>
                </c:pt>
                <c:pt idx="496">
                  <c:v>24.840800000000002</c:v>
                </c:pt>
                <c:pt idx="497">
                  <c:v>24.690433333333335</c:v>
                </c:pt>
                <c:pt idx="498">
                  <c:v>24.453933333333335</c:v>
                </c:pt>
                <c:pt idx="499">
                  <c:v>24.482133333333334</c:v>
                </c:pt>
                <c:pt idx="500">
                  <c:v>24.613600000000002</c:v>
                </c:pt>
                <c:pt idx="501">
                  <c:v>24.417333333333332</c:v>
                </c:pt>
                <c:pt idx="502">
                  <c:v>24.31583333333333</c:v>
                </c:pt>
                <c:pt idx="503">
                  <c:v>24.750499999999999</c:v>
                </c:pt>
                <c:pt idx="504">
                  <c:v>24.760533333333331</c:v>
                </c:pt>
                <c:pt idx="505">
                  <c:v>25.567433333333337</c:v>
                </c:pt>
                <c:pt idx="506">
                  <c:v>25.838733333333334</c:v>
                </c:pt>
                <c:pt idx="507">
                  <c:v>26.039600000000004</c:v>
                </c:pt>
                <c:pt idx="508">
                  <c:v>27.431433333333331</c:v>
                </c:pt>
                <c:pt idx="509">
                  <c:v>27.100933333333334</c:v>
                </c:pt>
                <c:pt idx="510">
                  <c:v>27.191100000000002</c:v>
                </c:pt>
                <c:pt idx="511">
                  <c:v>27.689133333333334</c:v>
                </c:pt>
                <c:pt idx="512">
                  <c:v>27.280966666666668</c:v>
                </c:pt>
                <c:pt idx="513">
                  <c:v>27.370333333333335</c:v>
                </c:pt>
                <c:pt idx="514">
                  <c:v>27.278199999999998</c:v>
                </c:pt>
                <c:pt idx="515">
                  <c:v>27.606433333333332</c:v>
                </c:pt>
                <c:pt idx="516">
                  <c:v>27.523399999999999</c:v>
                </c:pt>
                <c:pt idx="517">
                  <c:v>27.473933333333335</c:v>
                </c:pt>
                <c:pt idx="518">
                  <c:v>27.856033333333333</c:v>
                </c:pt>
                <c:pt idx="519">
                  <c:v>27.595533333333336</c:v>
                </c:pt>
                <c:pt idx="520">
                  <c:v>27.048533333333335</c:v>
                </c:pt>
                <c:pt idx="521">
                  <c:v>26.778566666666666</c:v>
                </c:pt>
                <c:pt idx="522">
                  <c:v>26.769899999999996</c:v>
                </c:pt>
                <c:pt idx="523">
                  <c:v>26.852833333333336</c:v>
                </c:pt>
                <c:pt idx="524">
                  <c:v>26.632499999999997</c:v>
                </c:pt>
                <c:pt idx="525">
                  <c:v>26.6889</c:v>
                </c:pt>
                <c:pt idx="526">
                  <c:v>27.36106666666667</c:v>
                </c:pt>
                <c:pt idx="527">
                  <c:v>27.494500000000002</c:v>
                </c:pt>
                <c:pt idx="528">
                  <c:v>28.422033333333331</c:v>
                </c:pt>
                <c:pt idx="529">
                  <c:v>28.177600000000002</c:v>
                </c:pt>
                <c:pt idx="530">
                  <c:v>28.340833333333336</c:v>
                </c:pt>
                <c:pt idx="531">
                  <c:v>28.155433333333335</c:v>
                </c:pt>
                <c:pt idx="532">
                  <c:v>28.369800000000001</c:v>
                </c:pt>
                <c:pt idx="533">
                  <c:v>28.583766666666662</c:v>
                </c:pt>
                <c:pt idx="534">
                  <c:v>28.633066666666668</c:v>
                </c:pt>
                <c:pt idx="535">
                  <c:v>28.630899999999997</c:v>
                </c:pt>
                <c:pt idx="536">
                  <c:v>27.766166666666667</c:v>
                </c:pt>
                <c:pt idx="537">
                  <c:v>27.257000000000001</c:v>
                </c:pt>
                <c:pt idx="538">
                  <c:v>27.055866666666663</c:v>
                </c:pt>
                <c:pt idx="539">
                  <c:v>27.069833333333335</c:v>
                </c:pt>
                <c:pt idx="540">
                  <c:v>26.983233333333335</c:v>
                </c:pt>
                <c:pt idx="541">
                  <c:v>26.81526666666667</c:v>
                </c:pt>
                <c:pt idx="542">
                  <c:v>26.972933333333334</c:v>
                </c:pt>
                <c:pt idx="543">
                  <c:v>26.957333333333334</c:v>
                </c:pt>
                <c:pt idx="544">
                  <c:v>27.937833333333334</c:v>
                </c:pt>
                <c:pt idx="545">
                  <c:v>28.040533333333332</c:v>
                </c:pt>
                <c:pt idx="546">
                  <c:v>28.1267</c:v>
                </c:pt>
                <c:pt idx="547">
                  <c:v>28.147533333333332</c:v>
                </c:pt>
                <c:pt idx="548">
                  <c:v>27.689699999999998</c:v>
                </c:pt>
                <c:pt idx="549">
                  <c:v>28.364699999999999</c:v>
                </c:pt>
                <c:pt idx="550">
                  <c:v>28.5745</c:v>
                </c:pt>
                <c:pt idx="551">
                  <c:v>27.877166666666668</c:v>
                </c:pt>
                <c:pt idx="552">
                  <c:v>27.977500000000003</c:v>
                </c:pt>
                <c:pt idx="553">
                  <c:v>28.416033333333331</c:v>
                </c:pt>
                <c:pt idx="554">
                  <c:v>27.971700000000002</c:v>
                </c:pt>
                <c:pt idx="555">
                  <c:v>28.375633333333337</c:v>
                </c:pt>
                <c:pt idx="556">
                  <c:v>28.741533333333333</c:v>
                </c:pt>
                <c:pt idx="557">
                  <c:v>27.868966666666665</c:v>
                </c:pt>
                <c:pt idx="558">
                  <c:v>27.234433333333332</c:v>
                </c:pt>
                <c:pt idx="559">
                  <c:v>27.147933333333331</c:v>
                </c:pt>
                <c:pt idx="560">
                  <c:v>27.334566666666671</c:v>
                </c:pt>
                <c:pt idx="561">
                  <c:v>27.036933333333337</c:v>
                </c:pt>
                <c:pt idx="562">
                  <c:v>27.725966666666668</c:v>
                </c:pt>
                <c:pt idx="563">
                  <c:v>27.2912</c:v>
                </c:pt>
                <c:pt idx="564">
                  <c:v>25.836500000000001</c:v>
                </c:pt>
                <c:pt idx="565">
                  <c:v>26.177566666666667</c:v>
                </c:pt>
                <c:pt idx="566">
                  <c:v>25.997900000000001</c:v>
                </c:pt>
                <c:pt idx="567">
                  <c:v>26.241799999999998</c:v>
                </c:pt>
                <c:pt idx="568">
                  <c:v>26.238466666666667</c:v>
                </c:pt>
                <c:pt idx="569">
                  <c:v>25.778933333333331</c:v>
                </c:pt>
                <c:pt idx="570">
                  <c:v>26.148</c:v>
                </c:pt>
                <c:pt idx="571">
                  <c:v>25.856533333333335</c:v>
                </c:pt>
                <c:pt idx="572">
                  <c:v>25.726400000000002</c:v>
                </c:pt>
                <c:pt idx="573">
                  <c:v>25.321966666666668</c:v>
                </c:pt>
                <c:pt idx="574">
                  <c:v>25.800766666666664</c:v>
                </c:pt>
                <c:pt idx="575">
                  <c:v>25.355400000000003</c:v>
                </c:pt>
                <c:pt idx="576">
                  <c:v>25.087700000000002</c:v>
                </c:pt>
                <c:pt idx="577">
                  <c:v>25.534566666666667</c:v>
                </c:pt>
                <c:pt idx="578">
                  <c:v>25.664066666666667</c:v>
                </c:pt>
                <c:pt idx="579">
                  <c:v>25.290733333333336</c:v>
                </c:pt>
                <c:pt idx="580">
                  <c:v>24.731633333333335</c:v>
                </c:pt>
                <c:pt idx="581">
                  <c:v>25.032399999999999</c:v>
                </c:pt>
                <c:pt idx="582">
                  <c:v>25.172966666666667</c:v>
                </c:pt>
                <c:pt idx="583">
                  <c:v>25.081500000000002</c:v>
                </c:pt>
                <c:pt idx="584">
                  <c:v>24.253933333333336</c:v>
                </c:pt>
                <c:pt idx="585">
                  <c:v>24.188866666666666</c:v>
                </c:pt>
                <c:pt idx="586">
                  <c:v>24.071333333333332</c:v>
                </c:pt>
                <c:pt idx="587">
                  <c:v>24.069033333333334</c:v>
                </c:pt>
                <c:pt idx="588">
                  <c:v>24.689800000000002</c:v>
                </c:pt>
                <c:pt idx="589">
                  <c:v>24.863400000000002</c:v>
                </c:pt>
                <c:pt idx="590">
                  <c:v>24.73126666666667</c:v>
                </c:pt>
                <c:pt idx="591">
                  <c:v>24.690333333333331</c:v>
                </c:pt>
                <c:pt idx="592">
                  <c:v>24.994866666666667</c:v>
                </c:pt>
                <c:pt idx="593">
                  <c:v>24.909700000000001</c:v>
                </c:pt>
                <c:pt idx="594">
                  <c:v>24.845766666666666</c:v>
                </c:pt>
                <c:pt idx="595">
                  <c:v>24.555033333333331</c:v>
                </c:pt>
                <c:pt idx="596">
                  <c:v>24.093766666666667</c:v>
                </c:pt>
                <c:pt idx="597">
                  <c:v>24.051133333333336</c:v>
                </c:pt>
                <c:pt idx="598">
                  <c:v>24.5154</c:v>
                </c:pt>
                <c:pt idx="599">
                  <c:v>24.433399999999995</c:v>
                </c:pt>
                <c:pt idx="600">
                  <c:v>23.9268</c:v>
                </c:pt>
                <c:pt idx="601">
                  <c:v>23.874200000000002</c:v>
                </c:pt>
                <c:pt idx="602">
                  <c:v>23.940166666666666</c:v>
                </c:pt>
                <c:pt idx="603">
                  <c:v>23.912400000000002</c:v>
                </c:pt>
                <c:pt idx="604">
                  <c:v>23.63293333333333</c:v>
                </c:pt>
                <c:pt idx="605">
                  <c:v>23.424966666666666</c:v>
                </c:pt>
                <c:pt idx="606">
                  <c:v>23.797066666666666</c:v>
                </c:pt>
                <c:pt idx="607">
                  <c:v>23.716933333333333</c:v>
                </c:pt>
                <c:pt idx="608">
                  <c:v>23.442466666666665</c:v>
                </c:pt>
                <c:pt idx="609">
                  <c:v>23.184200000000001</c:v>
                </c:pt>
                <c:pt idx="610">
                  <c:v>23.373433333333335</c:v>
                </c:pt>
                <c:pt idx="611">
                  <c:v>23.388133333333332</c:v>
                </c:pt>
                <c:pt idx="612">
                  <c:v>23.348533333333336</c:v>
                </c:pt>
                <c:pt idx="613">
                  <c:v>23.135433333333335</c:v>
                </c:pt>
                <c:pt idx="614">
                  <c:v>23.416266666666669</c:v>
                </c:pt>
                <c:pt idx="615">
                  <c:v>23.564233333333334</c:v>
                </c:pt>
                <c:pt idx="616">
                  <c:v>22.956400000000002</c:v>
                </c:pt>
                <c:pt idx="617">
                  <c:v>23.115833333333331</c:v>
                </c:pt>
                <c:pt idx="618">
                  <c:v>22.265200000000004</c:v>
                </c:pt>
                <c:pt idx="619">
                  <c:v>22.318366666666666</c:v>
                </c:pt>
                <c:pt idx="620">
                  <c:v>22.246633333333332</c:v>
                </c:pt>
                <c:pt idx="621">
                  <c:v>22.016733333333335</c:v>
                </c:pt>
                <c:pt idx="622">
                  <c:v>21.84183333333333</c:v>
                </c:pt>
                <c:pt idx="623">
                  <c:v>21.813000000000002</c:v>
                </c:pt>
                <c:pt idx="624">
                  <c:v>22.0305</c:v>
                </c:pt>
                <c:pt idx="625">
                  <c:v>21.640733333333333</c:v>
                </c:pt>
                <c:pt idx="626">
                  <c:v>20.845133333333333</c:v>
                </c:pt>
                <c:pt idx="627">
                  <c:v>20.115533333333332</c:v>
                </c:pt>
                <c:pt idx="628">
                  <c:v>20.015800000000002</c:v>
                </c:pt>
                <c:pt idx="629">
                  <c:v>19.8368</c:v>
                </c:pt>
                <c:pt idx="630">
                  <c:v>19.748166666666666</c:v>
                </c:pt>
                <c:pt idx="631">
                  <c:v>19.8492</c:v>
                </c:pt>
                <c:pt idx="632">
                  <c:v>19.8934</c:v>
                </c:pt>
                <c:pt idx="633">
                  <c:v>19.888400000000001</c:v>
                </c:pt>
                <c:pt idx="634">
                  <c:v>19.715033333333334</c:v>
                </c:pt>
                <c:pt idx="635">
                  <c:v>19.871533333333335</c:v>
                </c:pt>
                <c:pt idx="636">
                  <c:v>20.061166666666665</c:v>
                </c:pt>
                <c:pt idx="637">
                  <c:v>19.761666666666667</c:v>
                </c:pt>
                <c:pt idx="638">
                  <c:v>19.573666666666668</c:v>
                </c:pt>
                <c:pt idx="639">
                  <c:v>19.531666666666666</c:v>
                </c:pt>
                <c:pt idx="640">
                  <c:v>19.151966666666667</c:v>
                </c:pt>
                <c:pt idx="641">
                  <c:v>18.783733333333334</c:v>
                </c:pt>
                <c:pt idx="642">
                  <c:v>18.851833333333335</c:v>
                </c:pt>
                <c:pt idx="643">
                  <c:v>26.486266666666666</c:v>
                </c:pt>
                <c:pt idx="644">
                  <c:v>26.221566666666671</c:v>
                </c:pt>
                <c:pt idx="645">
                  <c:v>26.134766666666668</c:v>
                </c:pt>
                <c:pt idx="646">
                  <c:v>26.015466666666669</c:v>
                </c:pt>
                <c:pt idx="647">
                  <c:v>26.234399999999997</c:v>
                </c:pt>
                <c:pt idx="648">
                  <c:v>26.033033333333336</c:v>
                </c:pt>
                <c:pt idx="649">
                  <c:v>26.075533333333329</c:v>
                </c:pt>
                <c:pt idx="650">
                  <c:v>25.929033333333333</c:v>
                </c:pt>
                <c:pt idx="651">
                  <c:v>26.110933333333332</c:v>
                </c:pt>
                <c:pt idx="652">
                  <c:v>26.085433333333331</c:v>
                </c:pt>
                <c:pt idx="653">
                  <c:v>26.471400000000003</c:v>
                </c:pt>
                <c:pt idx="654">
                  <c:v>26.162899999999997</c:v>
                </c:pt>
                <c:pt idx="655">
                  <c:v>26.070066666666666</c:v>
                </c:pt>
                <c:pt idx="656">
                  <c:v>26.290400000000002</c:v>
                </c:pt>
                <c:pt idx="657">
                  <c:v>26.272833333333335</c:v>
                </c:pt>
                <c:pt idx="658">
                  <c:v>26.218033333333334</c:v>
                </c:pt>
                <c:pt idx="659">
                  <c:v>26.420866666666665</c:v>
                </c:pt>
                <c:pt idx="660">
                  <c:v>25.923266666666667</c:v>
                </c:pt>
                <c:pt idx="661">
                  <c:v>25.937833333333334</c:v>
                </c:pt>
                <c:pt idx="662">
                  <c:v>26.201733333333333</c:v>
                </c:pt>
                <c:pt idx="663">
                  <c:v>26.077500000000001</c:v>
                </c:pt>
                <c:pt idx="664">
                  <c:v>25.738933333333335</c:v>
                </c:pt>
                <c:pt idx="665">
                  <c:v>25.511600000000001</c:v>
                </c:pt>
                <c:pt idx="666">
                  <c:v>26.108833333333333</c:v>
                </c:pt>
                <c:pt idx="667">
                  <c:v>26.005466666666667</c:v>
                </c:pt>
                <c:pt idx="668">
                  <c:v>25.947933333333335</c:v>
                </c:pt>
                <c:pt idx="669">
                  <c:v>25.641300000000001</c:v>
                </c:pt>
                <c:pt idx="670">
                  <c:v>25.6066</c:v>
                </c:pt>
                <c:pt idx="671">
                  <c:v>25.896799999999999</c:v>
                </c:pt>
                <c:pt idx="672">
                  <c:v>25.733800000000002</c:v>
                </c:pt>
                <c:pt idx="673">
                  <c:v>25.376433333333335</c:v>
                </c:pt>
                <c:pt idx="674">
                  <c:v>24.818533333333335</c:v>
                </c:pt>
                <c:pt idx="675">
                  <c:v>24.971399999999999</c:v>
                </c:pt>
                <c:pt idx="676">
                  <c:v>25.1553</c:v>
                </c:pt>
                <c:pt idx="677">
                  <c:v>24.881133333333334</c:v>
                </c:pt>
                <c:pt idx="678">
                  <c:v>24.409400000000002</c:v>
                </c:pt>
                <c:pt idx="679">
                  <c:v>24.790800000000001</c:v>
                </c:pt>
                <c:pt idx="680">
                  <c:v>25.0215</c:v>
                </c:pt>
                <c:pt idx="681">
                  <c:v>24.768900000000002</c:v>
                </c:pt>
                <c:pt idx="682">
                  <c:v>25.025066666666664</c:v>
                </c:pt>
                <c:pt idx="683">
                  <c:v>25.014199999999999</c:v>
                </c:pt>
                <c:pt idx="684">
                  <c:v>25.019766666666666</c:v>
                </c:pt>
                <c:pt idx="685">
                  <c:v>25.063000000000002</c:v>
                </c:pt>
                <c:pt idx="686">
                  <c:v>25.464266666666671</c:v>
                </c:pt>
                <c:pt idx="687">
                  <c:v>25.798166666666663</c:v>
                </c:pt>
                <c:pt idx="688">
                  <c:v>26.74636666666667</c:v>
                </c:pt>
                <c:pt idx="689">
                  <c:v>26.741699999999998</c:v>
                </c:pt>
                <c:pt idx="690">
                  <c:v>26.720566666666667</c:v>
                </c:pt>
                <c:pt idx="691">
                  <c:v>27.177199999999999</c:v>
                </c:pt>
                <c:pt idx="692">
                  <c:v>26.980566666666665</c:v>
                </c:pt>
                <c:pt idx="693">
                  <c:v>27.156866666666669</c:v>
                </c:pt>
                <c:pt idx="694">
                  <c:v>27.632199999999997</c:v>
                </c:pt>
                <c:pt idx="695">
                  <c:v>27.504833333333334</c:v>
                </c:pt>
                <c:pt idx="696">
                  <c:v>27.781233333333336</c:v>
                </c:pt>
                <c:pt idx="697">
                  <c:v>27.521533333333338</c:v>
                </c:pt>
                <c:pt idx="698">
                  <c:v>27.157</c:v>
                </c:pt>
                <c:pt idx="699">
                  <c:v>27.095800000000001</c:v>
                </c:pt>
                <c:pt idx="700">
                  <c:v>27.023433333333333</c:v>
                </c:pt>
                <c:pt idx="701">
                  <c:v>27.025466666666663</c:v>
                </c:pt>
                <c:pt idx="702">
                  <c:v>26.716700000000003</c:v>
                </c:pt>
                <c:pt idx="703">
                  <c:v>26.185733333333332</c:v>
                </c:pt>
                <c:pt idx="704">
                  <c:v>26.410733333333337</c:v>
                </c:pt>
                <c:pt idx="705">
                  <c:v>26.185500000000001</c:v>
                </c:pt>
                <c:pt idx="706">
                  <c:v>26.384266666666665</c:v>
                </c:pt>
                <c:pt idx="707">
                  <c:v>26.086466666666666</c:v>
                </c:pt>
                <c:pt idx="708">
                  <c:v>25.8687</c:v>
                </c:pt>
                <c:pt idx="709">
                  <c:v>25.973066666666668</c:v>
                </c:pt>
                <c:pt idx="710">
                  <c:v>26.074033333333336</c:v>
                </c:pt>
                <c:pt idx="711">
                  <c:v>26.1568</c:v>
                </c:pt>
                <c:pt idx="712">
                  <c:v>26.002066666666668</c:v>
                </c:pt>
                <c:pt idx="713">
                  <c:v>26.121633333333335</c:v>
                </c:pt>
                <c:pt idx="714">
                  <c:v>26.206500000000002</c:v>
                </c:pt>
                <c:pt idx="715">
                  <c:v>26.104466666666667</c:v>
                </c:pt>
                <c:pt idx="716">
                  <c:v>26.2758</c:v>
                </c:pt>
                <c:pt idx="717">
                  <c:v>26.095200000000002</c:v>
                </c:pt>
                <c:pt idx="718">
                  <c:v>26.448933333333333</c:v>
                </c:pt>
                <c:pt idx="719">
                  <c:v>26.258566666666667</c:v>
                </c:pt>
                <c:pt idx="720">
                  <c:v>26.410433333333334</c:v>
                </c:pt>
                <c:pt idx="721">
                  <c:v>26.688066666666668</c:v>
                </c:pt>
                <c:pt idx="722">
                  <c:v>27.022366666666667</c:v>
                </c:pt>
                <c:pt idx="723">
                  <c:v>27.071333333333332</c:v>
                </c:pt>
                <c:pt idx="724">
                  <c:v>27.143366666666665</c:v>
                </c:pt>
                <c:pt idx="725">
                  <c:v>27.45396666666667</c:v>
                </c:pt>
                <c:pt idx="726">
                  <c:v>27.443999999999999</c:v>
                </c:pt>
                <c:pt idx="727">
                  <c:v>27.170133333333336</c:v>
                </c:pt>
                <c:pt idx="728">
                  <c:v>27.334066666666661</c:v>
                </c:pt>
                <c:pt idx="729">
                  <c:v>27.562966666666668</c:v>
                </c:pt>
                <c:pt idx="730">
                  <c:v>27.516333333333332</c:v>
                </c:pt>
                <c:pt idx="731">
                  <c:v>27.874500000000001</c:v>
                </c:pt>
                <c:pt idx="732">
                  <c:v>27.149366666666666</c:v>
                </c:pt>
                <c:pt idx="733">
                  <c:v>27.167633333333338</c:v>
                </c:pt>
                <c:pt idx="734">
                  <c:v>27.359266666666667</c:v>
                </c:pt>
                <c:pt idx="735">
                  <c:v>27.7606</c:v>
                </c:pt>
                <c:pt idx="736">
                  <c:v>27.714833333333331</c:v>
                </c:pt>
                <c:pt idx="737">
                  <c:v>28.530399999999997</c:v>
                </c:pt>
                <c:pt idx="738">
                  <c:v>28.554900000000004</c:v>
                </c:pt>
                <c:pt idx="739">
                  <c:v>27.903200000000002</c:v>
                </c:pt>
                <c:pt idx="740">
                  <c:v>27.239866666666668</c:v>
                </c:pt>
                <c:pt idx="741">
                  <c:v>26.866133333333334</c:v>
                </c:pt>
                <c:pt idx="742">
                  <c:v>27.345633333333335</c:v>
                </c:pt>
                <c:pt idx="743">
                  <c:v>27.2197</c:v>
                </c:pt>
                <c:pt idx="744">
                  <c:v>27.76046666666667</c:v>
                </c:pt>
                <c:pt idx="745">
                  <c:v>27.914633333333331</c:v>
                </c:pt>
                <c:pt idx="746">
                  <c:v>27.399933333333333</c:v>
                </c:pt>
                <c:pt idx="747">
                  <c:v>27.525199999999998</c:v>
                </c:pt>
                <c:pt idx="748">
                  <c:v>26.838466666666665</c:v>
                </c:pt>
                <c:pt idx="749">
                  <c:v>26.092166666666667</c:v>
                </c:pt>
                <c:pt idx="750">
                  <c:v>26.033666666666665</c:v>
                </c:pt>
                <c:pt idx="751">
                  <c:v>25.53</c:v>
                </c:pt>
                <c:pt idx="752">
                  <c:v>25.6541</c:v>
                </c:pt>
                <c:pt idx="753">
                  <c:v>25.933400000000002</c:v>
                </c:pt>
                <c:pt idx="754">
                  <c:v>25.9773</c:v>
                </c:pt>
                <c:pt idx="755">
                  <c:v>24.740099999999998</c:v>
                </c:pt>
                <c:pt idx="756">
                  <c:v>24.202666666666669</c:v>
                </c:pt>
                <c:pt idx="757">
                  <c:v>24.736699999999999</c:v>
                </c:pt>
                <c:pt idx="758">
                  <c:v>24.719766666666668</c:v>
                </c:pt>
                <c:pt idx="759">
                  <c:v>24.927733333333332</c:v>
                </c:pt>
                <c:pt idx="760">
                  <c:v>25.369699999999998</c:v>
                </c:pt>
                <c:pt idx="761">
                  <c:v>25.335566666666665</c:v>
                </c:pt>
                <c:pt idx="762">
                  <c:v>25.081900000000001</c:v>
                </c:pt>
                <c:pt idx="763">
                  <c:v>25.351699999999997</c:v>
                </c:pt>
                <c:pt idx="764">
                  <c:v>24.869299999999999</c:v>
                </c:pt>
                <c:pt idx="765">
                  <c:v>24.414366666666666</c:v>
                </c:pt>
                <c:pt idx="766">
                  <c:v>24.599633333333333</c:v>
                </c:pt>
                <c:pt idx="767">
                  <c:v>24.241499999999998</c:v>
                </c:pt>
                <c:pt idx="768">
                  <c:v>23.8733</c:v>
                </c:pt>
                <c:pt idx="769">
                  <c:v>24.036833333333334</c:v>
                </c:pt>
                <c:pt idx="770">
                  <c:v>24.350200000000001</c:v>
                </c:pt>
                <c:pt idx="771">
                  <c:v>24.487233333333332</c:v>
                </c:pt>
                <c:pt idx="772">
                  <c:v>24.918933333333332</c:v>
                </c:pt>
                <c:pt idx="773">
                  <c:v>24.34783333333333</c:v>
                </c:pt>
                <c:pt idx="774">
                  <c:v>24.550633333333334</c:v>
                </c:pt>
                <c:pt idx="775">
                  <c:v>24.405866666666668</c:v>
                </c:pt>
                <c:pt idx="776">
                  <c:v>24.503866666666667</c:v>
                </c:pt>
                <c:pt idx="777">
                  <c:v>24.556633333333334</c:v>
                </c:pt>
                <c:pt idx="778">
                  <c:v>24.510766666666669</c:v>
                </c:pt>
                <c:pt idx="779">
                  <c:v>24.545533333333335</c:v>
                </c:pt>
                <c:pt idx="780">
                  <c:v>24.554333333333332</c:v>
                </c:pt>
                <c:pt idx="781">
                  <c:v>24.540233333333333</c:v>
                </c:pt>
                <c:pt idx="782">
                  <c:v>24.642866666666666</c:v>
                </c:pt>
                <c:pt idx="783">
                  <c:v>24.511366666666664</c:v>
                </c:pt>
                <c:pt idx="784">
                  <c:v>24.295666666666666</c:v>
                </c:pt>
                <c:pt idx="785">
                  <c:v>24.800533333333334</c:v>
                </c:pt>
                <c:pt idx="786">
                  <c:v>25.521000000000001</c:v>
                </c:pt>
                <c:pt idx="787">
                  <c:v>25.727266666666665</c:v>
                </c:pt>
                <c:pt idx="788">
                  <c:v>25.762733333333333</c:v>
                </c:pt>
                <c:pt idx="789">
                  <c:v>25.750900000000001</c:v>
                </c:pt>
                <c:pt idx="790">
                  <c:v>25.502233333333336</c:v>
                </c:pt>
                <c:pt idx="791">
                  <c:v>25.656233333333333</c:v>
                </c:pt>
                <c:pt idx="792">
                  <c:v>25.841366666666669</c:v>
                </c:pt>
                <c:pt idx="793">
                  <c:v>25.168533333333333</c:v>
                </c:pt>
                <c:pt idx="794">
                  <c:v>24.650633333333332</c:v>
                </c:pt>
                <c:pt idx="795">
                  <c:v>24.718700000000002</c:v>
                </c:pt>
                <c:pt idx="796">
                  <c:v>25.133966666666666</c:v>
                </c:pt>
                <c:pt idx="797">
                  <c:v>24.9937</c:v>
                </c:pt>
                <c:pt idx="798">
                  <c:v>25.0291</c:v>
                </c:pt>
                <c:pt idx="799">
                  <c:v>24.906733333333332</c:v>
                </c:pt>
                <c:pt idx="800">
                  <c:v>24.529833333333332</c:v>
                </c:pt>
                <c:pt idx="801">
                  <c:v>24.365799999999997</c:v>
                </c:pt>
                <c:pt idx="802">
                  <c:v>24.327933333333334</c:v>
                </c:pt>
                <c:pt idx="803">
                  <c:v>23.858133333333331</c:v>
                </c:pt>
                <c:pt idx="804">
                  <c:v>24.059666666666669</c:v>
                </c:pt>
                <c:pt idx="805">
                  <c:v>23.876833333333334</c:v>
                </c:pt>
                <c:pt idx="806">
                  <c:v>24.574066666666667</c:v>
                </c:pt>
                <c:pt idx="807">
                  <c:v>25.018566666666668</c:v>
                </c:pt>
                <c:pt idx="808">
                  <c:v>24.646166666666669</c:v>
                </c:pt>
                <c:pt idx="809">
                  <c:v>24.733000000000001</c:v>
                </c:pt>
                <c:pt idx="810">
                  <c:v>24.824866666666669</c:v>
                </c:pt>
                <c:pt idx="811">
                  <c:v>24.713800000000003</c:v>
                </c:pt>
                <c:pt idx="812">
                  <c:v>24.730066666666669</c:v>
                </c:pt>
                <c:pt idx="813">
                  <c:v>24.881366666666665</c:v>
                </c:pt>
                <c:pt idx="814">
                  <c:v>25.826666666666664</c:v>
                </c:pt>
                <c:pt idx="815">
                  <c:v>26.059133333333335</c:v>
                </c:pt>
                <c:pt idx="816">
                  <c:v>26.348433333333332</c:v>
                </c:pt>
                <c:pt idx="817">
                  <c:v>26.534700000000001</c:v>
                </c:pt>
                <c:pt idx="818">
                  <c:v>26.119866666666667</c:v>
                </c:pt>
                <c:pt idx="819">
                  <c:v>25.341066666666666</c:v>
                </c:pt>
                <c:pt idx="820">
                  <c:v>25.186333333333334</c:v>
                </c:pt>
                <c:pt idx="821">
                  <c:v>24.581100000000003</c:v>
                </c:pt>
                <c:pt idx="822">
                  <c:v>24.973200000000002</c:v>
                </c:pt>
                <c:pt idx="823">
                  <c:v>25.050433333333331</c:v>
                </c:pt>
                <c:pt idx="824">
                  <c:v>24.893933333333333</c:v>
                </c:pt>
                <c:pt idx="825">
                  <c:v>23.750966666666667</c:v>
                </c:pt>
                <c:pt idx="826">
                  <c:v>23.8599</c:v>
                </c:pt>
                <c:pt idx="827">
                  <c:v>24.099</c:v>
                </c:pt>
                <c:pt idx="828">
                  <c:v>24.108000000000001</c:v>
                </c:pt>
                <c:pt idx="829">
                  <c:v>23.837433333333333</c:v>
                </c:pt>
                <c:pt idx="830">
                  <c:v>24.090166666666665</c:v>
                </c:pt>
                <c:pt idx="831">
                  <c:v>24.103333333333335</c:v>
                </c:pt>
                <c:pt idx="832">
                  <c:v>23.926400000000001</c:v>
                </c:pt>
                <c:pt idx="833">
                  <c:v>23.938100000000002</c:v>
                </c:pt>
                <c:pt idx="834">
                  <c:v>23.460733333333334</c:v>
                </c:pt>
                <c:pt idx="835">
                  <c:v>23.4956</c:v>
                </c:pt>
                <c:pt idx="836">
                  <c:v>23.4984</c:v>
                </c:pt>
                <c:pt idx="837">
                  <c:v>22.866266666666665</c:v>
                </c:pt>
                <c:pt idx="838">
                  <c:v>22.849866666666667</c:v>
                </c:pt>
                <c:pt idx="839">
                  <c:v>22.709533333333336</c:v>
                </c:pt>
                <c:pt idx="840">
                  <c:v>23.567733333333333</c:v>
                </c:pt>
                <c:pt idx="841">
                  <c:v>23.150633333333332</c:v>
                </c:pt>
                <c:pt idx="842">
                  <c:v>22.796766666666667</c:v>
                </c:pt>
                <c:pt idx="843">
                  <c:v>22.747666666666664</c:v>
                </c:pt>
                <c:pt idx="844">
                  <c:v>22.780266666666666</c:v>
                </c:pt>
                <c:pt idx="845">
                  <c:v>22.525599999999997</c:v>
                </c:pt>
                <c:pt idx="846">
                  <c:v>22.620366666666666</c:v>
                </c:pt>
                <c:pt idx="847">
                  <c:v>22.6921</c:v>
                </c:pt>
                <c:pt idx="848">
                  <c:v>22.854733333333332</c:v>
                </c:pt>
                <c:pt idx="849">
                  <c:v>23.315899999999999</c:v>
                </c:pt>
                <c:pt idx="850">
                  <c:v>23.178299999999997</c:v>
                </c:pt>
                <c:pt idx="851">
                  <c:v>24.161299999999997</c:v>
                </c:pt>
                <c:pt idx="852">
                  <c:v>23.69</c:v>
                </c:pt>
                <c:pt idx="853">
                  <c:v>22.529</c:v>
                </c:pt>
                <c:pt idx="854">
                  <c:v>22.269666666666666</c:v>
                </c:pt>
                <c:pt idx="855">
                  <c:v>22.334066666666669</c:v>
                </c:pt>
                <c:pt idx="856">
                  <c:v>23.094733333333334</c:v>
                </c:pt>
                <c:pt idx="857">
                  <c:v>23.583166666666667</c:v>
                </c:pt>
                <c:pt idx="858">
                  <c:v>23.544733333333337</c:v>
                </c:pt>
                <c:pt idx="859">
                  <c:v>22.906766666666666</c:v>
                </c:pt>
                <c:pt idx="860">
                  <c:v>23.52416666666667</c:v>
                </c:pt>
                <c:pt idx="861">
                  <c:v>23.588266666666666</c:v>
                </c:pt>
                <c:pt idx="862">
                  <c:v>22.626300000000001</c:v>
                </c:pt>
                <c:pt idx="863">
                  <c:v>22.407233333333334</c:v>
                </c:pt>
                <c:pt idx="864">
                  <c:v>22.851299999999998</c:v>
                </c:pt>
                <c:pt idx="865">
                  <c:v>23.092633333333335</c:v>
                </c:pt>
                <c:pt idx="866">
                  <c:v>24.415099999999999</c:v>
                </c:pt>
                <c:pt idx="867">
                  <c:v>24.678433333333334</c:v>
                </c:pt>
                <c:pt idx="868">
                  <c:v>25.331400000000002</c:v>
                </c:pt>
                <c:pt idx="869">
                  <c:v>25.970233333333336</c:v>
                </c:pt>
                <c:pt idx="870">
                  <c:v>26.170199999999998</c:v>
                </c:pt>
                <c:pt idx="871">
                  <c:v>26.630300000000002</c:v>
                </c:pt>
                <c:pt idx="872">
                  <c:v>26.881466666666668</c:v>
                </c:pt>
                <c:pt idx="873">
                  <c:v>26.84353333333333</c:v>
                </c:pt>
                <c:pt idx="874">
                  <c:v>26.536300000000001</c:v>
                </c:pt>
                <c:pt idx="875">
                  <c:v>26.910600000000002</c:v>
                </c:pt>
                <c:pt idx="876">
                  <c:v>27.179666666666666</c:v>
                </c:pt>
                <c:pt idx="877">
                  <c:v>26.972300000000001</c:v>
                </c:pt>
                <c:pt idx="878">
                  <c:v>27.144533333333339</c:v>
                </c:pt>
                <c:pt idx="879">
                  <c:v>27.052300000000002</c:v>
                </c:pt>
                <c:pt idx="880">
                  <c:v>26.640533333333334</c:v>
                </c:pt>
                <c:pt idx="881">
                  <c:v>27.538066666666666</c:v>
                </c:pt>
                <c:pt idx="882">
                  <c:v>27.5243</c:v>
                </c:pt>
                <c:pt idx="883">
                  <c:v>27.639499999999998</c:v>
                </c:pt>
                <c:pt idx="884">
                  <c:v>28.470299999999998</c:v>
                </c:pt>
                <c:pt idx="885">
                  <c:v>27.554199999999998</c:v>
                </c:pt>
                <c:pt idx="886">
                  <c:v>26.1768</c:v>
                </c:pt>
                <c:pt idx="887">
                  <c:v>25.827766666666673</c:v>
                </c:pt>
                <c:pt idx="888">
                  <c:v>25.904666666666667</c:v>
                </c:pt>
                <c:pt idx="889">
                  <c:v>25.9054</c:v>
                </c:pt>
                <c:pt idx="890">
                  <c:v>25.0564</c:v>
                </c:pt>
              </c:numCache>
            </c:numRef>
          </c:val>
          <c:smooth val="0"/>
          <c:extLst>
            <c:ext xmlns:c16="http://schemas.microsoft.com/office/drawing/2014/chart" uri="{C3380CC4-5D6E-409C-BE32-E72D297353CC}">
              <c16:uniqueId val="{00000000-E2FF-4B7D-BDE7-C55C7125D371}"/>
            </c:ext>
          </c:extLst>
        </c:ser>
        <c:dLbls>
          <c:showLegendKey val="0"/>
          <c:showVal val="0"/>
          <c:showCatName val="0"/>
          <c:showSerName val="0"/>
          <c:showPercent val="0"/>
          <c:showBubbleSize val="0"/>
        </c:dLbls>
        <c:smooth val="0"/>
        <c:axId val="536205648"/>
        <c:axId val="536206608"/>
      </c:lineChart>
      <c:dateAx>
        <c:axId val="536205648"/>
        <c:scaling>
          <c:orientation val="minMax"/>
        </c:scaling>
        <c:delete val="0"/>
        <c:axPos val="b"/>
        <c:numFmt formatCode="yyyy"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36206608"/>
        <c:crosses val="autoZero"/>
        <c:auto val="1"/>
        <c:lblOffset val="100"/>
        <c:baseTimeUnit val="days"/>
        <c:majorUnit val="1"/>
        <c:majorTimeUnit val="years"/>
      </c:dateAx>
      <c:valAx>
        <c:axId val="536206608"/>
        <c:scaling>
          <c:orientation val="minMax"/>
          <c:max val="60"/>
        </c:scaling>
        <c:delete val="1"/>
        <c:axPos val="l"/>
        <c:numFmt formatCode="_(* #,##0.00_);_(* \(#,##0.00\);_(* &quot;-&quot;??_);_(@_)" sourceLinked="1"/>
        <c:majorTickMark val="none"/>
        <c:minorTickMark val="none"/>
        <c:tickLblPos val="nextTo"/>
        <c:crossAx val="53620564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PAN</c:v>
                </c:pt>
              </c:strCache>
            </c:strRef>
          </c:tx>
          <c:spPr>
            <a:ln w="28575" cap="rnd">
              <a:solidFill>
                <a:schemeClr val="accent1"/>
              </a:solidFill>
              <a:round/>
            </a:ln>
            <a:effectLst/>
          </c:spPr>
          <c:marker>
            <c:symbol val="none"/>
          </c:marker>
          <c:cat>
            <c:numRef>
              <c:f>Sheet1!$A$2:$A$892</c:f>
              <c:numCache>
                <c:formatCode>m/d/yyyy</c:formatCode>
                <c:ptCount val="891"/>
                <c:pt idx="0">
                  <c:v>45964</c:v>
                </c:pt>
                <c:pt idx="1">
                  <c:v>45961</c:v>
                </c:pt>
                <c:pt idx="2">
                  <c:v>45960</c:v>
                </c:pt>
                <c:pt idx="3">
                  <c:v>45959</c:v>
                </c:pt>
                <c:pt idx="4">
                  <c:v>45958</c:v>
                </c:pt>
                <c:pt idx="5">
                  <c:v>45957</c:v>
                </c:pt>
                <c:pt idx="6">
                  <c:v>45954</c:v>
                </c:pt>
                <c:pt idx="7">
                  <c:v>45953</c:v>
                </c:pt>
                <c:pt idx="8">
                  <c:v>45951</c:v>
                </c:pt>
                <c:pt idx="9">
                  <c:v>45950</c:v>
                </c:pt>
                <c:pt idx="10">
                  <c:v>45947</c:v>
                </c:pt>
                <c:pt idx="11">
                  <c:v>45946</c:v>
                </c:pt>
                <c:pt idx="12">
                  <c:v>45945</c:v>
                </c:pt>
                <c:pt idx="13">
                  <c:v>45944</c:v>
                </c:pt>
                <c:pt idx="14">
                  <c:v>45943</c:v>
                </c:pt>
                <c:pt idx="15">
                  <c:v>45940</c:v>
                </c:pt>
                <c:pt idx="16">
                  <c:v>45939</c:v>
                </c:pt>
                <c:pt idx="17">
                  <c:v>45938</c:v>
                </c:pt>
                <c:pt idx="18">
                  <c:v>45937</c:v>
                </c:pt>
                <c:pt idx="19">
                  <c:v>45936</c:v>
                </c:pt>
                <c:pt idx="20">
                  <c:v>45933</c:v>
                </c:pt>
                <c:pt idx="21">
                  <c:v>45931</c:v>
                </c:pt>
                <c:pt idx="22">
                  <c:v>45930</c:v>
                </c:pt>
                <c:pt idx="23">
                  <c:v>45929</c:v>
                </c:pt>
                <c:pt idx="24">
                  <c:v>45926</c:v>
                </c:pt>
                <c:pt idx="25">
                  <c:v>45925</c:v>
                </c:pt>
                <c:pt idx="26">
                  <c:v>45924</c:v>
                </c:pt>
                <c:pt idx="27">
                  <c:v>45923</c:v>
                </c:pt>
                <c:pt idx="28">
                  <c:v>45922</c:v>
                </c:pt>
                <c:pt idx="29">
                  <c:v>45919</c:v>
                </c:pt>
                <c:pt idx="30">
                  <c:v>45918</c:v>
                </c:pt>
                <c:pt idx="31">
                  <c:v>45917</c:v>
                </c:pt>
                <c:pt idx="32">
                  <c:v>45916</c:v>
                </c:pt>
                <c:pt idx="33">
                  <c:v>45915</c:v>
                </c:pt>
                <c:pt idx="34">
                  <c:v>45912</c:v>
                </c:pt>
                <c:pt idx="35">
                  <c:v>45911</c:v>
                </c:pt>
                <c:pt idx="36">
                  <c:v>45910</c:v>
                </c:pt>
                <c:pt idx="37">
                  <c:v>45909</c:v>
                </c:pt>
                <c:pt idx="38">
                  <c:v>45908</c:v>
                </c:pt>
                <c:pt idx="39">
                  <c:v>45905</c:v>
                </c:pt>
                <c:pt idx="40">
                  <c:v>45904</c:v>
                </c:pt>
                <c:pt idx="41">
                  <c:v>45903</c:v>
                </c:pt>
                <c:pt idx="42">
                  <c:v>45902</c:v>
                </c:pt>
                <c:pt idx="43">
                  <c:v>45901</c:v>
                </c:pt>
                <c:pt idx="44">
                  <c:v>45898</c:v>
                </c:pt>
                <c:pt idx="45">
                  <c:v>45897</c:v>
                </c:pt>
                <c:pt idx="46">
                  <c:v>45895</c:v>
                </c:pt>
                <c:pt idx="47">
                  <c:v>45894</c:v>
                </c:pt>
                <c:pt idx="48">
                  <c:v>45891</c:v>
                </c:pt>
                <c:pt idx="49">
                  <c:v>45890</c:v>
                </c:pt>
                <c:pt idx="50">
                  <c:v>45889</c:v>
                </c:pt>
                <c:pt idx="51">
                  <c:v>45888</c:v>
                </c:pt>
                <c:pt idx="52">
                  <c:v>45887</c:v>
                </c:pt>
                <c:pt idx="53">
                  <c:v>45883</c:v>
                </c:pt>
                <c:pt idx="54">
                  <c:v>45882</c:v>
                </c:pt>
                <c:pt idx="55">
                  <c:v>45881</c:v>
                </c:pt>
                <c:pt idx="56">
                  <c:v>45880</c:v>
                </c:pt>
                <c:pt idx="57">
                  <c:v>45877</c:v>
                </c:pt>
                <c:pt idx="58">
                  <c:v>45876</c:v>
                </c:pt>
                <c:pt idx="59">
                  <c:v>45875</c:v>
                </c:pt>
                <c:pt idx="60">
                  <c:v>45874</c:v>
                </c:pt>
                <c:pt idx="61">
                  <c:v>45873</c:v>
                </c:pt>
                <c:pt idx="62">
                  <c:v>45870</c:v>
                </c:pt>
                <c:pt idx="63">
                  <c:v>45869</c:v>
                </c:pt>
                <c:pt idx="64">
                  <c:v>45868</c:v>
                </c:pt>
                <c:pt idx="65">
                  <c:v>45867</c:v>
                </c:pt>
                <c:pt idx="66">
                  <c:v>45866</c:v>
                </c:pt>
                <c:pt idx="67">
                  <c:v>45863</c:v>
                </c:pt>
                <c:pt idx="68">
                  <c:v>45862</c:v>
                </c:pt>
                <c:pt idx="69">
                  <c:v>45861</c:v>
                </c:pt>
                <c:pt idx="70">
                  <c:v>45860</c:v>
                </c:pt>
                <c:pt idx="71">
                  <c:v>45859</c:v>
                </c:pt>
                <c:pt idx="72">
                  <c:v>45856</c:v>
                </c:pt>
                <c:pt idx="73">
                  <c:v>45855</c:v>
                </c:pt>
                <c:pt idx="74">
                  <c:v>45854</c:v>
                </c:pt>
                <c:pt idx="75">
                  <c:v>45853</c:v>
                </c:pt>
                <c:pt idx="76">
                  <c:v>45852</c:v>
                </c:pt>
                <c:pt idx="77">
                  <c:v>45849</c:v>
                </c:pt>
                <c:pt idx="78">
                  <c:v>45848</c:v>
                </c:pt>
                <c:pt idx="79">
                  <c:v>45847</c:v>
                </c:pt>
                <c:pt idx="80">
                  <c:v>45846</c:v>
                </c:pt>
                <c:pt idx="81">
                  <c:v>45845</c:v>
                </c:pt>
                <c:pt idx="82">
                  <c:v>45842</c:v>
                </c:pt>
                <c:pt idx="83">
                  <c:v>45841</c:v>
                </c:pt>
                <c:pt idx="84">
                  <c:v>45840</c:v>
                </c:pt>
                <c:pt idx="85">
                  <c:v>45839</c:v>
                </c:pt>
                <c:pt idx="86">
                  <c:v>45838</c:v>
                </c:pt>
                <c:pt idx="87">
                  <c:v>45835</c:v>
                </c:pt>
                <c:pt idx="88">
                  <c:v>45834</c:v>
                </c:pt>
                <c:pt idx="89">
                  <c:v>45833</c:v>
                </c:pt>
                <c:pt idx="90">
                  <c:v>45832</c:v>
                </c:pt>
                <c:pt idx="91">
                  <c:v>45831</c:v>
                </c:pt>
                <c:pt idx="92">
                  <c:v>45828</c:v>
                </c:pt>
                <c:pt idx="93">
                  <c:v>45827</c:v>
                </c:pt>
                <c:pt idx="94">
                  <c:v>45826</c:v>
                </c:pt>
                <c:pt idx="95">
                  <c:v>45825</c:v>
                </c:pt>
                <c:pt idx="96">
                  <c:v>45824</c:v>
                </c:pt>
                <c:pt idx="97">
                  <c:v>45821</c:v>
                </c:pt>
                <c:pt idx="98">
                  <c:v>45820</c:v>
                </c:pt>
                <c:pt idx="99">
                  <c:v>45819</c:v>
                </c:pt>
                <c:pt idx="100">
                  <c:v>45818</c:v>
                </c:pt>
                <c:pt idx="101">
                  <c:v>45817</c:v>
                </c:pt>
                <c:pt idx="102">
                  <c:v>45814</c:v>
                </c:pt>
                <c:pt idx="103">
                  <c:v>45813</c:v>
                </c:pt>
                <c:pt idx="104">
                  <c:v>45812</c:v>
                </c:pt>
                <c:pt idx="105">
                  <c:v>45811</c:v>
                </c:pt>
                <c:pt idx="106">
                  <c:v>45810</c:v>
                </c:pt>
                <c:pt idx="107">
                  <c:v>45807</c:v>
                </c:pt>
                <c:pt idx="108">
                  <c:v>45806</c:v>
                </c:pt>
                <c:pt idx="109">
                  <c:v>45805</c:v>
                </c:pt>
                <c:pt idx="110">
                  <c:v>45804</c:v>
                </c:pt>
                <c:pt idx="111">
                  <c:v>45803</c:v>
                </c:pt>
                <c:pt idx="112">
                  <c:v>45800</c:v>
                </c:pt>
                <c:pt idx="113">
                  <c:v>45799</c:v>
                </c:pt>
                <c:pt idx="114">
                  <c:v>45798</c:v>
                </c:pt>
                <c:pt idx="115">
                  <c:v>45797</c:v>
                </c:pt>
                <c:pt idx="116">
                  <c:v>45796</c:v>
                </c:pt>
                <c:pt idx="117">
                  <c:v>45793</c:v>
                </c:pt>
                <c:pt idx="118">
                  <c:v>45792</c:v>
                </c:pt>
                <c:pt idx="119">
                  <c:v>45791</c:v>
                </c:pt>
                <c:pt idx="120">
                  <c:v>45790</c:v>
                </c:pt>
                <c:pt idx="121">
                  <c:v>45789</c:v>
                </c:pt>
                <c:pt idx="122">
                  <c:v>45786</c:v>
                </c:pt>
                <c:pt idx="123">
                  <c:v>45785</c:v>
                </c:pt>
                <c:pt idx="124">
                  <c:v>45784</c:v>
                </c:pt>
                <c:pt idx="125">
                  <c:v>45783</c:v>
                </c:pt>
                <c:pt idx="126">
                  <c:v>45782</c:v>
                </c:pt>
                <c:pt idx="127">
                  <c:v>45779</c:v>
                </c:pt>
                <c:pt idx="128">
                  <c:v>45777</c:v>
                </c:pt>
                <c:pt idx="129">
                  <c:v>45776</c:v>
                </c:pt>
                <c:pt idx="130">
                  <c:v>45775</c:v>
                </c:pt>
                <c:pt idx="131">
                  <c:v>45772</c:v>
                </c:pt>
                <c:pt idx="132">
                  <c:v>45771</c:v>
                </c:pt>
                <c:pt idx="133">
                  <c:v>45770</c:v>
                </c:pt>
                <c:pt idx="134">
                  <c:v>45769</c:v>
                </c:pt>
                <c:pt idx="135">
                  <c:v>45768</c:v>
                </c:pt>
                <c:pt idx="136">
                  <c:v>45764</c:v>
                </c:pt>
                <c:pt idx="137">
                  <c:v>45763</c:v>
                </c:pt>
                <c:pt idx="138">
                  <c:v>45762</c:v>
                </c:pt>
                <c:pt idx="139">
                  <c:v>45758</c:v>
                </c:pt>
                <c:pt idx="140">
                  <c:v>45756</c:v>
                </c:pt>
                <c:pt idx="141">
                  <c:v>45755</c:v>
                </c:pt>
                <c:pt idx="142">
                  <c:v>45754</c:v>
                </c:pt>
                <c:pt idx="143">
                  <c:v>45751</c:v>
                </c:pt>
                <c:pt idx="144">
                  <c:v>45750</c:v>
                </c:pt>
                <c:pt idx="145">
                  <c:v>45749</c:v>
                </c:pt>
                <c:pt idx="146">
                  <c:v>45748</c:v>
                </c:pt>
                <c:pt idx="147">
                  <c:v>45744</c:v>
                </c:pt>
                <c:pt idx="148">
                  <c:v>45743</c:v>
                </c:pt>
                <c:pt idx="149">
                  <c:v>45742</c:v>
                </c:pt>
                <c:pt idx="150">
                  <c:v>45741</c:v>
                </c:pt>
                <c:pt idx="151">
                  <c:v>45740</c:v>
                </c:pt>
                <c:pt idx="152">
                  <c:v>45737</c:v>
                </c:pt>
                <c:pt idx="153">
                  <c:v>45736</c:v>
                </c:pt>
                <c:pt idx="154">
                  <c:v>45735</c:v>
                </c:pt>
                <c:pt idx="155">
                  <c:v>45734</c:v>
                </c:pt>
                <c:pt idx="156">
                  <c:v>45733</c:v>
                </c:pt>
                <c:pt idx="157">
                  <c:v>45729</c:v>
                </c:pt>
                <c:pt idx="158">
                  <c:v>45728</c:v>
                </c:pt>
                <c:pt idx="159">
                  <c:v>45727</c:v>
                </c:pt>
                <c:pt idx="160">
                  <c:v>45726</c:v>
                </c:pt>
                <c:pt idx="161">
                  <c:v>45723</c:v>
                </c:pt>
                <c:pt idx="162">
                  <c:v>45722</c:v>
                </c:pt>
                <c:pt idx="163">
                  <c:v>45721</c:v>
                </c:pt>
                <c:pt idx="164">
                  <c:v>45720</c:v>
                </c:pt>
                <c:pt idx="165">
                  <c:v>45719</c:v>
                </c:pt>
                <c:pt idx="166">
                  <c:v>45716</c:v>
                </c:pt>
                <c:pt idx="167">
                  <c:v>45715</c:v>
                </c:pt>
                <c:pt idx="168">
                  <c:v>45713</c:v>
                </c:pt>
                <c:pt idx="169">
                  <c:v>45712</c:v>
                </c:pt>
                <c:pt idx="170">
                  <c:v>45709</c:v>
                </c:pt>
                <c:pt idx="171">
                  <c:v>45708</c:v>
                </c:pt>
                <c:pt idx="172">
                  <c:v>45707</c:v>
                </c:pt>
                <c:pt idx="173">
                  <c:v>45706</c:v>
                </c:pt>
                <c:pt idx="174">
                  <c:v>45705</c:v>
                </c:pt>
                <c:pt idx="175">
                  <c:v>45702</c:v>
                </c:pt>
                <c:pt idx="176">
                  <c:v>45701</c:v>
                </c:pt>
                <c:pt idx="177">
                  <c:v>45700</c:v>
                </c:pt>
                <c:pt idx="178">
                  <c:v>45699</c:v>
                </c:pt>
                <c:pt idx="179">
                  <c:v>45698</c:v>
                </c:pt>
                <c:pt idx="180">
                  <c:v>45695</c:v>
                </c:pt>
                <c:pt idx="181">
                  <c:v>45694</c:v>
                </c:pt>
                <c:pt idx="182">
                  <c:v>45693</c:v>
                </c:pt>
                <c:pt idx="183">
                  <c:v>45692</c:v>
                </c:pt>
                <c:pt idx="184">
                  <c:v>45691</c:v>
                </c:pt>
                <c:pt idx="185">
                  <c:v>45689</c:v>
                </c:pt>
                <c:pt idx="186">
                  <c:v>45688</c:v>
                </c:pt>
                <c:pt idx="187">
                  <c:v>45687</c:v>
                </c:pt>
                <c:pt idx="188">
                  <c:v>45686</c:v>
                </c:pt>
                <c:pt idx="189">
                  <c:v>45685</c:v>
                </c:pt>
                <c:pt idx="190">
                  <c:v>45684</c:v>
                </c:pt>
                <c:pt idx="191">
                  <c:v>45681</c:v>
                </c:pt>
                <c:pt idx="192">
                  <c:v>45680</c:v>
                </c:pt>
                <c:pt idx="193">
                  <c:v>45679</c:v>
                </c:pt>
                <c:pt idx="194">
                  <c:v>45678</c:v>
                </c:pt>
                <c:pt idx="195">
                  <c:v>45677</c:v>
                </c:pt>
                <c:pt idx="196">
                  <c:v>45674</c:v>
                </c:pt>
                <c:pt idx="197">
                  <c:v>45673</c:v>
                </c:pt>
                <c:pt idx="198">
                  <c:v>45672</c:v>
                </c:pt>
                <c:pt idx="199">
                  <c:v>45671</c:v>
                </c:pt>
                <c:pt idx="200">
                  <c:v>45670</c:v>
                </c:pt>
                <c:pt idx="201">
                  <c:v>45667</c:v>
                </c:pt>
                <c:pt idx="202">
                  <c:v>45666</c:v>
                </c:pt>
                <c:pt idx="203">
                  <c:v>45665</c:v>
                </c:pt>
                <c:pt idx="204">
                  <c:v>45664</c:v>
                </c:pt>
                <c:pt idx="205">
                  <c:v>45663</c:v>
                </c:pt>
                <c:pt idx="206">
                  <c:v>45660</c:v>
                </c:pt>
                <c:pt idx="207">
                  <c:v>45659</c:v>
                </c:pt>
                <c:pt idx="208">
                  <c:v>45658</c:v>
                </c:pt>
                <c:pt idx="209">
                  <c:v>45657</c:v>
                </c:pt>
                <c:pt idx="210">
                  <c:v>45656</c:v>
                </c:pt>
                <c:pt idx="211">
                  <c:v>45653</c:v>
                </c:pt>
                <c:pt idx="212">
                  <c:v>45652</c:v>
                </c:pt>
                <c:pt idx="213">
                  <c:v>45650</c:v>
                </c:pt>
                <c:pt idx="214">
                  <c:v>45649</c:v>
                </c:pt>
                <c:pt idx="215">
                  <c:v>45646</c:v>
                </c:pt>
                <c:pt idx="216">
                  <c:v>45645</c:v>
                </c:pt>
                <c:pt idx="217">
                  <c:v>45644</c:v>
                </c:pt>
                <c:pt idx="218">
                  <c:v>45643</c:v>
                </c:pt>
                <c:pt idx="219">
                  <c:v>45642</c:v>
                </c:pt>
                <c:pt idx="220">
                  <c:v>45639</c:v>
                </c:pt>
                <c:pt idx="221">
                  <c:v>45638</c:v>
                </c:pt>
                <c:pt idx="222">
                  <c:v>45637</c:v>
                </c:pt>
                <c:pt idx="223">
                  <c:v>45636</c:v>
                </c:pt>
                <c:pt idx="224">
                  <c:v>45635</c:v>
                </c:pt>
                <c:pt idx="225">
                  <c:v>45632</c:v>
                </c:pt>
                <c:pt idx="226">
                  <c:v>45631</c:v>
                </c:pt>
                <c:pt idx="227">
                  <c:v>45630</c:v>
                </c:pt>
                <c:pt idx="228">
                  <c:v>45629</c:v>
                </c:pt>
                <c:pt idx="229">
                  <c:v>45628</c:v>
                </c:pt>
                <c:pt idx="230">
                  <c:v>45625</c:v>
                </c:pt>
                <c:pt idx="231">
                  <c:v>45624</c:v>
                </c:pt>
                <c:pt idx="232">
                  <c:v>45623</c:v>
                </c:pt>
                <c:pt idx="233">
                  <c:v>45622</c:v>
                </c:pt>
                <c:pt idx="234">
                  <c:v>45621</c:v>
                </c:pt>
                <c:pt idx="235">
                  <c:v>45618</c:v>
                </c:pt>
                <c:pt idx="236">
                  <c:v>45617</c:v>
                </c:pt>
                <c:pt idx="237">
                  <c:v>45615</c:v>
                </c:pt>
                <c:pt idx="238">
                  <c:v>45614</c:v>
                </c:pt>
                <c:pt idx="239">
                  <c:v>45610</c:v>
                </c:pt>
                <c:pt idx="240">
                  <c:v>45609</c:v>
                </c:pt>
                <c:pt idx="241">
                  <c:v>45608</c:v>
                </c:pt>
                <c:pt idx="242">
                  <c:v>45607</c:v>
                </c:pt>
                <c:pt idx="243">
                  <c:v>45604</c:v>
                </c:pt>
                <c:pt idx="244">
                  <c:v>45603</c:v>
                </c:pt>
                <c:pt idx="245">
                  <c:v>45602</c:v>
                </c:pt>
                <c:pt idx="246">
                  <c:v>45601</c:v>
                </c:pt>
                <c:pt idx="247">
                  <c:v>45600</c:v>
                </c:pt>
                <c:pt idx="248">
                  <c:v>45597</c:v>
                </c:pt>
                <c:pt idx="249">
                  <c:v>45596</c:v>
                </c:pt>
                <c:pt idx="250">
                  <c:v>45595</c:v>
                </c:pt>
                <c:pt idx="251">
                  <c:v>45594</c:v>
                </c:pt>
                <c:pt idx="252">
                  <c:v>45593</c:v>
                </c:pt>
                <c:pt idx="253">
                  <c:v>45590</c:v>
                </c:pt>
                <c:pt idx="254">
                  <c:v>45589</c:v>
                </c:pt>
                <c:pt idx="255">
                  <c:v>45588</c:v>
                </c:pt>
                <c:pt idx="256">
                  <c:v>45587</c:v>
                </c:pt>
                <c:pt idx="257">
                  <c:v>45586</c:v>
                </c:pt>
                <c:pt idx="258">
                  <c:v>45583</c:v>
                </c:pt>
                <c:pt idx="259">
                  <c:v>45582</c:v>
                </c:pt>
                <c:pt idx="260">
                  <c:v>45581</c:v>
                </c:pt>
                <c:pt idx="261">
                  <c:v>45580</c:v>
                </c:pt>
                <c:pt idx="262">
                  <c:v>45579</c:v>
                </c:pt>
                <c:pt idx="263">
                  <c:v>45576</c:v>
                </c:pt>
                <c:pt idx="264">
                  <c:v>45575</c:v>
                </c:pt>
                <c:pt idx="265">
                  <c:v>45574</c:v>
                </c:pt>
                <c:pt idx="266">
                  <c:v>45573</c:v>
                </c:pt>
                <c:pt idx="267">
                  <c:v>45572</c:v>
                </c:pt>
                <c:pt idx="268">
                  <c:v>45569</c:v>
                </c:pt>
                <c:pt idx="269">
                  <c:v>45568</c:v>
                </c:pt>
                <c:pt idx="270">
                  <c:v>45566</c:v>
                </c:pt>
                <c:pt idx="271">
                  <c:v>45565</c:v>
                </c:pt>
                <c:pt idx="272">
                  <c:v>45562</c:v>
                </c:pt>
                <c:pt idx="273">
                  <c:v>45561</c:v>
                </c:pt>
                <c:pt idx="274">
                  <c:v>45560</c:v>
                </c:pt>
                <c:pt idx="275">
                  <c:v>45559</c:v>
                </c:pt>
                <c:pt idx="276">
                  <c:v>45558</c:v>
                </c:pt>
                <c:pt idx="277">
                  <c:v>45555</c:v>
                </c:pt>
                <c:pt idx="278">
                  <c:v>45554</c:v>
                </c:pt>
                <c:pt idx="279">
                  <c:v>45553</c:v>
                </c:pt>
                <c:pt idx="280">
                  <c:v>45552</c:v>
                </c:pt>
                <c:pt idx="281">
                  <c:v>45551</c:v>
                </c:pt>
                <c:pt idx="282">
                  <c:v>45548</c:v>
                </c:pt>
                <c:pt idx="283">
                  <c:v>45547</c:v>
                </c:pt>
                <c:pt idx="284">
                  <c:v>45546</c:v>
                </c:pt>
                <c:pt idx="285">
                  <c:v>45545</c:v>
                </c:pt>
                <c:pt idx="286">
                  <c:v>45544</c:v>
                </c:pt>
                <c:pt idx="287">
                  <c:v>45541</c:v>
                </c:pt>
                <c:pt idx="288">
                  <c:v>45540</c:v>
                </c:pt>
                <c:pt idx="289">
                  <c:v>45539</c:v>
                </c:pt>
                <c:pt idx="290">
                  <c:v>45538</c:v>
                </c:pt>
                <c:pt idx="291">
                  <c:v>45537</c:v>
                </c:pt>
                <c:pt idx="292">
                  <c:v>45534</c:v>
                </c:pt>
                <c:pt idx="293">
                  <c:v>45533</c:v>
                </c:pt>
                <c:pt idx="294">
                  <c:v>45532</c:v>
                </c:pt>
                <c:pt idx="295">
                  <c:v>45531</c:v>
                </c:pt>
                <c:pt idx="296">
                  <c:v>45530</c:v>
                </c:pt>
                <c:pt idx="297">
                  <c:v>45527</c:v>
                </c:pt>
                <c:pt idx="298">
                  <c:v>45526</c:v>
                </c:pt>
                <c:pt idx="299">
                  <c:v>45525</c:v>
                </c:pt>
                <c:pt idx="300">
                  <c:v>45524</c:v>
                </c:pt>
                <c:pt idx="301">
                  <c:v>45523</c:v>
                </c:pt>
                <c:pt idx="302">
                  <c:v>45520</c:v>
                </c:pt>
                <c:pt idx="303">
                  <c:v>45518</c:v>
                </c:pt>
                <c:pt idx="304">
                  <c:v>45517</c:v>
                </c:pt>
                <c:pt idx="305">
                  <c:v>45516</c:v>
                </c:pt>
                <c:pt idx="306">
                  <c:v>45513</c:v>
                </c:pt>
                <c:pt idx="307">
                  <c:v>45512</c:v>
                </c:pt>
                <c:pt idx="308">
                  <c:v>45511</c:v>
                </c:pt>
                <c:pt idx="309">
                  <c:v>45510</c:v>
                </c:pt>
                <c:pt idx="310">
                  <c:v>45509</c:v>
                </c:pt>
                <c:pt idx="311">
                  <c:v>45506</c:v>
                </c:pt>
                <c:pt idx="312">
                  <c:v>45505</c:v>
                </c:pt>
                <c:pt idx="313">
                  <c:v>45504</c:v>
                </c:pt>
                <c:pt idx="314">
                  <c:v>45503</c:v>
                </c:pt>
                <c:pt idx="315">
                  <c:v>45502</c:v>
                </c:pt>
                <c:pt idx="316">
                  <c:v>45499</c:v>
                </c:pt>
                <c:pt idx="317">
                  <c:v>45498</c:v>
                </c:pt>
                <c:pt idx="318">
                  <c:v>45497</c:v>
                </c:pt>
                <c:pt idx="319">
                  <c:v>45496</c:v>
                </c:pt>
                <c:pt idx="320">
                  <c:v>45495</c:v>
                </c:pt>
                <c:pt idx="321">
                  <c:v>45492</c:v>
                </c:pt>
                <c:pt idx="322">
                  <c:v>45491</c:v>
                </c:pt>
                <c:pt idx="323">
                  <c:v>45489</c:v>
                </c:pt>
                <c:pt idx="324">
                  <c:v>45488</c:v>
                </c:pt>
                <c:pt idx="325">
                  <c:v>45485</c:v>
                </c:pt>
                <c:pt idx="326">
                  <c:v>45484</c:v>
                </c:pt>
                <c:pt idx="327">
                  <c:v>45483</c:v>
                </c:pt>
                <c:pt idx="328">
                  <c:v>45482</c:v>
                </c:pt>
                <c:pt idx="329">
                  <c:v>45481</c:v>
                </c:pt>
                <c:pt idx="330">
                  <c:v>45478</c:v>
                </c:pt>
                <c:pt idx="331">
                  <c:v>45477</c:v>
                </c:pt>
                <c:pt idx="332">
                  <c:v>45476</c:v>
                </c:pt>
                <c:pt idx="333">
                  <c:v>45475</c:v>
                </c:pt>
                <c:pt idx="334">
                  <c:v>45474</c:v>
                </c:pt>
                <c:pt idx="335">
                  <c:v>45471</c:v>
                </c:pt>
                <c:pt idx="336">
                  <c:v>45470</c:v>
                </c:pt>
                <c:pt idx="337">
                  <c:v>45469</c:v>
                </c:pt>
                <c:pt idx="338">
                  <c:v>45468</c:v>
                </c:pt>
                <c:pt idx="339">
                  <c:v>45467</c:v>
                </c:pt>
                <c:pt idx="340">
                  <c:v>45464</c:v>
                </c:pt>
                <c:pt idx="341">
                  <c:v>45463</c:v>
                </c:pt>
                <c:pt idx="342">
                  <c:v>45462</c:v>
                </c:pt>
                <c:pt idx="343">
                  <c:v>45461</c:v>
                </c:pt>
                <c:pt idx="344">
                  <c:v>45457</c:v>
                </c:pt>
                <c:pt idx="345">
                  <c:v>45456</c:v>
                </c:pt>
                <c:pt idx="346">
                  <c:v>45455</c:v>
                </c:pt>
                <c:pt idx="347">
                  <c:v>45454</c:v>
                </c:pt>
                <c:pt idx="348">
                  <c:v>45453</c:v>
                </c:pt>
                <c:pt idx="349">
                  <c:v>45450</c:v>
                </c:pt>
                <c:pt idx="350">
                  <c:v>45449</c:v>
                </c:pt>
                <c:pt idx="351">
                  <c:v>45448</c:v>
                </c:pt>
                <c:pt idx="352">
                  <c:v>45447</c:v>
                </c:pt>
                <c:pt idx="353">
                  <c:v>45446</c:v>
                </c:pt>
                <c:pt idx="354">
                  <c:v>45443</c:v>
                </c:pt>
                <c:pt idx="355">
                  <c:v>45442</c:v>
                </c:pt>
                <c:pt idx="356">
                  <c:v>45441</c:v>
                </c:pt>
                <c:pt idx="357">
                  <c:v>45440</c:v>
                </c:pt>
                <c:pt idx="358">
                  <c:v>45439</c:v>
                </c:pt>
                <c:pt idx="359">
                  <c:v>45436</c:v>
                </c:pt>
                <c:pt idx="360">
                  <c:v>45435</c:v>
                </c:pt>
                <c:pt idx="361">
                  <c:v>45434</c:v>
                </c:pt>
                <c:pt idx="362">
                  <c:v>45433</c:v>
                </c:pt>
                <c:pt idx="363">
                  <c:v>45430</c:v>
                </c:pt>
                <c:pt idx="364">
                  <c:v>45429</c:v>
                </c:pt>
                <c:pt idx="365">
                  <c:v>45428</c:v>
                </c:pt>
                <c:pt idx="366">
                  <c:v>45427</c:v>
                </c:pt>
                <c:pt idx="367">
                  <c:v>45426</c:v>
                </c:pt>
                <c:pt idx="368">
                  <c:v>45425</c:v>
                </c:pt>
                <c:pt idx="369">
                  <c:v>45422</c:v>
                </c:pt>
                <c:pt idx="370">
                  <c:v>45421</c:v>
                </c:pt>
                <c:pt idx="371">
                  <c:v>45420</c:v>
                </c:pt>
                <c:pt idx="372">
                  <c:v>45419</c:v>
                </c:pt>
                <c:pt idx="373">
                  <c:v>45418</c:v>
                </c:pt>
                <c:pt idx="374">
                  <c:v>45415</c:v>
                </c:pt>
                <c:pt idx="375">
                  <c:v>45414</c:v>
                </c:pt>
                <c:pt idx="376">
                  <c:v>45412</c:v>
                </c:pt>
                <c:pt idx="377">
                  <c:v>45411</c:v>
                </c:pt>
                <c:pt idx="378">
                  <c:v>45408</c:v>
                </c:pt>
                <c:pt idx="379">
                  <c:v>45407</c:v>
                </c:pt>
                <c:pt idx="380">
                  <c:v>45406</c:v>
                </c:pt>
                <c:pt idx="381">
                  <c:v>45405</c:v>
                </c:pt>
                <c:pt idx="382">
                  <c:v>45404</c:v>
                </c:pt>
                <c:pt idx="383">
                  <c:v>45401</c:v>
                </c:pt>
                <c:pt idx="384">
                  <c:v>45400</c:v>
                </c:pt>
                <c:pt idx="385">
                  <c:v>45398</c:v>
                </c:pt>
                <c:pt idx="386">
                  <c:v>45397</c:v>
                </c:pt>
                <c:pt idx="387">
                  <c:v>45394</c:v>
                </c:pt>
                <c:pt idx="388">
                  <c:v>45392</c:v>
                </c:pt>
                <c:pt idx="389">
                  <c:v>45391</c:v>
                </c:pt>
                <c:pt idx="390">
                  <c:v>45390</c:v>
                </c:pt>
                <c:pt idx="391">
                  <c:v>45387</c:v>
                </c:pt>
                <c:pt idx="392">
                  <c:v>45386</c:v>
                </c:pt>
                <c:pt idx="393">
                  <c:v>45385</c:v>
                </c:pt>
                <c:pt idx="394">
                  <c:v>45384</c:v>
                </c:pt>
                <c:pt idx="395">
                  <c:v>45383</c:v>
                </c:pt>
                <c:pt idx="396">
                  <c:v>45379</c:v>
                </c:pt>
                <c:pt idx="397">
                  <c:v>45378</c:v>
                </c:pt>
                <c:pt idx="398">
                  <c:v>45377</c:v>
                </c:pt>
                <c:pt idx="399">
                  <c:v>45373</c:v>
                </c:pt>
                <c:pt idx="400">
                  <c:v>45372</c:v>
                </c:pt>
                <c:pt idx="401">
                  <c:v>45371</c:v>
                </c:pt>
                <c:pt idx="402">
                  <c:v>45370</c:v>
                </c:pt>
                <c:pt idx="403">
                  <c:v>45369</c:v>
                </c:pt>
                <c:pt idx="404">
                  <c:v>45366</c:v>
                </c:pt>
                <c:pt idx="405">
                  <c:v>45365</c:v>
                </c:pt>
                <c:pt idx="406">
                  <c:v>45364</c:v>
                </c:pt>
                <c:pt idx="407">
                  <c:v>45363</c:v>
                </c:pt>
                <c:pt idx="408">
                  <c:v>45362</c:v>
                </c:pt>
                <c:pt idx="409">
                  <c:v>45358</c:v>
                </c:pt>
                <c:pt idx="410">
                  <c:v>45357</c:v>
                </c:pt>
                <c:pt idx="411">
                  <c:v>45356</c:v>
                </c:pt>
                <c:pt idx="412">
                  <c:v>45355</c:v>
                </c:pt>
                <c:pt idx="413">
                  <c:v>45353</c:v>
                </c:pt>
                <c:pt idx="414">
                  <c:v>45352</c:v>
                </c:pt>
                <c:pt idx="415">
                  <c:v>45351</c:v>
                </c:pt>
                <c:pt idx="416">
                  <c:v>45350</c:v>
                </c:pt>
                <c:pt idx="417">
                  <c:v>45349</c:v>
                </c:pt>
                <c:pt idx="418">
                  <c:v>45348</c:v>
                </c:pt>
                <c:pt idx="419">
                  <c:v>45345</c:v>
                </c:pt>
                <c:pt idx="420">
                  <c:v>45344</c:v>
                </c:pt>
                <c:pt idx="421">
                  <c:v>45343</c:v>
                </c:pt>
                <c:pt idx="422">
                  <c:v>45342</c:v>
                </c:pt>
                <c:pt idx="423">
                  <c:v>45341</c:v>
                </c:pt>
                <c:pt idx="424">
                  <c:v>45338</c:v>
                </c:pt>
                <c:pt idx="425">
                  <c:v>45337</c:v>
                </c:pt>
                <c:pt idx="426">
                  <c:v>45336</c:v>
                </c:pt>
                <c:pt idx="427">
                  <c:v>45335</c:v>
                </c:pt>
                <c:pt idx="428">
                  <c:v>45334</c:v>
                </c:pt>
                <c:pt idx="429">
                  <c:v>45331</c:v>
                </c:pt>
                <c:pt idx="430">
                  <c:v>45330</c:v>
                </c:pt>
                <c:pt idx="431">
                  <c:v>45329</c:v>
                </c:pt>
                <c:pt idx="432">
                  <c:v>45328</c:v>
                </c:pt>
                <c:pt idx="433">
                  <c:v>45327</c:v>
                </c:pt>
                <c:pt idx="434">
                  <c:v>45324</c:v>
                </c:pt>
                <c:pt idx="435">
                  <c:v>45323</c:v>
                </c:pt>
                <c:pt idx="436">
                  <c:v>45322</c:v>
                </c:pt>
                <c:pt idx="437">
                  <c:v>45321</c:v>
                </c:pt>
                <c:pt idx="438">
                  <c:v>45320</c:v>
                </c:pt>
                <c:pt idx="439">
                  <c:v>45316</c:v>
                </c:pt>
                <c:pt idx="440">
                  <c:v>45315</c:v>
                </c:pt>
                <c:pt idx="441">
                  <c:v>45314</c:v>
                </c:pt>
                <c:pt idx="442">
                  <c:v>45311</c:v>
                </c:pt>
                <c:pt idx="443">
                  <c:v>45310</c:v>
                </c:pt>
                <c:pt idx="444">
                  <c:v>45309</c:v>
                </c:pt>
                <c:pt idx="445">
                  <c:v>45308</c:v>
                </c:pt>
                <c:pt idx="446">
                  <c:v>45307</c:v>
                </c:pt>
                <c:pt idx="447">
                  <c:v>45306</c:v>
                </c:pt>
                <c:pt idx="448">
                  <c:v>45303</c:v>
                </c:pt>
                <c:pt idx="449">
                  <c:v>45302</c:v>
                </c:pt>
                <c:pt idx="450">
                  <c:v>45301</c:v>
                </c:pt>
                <c:pt idx="451">
                  <c:v>45300</c:v>
                </c:pt>
                <c:pt idx="452">
                  <c:v>45299</c:v>
                </c:pt>
                <c:pt idx="453">
                  <c:v>45296</c:v>
                </c:pt>
                <c:pt idx="454">
                  <c:v>45295</c:v>
                </c:pt>
                <c:pt idx="455">
                  <c:v>45294</c:v>
                </c:pt>
                <c:pt idx="456">
                  <c:v>45293</c:v>
                </c:pt>
                <c:pt idx="457">
                  <c:v>45292</c:v>
                </c:pt>
                <c:pt idx="458">
                  <c:v>45289</c:v>
                </c:pt>
                <c:pt idx="459">
                  <c:v>45288</c:v>
                </c:pt>
                <c:pt idx="460">
                  <c:v>45287</c:v>
                </c:pt>
                <c:pt idx="461">
                  <c:v>45286</c:v>
                </c:pt>
                <c:pt idx="462">
                  <c:v>45282</c:v>
                </c:pt>
                <c:pt idx="463">
                  <c:v>45281</c:v>
                </c:pt>
                <c:pt idx="464">
                  <c:v>45280</c:v>
                </c:pt>
                <c:pt idx="465">
                  <c:v>45279</c:v>
                </c:pt>
                <c:pt idx="466">
                  <c:v>45278</c:v>
                </c:pt>
                <c:pt idx="467">
                  <c:v>45275</c:v>
                </c:pt>
                <c:pt idx="468">
                  <c:v>45274</c:v>
                </c:pt>
                <c:pt idx="469">
                  <c:v>45273</c:v>
                </c:pt>
                <c:pt idx="470">
                  <c:v>45272</c:v>
                </c:pt>
                <c:pt idx="471">
                  <c:v>45271</c:v>
                </c:pt>
                <c:pt idx="472">
                  <c:v>45268</c:v>
                </c:pt>
                <c:pt idx="473">
                  <c:v>45267</c:v>
                </c:pt>
                <c:pt idx="474">
                  <c:v>45266</c:v>
                </c:pt>
                <c:pt idx="475">
                  <c:v>45265</c:v>
                </c:pt>
                <c:pt idx="476">
                  <c:v>45264</c:v>
                </c:pt>
                <c:pt idx="477">
                  <c:v>45261</c:v>
                </c:pt>
                <c:pt idx="478">
                  <c:v>45260</c:v>
                </c:pt>
                <c:pt idx="479">
                  <c:v>45259</c:v>
                </c:pt>
                <c:pt idx="480">
                  <c:v>45258</c:v>
                </c:pt>
                <c:pt idx="481">
                  <c:v>45254</c:v>
                </c:pt>
                <c:pt idx="482">
                  <c:v>45253</c:v>
                </c:pt>
                <c:pt idx="483">
                  <c:v>45252</c:v>
                </c:pt>
                <c:pt idx="484">
                  <c:v>45251</c:v>
                </c:pt>
                <c:pt idx="485">
                  <c:v>45250</c:v>
                </c:pt>
                <c:pt idx="486">
                  <c:v>45247</c:v>
                </c:pt>
                <c:pt idx="487">
                  <c:v>45246</c:v>
                </c:pt>
                <c:pt idx="488">
                  <c:v>45245</c:v>
                </c:pt>
                <c:pt idx="489">
                  <c:v>45243</c:v>
                </c:pt>
                <c:pt idx="490">
                  <c:v>45242</c:v>
                </c:pt>
                <c:pt idx="491">
                  <c:v>45240</c:v>
                </c:pt>
                <c:pt idx="492">
                  <c:v>45239</c:v>
                </c:pt>
                <c:pt idx="493">
                  <c:v>45238</c:v>
                </c:pt>
                <c:pt idx="494">
                  <c:v>45237</c:v>
                </c:pt>
                <c:pt idx="495">
                  <c:v>45236</c:v>
                </c:pt>
                <c:pt idx="496">
                  <c:v>45233</c:v>
                </c:pt>
                <c:pt idx="497">
                  <c:v>45232</c:v>
                </c:pt>
                <c:pt idx="498">
                  <c:v>45231</c:v>
                </c:pt>
                <c:pt idx="499">
                  <c:v>45230</c:v>
                </c:pt>
                <c:pt idx="500">
                  <c:v>45229</c:v>
                </c:pt>
                <c:pt idx="501">
                  <c:v>45226</c:v>
                </c:pt>
                <c:pt idx="502">
                  <c:v>45225</c:v>
                </c:pt>
                <c:pt idx="503">
                  <c:v>45224</c:v>
                </c:pt>
                <c:pt idx="504">
                  <c:v>45222</c:v>
                </c:pt>
                <c:pt idx="505">
                  <c:v>45219</c:v>
                </c:pt>
                <c:pt idx="506">
                  <c:v>45218</c:v>
                </c:pt>
                <c:pt idx="507">
                  <c:v>45217</c:v>
                </c:pt>
                <c:pt idx="508">
                  <c:v>45216</c:v>
                </c:pt>
                <c:pt idx="509">
                  <c:v>45215</c:v>
                </c:pt>
                <c:pt idx="510">
                  <c:v>45212</c:v>
                </c:pt>
                <c:pt idx="511">
                  <c:v>45211</c:v>
                </c:pt>
                <c:pt idx="512">
                  <c:v>45210</c:v>
                </c:pt>
                <c:pt idx="513">
                  <c:v>45209</c:v>
                </c:pt>
                <c:pt idx="514">
                  <c:v>45208</c:v>
                </c:pt>
                <c:pt idx="515">
                  <c:v>45205</c:v>
                </c:pt>
                <c:pt idx="516">
                  <c:v>45204</c:v>
                </c:pt>
                <c:pt idx="517">
                  <c:v>45203</c:v>
                </c:pt>
                <c:pt idx="518">
                  <c:v>45202</c:v>
                </c:pt>
                <c:pt idx="519">
                  <c:v>45198</c:v>
                </c:pt>
                <c:pt idx="520">
                  <c:v>45197</c:v>
                </c:pt>
                <c:pt idx="521">
                  <c:v>45196</c:v>
                </c:pt>
                <c:pt idx="522">
                  <c:v>45195</c:v>
                </c:pt>
                <c:pt idx="523">
                  <c:v>45194</c:v>
                </c:pt>
                <c:pt idx="524">
                  <c:v>45191</c:v>
                </c:pt>
                <c:pt idx="525">
                  <c:v>45190</c:v>
                </c:pt>
                <c:pt idx="526">
                  <c:v>45189</c:v>
                </c:pt>
                <c:pt idx="527">
                  <c:v>45187</c:v>
                </c:pt>
                <c:pt idx="528">
                  <c:v>45184</c:v>
                </c:pt>
                <c:pt idx="529">
                  <c:v>45183</c:v>
                </c:pt>
                <c:pt idx="530">
                  <c:v>45182</c:v>
                </c:pt>
                <c:pt idx="531">
                  <c:v>45181</c:v>
                </c:pt>
                <c:pt idx="532">
                  <c:v>45180</c:v>
                </c:pt>
                <c:pt idx="533">
                  <c:v>45177</c:v>
                </c:pt>
                <c:pt idx="534">
                  <c:v>45176</c:v>
                </c:pt>
                <c:pt idx="535">
                  <c:v>45175</c:v>
                </c:pt>
                <c:pt idx="536">
                  <c:v>45174</c:v>
                </c:pt>
                <c:pt idx="537">
                  <c:v>45173</c:v>
                </c:pt>
                <c:pt idx="538">
                  <c:v>45170</c:v>
                </c:pt>
                <c:pt idx="539">
                  <c:v>45169</c:v>
                </c:pt>
                <c:pt idx="540">
                  <c:v>45168</c:v>
                </c:pt>
                <c:pt idx="541">
                  <c:v>45167</c:v>
                </c:pt>
                <c:pt idx="542">
                  <c:v>45166</c:v>
                </c:pt>
                <c:pt idx="543">
                  <c:v>45163</c:v>
                </c:pt>
                <c:pt idx="544">
                  <c:v>45162</c:v>
                </c:pt>
                <c:pt idx="545">
                  <c:v>45161</c:v>
                </c:pt>
                <c:pt idx="546">
                  <c:v>45160</c:v>
                </c:pt>
                <c:pt idx="547">
                  <c:v>45159</c:v>
                </c:pt>
                <c:pt idx="548">
                  <c:v>45156</c:v>
                </c:pt>
                <c:pt idx="549">
                  <c:v>45155</c:v>
                </c:pt>
                <c:pt idx="550">
                  <c:v>45154</c:v>
                </c:pt>
                <c:pt idx="551">
                  <c:v>45152</c:v>
                </c:pt>
                <c:pt idx="552">
                  <c:v>45149</c:v>
                </c:pt>
                <c:pt idx="553">
                  <c:v>45148</c:v>
                </c:pt>
                <c:pt idx="554">
                  <c:v>45147</c:v>
                </c:pt>
                <c:pt idx="555">
                  <c:v>45146</c:v>
                </c:pt>
                <c:pt idx="556">
                  <c:v>45145</c:v>
                </c:pt>
                <c:pt idx="557">
                  <c:v>45142</c:v>
                </c:pt>
                <c:pt idx="558">
                  <c:v>45141</c:v>
                </c:pt>
                <c:pt idx="559">
                  <c:v>45140</c:v>
                </c:pt>
                <c:pt idx="560">
                  <c:v>45139</c:v>
                </c:pt>
                <c:pt idx="561">
                  <c:v>45138</c:v>
                </c:pt>
                <c:pt idx="562">
                  <c:v>45135</c:v>
                </c:pt>
                <c:pt idx="563">
                  <c:v>45134</c:v>
                </c:pt>
                <c:pt idx="564">
                  <c:v>45133</c:v>
                </c:pt>
                <c:pt idx="565">
                  <c:v>45132</c:v>
                </c:pt>
                <c:pt idx="566">
                  <c:v>45131</c:v>
                </c:pt>
                <c:pt idx="567">
                  <c:v>45128</c:v>
                </c:pt>
                <c:pt idx="568">
                  <c:v>45127</c:v>
                </c:pt>
                <c:pt idx="569">
                  <c:v>45126</c:v>
                </c:pt>
                <c:pt idx="570">
                  <c:v>45125</c:v>
                </c:pt>
                <c:pt idx="571">
                  <c:v>45124</c:v>
                </c:pt>
                <c:pt idx="572">
                  <c:v>45121</c:v>
                </c:pt>
                <c:pt idx="573">
                  <c:v>45120</c:v>
                </c:pt>
                <c:pt idx="574">
                  <c:v>45119</c:v>
                </c:pt>
                <c:pt idx="575">
                  <c:v>45118</c:v>
                </c:pt>
                <c:pt idx="576">
                  <c:v>45117</c:v>
                </c:pt>
                <c:pt idx="577">
                  <c:v>45114</c:v>
                </c:pt>
                <c:pt idx="578">
                  <c:v>45113</c:v>
                </c:pt>
                <c:pt idx="579">
                  <c:v>45112</c:v>
                </c:pt>
                <c:pt idx="580">
                  <c:v>45111</c:v>
                </c:pt>
                <c:pt idx="581">
                  <c:v>45110</c:v>
                </c:pt>
                <c:pt idx="582">
                  <c:v>45107</c:v>
                </c:pt>
                <c:pt idx="583">
                  <c:v>45105</c:v>
                </c:pt>
                <c:pt idx="584">
                  <c:v>45104</c:v>
                </c:pt>
                <c:pt idx="585">
                  <c:v>45103</c:v>
                </c:pt>
                <c:pt idx="586">
                  <c:v>45100</c:v>
                </c:pt>
                <c:pt idx="587">
                  <c:v>45099</c:v>
                </c:pt>
                <c:pt idx="588">
                  <c:v>45098</c:v>
                </c:pt>
                <c:pt idx="589">
                  <c:v>45097</c:v>
                </c:pt>
                <c:pt idx="590">
                  <c:v>45096</c:v>
                </c:pt>
                <c:pt idx="591">
                  <c:v>45093</c:v>
                </c:pt>
                <c:pt idx="592">
                  <c:v>45092</c:v>
                </c:pt>
                <c:pt idx="593">
                  <c:v>45091</c:v>
                </c:pt>
                <c:pt idx="594">
                  <c:v>45090</c:v>
                </c:pt>
                <c:pt idx="595">
                  <c:v>45089</c:v>
                </c:pt>
                <c:pt idx="596">
                  <c:v>45086</c:v>
                </c:pt>
                <c:pt idx="597">
                  <c:v>45085</c:v>
                </c:pt>
                <c:pt idx="598">
                  <c:v>45084</c:v>
                </c:pt>
                <c:pt idx="599">
                  <c:v>45083</c:v>
                </c:pt>
                <c:pt idx="600">
                  <c:v>45082</c:v>
                </c:pt>
                <c:pt idx="601">
                  <c:v>45079</c:v>
                </c:pt>
                <c:pt idx="602">
                  <c:v>45078</c:v>
                </c:pt>
                <c:pt idx="603">
                  <c:v>45077</c:v>
                </c:pt>
                <c:pt idx="604">
                  <c:v>45076</c:v>
                </c:pt>
                <c:pt idx="605">
                  <c:v>45075</c:v>
                </c:pt>
                <c:pt idx="606">
                  <c:v>45072</c:v>
                </c:pt>
                <c:pt idx="607">
                  <c:v>45071</c:v>
                </c:pt>
                <c:pt idx="608">
                  <c:v>45070</c:v>
                </c:pt>
                <c:pt idx="609">
                  <c:v>45069</c:v>
                </c:pt>
                <c:pt idx="610">
                  <c:v>45068</c:v>
                </c:pt>
                <c:pt idx="611">
                  <c:v>45065</c:v>
                </c:pt>
                <c:pt idx="612">
                  <c:v>45064</c:v>
                </c:pt>
                <c:pt idx="613">
                  <c:v>45063</c:v>
                </c:pt>
                <c:pt idx="614">
                  <c:v>45062</c:v>
                </c:pt>
                <c:pt idx="615">
                  <c:v>45061</c:v>
                </c:pt>
                <c:pt idx="616">
                  <c:v>45058</c:v>
                </c:pt>
                <c:pt idx="617">
                  <c:v>45057</c:v>
                </c:pt>
                <c:pt idx="618">
                  <c:v>45056</c:v>
                </c:pt>
                <c:pt idx="619">
                  <c:v>45055</c:v>
                </c:pt>
                <c:pt idx="620">
                  <c:v>45054</c:v>
                </c:pt>
                <c:pt idx="621">
                  <c:v>45051</c:v>
                </c:pt>
                <c:pt idx="622">
                  <c:v>45050</c:v>
                </c:pt>
                <c:pt idx="623">
                  <c:v>45049</c:v>
                </c:pt>
                <c:pt idx="624">
                  <c:v>45048</c:v>
                </c:pt>
                <c:pt idx="625">
                  <c:v>45044</c:v>
                </c:pt>
                <c:pt idx="626">
                  <c:v>45043</c:v>
                </c:pt>
                <c:pt idx="627">
                  <c:v>45042</c:v>
                </c:pt>
                <c:pt idx="628">
                  <c:v>45041</c:v>
                </c:pt>
                <c:pt idx="629">
                  <c:v>45040</c:v>
                </c:pt>
                <c:pt idx="630">
                  <c:v>45037</c:v>
                </c:pt>
                <c:pt idx="631">
                  <c:v>45036</c:v>
                </c:pt>
                <c:pt idx="632">
                  <c:v>45035</c:v>
                </c:pt>
                <c:pt idx="633">
                  <c:v>45034</c:v>
                </c:pt>
                <c:pt idx="634">
                  <c:v>45033</c:v>
                </c:pt>
                <c:pt idx="635">
                  <c:v>45029</c:v>
                </c:pt>
                <c:pt idx="636">
                  <c:v>45028</c:v>
                </c:pt>
                <c:pt idx="637">
                  <c:v>45027</c:v>
                </c:pt>
                <c:pt idx="638">
                  <c:v>45026</c:v>
                </c:pt>
                <c:pt idx="639">
                  <c:v>45022</c:v>
                </c:pt>
                <c:pt idx="640">
                  <c:v>45021</c:v>
                </c:pt>
                <c:pt idx="641">
                  <c:v>45019</c:v>
                </c:pt>
                <c:pt idx="642">
                  <c:v>45016</c:v>
                </c:pt>
                <c:pt idx="643">
                  <c:v>45014</c:v>
                </c:pt>
                <c:pt idx="644">
                  <c:v>45013</c:v>
                </c:pt>
                <c:pt idx="645">
                  <c:v>45012</c:v>
                </c:pt>
                <c:pt idx="646">
                  <c:v>45009</c:v>
                </c:pt>
                <c:pt idx="647">
                  <c:v>45008</c:v>
                </c:pt>
                <c:pt idx="648">
                  <c:v>45007</c:v>
                </c:pt>
                <c:pt idx="649">
                  <c:v>45006</c:v>
                </c:pt>
                <c:pt idx="650">
                  <c:v>45005</c:v>
                </c:pt>
                <c:pt idx="651">
                  <c:v>45002</c:v>
                </c:pt>
                <c:pt idx="652">
                  <c:v>45001</c:v>
                </c:pt>
                <c:pt idx="653">
                  <c:v>45000</c:v>
                </c:pt>
                <c:pt idx="654">
                  <c:v>44999</c:v>
                </c:pt>
                <c:pt idx="655">
                  <c:v>44998</c:v>
                </c:pt>
                <c:pt idx="656">
                  <c:v>44995</c:v>
                </c:pt>
                <c:pt idx="657">
                  <c:v>44994</c:v>
                </c:pt>
                <c:pt idx="658">
                  <c:v>44993</c:v>
                </c:pt>
                <c:pt idx="659">
                  <c:v>44991</c:v>
                </c:pt>
                <c:pt idx="660">
                  <c:v>44988</c:v>
                </c:pt>
                <c:pt idx="661">
                  <c:v>44987</c:v>
                </c:pt>
                <c:pt idx="662">
                  <c:v>44986</c:v>
                </c:pt>
                <c:pt idx="663">
                  <c:v>44985</c:v>
                </c:pt>
                <c:pt idx="664">
                  <c:v>44984</c:v>
                </c:pt>
                <c:pt idx="665">
                  <c:v>44981</c:v>
                </c:pt>
                <c:pt idx="666">
                  <c:v>44980</c:v>
                </c:pt>
                <c:pt idx="667">
                  <c:v>44979</c:v>
                </c:pt>
                <c:pt idx="668">
                  <c:v>44978</c:v>
                </c:pt>
                <c:pt idx="669">
                  <c:v>44977</c:v>
                </c:pt>
                <c:pt idx="670">
                  <c:v>44974</c:v>
                </c:pt>
                <c:pt idx="671">
                  <c:v>44973</c:v>
                </c:pt>
                <c:pt idx="672">
                  <c:v>44972</c:v>
                </c:pt>
                <c:pt idx="673">
                  <c:v>44971</c:v>
                </c:pt>
                <c:pt idx="674">
                  <c:v>44970</c:v>
                </c:pt>
                <c:pt idx="675">
                  <c:v>44967</c:v>
                </c:pt>
                <c:pt idx="676">
                  <c:v>44966</c:v>
                </c:pt>
                <c:pt idx="677">
                  <c:v>44965</c:v>
                </c:pt>
                <c:pt idx="678">
                  <c:v>44964</c:v>
                </c:pt>
                <c:pt idx="679">
                  <c:v>44963</c:v>
                </c:pt>
                <c:pt idx="680">
                  <c:v>44960</c:v>
                </c:pt>
                <c:pt idx="681">
                  <c:v>44959</c:v>
                </c:pt>
                <c:pt idx="682">
                  <c:v>44958</c:v>
                </c:pt>
                <c:pt idx="683">
                  <c:v>44957</c:v>
                </c:pt>
                <c:pt idx="684">
                  <c:v>44956</c:v>
                </c:pt>
                <c:pt idx="685">
                  <c:v>44953</c:v>
                </c:pt>
                <c:pt idx="686">
                  <c:v>44951</c:v>
                </c:pt>
                <c:pt idx="687">
                  <c:v>44950</c:v>
                </c:pt>
                <c:pt idx="688">
                  <c:v>44949</c:v>
                </c:pt>
                <c:pt idx="689">
                  <c:v>44946</c:v>
                </c:pt>
                <c:pt idx="690">
                  <c:v>44945</c:v>
                </c:pt>
                <c:pt idx="691">
                  <c:v>44944</c:v>
                </c:pt>
                <c:pt idx="692">
                  <c:v>44943</c:v>
                </c:pt>
                <c:pt idx="693">
                  <c:v>44942</c:v>
                </c:pt>
                <c:pt idx="694">
                  <c:v>44939</c:v>
                </c:pt>
                <c:pt idx="695">
                  <c:v>44938</c:v>
                </c:pt>
                <c:pt idx="696">
                  <c:v>44937</c:v>
                </c:pt>
                <c:pt idx="697">
                  <c:v>44936</c:v>
                </c:pt>
                <c:pt idx="698">
                  <c:v>44935</c:v>
                </c:pt>
                <c:pt idx="699">
                  <c:v>44932</c:v>
                </c:pt>
                <c:pt idx="700">
                  <c:v>44931</c:v>
                </c:pt>
                <c:pt idx="701">
                  <c:v>44930</c:v>
                </c:pt>
                <c:pt idx="702">
                  <c:v>44929</c:v>
                </c:pt>
                <c:pt idx="703">
                  <c:v>44928</c:v>
                </c:pt>
                <c:pt idx="704">
                  <c:v>44925</c:v>
                </c:pt>
                <c:pt idx="705">
                  <c:v>44924</c:v>
                </c:pt>
                <c:pt idx="706">
                  <c:v>44923</c:v>
                </c:pt>
                <c:pt idx="707">
                  <c:v>44922</c:v>
                </c:pt>
                <c:pt idx="708">
                  <c:v>44921</c:v>
                </c:pt>
                <c:pt idx="709">
                  <c:v>44918</c:v>
                </c:pt>
                <c:pt idx="710">
                  <c:v>44917</c:v>
                </c:pt>
                <c:pt idx="711">
                  <c:v>44916</c:v>
                </c:pt>
                <c:pt idx="712">
                  <c:v>44915</c:v>
                </c:pt>
                <c:pt idx="713">
                  <c:v>44914</c:v>
                </c:pt>
                <c:pt idx="714">
                  <c:v>44911</c:v>
                </c:pt>
                <c:pt idx="715">
                  <c:v>44910</c:v>
                </c:pt>
                <c:pt idx="716">
                  <c:v>44909</c:v>
                </c:pt>
                <c:pt idx="717">
                  <c:v>44908</c:v>
                </c:pt>
                <c:pt idx="718">
                  <c:v>44907</c:v>
                </c:pt>
                <c:pt idx="719">
                  <c:v>44904</c:v>
                </c:pt>
                <c:pt idx="720">
                  <c:v>44903</c:v>
                </c:pt>
                <c:pt idx="721">
                  <c:v>44902</c:v>
                </c:pt>
                <c:pt idx="722">
                  <c:v>44901</c:v>
                </c:pt>
                <c:pt idx="723">
                  <c:v>44900</c:v>
                </c:pt>
                <c:pt idx="724">
                  <c:v>44897</c:v>
                </c:pt>
                <c:pt idx="725">
                  <c:v>44896</c:v>
                </c:pt>
                <c:pt idx="726">
                  <c:v>44895</c:v>
                </c:pt>
                <c:pt idx="727">
                  <c:v>44894</c:v>
                </c:pt>
                <c:pt idx="728">
                  <c:v>44893</c:v>
                </c:pt>
                <c:pt idx="729">
                  <c:v>44890</c:v>
                </c:pt>
                <c:pt idx="730">
                  <c:v>44889</c:v>
                </c:pt>
                <c:pt idx="731">
                  <c:v>44888</c:v>
                </c:pt>
                <c:pt idx="732">
                  <c:v>44887</c:v>
                </c:pt>
                <c:pt idx="733">
                  <c:v>44886</c:v>
                </c:pt>
                <c:pt idx="734">
                  <c:v>44883</c:v>
                </c:pt>
                <c:pt idx="735">
                  <c:v>44882</c:v>
                </c:pt>
                <c:pt idx="736">
                  <c:v>44881</c:v>
                </c:pt>
                <c:pt idx="737">
                  <c:v>44880</c:v>
                </c:pt>
                <c:pt idx="738">
                  <c:v>44879</c:v>
                </c:pt>
                <c:pt idx="739">
                  <c:v>44876</c:v>
                </c:pt>
                <c:pt idx="740">
                  <c:v>44875</c:v>
                </c:pt>
                <c:pt idx="741">
                  <c:v>44874</c:v>
                </c:pt>
                <c:pt idx="742">
                  <c:v>44872</c:v>
                </c:pt>
                <c:pt idx="743">
                  <c:v>44869</c:v>
                </c:pt>
                <c:pt idx="744">
                  <c:v>44868</c:v>
                </c:pt>
                <c:pt idx="745">
                  <c:v>44867</c:v>
                </c:pt>
                <c:pt idx="746">
                  <c:v>44866</c:v>
                </c:pt>
                <c:pt idx="747">
                  <c:v>44865</c:v>
                </c:pt>
                <c:pt idx="748">
                  <c:v>44862</c:v>
                </c:pt>
                <c:pt idx="749">
                  <c:v>44861</c:v>
                </c:pt>
                <c:pt idx="750">
                  <c:v>44859</c:v>
                </c:pt>
                <c:pt idx="751">
                  <c:v>44858</c:v>
                </c:pt>
                <c:pt idx="752">
                  <c:v>44855</c:v>
                </c:pt>
                <c:pt idx="753">
                  <c:v>44854</c:v>
                </c:pt>
                <c:pt idx="754">
                  <c:v>44853</c:v>
                </c:pt>
                <c:pt idx="755">
                  <c:v>44852</c:v>
                </c:pt>
                <c:pt idx="756">
                  <c:v>44851</c:v>
                </c:pt>
                <c:pt idx="757">
                  <c:v>44848</c:v>
                </c:pt>
                <c:pt idx="758">
                  <c:v>44847</c:v>
                </c:pt>
                <c:pt idx="759">
                  <c:v>44846</c:v>
                </c:pt>
                <c:pt idx="760">
                  <c:v>44845</c:v>
                </c:pt>
                <c:pt idx="761">
                  <c:v>44844</c:v>
                </c:pt>
                <c:pt idx="762">
                  <c:v>44841</c:v>
                </c:pt>
                <c:pt idx="763">
                  <c:v>44840</c:v>
                </c:pt>
                <c:pt idx="764">
                  <c:v>44838</c:v>
                </c:pt>
                <c:pt idx="765">
                  <c:v>44837</c:v>
                </c:pt>
                <c:pt idx="766">
                  <c:v>44834</c:v>
                </c:pt>
                <c:pt idx="767">
                  <c:v>44833</c:v>
                </c:pt>
                <c:pt idx="768">
                  <c:v>44832</c:v>
                </c:pt>
                <c:pt idx="769">
                  <c:v>44831</c:v>
                </c:pt>
                <c:pt idx="770">
                  <c:v>44830</c:v>
                </c:pt>
                <c:pt idx="771">
                  <c:v>44827</c:v>
                </c:pt>
                <c:pt idx="772">
                  <c:v>44826</c:v>
                </c:pt>
                <c:pt idx="773">
                  <c:v>44825</c:v>
                </c:pt>
                <c:pt idx="774">
                  <c:v>44824</c:v>
                </c:pt>
                <c:pt idx="775">
                  <c:v>44823</c:v>
                </c:pt>
                <c:pt idx="776">
                  <c:v>44820</c:v>
                </c:pt>
                <c:pt idx="777">
                  <c:v>44819</c:v>
                </c:pt>
                <c:pt idx="778">
                  <c:v>44818</c:v>
                </c:pt>
                <c:pt idx="779">
                  <c:v>44817</c:v>
                </c:pt>
                <c:pt idx="780">
                  <c:v>44816</c:v>
                </c:pt>
                <c:pt idx="781">
                  <c:v>44813</c:v>
                </c:pt>
                <c:pt idx="782">
                  <c:v>44812</c:v>
                </c:pt>
                <c:pt idx="783">
                  <c:v>44811</c:v>
                </c:pt>
                <c:pt idx="784">
                  <c:v>44810</c:v>
                </c:pt>
                <c:pt idx="785">
                  <c:v>44809</c:v>
                </c:pt>
                <c:pt idx="786">
                  <c:v>44806</c:v>
                </c:pt>
                <c:pt idx="787">
                  <c:v>44805</c:v>
                </c:pt>
                <c:pt idx="788">
                  <c:v>44803</c:v>
                </c:pt>
                <c:pt idx="789">
                  <c:v>44802</c:v>
                </c:pt>
                <c:pt idx="790">
                  <c:v>44799</c:v>
                </c:pt>
                <c:pt idx="791">
                  <c:v>44798</c:v>
                </c:pt>
                <c:pt idx="792">
                  <c:v>44797</c:v>
                </c:pt>
                <c:pt idx="793">
                  <c:v>44796</c:v>
                </c:pt>
                <c:pt idx="794">
                  <c:v>44795</c:v>
                </c:pt>
                <c:pt idx="795">
                  <c:v>44792</c:v>
                </c:pt>
                <c:pt idx="796">
                  <c:v>44791</c:v>
                </c:pt>
                <c:pt idx="797">
                  <c:v>44790</c:v>
                </c:pt>
                <c:pt idx="798">
                  <c:v>44789</c:v>
                </c:pt>
                <c:pt idx="799">
                  <c:v>44785</c:v>
                </c:pt>
                <c:pt idx="800">
                  <c:v>44784</c:v>
                </c:pt>
                <c:pt idx="801">
                  <c:v>44783</c:v>
                </c:pt>
                <c:pt idx="802">
                  <c:v>44781</c:v>
                </c:pt>
                <c:pt idx="803">
                  <c:v>44778</c:v>
                </c:pt>
                <c:pt idx="804">
                  <c:v>44777</c:v>
                </c:pt>
                <c:pt idx="805">
                  <c:v>44776</c:v>
                </c:pt>
                <c:pt idx="806">
                  <c:v>44775</c:v>
                </c:pt>
                <c:pt idx="807">
                  <c:v>44774</c:v>
                </c:pt>
                <c:pt idx="808">
                  <c:v>44771</c:v>
                </c:pt>
                <c:pt idx="809">
                  <c:v>44770</c:v>
                </c:pt>
                <c:pt idx="810">
                  <c:v>44769</c:v>
                </c:pt>
                <c:pt idx="811">
                  <c:v>44768</c:v>
                </c:pt>
                <c:pt idx="812">
                  <c:v>44767</c:v>
                </c:pt>
                <c:pt idx="813">
                  <c:v>44764</c:v>
                </c:pt>
                <c:pt idx="814">
                  <c:v>44763</c:v>
                </c:pt>
                <c:pt idx="815">
                  <c:v>44762</c:v>
                </c:pt>
                <c:pt idx="816">
                  <c:v>44761</c:v>
                </c:pt>
                <c:pt idx="817">
                  <c:v>44760</c:v>
                </c:pt>
                <c:pt idx="818">
                  <c:v>44757</c:v>
                </c:pt>
                <c:pt idx="819">
                  <c:v>44756</c:v>
                </c:pt>
                <c:pt idx="820">
                  <c:v>44755</c:v>
                </c:pt>
                <c:pt idx="821">
                  <c:v>44754</c:v>
                </c:pt>
                <c:pt idx="822">
                  <c:v>44753</c:v>
                </c:pt>
                <c:pt idx="823">
                  <c:v>44750</c:v>
                </c:pt>
                <c:pt idx="824">
                  <c:v>44749</c:v>
                </c:pt>
                <c:pt idx="825">
                  <c:v>44748</c:v>
                </c:pt>
                <c:pt idx="826">
                  <c:v>44747</c:v>
                </c:pt>
                <c:pt idx="827">
                  <c:v>44746</c:v>
                </c:pt>
                <c:pt idx="828">
                  <c:v>44743</c:v>
                </c:pt>
                <c:pt idx="829">
                  <c:v>44742</c:v>
                </c:pt>
                <c:pt idx="830">
                  <c:v>44741</c:v>
                </c:pt>
                <c:pt idx="831">
                  <c:v>44740</c:v>
                </c:pt>
                <c:pt idx="832">
                  <c:v>44739</c:v>
                </c:pt>
                <c:pt idx="833">
                  <c:v>44736</c:v>
                </c:pt>
                <c:pt idx="834">
                  <c:v>44735</c:v>
                </c:pt>
                <c:pt idx="835">
                  <c:v>44734</c:v>
                </c:pt>
                <c:pt idx="836">
                  <c:v>44733</c:v>
                </c:pt>
                <c:pt idx="837">
                  <c:v>44732</c:v>
                </c:pt>
                <c:pt idx="838">
                  <c:v>44729</c:v>
                </c:pt>
                <c:pt idx="839">
                  <c:v>44728</c:v>
                </c:pt>
                <c:pt idx="840">
                  <c:v>44727</c:v>
                </c:pt>
                <c:pt idx="841">
                  <c:v>44726</c:v>
                </c:pt>
                <c:pt idx="842">
                  <c:v>44725</c:v>
                </c:pt>
                <c:pt idx="843">
                  <c:v>44722</c:v>
                </c:pt>
                <c:pt idx="844">
                  <c:v>44721</c:v>
                </c:pt>
                <c:pt idx="845">
                  <c:v>44720</c:v>
                </c:pt>
                <c:pt idx="846">
                  <c:v>44719</c:v>
                </c:pt>
                <c:pt idx="847">
                  <c:v>44718</c:v>
                </c:pt>
                <c:pt idx="848">
                  <c:v>44715</c:v>
                </c:pt>
                <c:pt idx="849">
                  <c:v>44714</c:v>
                </c:pt>
                <c:pt idx="850">
                  <c:v>44713</c:v>
                </c:pt>
                <c:pt idx="851">
                  <c:v>44712</c:v>
                </c:pt>
                <c:pt idx="852">
                  <c:v>44711</c:v>
                </c:pt>
                <c:pt idx="853">
                  <c:v>44708</c:v>
                </c:pt>
                <c:pt idx="854">
                  <c:v>44707</c:v>
                </c:pt>
                <c:pt idx="855">
                  <c:v>44706</c:v>
                </c:pt>
                <c:pt idx="856">
                  <c:v>44705</c:v>
                </c:pt>
                <c:pt idx="857">
                  <c:v>44704</c:v>
                </c:pt>
                <c:pt idx="858">
                  <c:v>44701</c:v>
                </c:pt>
                <c:pt idx="859">
                  <c:v>44700</c:v>
                </c:pt>
                <c:pt idx="860">
                  <c:v>44699</c:v>
                </c:pt>
                <c:pt idx="861">
                  <c:v>44698</c:v>
                </c:pt>
                <c:pt idx="862">
                  <c:v>44697</c:v>
                </c:pt>
                <c:pt idx="863">
                  <c:v>44694</c:v>
                </c:pt>
                <c:pt idx="864">
                  <c:v>44693</c:v>
                </c:pt>
                <c:pt idx="865">
                  <c:v>44692</c:v>
                </c:pt>
                <c:pt idx="866">
                  <c:v>44691</c:v>
                </c:pt>
                <c:pt idx="867">
                  <c:v>44690</c:v>
                </c:pt>
                <c:pt idx="868">
                  <c:v>44687</c:v>
                </c:pt>
                <c:pt idx="869">
                  <c:v>44686</c:v>
                </c:pt>
                <c:pt idx="870">
                  <c:v>44685</c:v>
                </c:pt>
                <c:pt idx="871">
                  <c:v>44683</c:v>
                </c:pt>
                <c:pt idx="872">
                  <c:v>44680</c:v>
                </c:pt>
                <c:pt idx="873">
                  <c:v>44679</c:v>
                </c:pt>
                <c:pt idx="874">
                  <c:v>44678</c:v>
                </c:pt>
                <c:pt idx="875">
                  <c:v>44677</c:v>
                </c:pt>
                <c:pt idx="876">
                  <c:v>44676</c:v>
                </c:pt>
                <c:pt idx="877">
                  <c:v>44673</c:v>
                </c:pt>
                <c:pt idx="878">
                  <c:v>44672</c:v>
                </c:pt>
                <c:pt idx="879">
                  <c:v>44671</c:v>
                </c:pt>
                <c:pt idx="880">
                  <c:v>44670</c:v>
                </c:pt>
                <c:pt idx="881">
                  <c:v>44669</c:v>
                </c:pt>
                <c:pt idx="882">
                  <c:v>44664</c:v>
                </c:pt>
                <c:pt idx="883">
                  <c:v>44663</c:v>
                </c:pt>
                <c:pt idx="884">
                  <c:v>44662</c:v>
                </c:pt>
                <c:pt idx="885">
                  <c:v>44659</c:v>
                </c:pt>
                <c:pt idx="886">
                  <c:v>44658</c:v>
                </c:pt>
                <c:pt idx="887">
                  <c:v>44657</c:v>
                </c:pt>
                <c:pt idx="888">
                  <c:v>44656</c:v>
                </c:pt>
                <c:pt idx="889">
                  <c:v>44655</c:v>
                </c:pt>
                <c:pt idx="890">
                  <c:v>44652</c:v>
                </c:pt>
              </c:numCache>
            </c:numRef>
          </c:cat>
          <c:val>
            <c:numRef>
              <c:f>Sheet1!$B$2:$B$892</c:f>
              <c:numCache>
                <c:formatCode>General</c:formatCode>
                <c:ptCount val="891"/>
                <c:pt idx="0">
                  <c:v>55.959949999999999</c:v>
                </c:pt>
                <c:pt idx="1">
                  <c:v>55.828050000000005</c:v>
                </c:pt>
                <c:pt idx="2">
                  <c:v>57.147549999999995</c:v>
                </c:pt>
                <c:pt idx="3">
                  <c:v>57.694699999999997</c:v>
                </c:pt>
                <c:pt idx="4">
                  <c:v>57.473849999999999</c:v>
                </c:pt>
                <c:pt idx="5">
                  <c:v>57.544200000000004</c:v>
                </c:pt>
                <c:pt idx="6">
                  <c:v>57.121250000000003</c:v>
                </c:pt>
                <c:pt idx="7">
                  <c:v>58.117400000000004</c:v>
                </c:pt>
                <c:pt idx="8">
                  <c:v>59.085050000000003</c:v>
                </c:pt>
                <c:pt idx="9">
                  <c:v>59.115850000000002</c:v>
                </c:pt>
                <c:pt idx="10">
                  <c:v>58.741849999999999</c:v>
                </c:pt>
                <c:pt idx="11">
                  <c:v>58.267399999999995</c:v>
                </c:pt>
                <c:pt idx="12">
                  <c:v>57.572850000000003</c:v>
                </c:pt>
                <c:pt idx="13">
                  <c:v>57.57535</c:v>
                </c:pt>
                <c:pt idx="14">
                  <c:v>57.423649999999995</c:v>
                </c:pt>
                <c:pt idx="15">
                  <c:v>56.93965</c:v>
                </c:pt>
                <c:pt idx="16">
                  <c:v>57.12715</c:v>
                </c:pt>
                <c:pt idx="17">
                  <c:v>56.506500000000003</c:v>
                </c:pt>
                <c:pt idx="18">
                  <c:v>55.824150000000003</c:v>
                </c:pt>
                <c:pt idx="19">
                  <c:v>56.348399999999998</c:v>
                </c:pt>
                <c:pt idx="20">
                  <c:v>52.747500000000002</c:v>
                </c:pt>
                <c:pt idx="21">
                  <c:v>54.124300000000005</c:v>
                </c:pt>
                <c:pt idx="22">
                  <c:v>53.691900000000004</c:v>
                </c:pt>
                <c:pt idx="23">
                  <c:v>53.643450000000001</c:v>
                </c:pt>
                <c:pt idx="24">
                  <c:v>53.039900000000003</c:v>
                </c:pt>
                <c:pt idx="25">
                  <c:v>53.697599999999994</c:v>
                </c:pt>
                <c:pt idx="26">
                  <c:v>53.954900000000002</c:v>
                </c:pt>
                <c:pt idx="27">
                  <c:v>54.754199999999997</c:v>
                </c:pt>
                <c:pt idx="28">
                  <c:v>55.1036</c:v>
                </c:pt>
                <c:pt idx="29">
                  <c:v>54.498350000000002</c:v>
                </c:pt>
                <c:pt idx="30">
                  <c:v>55.20205</c:v>
                </c:pt>
                <c:pt idx="31">
                  <c:v>54.548850000000002</c:v>
                </c:pt>
                <c:pt idx="32">
                  <c:v>54.773949999999999</c:v>
                </c:pt>
                <c:pt idx="33">
                  <c:v>55.474550000000001</c:v>
                </c:pt>
                <c:pt idx="34">
                  <c:v>55.524050000000003</c:v>
                </c:pt>
                <c:pt idx="35">
                  <c:v>55.298949999999998</c:v>
                </c:pt>
                <c:pt idx="36">
                  <c:v>55.363999999999997</c:v>
                </c:pt>
                <c:pt idx="37">
                  <c:v>54.215850000000003</c:v>
                </c:pt>
                <c:pt idx="38">
                  <c:v>53.969799999999999</c:v>
                </c:pt>
                <c:pt idx="39">
                  <c:v>54.623849999999997</c:v>
                </c:pt>
                <c:pt idx="40">
                  <c:v>54.412499999999994</c:v>
                </c:pt>
                <c:pt idx="41">
                  <c:v>54.621499999999997</c:v>
                </c:pt>
                <c:pt idx="42">
                  <c:v>53.978000000000002</c:v>
                </c:pt>
                <c:pt idx="43">
                  <c:v>54.366849999999999</c:v>
                </c:pt>
                <c:pt idx="44">
                  <c:v>53.346950000000007</c:v>
                </c:pt>
                <c:pt idx="45">
                  <c:v>53.499700000000004</c:v>
                </c:pt>
                <c:pt idx="46">
                  <c:v>54.219099999999997</c:v>
                </c:pt>
                <c:pt idx="47">
                  <c:v>55.197999999999993</c:v>
                </c:pt>
                <c:pt idx="48">
                  <c:v>56.002600000000001</c:v>
                </c:pt>
                <c:pt idx="49">
                  <c:v>56.720100000000002</c:v>
                </c:pt>
                <c:pt idx="50">
                  <c:v>56.465800000000002</c:v>
                </c:pt>
                <c:pt idx="51">
                  <c:v>56.207949999999997</c:v>
                </c:pt>
                <c:pt idx="52">
                  <c:v>55.486850000000004</c:v>
                </c:pt>
                <c:pt idx="53">
                  <c:v>55.577500000000001</c:v>
                </c:pt>
                <c:pt idx="54">
                  <c:v>57.125450000000001</c:v>
                </c:pt>
                <c:pt idx="55">
                  <c:v>56.618200000000002</c:v>
                </c:pt>
                <c:pt idx="56">
                  <c:v>56.427700000000002</c:v>
                </c:pt>
                <c:pt idx="57">
                  <c:v>55.400599999999997</c:v>
                </c:pt>
                <c:pt idx="58">
                  <c:v>55.624850000000002</c:v>
                </c:pt>
                <c:pt idx="59">
                  <c:v>55.14705</c:v>
                </c:pt>
                <c:pt idx="60">
                  <c:v>55.452449999999999</c:v>
                </c:pt>
                <c:pt idx="61">
                  <c:v>54.692000000000007</c:v>
                </c:pt>
                <c:pt idx="62">
                  <c:v>54.513300000000001</c:v>
                </c:pt>
                <c:pt idx="63">
                  <c:v>54.470500000000001</c:v>
                </c:pt>
                <c:pt idx="64">
                  <c:v>54.608900000000006</c:v>
                </c:pt>
                <c:pt idx="65">
                  <c:v>55.051749999999998</c:v>
                </c:pt>
                <c:pt idx="66">
                  <c:v>54.504000000000005</c:v>
                </c:pt>
                <c:pt idx="67">
                  <c:v>55.094699999999996</c:v>
                </c:pt>
                <c:pt idx="68">
                  <c:v>54.774050000000003</c:v>
                </c:pt>
                <c:pt idx="69">
                  <c:v>53.915350000000004</c:v>
                </c:pt>
                <c:pt idx="70">
                  <c:v>52.606049999999996</c:v>
                </c:pt>
                <c:pt idx="71">
                  <c:v>52.427399999999999</c:v>
                </c:pt>
                <c:pt idx="72">
                  <c:v>52.272599999999997</c:v>
                </c:pt>
                <c:pt idx="73">
                  <c:v>53.285399999999996</c:v>
                </c:pt>
                <c:pt idx="74">
                  <c:v>53.520650000000003</c:v>
                </c:pt>
                <c:pt idx="75">
                  <c:v>53.483999999999995</c:v>
                </c:pt>
                <c:pt idx="76">
                  <c:v>52.778750000000002</c:v>
                </c:pt>
                <c:pt idx="77">
                  <c:v>51.557549999999999</c:v>
                </c:pt>
                <c:pt idx="78">
                  <c:v>52.620949999999993</c:v>
                </c:pt>
                <c:pt idx="79">
                  <c:v>52.777949999999997</c:v>
                </c:pt>
                <c:pt idx="80">
                  <c:v>54.185699999999997</c:v>
                </c:pt>
                <c:pt idx="81">
                  <c:v>54.656649999999999</c:v>
                </c:pt>
                <c:pt idx="82">
                  <c:v>54.644849999999998</c:v>
                </c:pt>
                <c:pt idx="83">
                  <c:v>54.41995</c:v>
                </c:pt>
                <c:pt idx="84">
                  <c:v>53.947850000000003</c:v>
                </c:pt>
                <c:pt idx="85">
                  <c:v>53.390600000000006</c:v>
                </c:pt>
                <c:pt idx="86">
                  <c:v>53.76285</c:v>
                </c:pt>
                <c:pt idx="87">
                  <c:v>45.296260000000004</c:v>
                </c:pt>
                <c:pt idx="88">
                  <c:v>44.449480000000008</c:v>
                </c:pt>
                <c:pt idx="89">
                  <c:v>43.888899999999992</c:v>
                </c:pt>
                <c:pt idx="90">
                  <c:v>42.80518</c:v>
                </c:pt>
                <c:pt idx="91">
                  <c:v>42.589860000000002</c:v>
                </c:pt>
                <c:pt idx="92">
                  <c:v>42.403580000000005</c:v>
                </c:pt>
                <c:pt idx="93">
                  <c:v>41.814279999999997</c:v>
                </c:pt>
                <c:pt idx="94">
                  <c:v>42.129000000000005</c:v>
                </c:pt>
                <c:pt idx="95">
                  <c:v>42.66818</c:v>
                </c:pt>
                <c:pt idx="96">
                  <c:v>43.36844</c:v>
                </c:pt>
                <c:pt idx="97">
                  <c:v>42.709099999999992</c:v>
                </c:pt>
                <c:pt idx="98">
                  <c:v>42.053179999999998</c:v>
                </c:pt>
                <c:pt idx="99">
                  <c:v>42.002879999999998</c:v>
                </c:pt>
                <c:pt idx="100">
                  <c:v>41.9876</c:v>
                </c:pt>
                <c:pt idx="101">
                  <c:v>41.653359999999999</c:v>
                </c:pt>
                <c:pt idx="102">
                  <c:v>41.316500000000005</c:v>
                </c:pt>
                <c:pt idx="103">
                  <c:v>40.935420000000008</c:v>
                </c:pt>
                <c:pt idx="104">
                  <c:v>40.816700000000004</c:v>
                </c:pt>
                <c:pt idx="105">
                  <c:v>40.232759999999999</c:v>
                </c:pt>
                <c:pt idx="106">
                  <c:v>40.381899999999995</c:v>
                </c:pt>
                <c:pt idx="107">
                  <c:v>39.991799999999998</c:v>
                </c:pt>
                <c:pt idx="108">
                  <c:v>40.068519999999999</c:v>
                </c:pt>
                <c:pt idx="109">
                  <c:v>40.066539999999996</c:v>
                </c:pt>
                <c:pt idx="110">
                  <c:v>40.379419999999996</c:v>
                </c:pt>
                <c:pt idx="111">
                  <c:v>40.677959999999999</c:v>
                </c:pt>
                <c:pt idx="112">
                  <c:v>40.68938</c:v>
                </c:pt>
                <c:pt idx="113">
                  <c:v>40.530079999999998</c:v>
                </c:pt>
                <c:pt idx="114">
                  <c:v>39.829279999999997</c:v>
                </c:pt>
                <c:pt idx="115">
                  <c:v>40.38194</c:v>
                </c:pt>
                <c:pt idx="116">
                  <c:v>40.90158000000001</c:v>
                </c:pt>
                <c:pt idx="117">
                  <c:v>41.009680000000003</c:v>
                </c:pt>
                <c:pt idx="118">
                  <c:v>41.210060000000006</c:v>
                </c:pt>
                <c:pt idx="119">
                  <c:v>40.744999999999997</c:v>
                </c:pt>
                <c:pt idx="120">
                  <c:v>40.130420000000001</c:v>
                </c:pt>
                <c:pt idx="121">
                  <c:v>40.11354</c:v>
                </c:pt>
                <c:pt idx="122">
                  <c:v>39.211439999999996</c:v>
                </c:pt>
                <c:pt idx="123">
                  <c:v>39.228879999999997</c:v>
                </c:pt>
                <c:pt idx="124">
                  <c:v>40.11036</c:v>
                </c:pt>
                <c:pt idx="125">
                  <c:v>39.933160000000001</c:v>
                </c:pt>
                <c:pt idx="126">
                  <c:v>39.586379999999998</c:v>
                </c:pt>
                <c:pt idx="127">
                  <c:v>38.837000000000003</c:v>
                </c:pt>
                <c:pt idx="128">
                  <c:v>38.951080000000005</c:v>
                </c:pt>
                <c:pt idx="129">
                  <c:v>39.034099999999995</c:v>
                </c:pt>
                <c:pt idx="130">
                  <c:v>39.175660000000008</c:v>
                </c:pt>
                <c:pt idx="131">
                  <c:v>38.41422</c:v>
                </c:pt>
                <c:pt idx="132">
                  <c:v>39.249780000000001</c:v>
                </c:pt>
                <c:pt idx="133">
                  <c:v>39.508619999999993</c:v>
                </c:pt>
                <c:pt idx="134">
                  <c:v>39.5458</c:v>
                </c:pt>
                <c:pt idx="135">
                  <c:v>38.767620000000001</c:v>
                </c:pt>
                <c:pt idx="136">
                  <c:v>38.965499999999999</c:v>
                </c:pt>
                <c:pt idx="137">
                  <c:v>38.479579999999999</c:v>
                </c:pt>
                <c:pt idx="138">
                  <c:v>38.182339999999996</c:v>
                </c:pt>
                <c:pt idx="139">
                  <c:v>38.05104</c:v>
                </c:pt>
                <c:pt idx="140">
                  <c:v>38.362859999999998</c:v>
                </c:pt>
                <c:pt idx="141">
                  <c:v>37.537379999999999</c:v>
                </c:pt>
                <c:pt idx="142">
                  <c:v>37.135719999999999</c:v>
                </c:pt>
                <c:pt idx="143">
                  <c:v>38.182159999999996</c:v>
                </c:pt>
                <c:pt idx="144">
                  <c:v>38.073920000000001</c:v>
                </c:pt>
                <c:pt idx="145">
                  <c:v>37.870799999999996</c:v>
                </c:pt>
                <c:pt idx="146">
                  <c:v>37.868279999999999</c:v>
                </c:pt>
                <c:pt idx="147">
                  <c:v>38.192520000000002</c:v>
                </c:pt>
                <c:pt idx="148">
                  <c:v>57.435050000000004</c:v>
                </c:pt>
                <c:pt idx="149">
                  <c:v>56.434700000000007</c:v>
                </c:pt>
                <c:pt idx="150">
                  <c:v>58.128050000000002</c:v>
                </c:pt>
                <c:pt idx="151">
                  <c:v>57.430049999999994</c:v>
                </c:pt>
                <c:pt idx="152">
                  <c:v>57.468900000000005</c:v>
                </c:pt>
                <c:pt idx="153">
                  <c:v>56.3215</c:v>
                </c:pt>
                <c:pt idx="154">
                  <c:v>54.223749999999995</c:v>
                </c:pt>
                <c:pt idx="155">
                  <c:v>52.084949999999999</c:v>
                </c:pt>
                <c:pt idx="156">
                  <c:v>50.962600000000002</c:v>
                </c:pt>
                <c:pt idx="157">
                  <c:v>50.940950000000001</c:v>
                </c:pt>
                <c:pt idx="158">
                  <c:v>51.210800000000006</c:v>
                </c:pt>
                <c:pt idx="159">
                  <c:v>51.320800000000006</c:v>
                </c:pt>
                <c:pt idx="160">
                  <c:v>50.552949999999996</c:v>
                </c:pt>
                <c:pt idx="161">
                  <c:v>51.332999999999998</c:v>
                </c:pt>
                <c:pt idx="162">
                  <c:v>52.527099999999997</c:v>
                </c:pt>
                <c:pt idx="163">
                  <c:v>53.626450000000006</c:v>
                </c:pt>
                <c:pt idx="164">
                  <c:v>51.869750000000003</c:v>
                </c:pt>
                <c:pt idx="165">
                  <c:v>51.094700000000003</c:v>
                </c:pt>
                <c:pt idx="166">
                  <c:v>50.746399999999994</c:v>
                </c:pt>
                <c:pt idx="167">
                  <c:v>52.076599999999999</c:v>
                </c:pt>
                <c:pt idx="168">
                  <c:v>52.076250000000002</c:v>
                </c:pt>
                <c:pt idx="169">
                  <c:v>50.647400000000005</c:v>
                </c:pt>
                <c:pt idx="170">
                  <c:v>51.991749999999996</c:v>
                </c:pt>
                <c:pt idx="171">
                  <c:v>52.41395</c:v>
                </c:pt>
                <c:pt idx="172">
                  <c:v>51.809199999999997</c:v>
                </c:pt>
                <c:pt idx="173">
                  <c:v>52.4437</c:v>
                </c:pt>
                <c:pt idx="174">
                  <c:v>51.959400000000002</c:v>
                </c:pt>
                <c:pt idx="175">
                  <c:v>51.315199999999997</c:v>
                </c:pt>
                <c:pt idx="176">
                  <c:v>51.486449999999998</c:v>
                </c:pt>
                <c:pt idx="177">
                  <c:v>51.670950000000005</c:v>
                </c:pt>
                <c:pt idx="178">
                  <c:v>52.191249999999997</c:v>
                </c:pt>
                <c:pt idx="179">
                  <c:v>54.227350000000001</c:v>
                </c:pt>
                <c:pt idx="180">
                  <c:v>57.239500000000007</c:v>
                </c:pt>
                <c:pt idx="181">
                  <c:v>56.699349999999995</c:v>
                </c:pt>
                <c:pt idx="182">
                  <c:v>58.684899999999999</c:v>
                </c:pt>
                <c:pt idx="183">
                  <c:v>57.624249999999996</c:v>
                </c:pt>
                <c:pt idx="184">
                  <c:v>56.422650000000004</c:v>
                </c:pt>
                <c:pt idx="185">
                  <c:v>55.407150000000001</c:v>
                </c:pt>
                <c:pt idx="186">
                  <c:v>54.273650000000004</c:v>
                </c:pt>
                <c:pt idx="187">
                  <c:v>53.931700000000006</c:v>
                </c:pt>
                <c:pt idx="188">
                  <c:v>52.745900000000006</c:v>
                </c:pt>
                <c:pt idx="189">
                  <c:v>51.226750000000003</c:v>
                </c:pt>
                <c:pt idx="190">
                  <c:v>51.817250000000001</c:v>
                </c:pt>
                <c:pt idx="191">
                  <c:v>53.375349999999997</c:v>
                </c:pt>
                <c:pt idx="192">
                  <c:v>54.849249999999998</c:v>
                </c:pt>
                <c:pt idx="193">
                  <c:v>54.125749999999996</c:v>
                </c:pt>
                <c:pt idx="194">
                  <c:v>54.819850000000002</c:v>
                </c:pt>
                <c:pt idx="195">
                  <c:v>54.788600000000002</c:v>
                </c:pt>
                <c:pt idx="196">
                  <c:v>53.274599999999992</c:v>
                </c:pt>
                <c:pt idx="197">
                  <c:v>54.596399999999996</c:v>
                </c:pt>
                <c:pt idx="198">
                  <c:v>53.881</c:v>
                </c:pt>
                <c:pt idx="199">
                  <c:v>55.739399999999996</c:v>
                </c:pt>
                <c:pt idx="200">
                  <c:v>55.635750000000002</c:v>
                </c:pt>
                <c:pt idx="201">
                  <c:v>58.561050000000002</c:v>
                </c:pt>
                <c:pt idx="202">
                  <c:v>61.248950000000001</c:v>
                </c:pt>
                <c:pt idx="203">
                  <c:v>61.3902</c:v>
                </c:pt>
                <c:pt idx="204">
                  <c:v>61.5672</c:v>
                </c:pt>
                <c:pt idx="205">
                  <c:v>59.615500000000004</c:v>
                </c:pt>
                <c:pt idx="206">
                  <c:v>60.823399999999999</c:v>
                </c:pt>
                <c:pt idx="207">
                  <c:v>59.780100000000004</c:v>
                </c:pt>
                <c:pt idx="208">
                  <c:v>58.859799999999993</c:v>
                </c:pt>
                <c:pt idx="209">
                  <c:v>58.824799999999996</c:v>
                </c:pt>
                <c:pt idx="210">
                  <c:v>41.848460000000003</c:v>
                </c:pt>
                <c:pt idx="211">
                  <c:v>40.819960000000002</c:v>
                </c:pt>
                <c:pt idx="212">
                  <c:v>41.096420000000002</c:v>
                </c:pt>
                <c:pt idx="213">
                  <c:v>40.926699999999997</c:v>
                </c:pt>
                <c:pt idx="214">
                  <c:v>40.968879999999999</c:v>
                </c:pt>
                <c:pt idx="215">
                  <c:v>41.013760000000005</c:v>
                </c:pt>
                <c:pt idx="216">
                  <c:v>41.311219999999999</c:v>
                </c:pt>
                <c:pt idx="217">
                  <c:v>41.471100000000007</c:v>
                </c:pt>
                <c:pt idx="218">
                  <c:v>41.70232</c:v>
                </c:pt>
                <c:pt idx="219">
                  <c:v>41.476759999999999</c:v>
                </c:pt>
                <c:pt idx="220">
                  <c:v>41.564859999999996</c:v>
                </c:pt>
                <c:pt idx="221">
                  <c:v>41.541420000000002</c:v>
                </c:pt>
                <c:pt idx="222">
                  <c:v>41.095579999999998</c:v>
                </c:pt>
                <c:pt idx="223">
                  <c:v>40.818619999999996</c:v>
                </c:pt>
                <c:pt idx="224">
                  <c:v>41.017360000000004</c:v>
                </c:pt>
                <c:pt idx="225">
                  <c:v>40.771339999999995</c:v>
                </c:pt>
                <c:pt idx="226">
                  <c:v>40.449619999999996</c:v>
                </c:pt>
                <c:pt idx="227">
                  <c:v>40.165759999999992</c:v>
                </c:pt>
                <c:pt idx="228">
                  <c:v>39.35078</c:v>
                </c:pt>
                <c:pt idx="229">
                  <c:v>38.864020000000004</c:v>
                </c:pt>
                <c:pt idx="230">
                  <c:v>37.976680000000002</c:v>
                </c:pt>
                <c:pt idx="231">
                  <c:v>37.678219999999996</c:v>
                </c:pt>
                <c:pt idx="232">
                  <c:v>38.108999999999995</c:v>
                </c:pt>
                <c:pt idx="233">
                  <c:v>37.82244</c:v>
                </c:pt>
                <c:pt idx="234">
                  <c:v>37.996439999999993</c:v>
                </c:pt>
                <c:pt idx="235">
                  <c:v>38.078119999999998</c:v>
                </c:pt>
                <c:pt idx="236">
                  <c:v>37.600360000000002</c:v>
                </c:pt>
                <c:pt idx="237">
                  <c:v>37.426059999999993</c:v>
                </c:pt>
                <c:pt idx="238">
                  <c:v>37.371079999999999</c:v>
                </c:pt>
                <c:pt idx="239">
                  <c:v>37.525960000000005</c:v>
                </c:pt>
                <c:pt idx="240">
                  <c:v>37.19238</c:v>
                </c:pt>
                <c:pt idx="241">
                  <c:v>38.154140000000005</c:v>
                </c:pt>
                <c:pt idx="242">
                  <c:v>38.034960000000005</c:v>
                </c:pt>
                <c:pt idx="243">
                  <c:v>38.965679999999999</c:v>
                </c:pt>
                <c:pt idx="244">
                  <c:v>38.884880000000003</c:v>
                </c:pt>
                <c:pt idx="245">
                  <c:v>38.389240000000001</c:v>
                </c:pt>
                <c:pt idx="246">
                  <c:v>37.59778</c:v>
                </c:pt>
                <c:pt idx="247">
                  <c:v>37.794139999999999</c:v>
                </c:pt>
                <c:pt idx="248">
                  <c:v>37.695000000000007</c:v>
                </c:pt>
                <c:pt idx="249">
                  <c:v>37.783639999999991</c:v>
                </c:pt>
                <c:pt idx="250">
                  <c:v>37.026799999999994</c:v>
                </c:pt>
                <c:pt idx="251">
                  <c:v>36.868119999999998</c:v>
                </c:pt>
                <c:pt idx="252">
                  <c:v>36.627139999999997</c:v>
                </c:pt>
                <c:pt idx="253">
                  <c:v>36.062280000000001</c:v>
                </c:pt>
                <c:pt idx="254">
                  <c:v>35.637459999999997</c:v>
                </c:pt>
                <c:pt idx="255">
                  <c:v>35.415480000000002</c:v>
                </c:pt>
                <c:pt idx="256">
                  <c:v>35.642199999999995</c:v>
                </c:pt>
                <c:pt idx="257">
                  <c:v>36.550539999999998</c:v>
                </c:pt>
                <c:pt idx="258">
                  <c:v>36.358499999999992</c:v>
                </c:pt>
                <c:pt idx="259">
                  <c:v>36.265160000000002</c:v>
                </c:pt>
                <c:pt idx="260">
                  <c:v>36.86018</c:v>
                </c:pt>
                <c:pt idx="261">
                  <c:v>37.031619999999997</c:v>
                </c:pt>
                <c:pt idx="262">
                  <c:v>36.350939999999994</c:v>
                </c:pt>
                <c:pt idx="263">
                  <c:v>36.015300000000003</c:v>
                </c:pt>
                <c:pt idx="264">
                  <c:v>36.310360000000003</c:v>
                </c:pt>
                <c:pt idx="265">
                  <c:v>36.429559999999995</c:v>
                </c:pt>
                <c:pt idx="266">
                  <c:v>36.137280000000004</c:v>
                </c:pt>
                <c:pt idx="267">
                  <c:v>35.161519999999996</c:v>
                </c:pt>
                <c:pt idx="268">
                  <c:v>35.318280000000001</c:v>
                </c:pt>
                <c:pt idx="269">
                  <c:v>35.989040000000003</c:v>
                </c:pt>
                <c:pt idx="270">
                  <c:v>36.80838</c:v>
                </c:pt>
                <c:pt idx="271">
                  <c:v>37.084799999999994</c:v>
                </c:pt>
                <c:pt idx="272">
                  <c:v>50.811999999999998</c:v>
                </c:pt>
                <c:pt idx="273">
                  <c:v>51.294250000000005</c:v>
                </c:pt>
                <c:pt idx="274">
                  <c:v>50.612200000000001</c:v>
                </c:pt>
                <c:pt idx="275">
                  <c:v>51.921250000000001</c:v>
                </c:pt>
                <c:pt idx="276">
                  <c:v>52.796450000000007</c:v>
                </c:pt>
                <c:pt idx="277">
                  <c:v>53.4602</c:v>
                </c:pt>
                <c:pt idx="278">
                  <c:v>50.298050000000003</c:v>
                </c:pt>
                <c:pt idx="279">
                  <c:v>49.657800000000002</c:v>
                </c:pt>
                <c:pt idx="280">
                  <c:v>50.039349999999999</c:v>
                </c:pt>
                <c:pt idx="281">
                  <c:v>48.733350000000002</c:v>
                </c:pt>
                <c:pt idx="282">
                  <c:v>47.607550000000003</c:v>
                </c:pt>
                <c:pt idx="283">
                  <c:v>47.555250000000001</c:v>
                </c:pt>
                <c:pt idx="284">
                  <c:v>46.087249999999997</c:v>
                </c:pt>
                <c:pt idx="285">
                  <c:v>45.964100000000002</c:v>
                </c:pt>
                <c:pt idx="286">
                  <c:v>45.643749999999997</c:v>
                </c:pt>
                <c:pt idx="287">
                  <c:v>46.186099999999996</c:v>
                </c:pt>
                <c:pt idx="288">
                  <c:v>46.188450000000003</c:v>
                </c:pt>
                <c:pt idx="289">
                  <c:v>45.521149999999999</c:v>
                </c:pt>
                <c:pt idx="290">
                  <c:v>45.809249999999999</c:v>
                </c:pt>
                <c:pt idx="291">
                  <c:v>46.093600000000002</c:v>
                </c:pt>
                <c:pt idx="292">
                  <c:v>45.15925</c:v>
                </c:pt>
                <c:pt idx="293">
                  <c:v>44.905699999999996</c:v>
                </c:pt>
                <c:pt idx="294">
                  <c:v>45.104599999999998</c:v>
                </c:pt>
                <c:pt idx="295">
                  <c:v>44.533549999999998</c:v>
                </c:pt>
                <c:pt idx="296">
                  <c:v>44.854050000000001</c:v>
                </c:pt>
                <c:pt idx="297">
                  <c:v>44.832000000000001</c:v>
                </c:pt>
                <c:pt idx="298">
                  <c:v>44.732050000000001</c:v>
                </c:pt>
                <c:pt idx="299">
                  <c:v>44.567399999999999</c:v>
                </c:pt>
                <c:pt idx="300">
                  <c:v>44.966149999999999</c:v>
                </c:pt>
                <c:pt idx="301">
                  <c:v>44.701700000000002</c:v>
                </c:pt>
                <c:pt idx="302">
                  <c:v>45.332800000000006</c:v>
                </c:pt>
                <c:pt idx="303">
                  <c:v>44.522199999999998</c:v>
                </c:pt>
                <c:pt idx="304">
                  <c:v>44.316500000000005</c:v>
                </c:pt>
                <c:pt idx="305">
                  <c:v>43.867449999999998</c:v>
                </c:pt>
                <c:pt idx="306">
                  <c:v>43.987299999999998</c:v>
                </c:pt>
                <c:pt idx="307">
                  <c:v>43.700800000000001</c:v>
                </c:pt>
                <c:pt idx="308">
                  <c:v>42.951250000000002</c:v>
                </c:pt>
                <c:pt idx="309">
                  <c:v>43.558250000000001</c:v>
                </c:pt>
                <c:pt idx="310">
                  <c:v>43.7789</c:v>
                </c:pt>
                <c:pt idx="311">
                  <c:v>45.539900000000003</c:v>
                </c:pt>
                <c:pt idx="312">
                  <c:v>45.771299999999997</c:v>
                </c:pt>
                <c:pt idx="313">
                  <c:v>45.6205</c:v>
                </c:pt>
                <c:pt idx="314">
                  <c:v>45.492649999999998</c:v>
                </c:pt>
                <c:pt idx="315">
                  <c:v>45.848649999999999</c:v>
                </c:pt>
                <c:pt idx="316">
                  <c:v>46.710650000000001</c:v>
                </c:pt>
                <c:pt idx="317">
                  <c:v>45.802</c:v>
                </c:pt>
                <c:pt idx="318">
                  <c:v>45.884799999999998</c:v>
                </c:pt>
                <c:pt idx="319">
                  <c:v>45.60125</c:v>
                </c:pt>
                <c:pt idx="320">
                  <c:v>45.625150000000005</c:v>
                </c:pt>
                <c:pt idx="321">
                  <c:v>44.951450000000001</c:v>
                </c:pt>
                <c:pt idx="322">
                  <c:v>45.613149999999997</c:v>
                </c:pt>
                <c:pt idx="323">
                  <c:v>45.192700000000002</c:v>
                </c:pt>
                <c:pt idx="324">
                  <c:v>45.1158</c:v>
                </c:pt>
                <c:pt idx="325">
                  <c:v>44.271949999999997</c:v>
                </c:pt>
                <c:pt idx="326">
                  <c:v>43.868549999999999</c:v>
                </c:pt>
                <c:pt idx="327">
                  <c:v>44.194800000000001</c:v>
                </c:pt>
                <c:pt idx="328">
                  <c:v>44.08305</c:v>
                </c:pt>
                <c:pt idx="329">
                  <c:v>44.387349999999998</c:v>
                </c:pt>
                <c:pt idx="330">
                  <c:v>44.146749999999997</c:v>
                </c:pt>
                <c:pt idx="331">
                  <c:v>44.545049999999996</c:v>
                </c:pt>
                <c:pt idx="332">
                  <c:v>44.693799999999996</c:v>
                </c:pt>
                <c:pt idx="333">
                  <c:v>44.059899999999999</c:v>
                </c:pt>
                <c:pt idx="334">
                  <c:v>45.809399999999997</c:v>
                </c:pt>
                <c:pt idx="335">
                  <c:v>45.42915</c:v>
                </c:pt>
                <c:pt idx="336">
                  <c:v>32.676400000000008</c:v>
                </c:pt>
                <c:pt idx="337">
                  <c:v>32.124420000000001</c:v>
                </c:pt>
                <c:pt idx="338">
                  <c:v>32.532879999999999</c:v>
                </c:pt>
                <c:pt idx="339">
                  <c:v>32.605860000000007</c:v>
                </c:pt>
                <c:pt idx="340">
                  <c:v>33.005879999999998</c:v>
                </c:pt>
                <c:pt idx="341">
                  <c:v>33.127339999999997</c:v>
                </c:pt>
                <c:pt idx="342">
                  <c:v>32.672340000000005</c:v>
                </c:pt>
                <c:pt idx="343">
                  <c:v>32.85398</c:v>
                </c:pt>
                <c:pt idx="344">
                  <c:v>33.276359999999997</c:v>
                </c:pt>
                <c:pt idx="345">
                  <c:v>32.546400000000006</c:v>
                </c:pt>
                <c:pt idx="346">
                  <c:v>32.142340000000004</c:v>
                </c:pt>
                <c:pt idx="347">
                  <c:v>31.193840000000002</c:v>
                </c:pt>
                <c:pt idx="348">
                  <c:v>31.346800000000002</c:v>
                </c:pt>
                <c:pt idx="349">
                  <c:v>31.404379999999996</c:v>
                </c:pt>
                <c:pt idx="350">
                  <c:v>31.05688</c:v>
                </c:pt>
                <c:pt idx="351">
                  <c:v>30.541400000000003</c:v>
                </c:pt>
                <c:pt idx="352">
                  <c:v>29.739299999999997</c:v>
                </c:pt>
                <c:pt idx="353">
                  <c:v>30.002799999999997</c:v>
                </c:pt>
                <c:pt idx="354">
                  <c:v>30.084539999999993</c:v>
                </c:pt>
                <c:pt idx="355">
                  <c:v>30.03284</c:v>
                </c:pt>
                <c:pt idx="356">
                  <c:v>30.364819999999998</c:v>
                </c:pt>
                <c:pt idx="357">
                  <c:v>30.670620000000003</c:v>
                </c:pt>
                <c:pt idx="358">
                  <c:v>30.891399999999997</c:v>
                </c:pt>
                <c:pt idx="359">
                  <c:v>30.747059999999998</c:v>
                </c:pt>
                <c:pt idx="360">
                  <c:v>31.062539999999995</c:v>
                </c:pt>
                <c:pt idx="361">
                  <c:v>31.401019999999999</c:v>
                </c:pt>
                <c:pt idx="362">
                  <c:v>31.446499999999997</c:v>
                </c:pt>
                <c:pt idx="363">
                  <c:v>31.447539999999996</c:v>
                </c:pt>
                <c:pt idx="364">
                  <c:v>31.373580000000004</c:v>
                </c:pt>
                <c:pt idx="365">
                  <c:v>31.312480000000001</c:v>
                </c:pt>
                <c:pt idx="366">
                  <c:v>30.865479999999998</c:v>
                </c:pt>
                <c:pt idx="367">
                  <c:v>30.678739999999998</c:v>
                </c:pt>
                <c:pt idx="368">
                  <c:v>30.455859999999994</c:v>
                </c:pt>
                <c:pt idx="369">
                  <c:v>30.593080000000004</c:v>
                </c:pt>
                <c:pt idx="370">
                  <c:v>30.40324</c:v>
                </c:pt>
                <c:pt idx="371">
                  <c:v>30.82208</c:v>
                </c:pt>
                <c:pt idx="372">
                  <c:v>30.763659999999998</c:v>
                </c:pt>
                <c:pt idx="373">
                  <c:v>31.357259999999997</c:v>
                </c:pt>
                <c:pt idx="374">
                  <c:v>30.918900000000001</c:v>
                </c:pt>
                <c:pt idx="375">
                  <c:v>30.744199999999999</c:v>
                </c:pt>
                <c:pt idx="376">
                  <c:v>31.172940000000001</c:v>
                </c:pt>
                <c:pt idx="377">
                  <c:v>31.204039999999999</c:v>
                </c:pt>
                <c:pt idx="378">
                  <c:v>31.154520000000002</c:v>
                </c:pt>
                <c:pt idx="379">
                  <c:v>31.340479999999996</c:v>
                </c:pt>
                <c:pt idx="380">
                  <c:v>31.481759999999998</c:v>
                </c:pt>
                <c:pt idx="381">
                  <c:v>30.73376</c:v>
                </c:pt>
                <c:pt idx="382">
                  <c:v>31.482259999999997</c:v>
                </c:pt>
                <c:pt idx="383">
                  <c:v>31.461419999999997</c:v>
                </c:pt>
                <c:pt idx="384">
                  <c:v>31.4788</c:v>
                </c:pt>
                <c:pt idx="385">
                  <c:v>32.497480000000003</c:v>
                </c:pt>
                <c:pt idx="386">
                  <c:v>32.587339999999998</c:v>
                </c:pt>
                <c:pt idx="387">
                  <c:v>32.97842</c:v>
                </c:pt>
                <c:pt idx="388">
                  <c:v>33.027619999999999</c:v>
                </c:pt>
                <c:pt idx="389">
                  <c:v>32.622040000000005</c:v>
                </c:pt>
                <c:pt idx="390">
                  <c:v>32.350059999999999</c:v>
                </c:pt>
                <c:pt idx="391">
                  <c:v>31.959480000000003</c:v>
                </c:pt>
                <c:pt idx="392">
                  <c:v>32.128120000000003</c:v>
                </c:pt>
                <c:pt idx="393">
                  <c:v>31.715539999999997</c:v>
                </c:pt>
                <c:pt idx="394">
                  <c:v>31.800220000000003</c:v>
                </c:pt>
                <c:pt idx="395">
                  <c:v>31.806640000000005</c:v>
                </c:pt>
                <c:pt idx="396">
                  <c:v>31.580120000000001</c:v>
                </c:pt>
                <c:pt idx="397">
                  <c:v>45.9221</c:v>
                </c:pt>
                <c:pt idx="398">
                  <c:v>44.792650000000002</c:v>
                </c:pt>
                <c:pt idx="399">
                  <c:v>43.15305</c:v>
                </c:pt>
                <c:pt idx="400">
                  <c:v>43.425399999999996</c:v>
                </c:pt>
                <c:pt idx="401">
                  <c:v>43.730199999999996</c:v>
                </c:pt>
                <c:pt idx="402">
                  <c:v>42.827550000000002</c:v>
                </c:pt>
                <c:pt idx="403">
                  <c:v>42.696300000000001</c:v>
                </c:pt>
                <c:pt idx="404">
                  <c:v>42.1342</c:v>
                </c:pt>
                <c:pt idx="405">
                  <c:v>42.806750000000001</c:v>
                </c:pt>
                <c:pt idx="406">
                  <c:v>42.706600000000002</c:v>
                </c:pt>
                <c:pt idx="407">
                  <c:v>44.443100000000001</c:v>
                </c:pt>
                <c:pt idx="408">
                  <c:v>44.465600000000002</c:v>
                </c:pt>
                <c:pt idx="409">
                  <c:v>43.334350000000001</c:v>
                </c:pt>
                <c:pt idx="410">
                  <c:v>43.133299999999998</c:v>
                </c:pt>
                <c:pt idx="411">
                  <c:v>42.052700000000002</c:v>
                </c:pt>
                <c:pt idx="412">
                  <c:v>42.817</c:v>
                </c:pt>
                <c:pt idx="413">
                  <c:v>44.307250000000003</c:v>
                </c:pt>
                <c:pt idx="414">
                  <c:v>42.88655</c:v>
                </c:pt>
                <c:pt idx="415">
                  <c:v>45.391500000000001</c:v>
                </c:pt>
                <c:pt idx="416">
                  <c:v>48.134</c:v>
                </c:pt>
                <c:pt idx="417">
                  <c:v>48.328150000000001</c:v>
                </c:pt>
                <c:pt idx="418">
                  <c:v>47.779250000000005</c:v>
                </c:pt>
                <c:pt idx="419">
                  <c:v>48.733800000000002</c:v>
                </c:pt>
                <c:pt idx="420">
                  <c:v>49.249849999999995</c:v>
                </c:pt>
                <c:pt idx="421">
                  <c:v>49.063050000000004</c:v>
                </c:pt>
                <c:pt idx="422">
                  <c:v>49.451349999999998</c:v>
                </c:pt>
                <c:pt idx="423">
                  <c:v>48.190300000000001</c:v>
                </c:pt>
                <c:pt idx="424">
                  <c:v>49.112049999999996</c:v>
                </c:pt>
                <c:pt idx="425">
                  <c:v>49.0197</c:v>
                </c:pt>
                <c:pt idx="426">
                  <c:v>49.373749999999994</c:v>
                </c:pt>
                <c:pt idx="427">
                  <c:v>50.466149999999999</c:v>
                </c:pt>
                <c:pt idx="428">
                  <c:v>49.430549999999997</c:v>
                </c:pt>
                <c:pt idx="429">
                  <c:v>49.490049999999997</c:v>
                </c:pt>
                <c:pt idx="430">
                  <c:v>49.22</c:v>
                </c:pt>
                <c:pt idx="431">
                  <c:v>48.441000000000003</c:v>
                </c:pt>
                <c:pt idx="432">
                  <c:v>48.161149999999999</c:v>
                </c:pt>
                <c:pt idx="433">
                  <c:v>46.177350000000004</c:v>
                </c:pt>
                <c:pt idx="434">
                  <c:v>45.080350000000003</c:v>
                </c:pt>
                <c:pt idx="435">
                  <c:v>46.421900000000001</c:v>
                </c:pt>
                <c:pt idx="436">
                  <c:v>45.718049999999998</c:v>
                </c:pt>
                <c:pt idx="437">
                  <c:v>43.57105</c:v>
                </c:pt>
                <c:pt idx="438">
                  <c:v>43.272649999999999</c:v>
                </c:pt>
                <c:pt idx="439">
                  <c:v>43.766199999999998</c:v>
                </c:pt>
                <c:pt idx="440">
                  <c:v>43.971800000000002</c:v>
                </c:pt>
                <c:pt idx="441">
                  <c:v>45.12585</c:v>
                </c:pt>
                <c:pt idx="442">
                  <c:v>44.026449999999997</c:v>
                </c:pt>
                <c:pt idx="443">
                  <c:v>43.54</c:v>
                </c:pt>
                <c:pt idx="444">
                  <c:v>42.378349999999998</c:v>
                </c:pt>
                <c:pt idx="445">
                  <c:v>43.35</c:v>
                </c:pt>
                <c:pt idx="446">
                  <c:v>42.760449999999999</c:v>
                </c:pt>
                <c:pt idx="447">
                  <c:v>43.035400000000003</c:v>
                </c:pt>
                <c:pt idx="448">
                  <c:v>43.653350000000003</c:v>
                </c:pt>
                <c:pt idx="449">
                  <c:v>44.251199999999997</c:v>
                </c:pt>
                <c:pt idx="450">
                  <c:v>43.632300000000001</c:v>
                </c:pt>
                <c:pt idx="451">
                  <c:v>42.987200000000001</c:v>
                </c:pt>
                <c:pt idx="452">
                  <c:v>42.628050000000002</c:v>
                </c:pt>
                <c:pt idx="453">
                  <c:v>43.213200000000001</c:v>
                </c:pt>
                <c:pt idx="454">
                  <c:v>43.929000000000002</c:v>
                </c:pt>
                <c:pt idx="455">
                  <c:v>42.090450000000004</c:v>
                </c:pt>
                <c:pt idx="456">
                  <c:v>41.808900000000001</c:v>
                </c:pt>
                <c:pt idx="457">
                  <c:v>42.364649999999997</c:v>
                </c:pt>
                <c:pt idx="458">
                  <c:v>41.579300000000003</c:v>
                </c:pt>
                <c:pt idx="459">
                  <c:v>32.053180000000005</c:v>
                </c:pt>
                <c:pt idx="460">
                  <c:v>31.72174</c:v>
                </c:pt>
                <c:pt idx="461">
                  <c:v>31.522299999999994</c:v>
                </c:pt>
                <c:pt idx="462">
                  <c:v>30.860400000000006</c:v>
                </c:pt>
                <c:pt idx="463">
                  <c:v>30.769959999999998</c:v>
                </c:pt>
                <c:pt idx="464">
                  <c:v>30.627280000000003</c:v>
                </c:pt>
                <c:pt idx="465">
                  <c:v>31.304379999999998</c:v>
                </c:pt>
                <c:pt idx="466">
                  <c:v>31.33718</c:v>
                </c:pt>
                <c:pt idx="467">
                  <c:v>31.60004</c:v>
                </c:pt>
                <c:pt idx="468">
                  <c:v>31.816040000000005</c:v>
                </c:pt>
                <c:pt idx="469">
                  <c:v>31.823420000000006</c:v>
                </c:pt>
                <c:pt idx="470">
                  <c:v>31.420999999999999</c:v>
                </c:pt>
                <c:pt idx="471">
                  <c:v>31.414940000000001</c:v>
                </c:pt>
                <c:pt idx="472">
                  <c:v>31.249940000000002</c:v>
                </c:pt>
                <c:pt idx="473">
                  <c:v>31.144719999999996</c:v>
                </c:pt>
                <c:pt idx="474">
                  <c:v>31.011440000000004</c:v>
                </c:pt>
                <c:pt idx="475">
                  <c:v>31.593739999999997</c:v>
                </c:pt>
                <c:pt idx="476">
                  <c:v>31.770199999999999</c:v>
                </c:pt>
                <c:pt idx="477">
                  <c:v>31.101379999999999</c:v>
                </c:pt>
                <c:pt idx="478">
                  <c:v>30.679819999999999</c:v>
                </c:pt>
                <c:pt idx="479">
                  <c:v>30.241140000000001</c:v>
                </c:pt>
                <c:pt idx="480">
                  <c:v>29.550959999999996</c:v>
                </c:pt>
                <c:pt idx="481">
                  <c:v>29.665759999999999</c:v>
                </c:pt>
                <c:pt idx="482">
                  <c:v>29.829700000000003</c:v>
                </c:pt>
                <c:pt idx="483">
                  <c:v>29.91132</c:v>
                </c:pt>
                <c:pt idx="484">
                  <c:v>29.784959999999995</c:v>
                </c:pt>
                <c:pt idx="485">
                  <c:v>29.756400000000003</c:v>
                </c:pt>
                <c:pt idx="486">
                  <c:v>29.573259999999998</c:v>
                </c:pt>
                <c:pt idx="487">
                  <c:v>29.20992</c:v>
                </c:pt>
                <c:pt idx="488">
                  <c:v>28.718240000000002</c:v>
                </c:pt>
                <c:pt idx="489">
                  <c:v>28.593560000000004</c:v>
                </c:pt>
                <c:pt idx="490">
                  <c:v>28.586639999999996</c:v>
                </c:pt>
                <c:pt idx="491">
                  <c:v>28.48752</c:v>
                </c:pt>
                <c:pt idx="492">
                  <c:v>28.201339999999998</c:v>
                </c:pt>
                <c:pt idx="493">
                  <c:v>27.8932</c:v>
                </c:pt>
                <c:pt idx="494">
                  <c:v>28.070280000000004</c:v>
                </c:pt>
                <c:pt idx="495">
                  <c:v>27.8459</c:v>
                </c:pt>
                <c:pt idx="496">
                  <c:v>27.609319999999997</c:v>
                </c:pt>
                <c:pt idx="497">
                  <c:v>27.070319999999999</c:v>
                </c:pt>
                <c:pt idx="498">
                  <c:v>26.809159999999999</c:v>
                </c:pt>
                <c:pt idx="499">
                  <c:v>26.730919999999998</c:v>
                </c:pt>
                <c:pt idx="500">
                  <c:v>26.912140000000001</c:v>
                </c:pt>
                <c:pt idx="501">
                  <c:v>26.713439999999999</c:v>
                </c:pt>
                <c:pt idx="502">
                  <c:v>26.217220000000005</c:v>
                </c:pt>
                <c:pt idx="503">
                  <c:v>26.999459999999999</c:v>
                </c:pt>
                <c:pt idx="504">
                  <c:v>27.108600000000003</c:v>
                </c:pt>
                <c:pt idx="505">
                  <c:v>27.440260000000002</c:v>
                </c:pt>
                <c:pt idx="506">
                  <c:v>27.46454</c:v>
                </c:pt>
                <c:pt idx="507">
                  <c:v>27.51098</c:v>
                </c:pt>
                <c:pt idx="508">
                  <c:v>27.508960000000002</c:v>
                </c:pt>
                <c:pt idx="509">
                  <c:v>27.61392</c:v>
                </c:pt>
                <c:pt idx="510">
                  <c:v>27.714600000000001</c:v>
                </c:pt>
                <c:pt idx="511">
                  <c:v>27.576159999999998</c:v>
                </c:pt>
                <c:pt idx="512">
                  <c:v>27.431239999999995</c:v>
                </c:pt>
                <c:pt idx="513">
                  <c:v>27.132420000000003</c:v>
                </c:pt>
                <c:pt idx="514">
                  <c:v>27.224840000000007</c:v>
                </c:pt>
                <c:pt idx="515">
                  <c:v>27.257080000000002</c:v>
                </c:pt>
                <c:pt idx="516">
                  <c:v>27.263940000000002</c:v>
                </c:pt>
                <c:pt idx="517">
                  <c:v>27.503480000000003</c:v>
                </c:pt>
                <c:pt idx="518">
                  <c:v>28.09674</c:v>
                </c:pt>
                <c:pt idx="519">
                  <c:v>27.613340000000001</c:v>
                </c:pt>
                <c:pt idx="520">
                  <c:v>34.401350000000001</c:v>
                </c:pt>
                <c:pt idx="521">
                  <c:v>34.492849999999997</c:v>
                </c:pt>
                <c:pt idx="522">
                  <c:v>34.001850000000005</c:v>
                </c:pt>
                <c:pt idx="523">
                  <c:v>33.4925</c:v>
                </c:pt>
                <c:pt idx="524">
                  <c:v>32.956599999999995</c:v>
                </c:pt>
                <c:pt idx="525">
                  <c:v>33.650700000000001</c:v>
                </c:pt>
                <c:pt idx="526">
                  <c:v>33.570149999999998</c:v>
                </c:pt>
                <c:pt idx="527">
                  <c:v>33.974049999999998</c:v>
                </c:pt>
                <c:pt idx="528">
                  <c:v>34.072499999999998</c:v>
                </c:pt>
                <c:pt idx="529">
                  <c:v>34.596449999999997</c:v>
                </c:pt>
                <c:pt idx="530">
                  <c:v>34.389800000000001</c:v>
                </c:pt>
                <c:pt idx="531">
                  <c:v>36.038049999999998</c:v>
                </c:pt>
                <c:pt idx="532">
                  <c:v>36.393700000000003</c:v>
                </c:pt>
                <c:pt idx="533">
                  <c:v>35.570250000000001</c:v>
                </c:pt>
                <c:pt idx="534">
                  <c:v>35.460300000000004</c:v>
                </c:pt>
                <c:pt idx="535">
                  <c:v>34.850450000000002</c:v>
                </c:pt>
                <c:pt idx="536">
                  <c:v>35.082949999999997</c:v>
                </c:pt>
                <c:pt idx="537">
                  <c:v>34.174549999999996</c:v>
                </c:pt>
                <c:pt idx="538">
                  <c:v>33.96125</c:v>
                </c:pt>
                <c:pt idx="539">
                  <c:v>34.781400000000005</c:v>
                </c:pt>
                <c:pt idx="540">
                  <c:v>34.23395</c:v>
                </c:pt>
                <c:pt idx="541">
                  <c:v>33.804349999999999</c:v>
                </c:pt>
                <c:pt idx="542">
                  <c:v>33.442149999999998</c:v>
                </c:pt>
                <c:pt idx="543">
                  <c:v>33.435549999999999</c:v>
                </c:pt>
                <c:pt idx="544">
                  <c:v>33.633650000000003</c:v>
                </c:pt>
                <c:pt idx="545">
                  <c:v>34.142799999999994</c:v>
                </c:pt>
                <c:pt idx="546">
                  <c:v>33.809800000000003</c:v>
                </c:pt>
                <c:pt idx="547">
                  <c:v>32.941000000000003</c:v>
                </c:pt>
                <c:pt idx="548">
                  <c:v>32.053100000000001</c:v>
                </c:pt>
                <c:pt idx="549">
                  <c:v>32.441500000000005</c:v>
                </c:pt>
                <c:pt idx="550">
                  <c:v>32.118300000000005</c:v>
                </c:pt>
                <c:pt idx="551">
                  <c:v>31.51445</c:v>
                </c:pt>
                <c:pt idx="552">
                  <c:v>31.9741</c:v>
                </c:pt>
                <c:pt idx="553">
                  <c:v>32.444749999999999</c:v>
                </c:pt>
                <c:pt idx="554">
                  <c:v>33.105550000000001</c:v>
                </c:pt>
                <c:pt idx="555">
                  <c:v>33.390349999999998</c:v>
                </c:pt>
                <c:pt idx="556">
                  <c:v>34.272750000000002</c:v>
                </c:pt>
                <c:pt idx="557">
                  <c:v>33.009299999999996</c:v>
                </c:pt>
                <c:pt idx="558">
                  <c:v>33.490049999999997</c:v>
                </c:pt>
                <c:pt idx="559">
                  <c:v>34.17745</c:v>
                </c:pt>
                <c:pt idx="560">
                  <c:v>34.590699999999998</c:v>
                </c:pt>
                <c:pt idx="561">
                  <c:v>35.4773</c:v>
                </c:pt>
                <c:pt idx="562">
                  <c:v>35.550550000000001</c:v>
                </c:pt>
                <c:pt idx="563">
                  <c:v>35.480550000000001</c:v>
                </c:pt>
                <c:pt idx="564">
                  <c:v>35.659199999999998</c:v>
                </c:pt>
                <c:pt idx="565">
                  <c:v>35.906649999999999</c:v>
                </c:pt>
                <c:pt idx="566">
                  <c:v>35.797200000000004</c:v>
                </c:pt>
                <c:pt idx="567">
                  <c:v>35.419650000000004</c:v>
                </c:pt>
                <c:pt idx="568">
                  <c:v>35.665550000000003</c:v>
                </c:pt>
                <c:pt idx="569">
                  <c:v>35.553399999999996</c:v>
                </c:pt>
                <c:pt idx="570">
                  <c:v>35.168149999999997</c:v>
                </c:pt>
                <c:pt idx="571">
                  <c:v>35.605249999999998</c:v>
                </c:pt>
                <c:pt idx="572">
                  <c:v>35.061999999999998</c:v>
                </c:pt>
                <c:pt idx="573">
                  <c:v>35.895499999999998</c:v>
                </c:pt>
                <c:pt idx="574">
                  <c:v>35.773399999999995</c:v>
                </c:pt>
                <c:pt idx="575">
                  <c:v>35.965299999999999</c:v>
                </c:pt>
                <c:pt idx="576">
                  <c:v>35.377099999999999</c:v>
                </c:pt>
                <c:pt idx="577">
                  <c:v>35.377400000000002</c:v>
                </c:pt>
                <c:pt idx="578">
                  <c:v>35.422600000000003</c:v>
                </c:pt>
                <c:pt idx="579">
                  <c:v>34.788250000000005</c:v>
                </c:pt>
                <c:pt idx="580">
                  <c:v>34.365099999999998</c:v>
                </c:pt>
                <c:pt idx="581">
                  <c:v>34.805799999999998</c:v>
                </c:pt>
                <c:pt idx="582">
                  <c:v>34.599800000000002</c:v>
                </c:pt>
                <c:pt idx="583">
                  <c:v>28.111319999999999</c:v>
                </c:pt>
                <c:pt idx="584">
                  <c:v>28.362159999999999</c:v>
                </c:pt>
                <c:pt idx="585">
                  <c:v>28.031780000000005</c:v>
                </c:pt>
                <c:pt idx="586">
                  <c:v>27.587920000000004</c:v>
                </c:pt>
                <c:pt idx="587">
                  <c:v>27.850659999999998</c:v>
                </c:pt>
                <c:pt idx="588">
                  <c:v>28.09328</c:v>
                </c:pt>
                <c:pt idx="589">
                  <c:v>28.034600000000001</c:v>
                </c:pt>
                <c:pt idx="590">
                  <c:v>28.250700000000002</c:v>
                </c:pt>
                <c:pt idx="591">
                  <c:v>28.396540000000005</c:v>
                </c:pt>
                <c:pt idx="592">
                  <c:v>28.325139999999998</c:v>
                </c:pt>
                <c:pt idx="593">
                  <c:v>27.582919999999994</c:v>
                </c:pt>
                <c:pt idx="594">
                  <c:v>27.048259999999999</c:v>
                </c:pt>
                <c:pt idx="595">
                  <c:v>26.726940000000003</c:v>
                </c:pt>
                <c:pt idx="596">
                  <c:v>26.762779999999999</c:v>
                </c:pt>
                <c:pt idx="597">
                  <c:v>26.505519999999997</c:v>
                </c:pt>
                <c:pt idx="598">
                  <c:v>26.693360000000002</c:v>
                </c:pt>
                <c:pt idx="599">
                  <c:v>25.840359999999997</c:v>
                </c:pt>
                <c:pt idx="600">
                  <c:v>25.675420000000003</c:v>
                </c:pt>
                <c:pt idx="601">
                  <c:v>26.06148</c:v>
                </c:pt>
                <c:pt idx="602">
                  <c:v>25.814839999999997</c:v>
                </c:pt>
                <c:pt idx="603">
                  <c:v>25.663740000000001</c:v>
                </c:pt>
                <c:pt idx="604">
                  <c:v>25.326820000000001</c:v>
                </c:pt>
                <c:pt idx="605">
                  <c:v>25.373299999999997</c:v>
                </c:pt>
                <c:pt idx="606">
                  <c:v>25.469859999999997</c:v>
                </c:pt>
                <c:pt idx="607">
                  <c:v>25.459059999999997</c:v>
                </c:pt>
                <c:pt idx="608">
                  <c:v>25.58662</c:v>
                </c:pt>
                <c:pt idx="609">
                  <c:v>25.46068</c:v>
                </c:pt>
                <c:pt idx="610">
                  <c:v>25.504200000000001</c:v>
                </c:pt>
                <c:pt idx="611">
                  <c:v>24.85144</c:v>
                </c:pt>
                <c:pt idx="612">
                  <c:v>24.700500000000005</c:v>
                </c:pt>
                <c:pt idx="613">
                  <c:v>24.506599999999999</c:v>
                </c:pt>
                <c:pt idx="614">
                  <c:v>24.249859999999998</c:v>
                </c:pt>
                <c:pt idx="615">
                  <c:v>24.60904</c:v>
                </c:pt>
                <c:pt idx="616">
                  <c:v>24.138860000000001</c:v>
                </c:pt>
                <c:pt idx="617">
                  <c:v>23.830380000000002</c:v>
                </c:pt>
                <c:pt idx="618">
                  <c:v>23.718299999999999</c:v>
                </c:pt>
                <c:pt idx="619">
                  <c:v>23.748460000000001</c:v>
                </c:pt>
                <c:pt idx="620">
                  <c:v>23.785760000000003</c:v>
                </c:pt>
                <c:pt idx="621">
                  <c:v>23.774439999999998</c:v>
                </c:pt>
                <c:pt idx="622">
                  <c:v>23.664719999999996</c:v>
                </c:pt>
                <c:pt idx="623">
                  <c:v>23.491099999999999</c:v>
                </c:pt>
                <c:pt idx="624">
                  <c:v>23.391080000000002</c:v>
                </c:pt>
                <c:pt idx="625">
                  <c:v>23.221740000000004</c:v>
                </c:pt>
                <c:pt idx="626">
                  <c:v>22.88578</c:v>
                </c:pt>
                <c:pt idx="627">
                  <c:v>22.714419999999997</c:v>
                </c:pt>
                <c:pt idx="628">
                  <c:v>22.868259999999999</c:v>
                </c:pt>
                <c:pt idx="629">
                  <c:v>23.034739999999999</c:v>
                </c:pt>
                <c:pt idx="630">
                  <c:v>23.036839999999998</c:v>
                </c:pt>
                <c:pt idx="631">
                  <c:v>23.1553</c:v>
                </c:pt>
                <c:pt idx="632">
                  <c:v>23.23922</c:v>
                </c:pt>
                <c:pt idx="633">
                  <c:v>23.11252</c:v>
                </c:pt>
                <c:pt idx="634">
                  <c:v>23.261539999999997</c:v>
                </c:pt>
                <c:pt idx="635">
                  <c:v>23.368479999999998</c:v>
                </c:pt>
                <c:pt idx="636">
                  <c:v>23.439540000000001</c:v>
                </c:pt>
                <c:pt idx="637">
                  <c:v>22.830579999999998</c:v>
                </c:pt>
                <c:pt idx="638">
                  <c:v>22.522959999999998</c:v>
                </c:pt>
                <c:pt idx="639">
                  <c:v>22.155279999999998</c:v>
                </c:pt>
                <c:pt idx="640">
                  <c:v>22.015239999999999</c:v>
                </c:pt>
                <c:pt idx="641">
                  <c:v>22.426660000000002</c:v>
                </c:pt>
                <c:pt idx="642">
                  <c:v>22.638719999999999</c:v>
                </c:pt>
                <c:pt idx="643">
                  <c:v>33.387749999999997</c:v>
                </c:pt>
                <c:pt idx="644">
                  <c:v>33.1922</c:v>
                </c:pt>
                <c:pt idx="645">
                  <c:v>33.534849999999999</c:v>
                </c:pt>
                <c:pt idx="646">
                  <c:v>33.590850000000003</c:v>
                </c:pt>
                <c:pt idx="647">
                  <c:v>33.755700000000004</c:v>
                </c:pt>
                <c:pt idx="648">
                  <c:v>33.857900000000001</c:v>
                </c:pt>
                <c:pt idx="649">
                  <c:v>33.748350000000002</c:v>
                </c:pt>
                <c:pt idx="650">
                  <c:v>34.17445</c:v>
                </c:pt>
                <c:pt idx="651">
                  <c:v>33.843599999999995</c:v>
                </c:pt>
                <c:pt idx="652">
                  <c:v>34.149349999999998</c:v>
                </c:pt>
                <c:pt idx="653">
                  <c:v>34.463100000000004</c:v>
                </c:pt>
                <c:pt idx="654">
                  <c:v>34.268050000000002</c:v>
                </c:pt>
                <c:pt idx="655">
                  <c:v>34.14705</c:v>
                </c:pt>
                <c:pt idx="656">
                  <c:v>34.008299999999998</c:v>
                </c:pt>
                <c:pt idx="657">
                  <c:v>33.888350000000003</c:v>
                </c:pt>
                <c:pt idx="658">
                  <c:v>33.0139</c:v>
                </c:pt>
                <c:pt idx="659">
                  <c:v>32.976150000000004</c:v>
                </c:pt>
                <c:pt idx="660">
                  <c:v>32.553899999999999</c:v>
                </c:pt>
                <c:pt idx="661">
                  <c:v>32.6661</c:v>
                </c:pt>
                <c:pt idx="662">
                  <c:v>32.700299999999999</c:v>
                </c:pt>
                <c:pt idx="663">
                  <c:v>32.257000000000005</c:v>
                </c:pt>
                <c:pt idx="664">
                  <c:v>32.384</c:v>
                </c:pt>
                <c:pt idx="665">
                  <c:v>32.6693</c:v>
                </c:pt>
                <c:pt idx="666">
                  <c:v>32.555999999999997</c:v>
                </c:pt>
                <c:pt idx="667">
                  <c:v>32.744399999999999</c:v>
                </c:pt>
                <c:pt idx="668">
                  <c:v>33.061349999999997</c:v>
                </c:pt>
                <c:pt idx="669">
                  <c:v>32.749499999999998</c:v>
                </c:pt>
                <c:pt idx="670">
                  <c:v>32.701900000000002</c:v>
                </c:pt>
                <c:pt idx="671">
                  <c:v>32.580249999999999</c:v>
                </c:pt>
                <c:pt idx="672">
                  <c:v>32.212350000000001</c:v>
                </c:pt>
                <c:pt idx="673">
                  <c:v>32.039700000000003</c:v>
                </c:pt>
                <c:pt idx="674">
                  <c:v>32.663400000000003</c:v>
                </c:pt>
                <c:pt idx="675">
                  <c:v>33.382399999999997</c:v>
                </c:pt>
                <c:pt idx="676">
                  <c:v>33.323949999999996</c:v>
                </c:pt>
                <c:pt idx="677">
                  <c:v>33.300650000000005</c:v>
                </c:pt>
                <c:pt idx="678">
                  <c:v>33.3401</c:v>
                </c:pt>
                <c:pt idx="679">
                  <c:v>33.325249999999997</c:v>
                </c:pt>
                <c:pt idx="680">
                  <c:v>33.092649999999999</c:v>
                </c:pt>
                <c:pt idx="681">
                  <c:v>33.403500000000001</c:v>
                </c:pt>
                <c:pt idx="682">
                  <c:v>33.409199999999998</c:v>
                </c:pt>
                <c:pt idx="683">
                  <c:v>33.563699999999997</c:v>
                </c:pt>
                <c:pt idx="684">
                  <c:v>33.32085</c:v>
                </c:pt>
                <c:pt idx="685">
                  <c:v>34.186300000000003</c:v>
                </c:pt>
                <c:pt idx="686">
                  <c:v>33.246949999999998</c:v>
                </c:pt>
                <c:pt idx="687">
                  <c:v>33.206450000000004</c:v>
                </c:pt>
                <c:pt idx="688">
                  <c:v>33.739850000000004</c:v>
                </c:pt>
                <c:pt idx="689">
                  <c:v>33.485749999999996</c:v>
                </c:pt>
                <c:pt idx="690">
                  <c:v>33.9664</c:v>
                </c:pt>
                <c:pt idx="691">
                  <c:v>34.173200000000001</c:v>
                </c:pt>
                <c:pt idx="692">
                  <c:v>34.240849999999995</c:v>
                </c:pt>
                <c:pt idx="693">
                  <c:v>34.203099999999999</c:v>
                </c:pt>
                <c:pt idx="694">
                  <c:v>34.351549999999996</c:v>
                </c:pt>
                <c:pt idx="695">
                  <c:v>34.182249999999996</c:v>
                </c:pt>
                <c:pt idx="696">
                  <c:v>33.973799999999997</c:v>
                </c:pt>
                <c:pt idx="697">
                  <c:v>34.313249999999996</c:v>
                </c:pt>
                <c:pt idx="698">
                  <c:v>34.242699999999999</c:v>
                </c:pt>
                <c:pt idx="699">
                  <c:v>33.246600000000001</c:v>
                </c:pt>
                <c:pt idx="700">
                  <c:v>33.666499999999999</c:v>
                </c:pt>
                <c:pt idx="701">
                  <c:v>33.794249999999998</c:v>
                </c:pt>
                <c:pt idx="702">
                  <c:v>33.878250000000001</c:v>
                </c:pt>
                <c:pt idx="703">
                  <c:v>33.873800000000003</c:v>
                </c:pt>
                <c:pt idx="704">
                  <c:v>33.608199999999997</c:v>
                </c:pt>
                <c:pt idx="705">
                  <c:v>26.493579999999998</c:v>
                </c:pt>
                <c:pt idx="706">
                  <c:v>26.233899999999998</c:v>
                </c:pt>
                <c:pt idx="707">
                  <c:v>26.328759999999999</c:v>
                </c:pt>
                <c:pt idx="708">
                  <c:v>26.464619999999996</c:v>
                </c:pt>
                <c:pt idx="709">
                  <c:v>26.030080000000005</c:v>
                </c:pt>
                <c:pt idx="710">
                  <c:v>26.734919999999999</c:v>
                </c:pt>
                <c:pt idx="711">
                  <c:v>26.64226</c:v>
                </c:pt>
                <c:pt idx="712">
                  <c:v>26.214559999999999</c:v>
                </c:pt>
                <c:pt idx="713">
                  <c:v>25.915300000000002</c:v>
                </c:pt>
                <c:pt idx="714">
                  <c:v>25.859820000000003</c:v>
                </c:pt>
                <c:pt idx="715">
                  <c:v>26.220140000000004</c:v>
                </c:pt>
                <c:pt idx="716">
                  <c:v>26.36504</c:v>
                </c:pt>
                <c:pt idx="717">
                  <c:v>26.248480000000001</c:v>
                </c:pt>
                <c:pt idx="718">
                  <c:v>26.427499999999998</c:v>
                </c:pt>
                <c:pt idx="719">
                  <c:v>26.305959999999999</c:v>
                </c:pt>
                <c:pt idx="720">
                  <c:v>26.300380000000001</c:v>
                </c:pt>
                <c:pt idx="721">
                  <c:v>26.513080000000002</c:v>
                </c:pt>
                <c:pt idx="722">
                  <c:v>26.621659999999999</c:v>
                </c:pt>
                <c:pt idx="723">
                  <c:v>26.580680000000001</c:v>
                </c:pt>
                <c:pt idx="724">
                  <c:v>26.9495</c:v>
                </c:pt>
                <c:pt idx="725">
                  <c:v>26.917279999999998</c:v>
                </c:pt>
                <c:pt idx="726">
                  <c:v>26.768039999999996</c:v>
                </c:pt>
                <c:pt idx="727">
                  <c:v>26.727499999999999</c:v>
                </c:pt>
                <c:pt idx="728">
                  <c:v>26.56982</c:v>
                </c:pt>
                <c:pt idx="729">
                  <c:v>26.454780000000007</c:v>
                </c:pt>
                <c:pt idx="730">
                  <c:v>26.596020000000003</c:v>
                </c:pt>
                <c:pt idx="731">
                  <c:v>26.068400000000004</c:v>
                </c:pt>
                <c:pt idx="732">
                  <c:v>25.999079999999999</c:v>
                </c:pt>
                <c:pt idx="733">
                  <c:v>25.920839999999998</c:v>
                </c:pt>
                <c:pt idx="734">
                  <c:v>25.722020000000004</c:v>
                </c:pt>
                <c:pt idx="735">
                  <c:v>25.534399999999998</c:v>
                </c:pt>
                <c:pt idx="736">
                  <c:v>25.947800000000001</c:v>
                </c:pt>
                <c:pt idx="737">
                  <c:v>26.391360000000002</c:v>
                </c:pt>
                <c:pt idx="738">
                  <c:v>26.667080000000006</c:v>
                </c:pt>
                <c:pt idx="739">
                  <c:v>26.179019999999998</c:v>
                </c:pt>
                <c:pt idx="740">
                  <c:v>26.533339999999999</c:v>
                </c:pt>
                <c:pt idx="741">
                  <c:v>26.50262</c:v>
                </c:pt>
                <c:pt idx="742">
                  <c:v>26.537740000000003</c:v>
                </c:pt>
                <c:pt idx="743">
                  <c:v>26.61384</c:v>
                </c:pt>
                <c:pt idx="744">
                  <c:v>26.708100000000002</c:v>
                </c:pt>
                <c:pt idx="745">
                  <c:v>26.794799999999999</c:v>
                </c:pt>
                <c:pt idx="746">
                  <c:v>26.685099999999998</c:v>
                </c:pt>
                <c:pt idx="747">
                  <c:v>26.753499999999995</c:v>
                </c:pt>
                <c:pt idx="748">
                  <c:v>26.121220000000001</c:v>
                </c:pt>
                <c:pt idx="749">
                  <c:v>25.481159999999999</c:v>
                </c:pt>
                <c:pt idx="750">
                  <c:v>25.334219999999998</c:v>
                </c:pt>
                <c:pt idx="751">
                  <c:v>25.308619999999998</c:v>
                </c:pt>
                <c:pt idx="752">
                  <c:v>25.255059999999997</c:v>
                </c:pt>
                <c:pt idx="753">
                  <c:v>25.196999999999999</c:v>
                </c:pt>
                <c:pt idx="754">
                  <c:v>25.110859999999999</c:v>
                </c:pt>
                <c:pt idx="755">
                  <c:v>25.18676</c:v>
                </c:pt>
                <c:pt idx="756">
                  <c:v>25.22072</c:v>
                </c:pt>
                <c:pt idx="757">
                  <c:v>25.46444</c:v>
                </c:pt>
                <c:pt idx="758">
                  <c:v>25.324120000000001</c:v>
                </c:pt>
                <c:pt idx="759">
                  <c:v>25.039020000000001</c:v>
                </c:pt>
                <c:pt idx="760">
                  <c:v>24.90962</c:v>
                </c:pt>
                <c:pt idx="761">
                  <c:v>25.13222</c:v>
                </c:pt>
                <c:pt idx="762">
                  <c:v>25.318300000000001</c:v>
                </c:pt>
                <c:pt idx="763">
                  <c:v>25.522020000000001</c:v>
                </c:pt>
                <c:pt idx="764">
                  <c:v>25.179879999999997</c:v>
                </c:pt>
                <c:pt idx="765">
                  <c:v>25.078019999999999</c:v>
                </c:pt>
                <c:pt idx="766">
                  <c:v>25.055779999999999</c:v>
                </c:pt>
                <c:pt idx="767">
                  <c:v>30.840200000000003</c:v>
                </c:pt>
                <c:pt idx="768">
                  <c:v>30.889900000000001</c:v>
                </c:pt>
                <c:pt idx="769">
                  <c:v>31.2988</c:v>
                </c:pt>
                <c:pt idx="770">
                  <c:v>31.555150000000001</c:v>
                </c:pt>
                <c:pt idx="771">
                  <c:v>32.097299999999997</c:v>
                </c:pt>
                <c:pt idx="772">
                  <c:v>32.206150000000001</c:v>
                </c:pt>
                <c:pt idx="773">
                  <c:v>34.3733</c:v>
                </c:pt>
                <c:pt idx="774">
                  <c:v>34.2012</c:v>
                </c:pt>
                <c:pt idx="775">
                  <c:v>34.060249999999996</c:v>
                </c:pt>
                <c:pt idx="776">
                  <c:v>33.701250000000002</c:v>
                </c:pt>
                <c:pt idx="777">
                  <c:v>34.305100000000003</c:v>
                </c:pt>
                <c:pt idx="778">
                  <c:v>33.478850000000001</c:v>
                </c:pt>
                <c:pt idx="779">
                  <c:v>32.93815</c:v>
                </c:pt>
                <c:pt idx="780">
                  <c:v>32.920650000000002</c:v>
                </c:pt>
                <c:pt idx="781">
                  <c:v>32.312849999999997</c:v>
                </c:pt>
                <c:pt idx="782">
                  <c:v>30.566299999999998</c:v>
                </c:pt>
                <c:pt idx="783">
                  <c:v>30.819949999999999</c:v>
                </c:pt>
                <c:pt idx="784">
                  <c:v>30.708850000000002</c:v>
                </c:pt>
                <c:pt idx="785">
                  <c:v>30.512999999999998</c:v>
                </c:pt>
                <c:pt idx="786">
                  <c:v>30.730900000000002</c:v>
                </c:pt>
                <c:pt idx="787">
                  <c:v>30.82075</c:v>
                </c:pt>
                <c:pt idx="788">
                  <c:v>31.248899999999999</c:v>
                </c:pt>
                <c:pt idx="789">
                  <c:v>30.366750000000003</c:v>
                </c:pt>
                <c:pt idx="790">
                  <c:v>30.651049999999998</c:v>
                </c:pt>
                <c:pt idx="791">
                  <c:v>30.87105</c:v>
                </c:pt>
                <c:pt idx="792">
                  <c:v>30.724149999999998</c:v>
                </c:pt>
                <c:pt idx="793">
                  <c:v>31.007249999999999</c:v>
                </c:pt>
                <c:pt idx="794">
                  <c:v>30.712449999999997</c:v>
                </c:pt>
                <c:pt idx="795">
                  <c:v>30.93045</c:v>
                </c:pt>
                <c:pt idx="796">
                  <c:v>31.019850000000002</c:v>
                </c:pt>
                <c:pt idx="797">
                  <c:v>31.159500000000001</c:v>
                </c:pt>
                <c:pt idx="798">
                  <c:v>31.616350000000001</c:v>
                </c:pt>
                <c:pt idx="799">
                  <c:v>29.444049999999997</c:v>
                </c:pt>
                <c:pt idx="800">
                  <c:v>29.587250000000001</c:v>
                </c:pt>
                <c:pt idx="801">
                  <c:v>29.4542</c:v>
                </c:pt>
                <c:pt idx="802">
                  <c:v>30.02075</c:v>
                </c:pt>
                <c:pt idx="803">
                  <c:v>29.548699999999997</c:v>
                </c:pt>
                <c:pt idx="804">
                  <c:v>29.8078</c:v>
                </c:pt>
                <c:pt idx="805">
                  <c:v>29.267800000000001</c:v>
                </c:pt>
                <c:pt idx="806">
                  <c:v>29.279600000000002</c:v>
                </c:pt>
                <c:pt idx="807">
                  <c:v>29.5642</c:v>
                </c:pt>
                <c:pt idx="808">
                  <c:v>29.738</c:v>
                </c:pt>
                <c:pt idx="809">
                  <c:v>29.338650000000001</c:v>
                </c:pt>
                <c:pt idx="810">
                  <c:v>28.968399999999999</c:v>
                </c:pt>
                <c:pt idx="811">
                  <c:v>29.12</c:v>
                </c:pt>
                <c:pt idx="812">
                  <c:v>29.232750000000003</c:v>
                </c:pt>
                <c:pt idx="813">
                  <c:v>28.987450000000003</c:v>
                </c:pt>
                <c:pt idx="814">
                  <c:v>29.458750000000002</c:v>
                </c:pt>
                <c:pt idx="815">
                  <c:v>29.086300000000001</c:v>
                </c:pt>
                <c:pt idx="816">
                  <c:v>29.335599999999999</c:v>
                </c:pt>
                <c:pt idx="817">
                  <c:v>29.098300000000002</c:v>
                </c:pt>
                <c:pt idx="818">
                  <c:v>29.082350000000002</c:v>
                </c:pt>
                <c:pt idx="819">
                  <c:v>29.256700000000002</c:v>
                </c:pt>
                <c:pt idx="820">
                  <c:v>28.753550000000001</c:v>
                </c:pt>
                <c:pt idx="821">
                  <c:v>28.652249999999999</c:v>
                </c:pt>
                <c:pt idx="822">
                  <c:v>28.491599999999998</c:v>
                </c:pt>
                <c:pt idx="823">
                  <c:v>28.470099999999999</c:v>
                </c:pt>
                <c:pt idx="824">
                  <c:v>28.593800000000002</c:v>
                </c:pt>
                <c:pt idx="825">
                  <c:v>28.310600000000001</c:v>
                </c:pt>
                <c:pt idx="826">
                  <c:v>28.219699999999996</c:v>
                </c:pt>
                <c:pt idx="827">
                  <c:v>28.249049999999997</c:v>
                </c:pt>
                <c:pt idx="828">
                  <c:v>27.71125</c:v>
                </c:pt>
                <c:pt idx="829">
                  <c:v>28.242150000000002</c:v>
                </c:pt>
                <c:pt idx="830">
                  <c:v>22.402760000000001</c:v>
                </c:pt>
                <c:pt idx="831">
                  <c:v>22.624580000000002</c:v>
                </c:pt>
                <c:pt idx="832">
                  <c:v>22.591820000000002</c:v>
                </c:pt>
                <c:pt idx="833">
                  <c:v>22.711179999999999</c:v>
                </c:pt>
                <c:pt idx="834">
                  <c:v>22.538460000000001</c:v>
                </c:pt>
                <c:pt idx="835">
                  <c:v>22.34038</c:v>
                </c:pt>
                <c:pt idx="836">
                  <c:v>22.403700000000001</c:v>
                </c:pt>
                <c:pt idx="837">
                  <c:v>22.287779999999998</c:v>
                </c:pt>
                <c:pt idx="838">
                  <c:v>22.101039999999998</c:v>
                </c:pt>
                <c:pt idx="839">
                  <c:v>21.924840000000003</c:v>
                </c:pt>
                <c:pt idx="840">
                  <c:v>22.145980000000002</c:v>
                </c:pt>
                <c:pt idx="841">
                  <c:v>22.142299999999999</c:v>
                </c:pt>
                <c:pt idx="842">
                  <c:v>22.084420000000001</c:v>
                </c:pt>
                <c:pt idx="843">
                  <c:v>22.453119999999998</c:v>
                </c:pt>
                <c:pt idx="844">
                  <c:v>22.441879999999998</c:v>
                </c:pt>
                <c:pt idx="845">
                  <c:v>22.407859999999999</c:v>
                </c:pt>
                <c:pt idx="846">
                  <c:v>22.588640000000002</c:v>
                </c:pt>
                <c:pt idx="847">
                  <c:v>22.543420000000001</c:v>
                </c:pt>
                <c:pt idx="848">
                  <c:v>22.607779999999998</c:v>
                </c:pt>
                <c:pt idx="849">
                  <c:v>22.9878</c:v>
                </c:pt>
                <c:pt idx="850">
                  <c:v>22.925139999999999</c:v>
                </c:pt>
                <c:pt idx="851">
                  <c:v>23.352740000000004</c:v>
                </c:pt>
                <c:pt idx="852">
                  <c:v>23.253699999999998</c:v>
                </c:pt>
                <c:pt idx="853">
                  <c:v>23.024139999999996</c:v>
                </c:pt>
                <c:pt idx="854">
                  <c:v>22.5871</c:v>
                </c:pt>
                <c:pt idx="855">
                  <c:v>22.088240000000003</c:v>
                </c:pt>
                <c:pt idx="856">
                  <c:v>22.253799999999998</c:v>
                </c:pt>
                <c:pt idx="857">
                  <c:v>22.472459999999998</c:v>
                </c:pt>
                <c:pt idx="858">
                  <c:v>22.762979999999999</c:v>
                </c:pt>
                <c:pt idx="859">
                  <c:v>22.432279999999999</c:v>
                </c:pt>
                <c:pt idx="860">
                  <c:v>22.613220000000005</c:v>
                </c:pt>
                <c:pt idx="861">
                  <c:v>22.893239999999999</c:v>
                </c:pt>
                <c:pt idx="862">
                  <c:v>22.629280000000001</c:v>
                </c:pt>
                <c:pt idx="863">
                  <c:v>22.378620000000002</c:v>
                </c:pt>
                <c:pt idx="864">
                  <c:v>22.061299999999996</c:v>
                </c:pt>
                <c:pt idx="865">
                  <c:v>22.44558</c:v>
                </c:pt>
                <c:pt idx="866">
                  <c:v>22.542819999999999</c:v>
                </c:pt>
                <c:pt idx="867">
                  <c:v>22.860379999999999</c:v>
                </c:pt>
                <c:pt idx="868">
                  <c:v>23.172899999999998</c:v>
                </c:pt>
                <c:pt idx="869">
                  <c:v>23.686680000000003</c:v>
                </c:pt>
                <c:pt idx="870">
                  <c:v>23.637039999999999</c:v>
                </c:pt>
                <c:pt idx="871">
                  <c:v>24.559459999999998</c:v>
                </c:pt>
                <c:pt idx="872">
                  <c:v>25.30988</c:v>
                </c:pt>
                <c:pt idx="873">
                  <c:v>25.107700000000001</c:v>
                </c:pt>
                <c:pt idx="874">
                  <c:v>25.515240000000002</c:v>
                </c:pt>
                <c:pt idx="875">
                  <c:v>25.620519999999999</c:v>
                </c:pt>
                <c:pt idx="876">
                  <c:v>25.643799999999999</c:v>
                </c:pt>
                <c:pt idx="877">
                  <c:v>25.884939999999993</c:v>
                </c:pt>
                <c:pt idx="878">
                  <c:v>26.254319999999996</c:v>
                </c:pt>
                <c:pt idx="879">
                  <c:v>25.709780000000002</c:v>
                </c:pt>
                <c:pt idx="880">
                  <c:v>25.076060000000002</c:v>
                </c:pt>
                <c:pt idx="881">
                  <c:v>24.769060000000003</c:v>
                </c:pt>
                <c:pt idx="882">
                  <c:v>25.058979999999998</c:v>
                </c:pt>
                <c:pt idx="883">
                  <c:v>24.991939999999996</c:v>
                </c:pt>
                <c:pt idx="884">
                  <c:v>25.134139999999995</c:v>
                </c:pt>
                <c:pt idx="885">
                  <c:v>24.774559999999997</c:v>
                </c:pt>
                <c:pt idx="886">
                  <c:v>24.48274</c:v>
                </c:pt>
                <c:pt idx="887">
                  <c:v>24.435580000000005</c:v>
                </c:pt>
                <c:pt idx="888">
                  <c:v>24.954319999999999</c:v>
                </c:pt>
                <c:pt idx="889">
                  <c:v>24.73968</c:v>
                </c:pt>
                <c:pt idx="890">
                  <c:v>24.651540000000001</c:v>
                </c:pt>
              </c:numCache>
            </c:numRef>
          </c:val>
          <c:smooth val="0"/>
          <c:extLst>
            <c:ext xmlns:c16="http://schemas.microsoft.com/office/drawing/2014/chart" uri="{C3380CC4-5D6E-409C-BE32-E72D297353CC}">
              <c16:uniqueId val="{00000000-F5AB-4B92-9855-3FB88574E824}"/>
            </c:ext>
          </c:extLst>
        </c:ser>
        <c:dLbls>
          <c:showLegendKey val="0"/>
          <c:showVal val="0"/>
          <c:showCatName val="0"/>
          <c:showSerName val="0"/>
          <c:showPercent val="0"/>
          <c:showBubbleSize val="0"/>
        </c:dLbls>
        <c:smooth val="0"/>
        <c:axId val="936959615"/>
        <c:axId val="936961055"/>
      </c:lineChart>
      <c:dateAx>
        <c:axId val="936959615"/>
        <c:scaling>
          <c:orientation val="minMax"/>
        </c:scaling>
        <c:delete val="0"/>
        <c:axPos val="b"/>
        <c:numFmt formatCode="yyyy"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36961055"/>
        <c:crosses val="autoZero"/>
        <c:auto val="1"/>
        <c:lblOffset val="100"/>
        <c:baseTimeUnit val="days"/>
        <c:majorUnit val="1"/>
        <c:majorTimeUnit val="years"/>
      </c:dateAx>
      <c:valAx>
        <c:axId val="936961055"/>
        <c:scaling>
          <c:orientation val="minMax"/>
          <c:max val="60"/>
        </c:scaling>
        <c:delete val="1"/>
        <c:axPos val="l"/>
        <c:numFmt formatCode="General" sourceLinked="1"/>
        <c:majorTickMark val="none"/>
        <c:minorTickMark val="none"/>
        <c:tickLblPos val="nextTo"/>
        <c:crossAx val="9369596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Regional</c:v>
                </c:pt>
              </c:strCache>
            </c:strRef>
          </c:tx>
          <c:spPr>
            <a:ln w="28575" cap="rnd">
              <a:solidFill>
                <a:schemeClr val="accent1"/>
              </a:solidFill>
              <a:round/>
            </a:ln>
            <a:effectLst/>
          </c:spPr>
          <c:marker>
            <c:symbol val="none"/>
          </c:marker>
          <c:cat>
            <c:numRef>
              <c:f>Sheet1!$A$2:$A$892</c:f>
              <c:numCache>
                <c:formatCode>m/d/yyyy</c:formatCode>
                <c:ptCount val="891"/>
                <c:pt idx="0">
                  <c:v>45964</c:v>
                </c:pt>
                <c:pt idx="1">
                  <c:v>45961</c:v>
                </c:pt>
                <c:pt idx="2">
                  <c:v>45960</c:v>
                </c:pt>
                <c:pt idx="3">
                  <c:v>45959</c:v>
                </c:pt>
                <c:pt idx="4">
                  <c:v>45958</c:v>
                </c:pt>
                <c:pt idx="5">
                  <c:v>45957</c:v>
                </c:pt>
                <c:pt idx="6">
                  <c:v>45954</c:v>
                </c:pt>
                <c:pt idx="7">
                  <c:v>45953</c:v>
                </c:pt>
                <c:pt idx="8">
                  <c:v>45951</c:v>
                </c:pt>
                <c:pt idx="9">
                  <c:v>45950</c:v>
                </c:pt>
                <c:pt idx="10">
                  <c:v>45947</c:v>
                </c:pt>
                <c:pt idx="11">
                  <c:v>45946</c:v>
                </c:pt>
                <c:pt idx="12">
                  <c:v>45945</c:v>
                </c:pt>
                <c:pt idx="13">
                  <c:v>45944</c:v>
                </c:pt>
                <c:pt idx="14">
                  <c:v>45943</c:v>
                </c:pt>
                <c:pt idx="15">
                  <c:v>45940</c:v>
                </c:pt>
                <c:pt idx="16">
                  <c:v>45939</c:v>
                </c:pt>
                <c:pt idx="17">
                  <c:v>45938</c:v>
                </c:pt>
                <c:pt idx="18">
                  <c:v>45937</c:v>
                </c:pt>
                <c:pt idx="19">
                  <c:v>45936</c:v>
                </c:pt>
                <c:pt idx="20">
                  <c:v>45933</c:v>
                </c:pt>
                <c:pt idx="21">
                  <c:v>45931</c:v>
                </c:pt>
                <c:pt idx="22">
                  <c:v>45930</c:v>
                </c:pt>
                <c:pt idx="23">
                  <c:v>45929</c:v>
                </c:pt>
                <c:pt idx="24">
                  <c:v>45926</c:v>
                </c:pt>
                <c:pt idx="25">
                  <c:v>45925</c:v>
                </c:pt>
                <c:pt idx="26">
                  <c:v>45924</c:v>
                </c:pt>
                <c:pt idx="27">
                  <c:v>45923</c:v>
                </c:pt>
                <c:pt idx="28">
                  <c:v>45922</c:v>
                </c:pt>
                <c:pt idx="29">
                  <c:v>45919</c:v>
                </c:pt>
                <c:pt idx="30">
                  <c:v>45918</c:v>
                </c:pt>
                <c:pt idx="31">
                  <c:v>45917</c:v>
                </c:pt>
                <c:pt idx="32">
                  <c:v>45916</c:v>
                </c:pt>
                <c:pt idx="33">
                  <c:v>45915</c:v>
                </c:pt>
                <c:pt idx="34">
                  <c:v>45912</c:v>
                </c:pt>
                <c:pt idx="35">
                  <c:v>45911</c:v>
                </c:pt>
                <c:pt idx="36">
                  <c:v>45910</c:v>
                </c:pt>
                <c:pt idx="37">
                  <c:v>45909</c:v>
                </c:pt>
                <c:pt idx="38">
                  <c:v>45908</c:v>
                </c:pt>
                <c:pt idx="39">
                  <c:v>45905</c:v>
                </c:pt>
                <c:pt idx="40">
                  <c:v>45904</c:v>
                </c:pt>
                <c:pt idx="41">
                  <c:v>45903</c:v>
                </c:pt>
                <c:pt idx="42">
                  <c:v>45902</c:v>
                </c:pt>
                <c:pt idx="43">
                  <c:v>45901</c:v>
                </c:pt>
                <c:pt idx="44">
                  <c:v>45898</c:v>
                </c:pt>
                <c:pt idx="45">
                  <c:v>45897</c:v>
                </c:pt>
                <c:pt idx="46">
                  <c:v>45895</c:v>
                </c:pt>
                <c:pt idx="47">
                  <c:v>45894</c:v>
                </c:pt>
                <c:pt idx="48">
                  <c:v>45891</c:v>
                </c:pt>
                <c:pt idx="49">
                  <c:v>45890</c:v>
                </c:pt>
                <c:pt idx="50">
                  <c:v>45889</c:v>
                </c:pt>
                <c:pt idx="51">
                  <c:v>45888</c:v>
                </c:pt>
                <c:pt idx="52">
                  <c:v>45887</c:v>
                </c:pt>
                <c:pt idx="53">
                  <c:v>45883</c:v>
                </c:pt>
                <c:pt idx="54">
                  <c:v>45882</c:v>
                </c:pt>
                <c:pt idx="55">
                  <c:v>45881</c:v>
                </c:pt>
                <c:pt idx="56">
                  <c:v>45880</c:v>
                </c:pt>
                <c:pt idx="57">
                  <c:v>45877</c:v>
                </c:pt>
                <c:pt idx="58">
                  <c:v>45876</c:v>
                </c:pt>
                <c:pt idx="59">
                  <c:v>45875</c:v>
                </c:pt>
                <c:pt idx="60">
                  <c:v>45874</c:v>
                </c:pt>
                <c:pt idx="61">
                  <c:v>45873</c:v>
                </c:pt>
                <c:pt idx="62">
                  <c:v>45870</c:v>
                </c:pt>
                <c:pt idx="63">
                  <c:v>45869</c:v>
                </c:pt>
                <c:pt idx="64">
                  <c:v>45868</c:v>
                </c:pt>
                <c:pt idx="65">
                  <c:v>45867</c:v>
                </c:pt>
                <c:pt idx="66">
                  <c:v>45866</c:v>
                </c:pt>
                <c:pt idx="67">
                  <c:v>45863</c:v>
                </c:pt>
                <c:pt idx="68">
                  <c:v>45862</c:v>
                </c:pt>
                <c:pt idx="69">
                  <c:v>45861</c:v>
                </c:pt>
                <c:pt idx="70">
                  <c:v>45860</c:v>
                </c:pt>
                <c:pt idx="71">
                  <c:v>45859</c:v>
                </c:pt>
                <c:pt idx="72">
                  <c:v>45856</c:v>
                </c:pt>
                <c:pt idx="73">
                  <c:v>45855</c:v>
                </c:pt>
                <c:pt idx="74">
                  <c:v>45854</c:v>
                </c:pt>
                <c:pt idx="75">
                  <c:v>45853</c:v>
                </c:pt>
                <c:pt idx="76">
                  <c:v>45852</c:v>
                </c:pt>
                <c:pt idx="77">
                  <c:v>45849</c:v>
                </c:pt>
                <c:pt idx="78">
                  <c:v>45848</c:v>
                </c:pt>
                <c:pt idx="79">
                  <c:v>45847</c:v>
                </c:pt>
                <c:pt idx="80">
                  <c:v>45846</c:v>
                </c:pt>
                <c:pt idx="81">
                  <c:v>45845</c:v>
                </c:pt>
                <c:pt idx="82">
                  <c:v>45842</c:v>
                </c:pt>
                <c:pt idx="83">
                  <c:v>45841</c:v>
                </c:pt>
                <c:pt idx="84">
                  <c:v>45840</c:v>
                </c:pt>
                <c:pt idx="85">
                  <c:v>45839</c:v>
                </c:pt>
                <c:pt idx="86">
                  <c:v>45838</c:v>
                </c:pt>
                <c:pt idx="87">
                  <c:v>45835</c:v>
                </c:pt>
                <c:pt idx="88">
                  <c:v>45834</c:v>
                </c:pt>
                <c:pt idx="89">
                  <c:v>45833</c:v>
                </c:pt>
                <c:pt idx="90">
                  <c:v>45832</c:v>
                </c:pt>
                <c:pt idx="91">
                  <c:v>45831</c:v>
                </c:pt>
                <c:pt idx="92">
                  <c:v>45828</c:v>
                </c:pt>
                <c:pt idx="93">
                  <c:v>45827</c:v>
                </c:pt>
                <c:pt idx="94">
                  <c:v>45826</c:v>
                </c:pt>
                <c:pt idx="95">
                  <c:v>45825</c:v>
                </c:pt>
                <c:pt idx="96">
                  <c:v>45824</c:v>
                </c:pt>
                <c:pt idx="97">
                  <c:v>45821</c:v>
                </c:pt>
                <c:pt idx="98">
                  <c:v>45820</c:v>
                </c:pt>
                <c:pt idx="99">
                  <c:v>45819</c:v>
                </c:pt>
                <c:pt idx="100">
                  <c:v>45818</c:v>
                </c:pt>
                <c:pt idx="101">
                  <c:v>45817</c:v>
                </c:pt>
                <c:pt idx="102">
                  <c:v>45814</c:v>
                </c:pt>
                <c:pt idx="103">
                  <c:v>45813</c:v>
                </c:pt>
                <c:pt idx="104">
                  <c:v>45812</c:v>
                </c:pt>
                <c:pt idx="105">
                  <c:v>45811</c:v>
                </c:pt>
                <c:pt idx="106">
                  <c:v>45810</c:v>
                </c:pt>
                <c:pt idx="107">
                  <c:v>45807</c:v>
                </c:pt>
                <c:pt idx="108">
                  <c:v>45806</c:v>
                </c:pt>
                <c:pt idx="109">
                  <c:v>45805</c:v>
                </c:pt>
                <c:pt idx="110">
                  <c:v>45804</c:v>
                </c:pt>
                <c:pt idx="111">
                  <c:v>45803</c:v>
                </c:pt>
                <c:pt idx="112">
                  <c:v>45800</c:v>
                </c:pt>
                <c:pt idx="113">
                  <c:v>45799</c:v>
                </c:pt>
                <c:pt idx="114">
                  <c:v>45798</c:v>
                </c:pt>
                <c:pt idx="115">
                  <c:v>45797</c:v>
                </c:pt>
                <c:pt idx="116">
                  <c:v>45796</c:v>
                </c:pt>
                <c:pt idx="117">
                  <c:v>45793</c:v>
                </c:pt>
                <c:pt idx="118">
                  <c:v>45792</c:v>
                </c:pt>
                <c:pt idx="119">
                  <c:v>45791</c:v>
                </c:pt>
                <c:pt idx="120">
                  <c:v>45790</c:v>
                </c:pt>
                <c:pt idx="121">
                  <c:v>45789</c:v>
                </c:pt>
                <c:pt idx="122">
                  <c:v>45786</c:v>
                </c:pt>
                <c:pt idx="123">
                  <c:v>45785</c:v>
                </c:pt>
                <c:pt idx="124">
                  <c:v>45784</c:v>
                </c:pt>
                <c:pt idx="125">
                  <c:v>45783</c:v>
                </c:pt>
                <c:pt idx="126">
                  <c:v>45782</c:v>
                </c:pt>
                <c:pt idx="127">
                  <c:v>45779</c:v>
                </c:pt>
                <c:pt idx="128">
                  <c:v>45777</c:v>
                </c:pt>
                <c:pt idx="129">
                  <c:v>45776</c:v>
                </c:pt>
                <c:pt idx="130">
                  <c:v>45775</c:v>
                </c:pt>
                <c:pt idx="131">
                  <c:v>45772</c:v>
                </c:pt>
                <c:pt idx="132">
                  <c:v>45771</c:v>
                </c:pt>
                <c:pt idx="133">
                  <c:v>45770</c:v>
                </c:pt>
                <c:pt idx="134">
                  <c:v>45769</c:v>
                </c:pt>
                <c:pt idx="135">
                  <c:v>45768</c:v>
                </c:pt>
                <c:pt idx="136">
                  <c:v>45764</c:v>
                </c:pt>
                <c:pt idx="137">
                  <c:v>45763</c:v>
                </c:pt>
                <c:pt idx="138">
                  <c:v>45762</c:v>
                </c:pt>
                <c:pt idx="139">
                  <c:v>45758</c:v>
                </c:pt>
                <c:pt idx="140">
                  <c:v>45756</c:v>
                </c:pt>
                <c:pt idx="141">
                  <c:v>45755</c:v>
                </c:pt>
                <c:pt idx="142">
                  <c:v>45754</c:v>
                </c:pt>
                <c:pt idx="143">
                  <c:v>45751</c:v>
                </c:pt>
                <c:pt idx="144">
                  <c:v>45750</c:v>
                </c:pt>
                <c:pt idx="145">
                  <c:v>45749</c:v>
                </c:pt>
                <c:pt idx="146">
                  <c:v>45748</c:v>
                </c:pt>
                <c:pt idx="147">
                  <c:v>45744</c:v>
                </c:pt>
                <c:pt idx="148">
                  <c:v>45743</c:v>
                </c:pt>
                <c:pt idx="149">
                  <c:v>45742</c:v>
                </c:pt>
                <c:pt idx="150">
                  <c:v>45741</c:v>
                </c:pt>
                <c:pt idx="151">
                  <c:v>45740</c:v>
                </c:pt>
                <c:pt idx="152">
                  <c:v>45737</c:v>
                </c:pt>
                <c:pt idx="153">
                  <c:v>45736</c:v>
                </c:pt>
                <c:pt idx="154">
                  <c:v>45735</c:v>
                </c:pt>
                <c:pt idx="155">
                  <c:v>45734</c:v>
                </c:pt>
                <c:pt idx="156">
                  <c:v>45733</c:v>
                </c:pt>
                <c:pt idx="157">
                  <c:v>45729</c:v>
                </c:pt>
                <c:pt idx="158">
                  <c:v>45728</c:v>
                </c:pt>
                <c:pt idx="159">
                  <c:v>45727</c:v>
                </c:pt>
                <c:pt idx="160">
                  <c:v>45726</c:v>
                </c:pt>
                <c:pt idx="161">
                  <c:v>45723</c:v>
                </c:pt>
                <c:pt idx="162">
                  <c:v>45722</c:v>
                </c:pt>
                <c:pt idx="163">
                  <c:v>45721</c:v>
                </c:pt>
                <c:pt idx="164">
                  <c:v>45720</c:v>
                </c:pt>
                <c:pt idx="165">
                  <c:v>45719</c:v>
                </c:pt>
                <c:pt idx="166">
                  <c:v>45716</c:v>
                </c:pt>
                <c:pt idx="167">
                  <c:v>45715</c:v>
                </c:pt>
                <c:pt idx="168">
                  <c:v>45713</c:v>
                </c:pt>
                <c:pt idx="169">
                  <c:v>45712</c:v>
                </c:pt>
                <c:pt idx="170">
                  <c:v>45709</c:v>
                </c:pt>
                <c:pt idx="171">
                  <c:v>45708</c:v>
                </c:pt>
                <c:pt idx="172">
                  <c:v>45707</c:v>
                </c:pt>
                <c:pt idx="173">
                  <c:v>45706</c:v>
                </c:pt>
                <c:pt idx="174">
                  <c:v>45705</c:v>
                </c:pt>
                <c:pt idx="175">
                  <c:v>45702</c:v>
                </c:pt>
                <c:pt idx="176">
                  <c:v>45701</c:v>
                </c:pt>
                <c:pt idx="177">
                  <c:v>45700</c:v>
                </c:pt>
                <c:pt idx="178">
                  <c:v>45699</c:v>
                </c:pt>
                <c:pt idx="179">
                  <c:v>45698</c:v>
                </c:pt>
                <c:pt idx="180">
                  <c:v>45695</c:v>
                </c:pt>
                <c:pt idx="181">
                  <c:v>45694</c:v>
                </c:pt>
                <c:pt idx="182">
                  <c:v>45693</c:v>
                </c:pt>
                <c:pt idx="183">
                  <c:v>45692</c:v>
                </c:pt>
                <c:pt idx="184">
                  <c:v>45691</c:v>
                </c:pt>
                <c:pt idx="185">
                  <c:v>45689</c:v>
                </c:pt>
                <c:pt idx="186">
                  <c:v>45688</c:v>
                </c:pt>
                <c:pt idx="187">
                  <c:v>45687</c:v>
                </c:pt>
                <c:pt idx="188">
                  <c:v>45686</c:v>
                </c:pt>
                <c:pt idx="189">
                  <c:v>45685</c:v>
                </c:pt>
                <c:pt idx="190">
                  <c:v>45684</c:v>
                </c:pt>
                <c:pt idx="191">
                  <c:v>45681</c:v>
                </c:pt>
                <c:pt idx="192">
                  <c:v>45680</c:v>
                </c:pt>
                <c:pt idx="193">
                  <c:v>45679</c:v>
                </c:pt>
                <c:pt idx="194">
                  <c:v>45678</c:v>
                </c:pt>
                <c:pt idx="195">
                  <c:v>45677</c:v>
                </c:pt>
                <c:pt idx="196">
                  <c:v>45674</c:v>
                </c:pt>
                <c:pt idx="197">
                  <c:v>45673</c:v>
                </c:pt>
                <c:pt idx="198">
                  <c:v>45672</c:v>
                </c:pt>
                <c:pt idx="199">
                  <c:v>45671</c:v>
                </c:pt>
                <c:pt idx="200">
                  <c:v>45670</c:v>
                </c:pt>
                <c:pt idx="201">
                  <c:v>45667</c:v>
                </c:pt>
                <c:pt idx="202">
                  <c:v>45666</c:v>
                </c:pt>
                <c:pt idx="203">
                  <c:v>45665</c:v>
                </c:pt>
                <c:pt idx="204">
                  <c:v>45664</c:v>
                </c:pt>
                <c:pt idx="205">
                  <c:v>45663</c:v>
                </c:pt>
                <c:pt idx="206">
                  <c:v>45660</c:v>
                </c:pt>
                <c:pt idx="207">
                  <c:v>45659</c:v>
                </c:pt>
                <c:pt idx="208">
                  <c:v>45658</c:v>
                </c:pt>
                <c:pt idx="209">
                  <c:v>45657</c:v>
                </c:pt>
                <c:pt idx="210">
                  <c:v>45656</c:v>
                </c:pt>
                <c:pt idx="211">
                  <c:v>45653</c:v>
                </c:pt>
                <c:pt idx="212">
                  <c:v>45652</c:v>
                </c:pt>
                <c:pt idx="213">
                  <c:v>45650</c:v>
                </c:pt>
                <c:pt idx="214">
                  <c:v>45649</c:v>
                </c:pt>
                <c:pt idx="215">
                  <c:v>45646</c:v>
                </c:pt>
                <c:pt idx="216">
                  <c:v>45645</c:v>
                </c:pt>
                <c:pt idx="217">
                  <c:v>45644</c:v>
                </c:pt>
                <c:pt idx="218">
                  <c:v>45643</c:v>
                </c:pt>
                <c:pt idx="219">
                  <c:v>45642</c:v>
                </c:pt>
                <c:pt idx="220">
                  <c:v>45639</c:v>
                </c:pt>
                <c:pt idx="221">
                  <c:v>45638</c:v>
                </c:pt>
                <c:pt idx="222">
                  <c:v>45637</c:v>
                </c:pt>
                <c:pt idx="223">
                  <c:v>45636</c:v>
                </c:pt>
                <c:pt idx="224">
                  <c:v>45635</c:v>
                </c:pt>
                <c:pt idx="225">
                  <c:v>45632</c:v>
                </c:pt>
                <c:pt idx="226">
                  <c:v>45631</c:v>
                </c:pt>
                <c:pt idx="227">
                  <c:v>45630</c:v>
                </c:pt>
                <c:pt idx="228">
                  <c:v>45629</c:v>
                </c:pt>
                <c:pt idx="229">
                  <c:v>45628</c:v>
                </c:pt>
                <c:pt idx="230">
                  <c:v>45625</c:v>
                </c:pt>
                <c:pt idx="231">
                  <c:v>45624</c:v>
                </c:pt>
                <c:pt idx="232">
                  <c:v>45623</c:v>
                </c:pt>
                <c:pt idx="233">
                  <c:v>45622</c:v>
                </c:pt>
                <c:pt idx="234">
                  <c:v>45621</c:v>
                </c:pt>
                <c:pt idx="235">
                  <c:v>45618</c:v>
                </c:pt>
                <c:pt idx="236">
                  <c:v>45617</c:v>
                </c:pt>
                <c:pt idx="237">
                  <c:v>45615</c:v>
                </c:pt>
                <c:pt idx="238">
                  <c:v>45614</c:v>
                </c:pt>
                <c:pt idx="239">
                  <c:v>45610</c:v>
                </c:pt>
                <c:pt idx="240">
                  <c:v>45609</c:v>
                </c:pt>
                <c:pt idx="241">
                  <c:v>45608</c:v>
                </c:pt>
                <c:pt idx="242">
                  <c:v>45607</c:v>
                </c:pt>
                <c:pt idx="243">
                  <c:v>45604</c:v>
                </c:pt>
                <c:pt idx="244">
                  <c:v>45603</c:v>
                </c:pt>
                <c:pt idx="245">
                  <c:v>45602</c:v>
                </c:pt>
                <c:pt idx="246">
                  <c:v>45601</c:v>
                </c:pt>
                <c:pt idx="247">
                  <c:v>45600</c:v>
                </c:pt>
                <c:pt idx="248">
                  <c:v>45597</c:v>
                </c:pt>
                <c:pt idx="249">
                  <c:v>45596</c:v>
                </c:pt>
                <c:pt idx="250">
                  <c:v>45595</c:v>
                </c:pt>
                <c:pt idx="251">
                  <c:v>45594</c:v>
                </c:pt>
                <c:pt idx="252">
                  <c:v>45593</c:v>
                </c:pt>
                <c:pt idx="253">
                  <c:v>45590</c:v>
                </c:pt>
                <c:pt idx="254">
                  <c:v>45589</c:v>
                </c:pt>
                <c:pt idx="255">
                  <c:v>45588</c:v>
                </c:pt>
                <c:pt idx="256">
                  <c:v>45587</c:v>
                </c:pt>
                <c:pt idx="257">
                  <c:v>45586</c:v>
                </c:pt>
                <c:pt idx="258">
                  <c:v>45583</c:v>
                </c:pt>
                <c:pt idx="259">
                  <c:v>45582</c:v>
                </c:pt>
                <c:pt idx="260">
                  <c:v>45581</c:v>
                </c:pt>
                <c:pt idx="261">
                  <c:v>45580</c:v>
                </c:pt>
                <c:pt idx="262">
                  <c:v>45579</c:v>
                </c:pt>
                <c:pt idx="263">
                  <c:v>45576</c:v>
                </c:pt>
                <c:pt idx="264">
                  <c:v>45575</c:v>
                </c:pt>
                <c:pt idx="265">
                  <c:v>45574</c:v>
                </c:pt>
                <c:pt idx="266">
                  <c:v>45573</c:v>
                </c:pt>
                <c:pt idx="267">
                  <c:v>45572</c:v>
                </c:pt>
                <c:pt idx="268">
                  <c:v>45569</c:v>
                </c:pt>
                <c:pt idx="269">
                  <c:v>45568</c:v>
                </c:pt>
                <c:pt idx="270">
                  <c:v>45566</c:v>
                </c:pt>
                <c:pt idx="271">
                  <c:v>45565</c:v>
                </c:pt>
                <c:pt idx="272">
                  <c:v>45562</c:v>
                </c:pt>
                <c:pt idx="273">
                  <c:v>45561</c:v>
                </c:pt>
                <c:pt idx="274">
                  <c:v>45560</c:v>
                </c:pt>
                <c:pt idx="275">
                  <c:v>45559</c:v>
                </c:pt>
                <c:pt idx="276">
                  <c:v>45558</c:v>
                </c:pt>
                <c:pt idx="277">
                  <c:v>45555</c:v>
                </c:pt>
                <c:pt idx="278">
                  <c:v>45554</c:v>
                </c:pt>
                <c:pt idx="279">
                  <c:v>45553</c:v>
                </c:pt>
                <c:pt idx="280">
                  <c:v>45552</c:v>
                </c:pt>
                <c:pt idx="281">
                  <c:v>45551</c:v>
                </c:pt>
                <c:pt idx="282">
                  <c:v>45548</c:v>
                </c:pt>
                <c:pt idx="283">
                  <c:v>45547</c:v>
                </c:pt>
                <c:pt idx="284">
                  <c:v>45546</c:v>
                </c:pt>
                <c:pt idx="285">
                  <c:v>45545</c:v>
                </c:pt>
                <c:pt idx="286">
                  <c:v>45544</c:v>
                </c:pt>
                <c:pt idx="287">
                  <c:v>45541</c:v>
                </c:pt>
                <c:pt idx="288">
                  <c:v>45540</c:v>
                </c:pt>
                <c:pt idx="289">
                  <c:v>45539</c:v>
                </c:pt>
                <c:pt idx="290">
                  <c:v>45538</c:v>
                </c:pt>
                <c:pt idx="291">
                  <c:v>45537</c:v>
                </c:pt>
                <c:pt idx="292">
                  <c:v>45534</c:v>
                </c:pt>
                <c:pt idx="293">
                  <c:v>45533</c:v>
                </c:pt>
                <c:pt idx="294">
                  <c:v>45532</c:v>
                </c:pt>
                <c:pt idx="295">
                  <c:v>45531</c:v>
                </c:pt>
                <c:pt idx="296">
                  <c:v>45530</c:v>
                </c:pt>
                <c:pt idx="297">
                  <c:v>45527</c:v>
                </c:pt>
                <c:pt idx="298">
                  <c:v>45526</c:v>
                </c:pt>
                <c:pt idx="299">
                  <c:v>45525</c:v>
                </c:pt>
                <c:pt idx="300">
                  <c:v>45524</c:v>
                </c:pt>
                <c:pt idx="301">
                  <c:v>45523</c:v>
                </c:pt>
                <c:pt idx="302">
                  <c:v>45520</c:v>
                </c:pt>
                <c:pt idx="303">
                  <c:v>45518</c:v>
                </c:pt>
                <c:pt idx="304">
                  <c:v>45517</c:v>
                </c:pt>
                <c:pt idx="305">
                  <c:v>45516</c:v>
                </c:pt>
                <c:pt idx="306">
                  <c:v>45513</c:v>
                </c:pt>
                <c:pt idx="307">
                  <c:v>45512</c:v>
                </c:pt>
                <c:pt idx="308">
                  <c:v>45511</c:v>
                </c:pt>
                <c:pt idx="309">
                  <c:v>45510</c:v>
                </c:pt>
                <c:pt idx="310">
                  <c:v>45509</c:v>
                </c:pt>
                <c:pt idx="311">
                  <c:v>45506</c:v>
                </c:pt>
                <c:pt idx="312">
                  <c:v>45505</c:v>
                </c:pt>
                <c:pt idx="313">
                  <c:v>45504</c:v>
                </c:pt>
                <c:pt idx="314">
                  <c:v>45503</c:v>
                </c:pt>
                <c:pt idx="315">
                  <c:v>45502</c:v>
                </c:pt>
                <c:pt idx="316">
                  <c:v>45499</c:v>
                </c:pt>
                <c:pt idx="317">
                  <c:v>45498</c:v>
                </c:pt>
                <c:pt idx="318">
                  <c:v>45497</c:v>
                </c:pt>
                <c:pt idx="319">
                  <c:v>45496</c:v>
                </c:pt>
                <c:pt idx="320">
                  <c:v>45495</c:v>
                </c:pt>
                <c:pt idx="321">
                  <c:v>45492</c:v>
                </c:pt>
                <c:pt idx="322">
                  <c:v>45491</c:v>
                </c:pt>
                <c:pt idx="323">
                  <c:v>45489</c:v>
                </c:pt>
                <c:pt idx="324">
                  <c:v>45488</c:v>
                </c:pt>
                <c:pt idx="325">
                  <c:v>45485</c:v>
                </c:pt>
                <c:pt idx="326">
                  <c:v>45484</c:v>
                </c:pt>
                <c:pt idx="327">
                  <c:v>45483</c:v>
                </c:pt>
                <c:pt idx="328">
                  <c:v>45482</c:v>
                </c:pt>
                <c:pt idx="329">
                  <c:v>45481</c:v>
                </c:pt>
                <c:pt idx="330">
                  <c:v>45478</c:v>
                </c:pt>
                <c:pt idx="331">
                  <c:v>45477</c:v>
                </c:pt>
                <c:pt idx="332">
                  <c:v>45476</c:v>
                </c:pt>
                <c:pt idx="333">
                  <c:v>45475</c:v>
                </c:pt>
                <c:pt idx="334">
                  <c:v>45474</c:v>
                </c:pt>
                <c:pt idx="335">
                  <c:v>45471</c:v>
                </c:pt>
                <c:pt idx="336">
                  <c:v>45470</c:v>
                </c:pt>
                <c:pt idx="337">
                  <c:v>45469</c:v>
                </c:pt>
                <c:pt idx="338">
                  <c:v>45468</c:v>
                </c:pt>
                <c:pt idx="339">
                  <c:v>45467</c:v>
                </c:pt>
                <c:pt idx="340">
                  <c:v>45464</c:v>
                </c:pt>
                <c:pt idx="341">
                  <c:v>45463</c:v>
                </c:pt>
                <c:pt idx="342">
                  <c:v>45462</c:v>
                </c:pt>
                <c:pt idx="343">
                  <c:v>45461</c:v>
                </c:pt>
                <c:pt idx="344">
                  <c:v>45457</c:v>
                </c:pt>
                <c:pt idx="345">
                  <c:v>45456</c:v>
                </c:pt>
                <c:pt idx="346">
                  <c:v>45455</c:v>
                </c:pt>
                <c:pt idx="347">
                  <c:v>45454</c:v>
                </c:pt>
                <c:pt idx="348">
                  <c:v>45453</c:v>
                </c:pt>
                <c:pt idx="349">
                  <c:v>45450</c:v>
                </c:pt>
                <c:pt idx="350">
                  <c:v>45449</c:v>
                </c:pt>
                <c:pt idx="351">
                  <c:v>45448</c:v>
                </c:pt>
                <c:pt idx="352">
                  <c:v>45447</c:v>
                </c:pt>
                <c:pt idx="353">
                  <c:v>45446</c:v>
                </c:pt>
                <c:pt idx="354">
                  <c:v>45443</c:v>
                </c:pt>
                <c:pt idx="355">
                  <c:v>45442</c:v>
                </c:pt>
                <c:pt idx="356">
                  <c:v>45441</c:v>
                </c:pt>
                <c:pt idx="357">
                  <c:v>45440</c:v>
                </c:pt>
                <c:pt idx="358">
                  <c:v>45439</c:v>
                </c:pt>
                <c:pt idx="359">
                  <c:v>45436</c:v>
                </c:pt>
                <c:pt idx="360">
                  <c:v>45435</c:v>
                </c:pt>
                <c:pt idx="361">
                  <c:v>45434</c:v>
                </c:pt>
                <c:pt idx="362">
                  <c:v>45433</c:v>
                </c:pt>
                <c:pt idx="363">
                  <c:v>45430</c:v>
                </c:pt>
                <c:pt idx="364">
                  <c:v>45429</c:v>
                </c:pt>
                <c:pt idx="365">
                  <c:v>45428</c:v>
                </c:pt>
                <c:pt idx="366">
                  <c:v>45427</c:v>
                </c:pt>
                <c:pt idx="367">
                  <c:v>45426</c:v>
                </c:pt>
                <c:pt idx="368">
                  <c:v>45425</c:v>
                </c:pt>
                <c:pt idx="369">
                  <c:v>45422</c:v>
                </c:pt>
                <c:pt idx="370">
                  <c:v>45421</c:v>
                </c:pt>
                <c:pt idx="371">
                  <c:v>45420</c:v>
                </c:pt>
                <c:pt idx="372">
                  <c:v>45419</c:v>
                </c:pt>
                <c:pt idx="373">
                  <c:v>45418</c:v>
                </c:pt>
                <c:pt idx="374">
                  <c:v>45415</c:v>
                </c:pt>
                <c:pt idx="375">
                  <c:v>45414</c:v>
                </c:pt>
                <c:pt idx="376">
                  <c:v>45412</c:v>
                </c:pt>
                <c:pt idx="377">
                  <c:v>45411</c:v>
                </c:pt>
                <c:pt idx="378">
                  <c:v>45408</c:v>
                </c:pt>
                <c:pt idx="379">
                  <c:v>45407</c:v>
                </c:pt>
                <c:pt idx="380">
                  <c:v>45406</c:v>
                </c:pt>
                <c:pt idx="381">
                  <c:v>45405</c:v>
                </c:pt>
                <c:pt idx="382">
                  <c:v>45404</c:v>
                </c:pt>
                <c:pt idx="383">
                  <c:v>45401</c:v>
                </c:pt>
                <c:pt idx="384">
                  <c:v>45400</c:v>
                </c:pt>
                <c:pt idx="385">
                  <c:v>45398</c:v>
                </c:pt>
                <c:pt idx="386">
                  <c:v>45397</c:v>
                </c:pt>
                <c:pt idx="387">
                  <c:v>45394</c:v>
                </c:pt>
                <c:pt idx="388">
                  <c:v>45392</c:v>
                </c:pt>
                <c:pt idx="389">
                  <c:v>45391</c:v>
                </c:pt>
                <c:pt idx="390">
                  <c:v>45390</c:v>
                </c:pt>
                <c:pt idx="391">
                  <c:v>45387</c:v>
                </c:pt>
                <c:pt idx="392">
                  <c:v>45386</c:v>
                </c:pt>
                <c:pt idx="393">
                  <c:v>45385</c:v>
                </c:pt>
                <c:pt idx="394">
                  <c:v>45384</c:v>
                </c:pt>
                <c:pt idx="395">
                  <c:v>45383</c:v>
                </c:pt>
                <c:pt idx="396">
                  <c:v>45379</c:v>
                </c:pt>
                <c:pt idx="397">
                  <c:v>45378</c:v>
                </c:pt>
                <c:pt idx="398">
                  <c:v>45377</c:v>
                </c:pt>
                <c:pt idx="399">
                  <c:v>45373</c:v>
                </c:pt>
                <c:pt idx="400">
                  <c:v>45372</c:v>
                </c:pt>
                <c:pt idx="401">
                  <c:v>45371</c:v>
                </c:pt>
                <c:pt idx="402">
                  <c:v>45370</c:v>
                </c:pt>
                <c:pt idx="403">
                  <c:v>45369</c:v>
                </c:pt>
                <c:pt idx="404">
                  <c:v>45366</c:v>
                </c:pt>
                <c:pt idx="405">
                  <c:v>45365</c:v>
                </c:pt>
                <c:pt idx="406">
                  <c:v>45364</c:v>
                </c:pt>
                <c:pt idx="407">
                  <c:v>45363</c:v>
                </c:pt>
                <c:pt idx="408">
                  <c:v>45362</c:v>
                </c:pt>
                <c:pt idx="409">
                  <c:v>45358</c:v>
                </c:pt>
                <c:pt idx="410">
                  <c:v>45357</c:v>
                </c:pt>
                <c:pt idx="411">
                  <c:v>45356</c:v>
                </c:pt>
                <c:pt idx="412">
                  <c:v>45355</c:v>
                </c:pt>
                <c:pt idx="413">
                  <c:v>45353</c:v>
                </c:pt>
                <c:pt idx="414">
                  <c:v>45352</c:v>
                </c:pt>
                <c:pt idx="415">
                  <c:v>45351</c:v>
                </c:pt>
                <c:pt idx="416">
                  <c:v>45350</c:v>
                </c:pt>
                <c:pt idx="417">
                  <c:v>45349</c:v>
                </c:pt>
                <c:pt idx="418">
                  <c:v>45348</c:v>
                </c:pt>
                <c:pt idx="419">
                  <c:v>45345</c:v>
                </c:pt>
                <c:pt idx="420">
                  <c:v>45344</c:v>
                </c:pt>
                <c:pt idx="421">
                  <c:v>45343</c:v>
                </c:pt>
                <c:pt idx="422">
                  <c:v>45342</c:v>
                </c:pt>
                <c:pt idx="423">
                  <c:v>45341</c:v>
                </c:pt>
                <c:pt idx="424">
                  <c:v>45338</c:v>
                </c:pt>
                <c:pt idx="425">
                  <c:v>45337</c:v>
                </c:pt>
                <c:pt idx="426">
                  <c:v>45336</c:v>
                </c:pt>
                <c:pt idx="427">
                  <c:v>45335</c:v>
                </c:pt>
                <c:pt idx="428">
                  <c:v>45334</c:v>
                </c:pt>
                <c:pt idx="429">
                  <c:v>45331</c:v>
                </c:pt>
                <c:pt idx="430">
                  <c:v>45330</c:v>
                </c:pt>
                <c:pt idx="431">
                  <c:v>45329</c:v>
                </c:pt>
                <c:pt idx="432">
                  <c:v>45328</c:v>
                </c:pt>
                <c:pt idx="433">
                  <c:v>45327</c:v>
                </c:pt>
                <c:pt idx="434">
                  <c:v>45324</c:v>
                </c:pt>
                <c:pt idx="435">
                  <c:v>45323</c:v>
                </c:pt>
                <c:pt idx="436">
                  <c:v>45322</c:v>
                </c:pt>
                <c:pt idx="437">
                  <c:v>45321</c:v>
                </c:pt>
                <c:pt idx="438">
                  <c:v>45320</c:v>
                </c:pt>
                <c:pt idx="439">
                  <c:v>45316</c:v>
                </c:pt>
                <c:pt idx="440">
                  <c:v>45315</c:v>
                </c:pt>
                <c:pt idx="441">
                  <c:v>45314</c:v>
                </c:pt>
                <c:pt idx="442">
                  <c:v>45311</c:v>
                </c:pt>
                <c:pt idx="443">
                  <c:v>45310</c:v>
                </c:pt>
                <c:pt idx="444">
                  <c:v>45309</c:v>
                </c:pt>
                <c:pt idx="445">
                  <c:v>45308</c:v>
                </c:pt>
                <c:pt idx="446">
                  <c:v>45307</c:v>
                </c:pt>
                <c:pt idx="447">
                  <c:v>45306</c:v>
                </c:pt>
                <c:pt idx="448">
                  <c:v>45303</c:v>
                </c:pt>
                <c:pt idx="449">
                  <c:v>45302</c:v>
                </c:pt>
                <c:pt idx="450">
                  <c:v>45301</c:v>
                </c:pt>
                <c:pt idx="451">
                  <c:v>45300</c:v>
                </c:pt>
                <c:pt idx="452">
                  <c:v>45299</c:v>
                </c:pt>
                <c:pt idx="453">
                  <c:v>45296</c:v>
                </c:pt>
                <c:pt idx="454">
                  <c:v>45295</c:v>
                </c:pt>
                <c:pt idx="455">
                  <c:v>45294</c:v>
                </c:pt>
                <c:pt idx="456">
                  <c:v>45293</c:v>
                </c:pt>
                <c:pt idx="457">
                  <c:v>45292</c:v>
                </c:pt>
                <c:pt idx="458">
                  <c:v>45289</c:v>
                </c:pt>
                <c:pt idx="459">
                  <c:v>45288</c:v>
                </c:pt>
                <c:pt idx="460">
                  <c:v>45287</c:v>
                </c:pt>
                <c:pt idx="461">
                  <c:v>45286</c:v>
                </c:pt>
                <c:pt idx="462">
                  <c:v>45282</c:v>
                </c:pt>
                <c:pt idx="463">
                  <c:v>45281</c:v>
                </c:pt>
                <c:pt idx="464">
                  <c:v>45280</c:v>
                </c:pt>
                <c:pt idx="465">
                  <c:v>45279</c:v>
                </c:pt>
                <c:pt idx="466">
                  <c:v>45278</c:v>
                </c:pt>
                <c:pt idx="467">
                  <c:v>45275</c:v>
                </c:pt>
                <c:pt idx="468">
                  <c:v>45274</c:v>
                </c:pt>
                <c:pt idx="469">
                  <c:v>45273</c:v>
                </c:pt>
                <c:pt idx="470">
                  <c:v>45272</c:v>
                </c:pt>
                <c:pt idx="471">
                  <c:v>45271</c:v>
                </c:pt>
                <c:pt idx="472">
                  <c:v>45268</c:v>
                </c:pt>
                <c:pt idx="473">
                  <c:v>45267</c:v>
                </c:pt>
                <c:pt idx="474">
                  <c:v>45266</c:v>
                </c:pt>
                <c:pt idx="475">
                  <c:v>45265</c:v>
                </c:pt>
                <c:pt idx="476">
                  <c:v>45264</c:v>
                </c:pt>
                <c:pt idx="477">
                  <c:v>45261</c:v>
                </c:pt>
                <c:pt idx="478">
                  <c:v>45260</c:v>
                </c:pt>
                <c:pt idx="479">
                  <c:v>45259</c:v>
                </c:pt>
                <c:pt idx="480">
                  <c:v>45258</c:v>
                </c:pt>
                <c:pt idx="481">
                  <c:v>45254</c:v>
                </c:pt>
                <c:pt idx="482">
                  <c:v>45253</c:v>
                </c:pt>
                <c:pt idx="483">
                  <c:v>45252</c:v>
                </c:pt>
                <c:pt idx="484">
                  <c:v>45251</c:v>
                </c:pt>
                <c:pt idx="485">
                  <c:v>45250</c:v>
                </c:pt>
                <c:pt idx="486">
                  <c:v>45247</c:v>
                </c:pt>
                <c:pt idx="487">
                  <c:v>45246</c:v>
                </c:pt>
                <c:pt idx="488">
                  <c:v>45245</c:v>
                </c:pt>
                <c:pt idx="489">
                  <c:v>45243</c:v>
                </c:pt>
                <c:pt idx="490">
                  <c:v>45242</c:v>
                </c:pt>
                <c:pt idx="491">
                  <c:v>45240</c:v>
                </c:pt>
                <c:pt idx="492">
                  <c:v>45239</c:v>
                </c:pt>
                <c:pt idx="493">
                  <c:v>45238</c:v>
                </c:pt>
                <c:pt idx="494">
                  <c:v>45237</c:v>
                </c:pt>
                <c:pt idx="495">
                  <c:v>45236</c:v>
                </c:pt>
                <c:pt idx="496">
                  <c:v>45233</c:v>
                </c:pt>
                <c:pt idx="497">
                  <c:v>45232</c:v>
                </c:pt>
                <c:pt idx="498">
                  <c:v>45231</c:v>
                </c:pt>
                <c:pt idx="499">
                  <c:v>45230</c:v>
                </c:pt>
                <c:pt idx="500">
                  <c:v>45229</c:v>
                </c:pt>
                <c:pt idx="501">
                  <c:v>45226</c:v>
                </c:pt>
                <c:pt idx="502">
                  <c:v>45225</c:v>
                </c:pt>
                <c:pt idx="503">
                  <c:v>45224</c:v>
                </c:pt>
                <c:pt idx="504">
                  <c:v>45222</c:v>
                </c:pt>
                <c:pt idx="505">
                  <c:v>45219</c:v>
                </c:pt>
                <c:pt idx="506">
                  <c:v>45218</c:v>
                </c:pt>
                <c:pt idx="507">
                  <c:v>45217</c:v>
                </c:pt>
                <c:pt idx="508">
                  <c:v>45216</c:v>
                </c:pt>
                <c:pt idx="509">
                  <c:v>45215</c:v>
                </c:pt>
                <c:pt idx="510">
                  <c:v>45212</c:v>
                </c:pt>
                <c:pt idx="511">
                  <c:v>45211</c:v>
                </c:pt>
                <c:pt idx="512">
                  <c:v>45210</c:v>
                </c:pt>
                <c:pt idx="513">
                  <c:v>45209</c:v>
                </c:pt>
                <c:pt idx="514">
                  <c:v>45208</c:v>
                </c:pt>
                <c:pt idx="515">
                  <c:v>45205</c:v>
                </c:pt>
                <c:pt idx="516">
                  <c:v>45204</c:v>
                </c:pt>
                <c:pt idx="517">
                  <c:v>45203</c:v>
                </c:pt>
                <c:pt idx="518">
                  <c:v>45202</c:v>
                </c:pt>
                <c:pt idx="519">
                  <c:v>45198</c:v>
                </c:pt>
                <c:pt idx="520">
                  <c:v>45197</c:v>
                </c:pt>
                <c:pt idx="521">
                  <c:v>45196</c:v>
                </c:pt>
                <c:pt idx="522">
                  <c:v>45195</c:v>
                </c:pt>
                <c:pt idx="523">
                  <c:v>45194</c:v>
                </c:pt>
                <c:pt idx="524">
                  <c:v>45191</c:v>
                </c:pt>
                <c:pt idx="525">
                  <c:v>45190</c:v>
                </c:pt>
                <c:pt idx="526">
                  <c:v>45189</c:v>
                </c:pt>
                <c:pt idx="527">
                  <c:v>45187</c:v>
                </c:pt>
                <c:pt idx="528">
                  <c:v>45184</c:v>
                </c:pt>
                <c:pt idx="529">
                  <c:v>45183</c:v>
                </c:pt>
                <c:pt idx="530">
                  <c:v>45182</c:v>
                </c:pt>
                <c:pt idx="531">
                  <c:v>45181</c:v>
                </c:pt>
                <c:pt idx="532">
                  <c:v>45180</c:v>
                </c:pt>
                <c:pt idx="533">
                  <c:v>45177</c:v>
                </c:pt>
                <c:pt idx="534">
                  <c:v>45176</c:v>
                </c:pt>
                <c:pt idx="535">
                  <c:v>45175</c:v>
                </c:pt>
                <c:pt idx="536">
                  <c:v>45174</c:v>
                </c:pt>
                <c:pt idx="537">
                  <c:v>45173</c:v>
                </c:pt>
                <c:pt idx="538">
                  <c:v>45170</c:v>
                </c:pt>
                <c:pt idx="539">
                  <c:v>45169</c:v>
                </c:pt>
                <c:pt idx="540">
                  <c:v>45168</c:v>
                </c:pt>
                <c:pt idx="541">
                  <c:v>45167</c:v>
                </c:pt>
                <c:pt idx="542">
                  <c:v>45166</c:v>
                </c:pt>
                <c:pt idx="543">
                  <c:v>45163</c:v>
                </c:pt>
                <c:pt idx="544">
                  <c:v>45162</c:v>
                </c:pt>
                <c:pt idx="545">
                  <c:v>45161</c:v>
                </c:pt>
                <c:pt idx="546">
                  <c:v>45160</c:v>
                </c:pt>
                <c:pt idx="547">
                  <c:v>45159</c:v>
                </c:pt>
                <c:pt idx="548">
                  <c:v>45156</c:v>
                </c:pt>
                <c:pt idx="549">
                  <c:v>45155</c:v>
                </c:pt>
                <c:pt idx="550">
                  <c:v>45154</c:v>
                </c:pt>
                <c:pt idx="551">
                  <c:v>45152</c:v>
                </c:pt>
                <c:pt idx="552">
                  <c:v>45149</c:v>
                </c:pt>
                <c:pt idx="553">
                  <c:v>45148</c:v>
                </c:pt>
                <c:pt idx="554">
                  <c:v>45147</c:v>
                </c:pt>
                <c:pt idx="555">
                  <c:v>45146</c:v>
                </c:pt>
                <c:pt idx="556">
                  <c:v>45145</c:v>
                </c:pt>
                <c:pt idx="557">
                  <c:v>45142</c:v>
                </c:pt>
                <c:pt idx="558">
                  <c:v>45141</c:v>
                </c:pt>
                <c:pt idx="559">
                  <c:v>45140</c:v>
                </c:pt>
                <c:pt idx="560">
                  <c:v>45139</c:v>
                </c:pt>
                <c:pt idx="561">
                  <c:v>45138</c:v>
                </c:pt>
                <c:pt idx="562">
                  <c:v>45135</c:v>
                </c:pt>
                <c:pt idx="563">
                  <c:v>45134</c:v>
                </c:pt>
                <c:pt idx="564">
                  <c:v>45133</c:v>
                </c:pt>
                <c:pt idx="565">
                  <c:v>45132</c:v>
                </c:pt>
                <c:pt idx="566">
                  <c:v>45131</c:v>
                </c:pt>
                <c:pt idx="567">
                  <c:v>45128</c:v>
                </c:pt>
                <c:pt idx="568">
                  <c:v>45127</c:v>
                </c:pt>
                <c:pt idx="569">
                  <c:v>45126</c:v>
                </c:pt>
                <c:pt idx="570">
                  <c:v>45125</c:v>
                </c:pt>
                <c:pt idx="571">
                  <c:v>45124</c:v>
                </c:pt>
                <c:pt idx="572">
                  <c:v>45121</c:v>
                </c:pt>
                <c:pt idx="573">
                  <c:v>45120</c:v>
                </c:pt>
                <c:pt idx="574">
                  <c:v>45119</c:v>
                </c:pt>
                <c:pt idx="575">
                  <c:v>45118</c:v>
                </c:pt>
                <c:pt idx="576">
                  <c:v>45117</c:v>
                </c:pt>
                <c:pt idx="577">
                  <c:v>45114</c:v>
                </c:pt>
                <c:pt idx="578">
                  <c:v>45113</c:v>
                </c:pt>
                <c:pt idx="579">
                  <c:v>45112</c:v>
                </c:pt>
                <c:pt idx="580">
                  <c:v>45111</c:v>
                </c:pt>
                <c:pt idx="581">
                  <c:v>45110</c:v>
                </c:pt>
                <c:pt idx="582">
                  <c:v>45107</c:v>
                </c:pt>
                <c:pt idx="583">
                  <c:v>45105</c:v>
                </c:pt>
                <c:pt idx="584">
                  <c:v>45104</c:v>
                </c:pt>
                <c:pt idx="585">
                  <c:v>45103</c:v>
                </c:pt>
                <c:pt idx="586">
                  <c:v>45100</c:v>
                </c:pt>
                <c:pt idx="587">
                  <c:v>45099</c:v>
                </c:pt>
                <c:pt idx="588">
                  <c:v>45098</c:v>
                </c:pt>
                <c:pt idx="589">
                  <c:v>45097</c:v>
                </c:pt>
                <c:pt idx="590">
                  <c:v>45096</c:v>
                </c:pt>
                <c:pt idx="591">
                  <c:v>45093</c:v>
                </c:pt>
                <c:pt idx="592">
                  <c:v>45092</c:v>
                </c:pt>
                <c:pt idx="593">
                  <c:v>45091</c:v>
                </c:pt>
                <c:pt idx="594">
                  <c:v>45090</c:v>
                </c:pt>
                <c:pt idx="595">
                  <c:v>45089</c:v>
                </c:pt>
                <c:pt idx="596">
                  <c:v>45086</c:v>
                </c:pt>
                <c:pt idx="597">
                  <c:v>45085</c:v>
                </c:pt>
                <c:pt idx="598">
                  <c:v>45084</c:v>
                </c:pt>
                <c:pt idx="599">
                  <c:v>45083</c:v>
                </c:pt>
                <c:pt idx="600">
                  <c:v>45082</c:v>
                </c:pt>
                <c:pt idx="601">
                  <c:v>45079</c:v>
                </c:pt>
                <c:pt idx="602">
                  <c:v>45078</c:v>
                </c:pt>
                <c:pt idx="603">
                  <c:v>45077</c:v>
                </c:pt>
                <c:pt idx="604">
                  <c:v>45076</c:v>
                </c:pt>
                <c:pt idx="605">
                  <c:v>45075</c:v>
                </c:pt>
                <c:pt idx="606">
                  <c:v>45072</c:v>
                </c:pt>
                <c:pt idx="607">
                  <c:v>45071</c:v>
                </c:pt>
                <c:pt idx="608">
                  <c:v>45070</c:v>
                </c:pt>
                <c:pt idx="609">
                  <c:v>45069</c:v>
                </c:pt>
                <c:pt idx="610">
                  <c:v>45068</c:v>
                </c:pt>
                <c:pt idx="611">
                  <c:v>45065</c:v>
                </c:pt>
                <c:pt idx="612">
                  <c:v>45064</c:v>
                </c:pt>
                <c:pt idx="613">
                  <c:v>45063</c:v>
                </c:pt>
                <c:pt idx="614">
                  <c:v>45062</c:v>
                </c:pt>
                <c:pt idx="615">
                  <c:v>45061</c:v>
                </c:pt>
                <c:pt idx="616">
                  <c:v>45058</c:v>
                </c:pt>
                <c:pt idx="617">
                  <c:v>45057</c:v>
                </c:pt>
                <c:pt idx="618">
                  <c:v>45056</c:v>
                </c:pt>
                <c:pt idx="619">
                  <c:v>45055</c:v>
                </c:pt>
                <c:pt idx="620">
                  <c:v>45054</c:v>
                </c:pt>
                <c:pt idx="621">
                  <c:v>45051</c:v>
                </c:pt>
                <c:pt idx="622">
                  <c:v>45050</c:v>
                </c:pt>
                <c:pt idx="623">
                  <c:v>45049</c:v>
                </c:pt>
                <c:pt idx="624">
                  <c:v>45048</c:v>
                </c:pt>
                <c:pt idx="625">
                  <c:v>45044</c:v>
                </c:pt>
                <c:pt idx="626">
                  <c:v>45043</c:v>
                </c:pt>
                <c:pt idx="627">
                  <c:v>45042</c:v>
                </c:pt>
                <c:pt idx="628">
                  <c:v>45041</c:v>
                </c:pt>
                <c:pt idx="629">
                  <c:v>45040</c:v>
                </c:pt>
                <c:pt idx="630">
                  <c:v>45037</c:v>
                </c:pt>
                <c:pt idx="631">
                  <c:v>45036</c:v>
                </c:pt>
                <c:pt idx="632">
                  <c:v>45035</c:v>
                </c:pt>
                <c:pt idx="633">
                  <c:v>45034</c:v>
                </c:pt>
                <c:pt idx="634">
                  <c:v>45033</c:v>
                </c:pt>
                <c:pt idx="635">
                  <c:v>45029</c:v>
                </c:pt>
                <c:pt idx="636">
                  <c:v>45028</c:v>
                </c:pt>
                <c:pt idx="637">
                  <c:v>45027</c:v>
                </c:pt>
                <c:pt idx="638">
                  <c:v>45026</c:v>
                </c:pt>
                <c:pt idx="639">
                  <c:v>45022</c:v>
                </c:pt>
                <c:pt idx="640">
                  <c:v>45021</c:v>
                </c:pt>
                <c:pt idx="641">
                  <c:v>45019</c:v>
                </c:pt>
                <c:pt idx="642">
                  <c:v>45016</c:v>
                </c:pt>
                <c:pt idx="643">
                  <c:v>45014</c:v>
                </c:pt>
                <c:pt idx="644">
                  <c:v>45013</c:v>
                </c:pt>
                <c:pt idx="645">
                  <c:v>45012</c:v>
                </c:pt>
                <c:pt idx="646">
                  <c:v>45009</c:v>
                </c:pt>
                <c:pt idx="647">
                  <c:v>45008</c:v>
                </c:pt>
                <c:pt idx="648">
                  <c:v>45007</c:v>
                </c:pt>
                <c:pt idx="649">
                  <c:v>45006</c:v>
                </c:pt>
                <c:pt idx="650">
                  <c:v>45005</c:v>
                </c:pt>
                <c:pt idx="651">
                  <c:v>45002</c:v>
                </c:pt>
                <c:pt idx="652">
                  <c:v>45001</c:v>
                </c:pt>
                <c:pt idx="653">
                  <c:v>45000</c:v>
                </c:pt>
                <c:pt idx="654">
                  <c:v>44999</c:v>
                </c:pt>
                <c:pt idx="655">
                  <c:v>44998</c:v>
                </c:pt>
                <c:pt idx="656">
                  <c:v>44995</c:v>
                </c:pt>
                <c:pt idx="657">
                  <c:v>44994</c:v>
                </c:pt>
                <c:pt idx="658">
                  <c:v>44993</c:v>
                </c:pt>
                <c:pt idx="659">
                  <c:v>44991</c:v>
                </c:pt>
                <c:pt idx="660">
                  <c:v>44988</c:v>
                </c:pt>
                <c:pt idx="661">
                  <c:v>44987</c:v>
                </c:pt>
                <c:pt idx="662">
                  <c:v>44986</c:v>
                </c:pt>
                <c:pt idx="663">
                  <c:v>44985</c:v>
                </c:pt>
                <c:pt idx="664">
                  <c:v>44984</c:v>
                </c:pt>
                <c:pt idx="665">
                  <c:v>44981</c:v>
                </c:pt>
                <c:pt idx="666">
                  <c:v>44980</c:v>
                </c:pt>
                <c:pt idx="667">
                  <c:v>44979</c:v>
                </c:pt>
                <c:pt idx="668">
                  <c:v>44978</c:v>
                </c:pt>
                <c:pt idx="669">
                  <c:v>44977</c:v>
                </c:pt>
                <c:pt idx="670">
                  <c:v>44974</c:v>
                </c:pt>
                <c:pt idx="671">
                  <c:v>44973</c:v>
                </c:pt>
                <c:pt idx="672">
                  <c:v>44972</c:v>
                </c:pt>
                <c:pt idx="673">
                  <c:v>44971</c:v>
                </c:pt>
                <c:pt idx="674">
                  <c:v>44970</c:v>
                </c:pt>
                <c:pt idx="675">
                  <c:v>44967</c:v>
                </c:pt>
                <c:pt idx="676">
                  <c:v>44966</c:v>
                </c:pt>
                <c:pt idx="677">
                  <c:v>44965</c:v>
                </c:pt>
                <c:pt idx="678">
                  <c:v>44964</c:v>
                </c:pt>
                <c:pt idx="679">
                  <c:v>44963</c:v>
                </c:pt>
                <c:pt idx="680">
                  <c:v>44960</c:v>
                </c:pt>
                <c:pt idx="681">
                  <c:v>44959</c:v>
                </c:pt>
                <c:pt idx="682">
                  <c:v>44958</c:v>
                </c:pt>
                <c:pt idx="683">
                  <c:v>44957</c:v>
                </c:pt>
                <c:pt idx="684">
                  <c:v>44956</c:v>
                </c:pt>
                <c:pt idx="685">
                  <c:v>44953</c:v>
                </c:pt>
                <c:pt idx="686">
                  <c:v>44951</c:v>
                </c:pt>
                <c:pt idx="687">
                  <c:v>44950</c:v>
                </c:pt>
                <c:pt idx="688">
                  <c:v>44949</c:v>
                </c:pt>
                <c:pt idx="689">
                  <c:v>44946</c:v>
                </c:pt>
                <c:pt idx="690">
                  <c:v>44945</c:v>
                </c:pt>
                <c:pt idx="691">
                  <c:v>44944</c:v>
                </c:pt>
                <c:pt idx="692">
                  <c:v>44943</c:v>
                </c:pt>
                <c:pt idx="693">
                  <c:v>44942</c:v>
                </c:pt>
                <c:pt idx="694">
                  <c:v>44939</c:v>
                </c:pt>
                <c:pt idx="695">
                  <c:v>44938</c:v>
                </c:pt>
                <c:pt idx="696">
                  <c:v>44937</c:v>
                </c:pt>
                <c:pt idx="697">
                  <c:v>44936</c:v>
                </c:pt>
                <c:pt idx="698">
                  <c:v>44935</c:v>
                </c:pt>
                <c:pt idx="699">
                  <c:v>44932</c:v>
                </c:pt>
                <c:pt idx="700">
                  <c:v>44931</c:v>
                </c:pt>
                <c:pt idx="701">
                  <c:v>44930</c:v>
                </c:pt>
                <c:pt idx="702">
                  <c:v>44929</c:v>
                </c:pt>
                <c:pt idx="703">
                  <c:v>44928</c:v>
                </c:pt>
                <c:pt idx="704">
                  <c:v>44925</c:v>
                </c:pt>
                <c:pt idx="705">
                  <c:v>44924</c:v>
                </c:pt>
                <c:pt idx="706">
                  <c:v>44923</c:v>
                </c:pt>
                <c:pt idx="707">
                  <c:v>44922</c:v>
                </c:pt>
                <c:pt idx="708">
                  <c:v>44921</c:v>
                </c:pt>
                <c:pt idx="709">
                  <c:v>44918</c:v>
                </c:pt>
                <c:pt idx="710">
                  <c:v>44917</c:v>
                </c:pt>
                <c:pt idx="711">
                  <c:v>44916</c:v>
                </c:pt>
                <c:pt idx="712">
                  <c:v>44915</c:v>
                </c:pt>
                <c:pt idx="713">
                  <c:v>44914</c:v>
                </c:pt>
                <c:pt idx="714">
                  <c:v>44911</c:v>
                </c:pt>
                <c:pt idx="715">
                  <c:v>44910</c:v>
                </c:pt>
                <c:pt idx="716">
                  <c:v>44909</c:v>
                </c:pt>
                <c:pt idx="717">
                  <c:v>44908</c:v>
                </c:pt>
                <c:pt idx="718">
                  <c:v>44907</c:v>
                </c:pt>
                <c:pt idx="719">
                  <c:v>44904</c:v>
                </c:pt>
                <c:pt idx="720">
                  <c:v>44903</c:v>
                </c:pt>
                <c:pt idx="721">
                  <c:v>44902</c:v>
                </c:pt>
                <c:pt idx="722">
                  <c:v>44901</c:v>
                </c:pt>
                <c:pt idx="723">
                  <c:v>44900</c:v>
                </c:pt>
                <c:pt idx="724">
                  <c:v>44897</c:v>
                </c:pt>
                <c:pt idx="725">
                  <c:v>44896</c:v>
                </c:pt>
                <c:pt idx="726">
                  <c:v>44895</c:v>
                </c:pt>
                <c:pt idx="727">
                  <c:v>44894</c:v>
                </c:pt>
                <c:pt idx="728">
                  <c:v>44893</c:v>
                </c:pt>
                <c:pt idx="729">
                  <c:v>44890</c:v>
                </c:pt>
                <c:pt idx="730">
                  <c:v>44889</c:v>
                </c:pt>
                <c:pt idx="731">
                  <c:v>44888</c:v>
                </c:pt>
                <c:pt idx="732">
                  <c:v>44887</c:v>
                </c:pt>
                <c:pt idx="733">
                  <c:v>44886</c:v>
                </c:pt>
                <c:pt idx="734">
                  <c:v>44883</c:v>
                </c:pt>
                <c:pt idx="735">
                  <c:v>44882</c:v>
                </c:pt>
                <c:pt idx="736">
                  <c:v>44881</c:v>
                </c:pt>
                <c:pt idx="737">
                  <c:v>44880</c:v>
                </c:pt>
                <c:pt idx="738">
                  <c:v>44879</c:v>
                </c:pt>
                <c:pt idx="739">
                  <c:v>44876</c:v>
                </c:pt>
                <c:pt idx="740">
                  <c:v>44875</c:v>
                </c:pt>
                <c:pt idx="741">
                  <c:v>44874</c:v>
                </c:pt>
                <c:pt idx="742">
                  <c:v>44872</c:v>
                </c:pt>
                <c:pt idx="743">
                  <c:v>44869</c:v>
                </c:pt>
                <c:pt idx="744">
                  <c:v>44868</c:v>
                </c:pt>
                <c:pt idx="745">
                  <c:v>44867</c:v>
                </c:pt>
                <c:pt idx="746">
                  <c:v>44866</c:v>
                </c:pt>
                <c:pt idx="747">
                  <c:v>44865</c:v>
                </c:pt>
                <c:pt idx="748">
                  <c:v>44862</c:v>
                </c:pt>
                <c:pt idx="749">
                  <c:v>44861</c:v>
                </c:pt>
                <c:pt idx="750">
                  <c:v>44859</c:v>
                </c:pt>
                <c:pt idx="751">
                  <c:v>44858</c:v>
                </c:pt>
                <c:pt idx="752">
                  <c:v>44855</c:v>
                </c:pt>
                <c:pt idx="753">
                  <c:v>44854</c:v>
                </c:pt>
                <c:pt idx="754">
                  <c:v>44853</c:v>
                </c:pt>
                <c:pt idx="755">
                  <c:v>44852</c:v>
                </c:pt>
                <c:pt idx="756">
                  <c:v>44851</c:v>
                </c:pt>
                <c:pt idx="757">
                  <c:v>44848</c:v>
                </c:pt>
                <c:pt idx="758">
                  <c:v>44847</c:v>
                </c:pt>
                <c:pt idx="759">
                  <c:v>44846</c:v>
                </c:pt>
                <c:pt idx="760">
                  <c:v>44845</c:v>
                </c:pt>
                <c:pt idx="761">
                  <c:v>44844</c:v>
                </c:pt>
                <c:pt idx="762">
                  <c:v>44841</c:v>
                </c:pt>
                <c:pt idx="763">
                  <c:v>44840</c:v>
                </c:pt>
                <c:pt idx="764">
                  <c:v>44838</c:v>
                </c:pt>
                <c:pt idx="765">
                  <c:v>44837</c:v>
                </c:pt>
                <c:pt idx="766">
                  <c:v>44834</c:v>
                </c:pt>
                <c:pt idx="767">
                  <c:v>44833</c:v>
                </c:pt>
                <c:pt idx="768">
                  <c:v>44832</c:v>
                </c:pt>
                <c:pt idx="769">
                  <c:v>44831</c:v>
                </c:pt>
                <c:pt idx="770">
                  <c:v>44830</c:v>
                </c:pt>
                <c:pt idx="771">
                  <c:v>44827</c:v>
                </c:pt>
                <c:pt idx="772">
                  <c:v>44826</c:v>
                </c:pt>
                <c:pt idx="773">
                  <c:v>44825</c:v>
                </c:pt>
                <c:pt idx="774">
                  <c:v>44824</c:v>
                </c:pt>
                <c:pt idx="775">
                  <c:v>44823</c:v>
                </c:pt>
                <c:pt idx="776">
                  <c:v>44820</c:v>
                </c:pt>
                <c:pt idx="777">
                  <c:v>44819</c:v>
                </c:pt>
                <c:pt idx="778">
                  <c:v>44818</c:v>
                </c:pt>
                <c:pt idx="779">
                  <c:v>44817</c:v>
                </c:pt>
                <c:pt idx="780">
                  <c:v>44816</c:v>
                </c:pt>
                <c:pt idx="781">
                  <c:v>44813</c:v>
                </c:pt>
                <c:pt idx="782">
                  <c:v>44812</c:v>
                </c:pt>
                <c:pt idx="783">
                  <c:v>44811</c:v>
                </c:pt>
                <c:pt idx="784">
                  <c:v>44810</c:v>
                </c:pt>
                <c:pt idx="785">
                  <c:v>44809</c:v>
                </c:pt>
                <c:pt idx="786">
                  <c:v>44806</c:v>
                </c:pt>
                <c:pt idx="787">
                  <c:v>44805</c:v>
                </c:pt>
                <c:pt idx="788">
                  <c:v>44803</c:v>
                </c:pt>
                <c:pt idx="789">
                  <c:v>44802</c:v>
                </c:pt>
                <c:pt idx="790">
                  <c:v>44799</c:v>
                </c:pt>
                <c:pt idx="791">
                  <c:v>44798</c:v>
                </c:pt>
                <c:pt idx="792">
                  <c:v>44797</c:v>
                </c:pt>
                <c:pt idx="793">
                  <c:v>44796</c:v>
                </c:pt>
                <c:pt idx="794">
                  <c:v>44795</c:v>
                </c:pt>
                <c:pt idx="795">
                  <c:v>44792</c:v>
                </c:pt>
                <c:pt idx="796">
                  <c:v>44791</c:v>
                </c:pt>
                <c:pt idx="797">
                  <c:v>44790</c:v>
                </c:pt>
                <c:pt idx="798">
                  <c:v>44789</c:v>
                </c:pt>
                <c:pt idx="799">
                  <c:v>44785</c:v>
                </c:pt>
                <c:pt idx="800">
                  <c:v>44784</c:v>
                </c:pt>
                <c:pt idx="801">
                  <c:v>44783</c:v>
                </c:pt>
                <c:pt idx="802">
                  <c:v>44781</c:v>
                </c:pt>
                <c:pt idx="803">
                  <c:v>44778</c:v>
                </c:pt>
                <c:pt idx="804">
                  <c:v>44777</c:v>
                </c:pt>
                <c:pt idx="805">
                  <c:v>44776</c:v>
                </c:pt>
                <c:pt idx="806">
                  <c:v>44775</c:v>
                </c:pt>
                <c:pt idx="807">
                  <c:v>44774</c:v>
                </c:pt>
                <c:pt idx="808">
                  <c:v>44771</c:v>
                </c:pt>
                <c:pt idx="809">
                  <c:v>44770</c:v>
                </c:pt>
                <c:pt idx="810">
                  <c:v>44769</c:v>
                </c:pt>
                <c:pt idx="811">
                  <c:v>44768</c:v>
                </c:pt>
                <c:pt idx="812">
                  <c:v>44767</c:v>
                </c:pt>
                <c:pt idx="813">
                  <c:v>44764</c:v>
                </c:pt>
                <c:pt idx="814">
                  <c:v>44763</c:v>
                </c:pt>
                <c:pt idx="815">
                  <c:v>44762</c:v>
                </c:pt>
                <c:pt idx="816">
                  <c:v>44761</c:v>
                </c:pt>
                <c:pt idx="817">
                  <c:v>44760</c:v>
                </c:pt>
                <c:pt idx="818">
                  <c:v>44757</c:v>
                </c:pt>
                <c:pt idx="819">
                  <c:v>44756</c:v>
                </c:pt>
                <c:pt idx="820">
                  <c:v>44755</c:v>
                </c:pt>
                <c:pt idx="821">
                  <c:v>44754</c:v>
                </c:pt>
                <c:pt idx="822">
                  <c:v>44753</c:v>
                </c:pt>
                <c:pt idx="823">
                  <c:v>44750</c:v>
                </c:pt>
                <c:pt idx="824">
                  <c:v>44749</c:v>
                </c:pt>
                <c:pt idx="825">
                  <c:v>44748</c:v>
                </c:pt>
                <c:pt idx="826">
                  <c:v>44747</c:v>
                </c:pt>
                <c:pt idx="827">
                  <c:v>44746</c:v>
                </c:pt>
                <c:pt idx="828">
                  <c:v>44743</c:v>
                </c:pt>
                <c:pt idx="829">
                  <c:v>44742</c:v>
                </c:pt>
                <c:pt idx="830">
                  <c:v>44741</c:v>
                </c:pt>
                <c:pt idx="831">
                  <c:v>44740</c:v>
                </c:pt>
                <c:pt idx="832">
                  <c:v>44739</c:v>
                </c:pt>
                <c:pt idx="833">
                  <c:v>44736</c:v>
                </c:pt>
                <c:pt idx="834">
                  <c:v>44735</c:v>
                </c:pt>
                <c:pt idx="835">
                  <c:v>44734</c:v>
                </c:pt>
                <c:pt idx="836">
                  <c:v>44733</c:v>
                </c:pt>
                <c:pt idx="837">
                  <c:v>44732</c:v>
                </c:pt>
                <c:pt idx="838">
                  <c:v>44729</c:v>
                </c:pt>
                <c:pt idx="839">
                  <c:v>44728</c:v>
                </c:pt>
                <c:pt idx="840">
                  <c:v>44727</c:v>
                </c:pt>
                <c:pt idx="841">
                  <c:v>44726</c:v>
                </c:pt>
                <c:pt idx="842">
                  <c:v>44725</c:v>
                </c:pt>
                <c:pt idx="843">
                  <c:v>44722</c:v>
                </c:pt>
                <c:pt idx="844">
                  <c:v>44721</c:v>
                </c:pt>
                <c:pt idx="845">
                  <c:v>44720</c:v>
                </c:pt>
                <c:pt idx="846">
                  <c:v>44719</c:v>
                </c:pt>
                <c:pt idx="847">
                  <c:v>44718</c:v>
                </c:pt>
                <c:pt idx="848">
                  <c:v>44715</c:v>
                </c:pt>
                <c:pt idx="849">
                  <c:v>44714</c:v>
                </c:pt>
                <c:pt idx="850">
                  <c:v>44713</c:v>
                </c:pt>
                <c:pt idx="851">
                  <c:v>44712</c:v>
                </c:pt>
                <c:pt idx="852">
                  <c:v>44711</c:v>
                </c:pt>
                <c:pt idx="853">
                  <c:v>44708</c:v>
                </c:pt>
                <c:pt idx="854">
                  <c:v>44707</c:v>
                </c:pt>
                <c:pt idx="855">
                  <c:v>44706</c:v>
                </c:pt>
                <c:pt idx="856">
                  <c:v>44705</c:v>
                </c:pt>
                <c:pt idx="857">
                  <c:v>44704</c:v>
                </c:pt>
                <c:pt idx="858">
                  <c:v>44701</c:v>
                </c:pt>
                <c:pt idx="859">
                  <c:v>44700</c:v>
                </c:pt>
                <c:pt idx="860">
                  <c:v>44699</c:v>
                </c:pt>
                <c:pt idx="861">
                  <c:v>44698</c:v>
                </c:pt>
                <c:pt idx="862">
                  <c:v>44697</c:v>
                </c:pt>
                <c:pt idx="863">
                  <c:v>44694</c:v>
                </c:pt>
                <c:pt idx="864">
                  <c:v>44693</c:v>
                </c:pt>
                <c:pt idx="865">
                  <c:v>44692</c:v>
                </c:pt>
                <c:pt idx="866">
                  <c:v>44691</c:v>
                </c:pt>
                <c:pt idx="867">
                  <c:v>44690</c:v>
                </c:pt>
                <c:pt idx="868">
                  <c:v>44687</c:v>
                </c:pt>
                <c:pt idx="869">
                  <c:v>44686</c:v>
                </c:pt>
                <c:pt idx="870">
                  <c:v>44685</c:v>
                </c:pt>
                <c:pt idx="871">
                  <c:v>44683</c:v>
                </c:pt>
                <c:pt idx="872">
                  <c:v>44680</c:v>
                </c:pt>
                <c:pt idx="873">
                  <c:v>44679</c:v>
                </c:pt>
                <c:pt idx="874">
                  <c:v>44678</c:v>
                </c:pt>
                <c:pt idx="875">
                  <c:v>44677</c:v>
                </c:pt>
                <c:pt idx="876">
                  <c:v>44676</c:v>
                </c:pt>
                <c:pt idx="877">
                  <c:v>44673</c:v>
                </c:pt>
                <c:pt idx="878">
                  <c:v>44672</c:v>
                </c:pt>
                <c:pt idx="879">
                  <c:v>44671</c:v>
                </c:pt>
                <c:pt idx="880">
                  <c:v>44670</c:v>
                </c:pt>
                <c:pt idx="881">
                  <c:v>44669</c:v>
                </c:pt>
                <c:pt idx="882">
                  <c:v>44664</c:v>
                </c:pt>
                <c:pt idx="883">
                  <c:v>44663</c:v>
                </c:pt>
                <c:pt idx="884">
                  <c:v>44662</c:v>
                </c:pt>
                <c:pt idx="885">
                  <c:v>44659</c:v>
                </c:pt>
                <c:pt idx="886">
                  <c:v>44658</c:v>
                </c:pt>
                <c:pt idx="887">
                  <c:v>44657</c:v>
                </c:pt>
                <c:pt idx="888">
                  <c:v>44656</c:v>
                </c:pt>
                <c:pt idx="889">
                  <c:v>44655</c:v>
                </c:pt>
                <c:pt idx="890">
                  <c:v>44652</c:v>
                </c:pt>
              </c:numCache>
            </c:numRef>
          </c:cat>
          <c:val>
            <c:numRef>
              <c:f>Sheet1!$B$2:$B$892</c:f>
              <c:numCache>
                <c:formatCode>_(* #,##0.00_);_(* \(#,##0.00\);_(* "-"??_);_(@_)</c:formatCode>
                <c:ptCount val="891"/>
                <c:pt idx="0">
                  <c:v>29.021839999999997</c:v>
                </c:pt>
                <c:pt idx="1">
                  <c:v>28.828520000000005</c:v>
                </c:pt>
                <c:pt idx="2">
                  <c:v>28.899319999999999</c:v>
                </c:pt>
                <c:pt idx="3">
                  <c:v>28.938380000000002</c:v>
                </c:pt>
                <c:pt idx="4">
                  <c:v>28.721260000000001</c:v>
                </c:pt>
                <c:pt idx="5">
                  <c:v>28.493300000000005</c:v>
                </c:pt>
                <c:pt idx="6">
                  <c:v>28.571460000000002</c:v>
                </c:pt>
                <c:pt idx="7">
                  <c:v>28.630220000000001</c:v>
                </c:pt>
                <c:pt idx="8">
                  <c:v>29.243840000000006</c:v>
                </c:pt>
                <c:pt idx="9">
                  <c:v>29.070999999999998</c:v>
                </c:pt>
                <c:pt idx="10">
                  <c:v>28.810719999999996</c:v>
                </c:pt>
                <c:pt idx="11">
                  <c:v>29.023360000000004</c:v>
                </c:pt>
                <c:pt idx="12">
                  <c:v>28.786240000000003</c:v>
                </c:pt>
                <c:pt idx="13">
                  <c:v>28.731939999999998</c:v>
                </c:pt>
                <c:pt idx="14">
                  <c:v>28.882280000000002</c:v>
                </c:pt>
                <c:pt idx="15">
                  <c:v>28.578159999999997</c:v>
                </c:pt>
                <c:pt idx="16">
                  <c:v>28.653519999999997</c:v>
                </c:pt>
                <c:pt idx="17">
                  <c:v>28.969200000000001</c:v>
                </c:pt>
                <c:pt idx="18">
                  <c:v>28.410440000000001</c:v>
                </c:pt>
                <c:pt idx="19">
                  <c:v>28.706899999999997</c:v>
                </c:pt>
                <c:pt idx="20">
                  <c:v>27.996280000000002</c:v>
                </c:pt>
                <c:pt idx="21">
                  <c:v>28.04316</c:v>
                </c:pt>
                <c:pt idx="22">
                  <c:v>28.180380000000003</c:v>
                </c:pt>
                <c:pt idx="23">
                  <c:v>27.886559999999996</c:v>
                </c:pt>
                <c:pt idx="24">
                  <c:v>28.492820000000002</c:v>
                </c:pt>
                <c:pt idx="25">
                  <c:v>28.728839999999998</c:v>
                </c:pt>
                <c:pt idx="26">
                  <c:v>28.749700000000001</c:v>
                </c:pt>
                <c:pt idx="27">
                  <c:v>28.874900000000004</c:v>
                </c:pt>
                <c:pt idx="28">
                  <c:v>28.771719999999998</c:v>
                </c:pt>
                <c:pt idx="29">
                  <c:v>28.330880000000001</c:v>
                </c:pt>
                <c:pt idx="30">
                  <c:v>28.357299999999999</c:v>
                </c:pt>
                <c:pt idx="31">
                  <c:v>28.396460000000001</c:v>
                </c:pt>
                <c:pt idx="32">
                  <c:v>28.408120000000004</c:v>
                </c:pt>
                <c:pt idx="33">
                  <c:v>28.530639999999998</c:v>
                </c:pt>
                <c:pt idx="34">
                  <c:v>28.261879999999998</c:v>
                </c:pt>
                <c:pt idx="35">
                  <c:v>28.589999999999996</c:v>
                </c:pt>
                <c:pt idx="36">
                  <c:v>28.741300000000003</c:v>
                </c:pt>
                <c:pt idx="37">
                  <c:v>28.423840000000002</c:v>
                </c:pt>
                <c:pt idx="38">
                  <c:v>28.202059999999999</c:v>
                </c:pt>
                <c:pt idx="39">
                  <c:v>27.956139999999998</c:v>
                </c:pt>
                <c:pt idx="40">
                  <c:v>27.506540000000001</c:v>
                </c:pt>
                <c:pt idx="41">
                  <c:v>27.281460000000003</c:v>
                </c:pt>
                <c:pt idx="42">
                  <c:v>26.84882</c:v>
                </c:pt>
                <c:pt idx="43">
                  <c:v>26.662839999999999</c:v>
                </c:pt>
                <c:pt idx="44">
                  <c:v>26.413119999999999</c:v>
                </c:pt>
                <c:pt idx="45">
                  <c:v>26.567599999999999</c:v>
                </c:pt>
                <c:pt idx="46">
                  <c:v>26.837419999999998</c:v>
                </c:pt>
                <c:pt idx="47">
                  <c:v>27.019920000000003</c:v>
                </c:pt>
                <c:pt idx="48">
                  <c:v>26.96228</c:v>
                </c:pt>
                <c:pt idx="49">
                  <c:v>26.985300000000002</c:v>
                </c:pt>
                <c:pt idx="50">
                  <c:v>27.313139999999997</c:v>
                </c:pt>
                <c:pt idx="51">
                  <c:v>27.41478</c:v>
                </c:pt>
                <c:pt idx="52">
                  <c:v>27.299059999999997</c:v>
                </c:pt>
                <c:pt idx="53">
                  <c:v>27.243079999999999</c:v>
                </c:pt>
                <c:pt idx="54">
                  <c:v>27.308059999999994</c:v>
                </c:pt>
                <c:pt idx="55">
                  <c:v>27.193300000000001</c:v>
                </c:pt>
                <c:pt idx="56">
                  <c:v>27.115360000000003</c:v>
                </c:pt>
                <c:pt idx="57">
                  <c:v>26.644860000000001</c:v>
                </c:pt>
                <c:pt idx="58">
                  <c:v>26.9587</c:v>
                </c:pt>
                <c:pt idx="59">
                  <c:v>27.447180000000003</c:v>
                </c:pt>
                <c:pt idx="60">
                  <c:v>27.329940000000001</c:v>
                </c:pt>
                <c:pt idx="61">
                  <c:v>27.348219999999998</c:v>
                </c:pt>
                <c:pt idx="62">
                  <c:v>27.151619999999998</c:v>
                </c:pt>
                <c:pt idx="63">
                  <c:v>27.142340000000001</c:v>
                </c:pt>
                <c:pt idx="64">
                  <c:v>26.95412</c:v>
                </c:pt>
                <c:pt idx="65">
                  <c:v>26.828420000000005</c:v>
                </c:pt>
                <c:pt idx="66">
                  <c:v>26.851119999999998</c:v>
                </c:pt>
                <c:pt idx="67">
                  <c:v>26.869760000000003</c:v>
                </c:pt>
                <c:pt idx="68">
                  <c:v>27.23574</c:v>
                </c:pt>
                <c:pt idx="69">
                  <c:v>27.095479999999998</c:v>
                </c:pt>
                <c:pt idx="70">
                  <c:v>26.86984</c:v>
                </c:pt>
                <c:pt idx="71">
                  <c:v>26.886800000000001</c:v>
                </c:pt>
                <c:pt idx="72">
                  <c:v>26.966439999999999</c:v>
                </c:pt>
                <c:pt idx="73">
                  <c:v>26.784500000000001</c:v>
                </c:pt>
                <c:pt idx="74">
                  <c:v>26.824620000000003</c:v>
                </c:pt>
                <c:pt idx="75">
                  <c:v>26.486060000000002</c:v>
                </c:pt>
                <c:pt idx="76">
                  <c:v>26.283940000000001</c:v>
                </c:pt>
                <c:pt idx="77">
                  <c:v>26.261659999999999</c:v>
                </c:pt>
                <c:pt idx="78">
                  <c:v>26.24362</c:v>
                </c:pt>
                <c:pt idx="79">
                  <c:v>26.059199999999997</c:v>
                </c:pt>
                <c:pt idx="80">
                  <c:v>26.155579999999997</c:v>
                </c:pt>
                <c:pt idx="81">
                  <c:v>25.963300000000004</c:v>
                </c:pt>
                <c:pt idx="82">
                  <c:v>25.407500000000002</c:v>
                </c:pt>
                <c:pt idx="83">
                  <c:v>24.986660000000001</c:v>
                </c:pt>
                <c:pt idx="84">
                  <c:v>24.579439999999998</c:v>
                </c:pt>
                <c:pt idx="85">
                  <c:v>24.838479999999997</c:v>
                </c:pt>
                <c:pt idx="86">
                  <c:v>24.68702</c:v>
                </c:pt>
                <c:pt idx="87">
                  <c:v>25.639942857142852</c:v>
                </c:pt>
                <c:pt idx="88">
                  <c:v>25.6585</c:v>
                </c:pt>
                <c:pt idx="89">
                  <c:v>25.409471428571429</c:v>
                </c:pt>
                <c:pt idx="90">
                  <c:v>25.002671428571428</c:v>
                </c:pt>
                <c:pt idx="91">
                  <c:v>25.233771428571433</c:v>
                </c:pt>
                <c:pt idx="92">
                  <c:v>25.236971428571429</c:v>
                </c:pt>
                <c:pt idx="93">
                  <c:v>25.613657142857139</c:v>
                </c:pt>
                <c:pt idx="94">
                  <c:v>25.905728571428572</c:v>
                </c:pt>
                <c:pt idx="95">
                  <c:v>26.08717142857143</c:v>
                </c:pt>
                <c:pt idx="96">
                  <c:v>26.448442857142862</c:v>
                </c:pt>
                <c:pt idx="97">
                  <c:v>26.185000000000002</c:v>
                </c:pt>
                <c:pt idx="98">
                  <c:v>26.127557142857146</c:v>
                </c:pt>
                <c:pt idx="99">
                  <c:v>26.37454285714286</c:v>
                </c:pt>
                <c:pt idx="100">
                  <c:v>26.182199999999998</c:v>
                </c:pt>
                <c:pt idx="101">
                  <c:v>26.16714285714286</c:v>
                </c:pt>
                <c:pt idx="102">
                  <c:v>26.143042857142859</c:v>
                </c:pt>
                <c:pt idx="103">
                  <c:v>25.922085714285714</c:v>
                </c:pt>
                <c:pt idx="104">
                  <c:v>25.931357142857141</c:v>
                </c:pt>
                <c:pt idx="105">
                  <c:v>26.026157142857141</c:v>
                </c:pt>
                <c:pt idx="106">
                  <c:v>25.923914285714282</c:v>
                </c:pt>
                <c:pt idx="107">
                  <c:v>26.0307</c:v>
                </c:pt>
                <c:pt idx="108">
                  <c:v>25.900728571428569</c:v>
                </c:pt>
                <c:pt idx="109">
                  <c:v>26.097528571428569</c:v>
                </c:pt>
                <c:pt idx="110">
                  <c:v>25.967842857142852</c:v>
                </c:pt>
                <c:pt idx="111">
                  <c:v>26.270671428571429</c:v>
                </c:pt>
                <c:pt idx="112">
                  <c:v>26.653971428571424</c:v>
                </c:pt>
                <c:pt idx="113">
                  <c:v>26.31</c:v>
                </c:pt>
                <c:pt idx="114">
                  <c:v>26.283357142857145</c:v>
                </c:pt>
                <c:pt idx="115">
                  <c:v>25.996028571428575</c:v>
                </c:pt>
                <c:pt idx="116">
                  <c:v>26.082628571428575</c:v>
                </c:pt>
                <c:pt idx="117">
                  <c:v>26.028500000000001</c:v>
                </c:pt>
                <c:pt idx="118">
                  <c:v>26.2439</c:v>
                </c:pt>
                <c:pt idx="119">
                  <c:v>26.197142857142858</c:v>
                </c:pt>
                <c:pt idx="120">
                  <c:v>26.192871428571429</c:v>
                </c:pt>
                <c:pt idx="121">
                  <c:v>25.928428571428572</c:v>
                </c:pt>
                <c:pt idx="122">
                  <c:v>25.086442857142856</c:v>
                </c:pt>
                <c:pt idx="123">
                  <c:v>25.328942857142856</c:v>
                </c:pt>
                <c:pt idx="124">
                  <c:v>25.430471428571426</c:v>
                </c:pt>
                <c:pt idx="125">
                  <c:v>25.496499999999997</c:v>
                </c:pt>
                <c:pt idx="126">
                  <c:v>25.978657142857145</c:v>
                </c:pt>
                <c:pt idx="127">
                  <c:v>25.870428571428569</c:v>
                </c:pt>
                <c:pt idx="128">
                  <c:v>25.908414285714287</c:v>
                </c:pt>
                <c:pt idx="129">
                  <c:v>26.037114285714289</c:v>
                </c:pt>
                <c:pt idx="130">
                  <c:v>26.195057142857141</c:v>
                </c:pt>
                <c:pt idx="131">
                  <c:v>26.263228571428574</c:v>
                </c:pt>
                <c:pt idx="132">
                  <c:v>26.577371428571428</c:v>
                </c:pt>
                <c:pt idx="133">
                  <c:v>26.957271428571431</c:v>
                </c:pt>
                <c:pt idx="134">
                  <c:v>27.10885714285714</c:v>
                </c:pt>
                <c:pt idx="135">
                  <c:v>26.856385714285718</c:v>
                </c:pt>
                <c:pt idx="136">
                  <c:v>26.702985714285713</c:v>
                </c:pt>
                <c:pt idx="137">
                  <c:v>26.637799999999999</c:v>
                </c:pt>
                <c:pt idx="138">
                  <c:v>26.275271428571426</c:v>
                </c:pt>
                <c:pt idx="139">
                  <c:v>25.701985714285712</c:v>
                </c:pt>
                <c:pt idx="140">
                  <c:v>25.135042857142857</c:v>
                </c:pt>
                <c:pt idx="141">
                  <c:v>25.409857142857145</c:v>
                </c:pt>
                <c:pt idx="142">
                  <c:v>24.930014285714289</c:v>
                </c:pt>
                <c:pt idx="143">
                  <c:v>25.814728571428571</c:v>
                </c:pt>
                <c:pt idx="144">
                  <c:v>26.208228571428567</c:v>
                </c:pt>
                <c:pt idx="145">
                  <c:v>25.734685714285714</c:v>
                </c:pt>
                <c:pt idx="146">
                  <c:v>25.605114285714286</c:v>
                </c:pt>
                <c:pt idx="147">
                  <c:v>25.6951</c:v>
                </c:pt>
                <c:pt idx="148">
                  <c:v>25.97636</c:v>
                </c:pt>
                <c:pt idx="149">
                  <c:v>26.57226</c:v>
                </c:pt>
                <c:pt idx="150">
                  <c:v>27.02636</c:v>
                </c:pt>
                <c:pt idx="151">
                  <c:v>27.272780000000001</c:v>
                </c:pt>
                <c:pt idx="152">
                  <c:v>26.835259999999998</c:v>
                </c:pt>
                <c:pt idx="153">
                  <c:v>26.306099999999997</c:v>
                </c:pt>
                <c:pt idx="154">
                  <c:v>25.806060000000002</c:v>
                </c:pt>
                <c:pt idx="155">
                  <c:v>25.165839999999996</c:v>
                </c:pt>
                <c:pt idx="156">
                  <c:v>25.062879999999996</c:v>
                </c:pt>
                <c:pt idx="157">
                  <c:v>24.781659999999999</c:v>
                </c:pt>
                <c:pt idx="158">
                  <c:v>24.350860000000001</c:v>
                </c:pt>
                <c:pt idx="159">
                  <c:v>24.201360000000001</c:v>
                </c:pt>
                <c:pt idx="160">
                  <c:v>23.870420000000003</c:v>
                </c:pt>
                <c:pt idx="161">
                  <c:v>24.0488</c:v>
                </c:pt>
                <c:pt idx="162">
                  <c:v>24.118040000000001</c:v>
                </c:pt>
                <c:pt idx="163">
                  <c:v>23.617520000000003</c:v>
                </c:pt>
                <c:pt idx="164">
                  <c:v>23.23086</c:v>
                </c:pt>
                <c:pt idx="165">
                  <c:v>23.187420000000003</c:v>
                </c:pt>
                <c:pt idx="166">
                  <c:v>23.255579999999998</c:v>
                </c:pt>
                <c:pt idx="167">
                  <c:v>23.818740000000002</c:v>
                </c:pt>
                <c:pt idx="168">
                  <c:v>23.901960000000003</c:v>
                </c:pt>
                <c:pt idx="169">
                  <c:v>23.952999999999999</c:v>
                </c:pt>
                <c:pt idx="170">
                  <c:v>24.343179999999997</c:v>
                </c:pt>
                <c:pt idx="171">
                  <c:v>24.622359999999997</c:v>
                </c:pt>
                <c:pt idx="172">
                  <c:v>24.224820000000001</c:v>
                </c:pt>
                <c:pt idx="173">
                  <c:v>24.106360000000002</c:v>
                </c:pt>
                <c:pt idx="174">
                  <c:v>24.662700000000001</c:v>
                </c:pt>
                <c:pt idx="175">
                  <c:v>25.219580000000001</c:v>
                </c:pt>
                <c:pt idx="176">
                  <c:v>25.775599999999997</c:v>
                </c:pt>
                <c:pt idx="177">
                  <c:v>26.02486</c:v>
                </c:pt>
                <c:pt idx="178">
                  <c:v>25.708220000000001</c:v>
                </c:pt>
                <c:pt idx="179">
                  <c:v>26.557740000000003</c:v>
                </c:pt>
                <c:pt idx="180">
                  <c:v>27.324119999999994</c:v>
                </c:pt>
                <c:pt idx="181">
                  <c:v>28.164260000000002</c:v>
                </c:pt>
                <c:pt idx="182">
                  <c:v>27.967959999999994</c:v>
                </c:pt>
                <c:pt idx="183">
                  <c:v>27.514799999999997</c:v>
                </c:pt>
                <c:pt idx="184">
                  <c:v>27.28642</c:v>
                </c:pt>
                <c:pt idx="185">
                  <c:v>27.266520000000003</c:v>
                </c:pt>
                <c:pt idx="186">
                  <c:v>27.19164</c:v>
                </c:pt>
                <c:pt idx="187">
                  <c:v>26.752400000000002</c:v>
                </c:pt>
                <c:pt idx="188">
                  <c:v>26.526799999999998</c:v>
                </c:pt>
                <c:pt idx="189">
                  <c:v>26.038319999999999</c:v>
                </c:pt>
                <c:pt idx="190">
                  <c:v>26.1981</c:v>
                </c:pt>
                <c:pt idx="191">
                  <c:v>26.78426</c:v>
                </c:pt>
                <c:pt idx="192">
                  <c:v>27.187080000000002</c:v>
                </c:pt>
                <c:pt idx="193">
                  <c:v>27.031479999999998</c:v>
                </c:pt>
                <c:pt idx="194">
                  <c:v>27.157319999999999</c:v>
                </c:pt>
                <c:pt idx="195">
                  <c:v>27.26314</c:v>
                </c:pt>
                <c:pt idx="196">
                  <c:v>27.076219999999999</c:v>
                </c:pt>
                <c:pt idx="197">
                  <c:v>27.443900000000003</c:v>
                </c:pt>
                <c:pt idx="198">
                  <c:v>27.530740000000002</c:v>
                </c:pt>
                <c:pt idx="199">
                  <c:v>27.639840000000003</c:v>
                </c:pt>
                <c:pt idx="200">
                  <c:v>27.494299999999999</c:v>
                </c:pt>
                <c:pt idx="201">
                  <c:v>28.387960000000003</c:v>
                </c:pt>
                <c:pt idx="202">
                  <c:v>28.70138</c:v>
                </c:pt>
                <c:pt idx="203">
                  <c:v>29.187220000000003</c:v>
                </c:pt>
                <c:pt idx="204">
                  <c:v>29.072480000000002</c:v>
                </c:pt>
                <c:pt idx="205">
                  <c:v>28.615799999999997</c:v>
                </c:pt>
                <c:pt idx="206">
                  <c:v>29.024019999999997</c:v>
                </c:pt>
                <c:pt idx="207">
                  <c:v>28.982960000000002</c:v>
                </c:pt>
                <c:pt idx="208">
                  <c:v>28.637</c:v>
                </c:pt>
                <c:pt idx="209">
                  <c:v>28.608600000000003</c:v>
                </c:pt>
                <c:pt idx="210">
                  <c:v>28.208371428571429</c:v>
                </c:pt>
                <c:pt idx="211">
                  <c:v>28.421242857142854</c:v>
                </c:pt>
                <c:pt idx="212">
                  <c:v>27.959371428571426</c:v>
                </c:pt>
                <c:pt idx="213">
                  <c:v>28.235228571428571</c:v>
                </c:pt>
                <c:pt idx="214">
                  <c:v>28.097942857142851</c:v>
                </c:pt>
                <c:pt idx="215">
                  <c:v>28.455357142857139</c:v>
                </c:pt>
                <c:pt idx="216">
                  <c:v>28.76105714285714</c:v>
                </c:pt>
                <c:pt idx="217">
                  <c:v>28.664357142857142</c:v>
                </c:pt>
                <c:pt idx="218">
                  <c:v>28.484271428571429</c:v>
                </c:pt>
                <c:pt idx="219">
                  <c:v>28.399399999999996</c:v>
                </c:pt>
                <c:pt idx="220">
                  <c:v>28.312271428571428</c:v>
                </c:pt>
                <c:pt idx="221">
                  <c:v>28.514128571428575</c:v>
                </c:pt>
                <c:pt idx="222">
                  <c:v>28.943771428571427</c:v>
                </c:pt>
                <c:pt idx="223">
                  <c:v>29.038085714285717</c:v>
                </c:pt>
                <c:pt idx="224">
                  <c:v>29.264285714285712</c:v>
                </c:pt>
                <c:pt idx="225">
                  <c:v>29.202957142857141</c:v>
                </c:pt>
                <c:pt idx="226">
                  <c:v>28.779900000000001</c:v>
                </c:pt>
                <c:pt idx="227">
                  <c:v>28.668099999999999</c:v>
                </c:pt>
                <c:pt idx="228">
                  <c:v>28.471271428571423</c:v>
                </c:pt>
                <c:pt idx="229">
                  <c:v>28.031314285714284</c:v>
                </c:pt>
                <c:pt idx="230">
                  <c:v>27.68082857142857</c:v>
                </c:pt>
                <c:pt idx="231">
                  <c:v>27.502885714285718</c:v>
                </c:pt>
                <c:pt idx="232">
                  <c:v>27.614028571428573</c:v>
                </c:pt>
                <c:pt idx="233">
                  <c:v>27.748671428571431</c:v>
                </c:pt>
                <c:pt idx="234">
                  <c:v>27.769500000000001</c:v>
                </c:pt>
                <c:pt idx="235">
                  <c:v>27.617842857142865</c:v>
                </c:pt>
                <c:pt idx="236">
                  <c:v>27.434999999999995</c:v>
                </c:pt>
                <c:pt idx="237">
                  <c:v>27.052128571428575</c:v>
                </c:pt>
                <c:pt idx="238">
                  <c:v>26.881400000000003</c:v>
                </c:pt>
                <c:pt idx="239">
                  <c:v>26.938600000000001</c:v>
                </c:pt>
                <c:pt idx="240">
                  <c:v>26.416357142857144</c:v>
                </c:pt>
                <c:pt idx="241">
                  <c:v>27.187742857142858</c:v>
                </c:pt>
                <c:pt idx="242">
                  <c:v>27.119842857142856</c:v>
                </c:pt>
                <c:pt idx="243">
                  <c:v>27.003985714285712</c:v>
                </c:pt>
                <c:pt idx="244">
                  <c:v>27.285971428571425</c:v>
                </c:pt>
                <c:pt idx="245">
                  <c:v>27.255657142857139</c:v>
                </c:pt>
                <c:pt idx="246">
                  <c:v>27.149557142857141</c:v>
                </c:pt>
                <c:pt idx="247">
                  <c:v>27.022228571428577</c:v>
                </c:pt>
                <c:pt idx="248">
                  <c:v>27.175571428571427</c:v>
                </c:pt>
                <c:pt idx="249">
                  <c:v>26.943071428571425</c:v>
                </c:pt>
                <c:pt idx="250">
                  <c:v>26.926600000000001</c:v>
                </c:pt>
                <c:pt idx="251">
                  <c:v>26.80375714285714</c:v>
                </c:pt>
                <c:pt idx="252">
                  <c:v>26.623099999999997</c:v>
                </c:pt>
                <c:pt idx="253">
                  <c:v>26.159885714285714</c:v>
                </c:pt>
                <c:pt idx="254">
                  <c:v>26.247414285714285</c:v>
                </c:pt>
                <c:pt idx="255">
                  <c:v>26.042985714285713</c:v>
                </c:pt>
                <c:pt idx="256">
                  <c:v>25.545942857142855</c:v>
                </c:pt>
                <c:pt idx="257">
                  <c:v>26.438528571428574</c:v>
                </c:pt>
                <c:pt idx="258">
                  <c:v>26.816514285714288</c:v>
                </c:pt>
                <c:pt idx="259">
                  <c:v>26.751514285714286</c:v>
                </c:pt>
                <c:pt idx="260">
                  <c:v>27.148785714285715</c:v>
                </c:pt>
                <c:pt idx="261">
                  <c:v>26.969642857142862</c:v>
                </c:pt>
                <c:pt idx="262">
                  <c:v>26.848899999999993</c:v>
                </c:pt>
                <c:pt idx="263">
                  <c:v>26.842657142857142</c:v>
                </c:pt>
                <c:pt idx="264">
                  <c:v>26.693771428571431</c:v>
                </c:pt>
                <c:pt idx="265">
                  <c:v>26.237371428571432</c:v>
                </c:pt>
                <c:pt idx="266">
                  <c:v>26.227428571428572</c:v>
                </c:pt>
                <c:pt idx="267">
                  <c:v>25.671557142857147</c:v>
                </c:pt>
                <c:pt idx="268">
                  <c:v>26.225999999999999</c:v>
                </c:pt>
                <c:pt idx="269">
                  <c:v>26.033971428571427</c:v>
                </c:pt>
                <c:pt idx="270">
                  <c:v>26.460342857142855</c:v>
                </c:pt>
                <c:pt idx="271">
                  <c:v>26.652200000000001</c:v>
                </c:pt>
                <c:pt idx="272">
                  <c:v>26.917539999999995</c:v>
                </c:pt>
                <c:pt idx="273">
                  <c:v>26.872179999999997</c:v>
                </c:pt>
                <c:pt idx="274">
                  <c:v>26.919279999999997</c:v>
                </c:pt>
                <c:pt idx="275">
                  <c:v>27.097220000000004</c:v>
                </c:pt>
                <c:pt idx="276">
                  <c:v>27.069900000000001</c:v>
                </c:pt>
                <c:pt idx="277">
                  <c:v>26.67754</c:v>
                </c:pt>
                <c:pt idx="278">
                  <c:v>26.558019999999999</c:v>
                </c:pt>
                <c:pt idx="279">
                  <c:v>26.673279999999998</c:v>
                </c:pt>
                <c:pt idx="280">
                  <c:v>27.082299999999996</c:v>
                </c:pt>
                <c:pt idx="281">
                  <c:v>27.30988</c:v>
                </c:pt>
                <c:pt idx="282">
                  <c:v>27.204920000000005</c:v>
                </c:pt>
                <c:pt idx="283">
                  <c:v>27.065280000000001</c:v>
                </c:pt>
                <c:pt idx="284">
                  <c:v>26.04466</c:v>
                </c:pt>
                <c:pt idx="285">
                  <c:v>26.03238</c:v>
                </c:pt>
                <c:pt idx="286">
                  <c:v>25.787500000000001</c:v>
                </c:pt>
                <c:pt idx="287">
                  <c:v>26.043979999999998</c:v>
                </c:pt>
                <c:pt idx="288">
                  <c:v>26.202460000000002</c:v>
                </c:pt>
                <c:pt idx="289">
                  <c:v>25.957540000000005</c:v>
                </c:pt>
                <c:pt idx="290">
                  <c:v>25.745920000000002</c:v>
                </c:pt>
                <c:pt idx="291">
                  <c:v>25.794619999999998</c:v>
                </c:pt>
                <c:pt idx="292">
                  <c:v>25.752340000000004</c:v>
                </c:pt>
                <c:pt idx="293">
                  <c:v>25.51886</c:v>
                </c:pt>
                <c:pt idx="294">
                  <c:v>25.647879999999997</c:v>
                </c:pt>
                <c:pt idx="295">
                  <c:v>25.702800000000003</c:v>
                </c:pt>
                <c:pt idx="296">
                  <c:v>25.381119999999999</c:v>
                </c:pt>
                <c:pt idx="297">
                  <c:v>25.486139999999999</c:v>
                </c:pt>
                <c:pt idx="298">
                  <c:v>25.428599999999999</c:v>
                </c:pt>
                <c:pt idx="299">
                  <c:v>25.477219999999999</c:v>
                </c:pt>
                <c:pt idx="300">
                  <c:v>25.165220000000001</c:v>
                </c:pt>
                <c:pt idx="301">
                  <c:v>25.023879999999998</c:v>
                </c:pt>
                <c:pt idx="302">
                  <c:v>24.308059999999998</c:v>
                </c:pt>
                <c:pt idx="303">
                  <c:v>23.81786</c:v>
                </c:pt>
                <c:pt idx="304">
                  <c:v>23.627580000000002</c:v>
                </c:pt>
                <c:pt idx="305">
                  <c:v>24.115339999999996</c:v>
                </c:pt>
                <c:pt idx="306">
                  <c:v>24.13428</c:v>
                </c:pt>
                <c:pt idx="307">
                  <c:v>23.85962</c:v>
                </c:pt>
                <c:pt idx="308">
                  <c:v>23.716680000000004</c:v>
                </c:pt>
                <c:pt idx="309">
                  <c:v>23.427020000000002</c:v>
                </c:pt>
                <c:pt idx="310">
                  <c:v>23.43854</c:v>
                </c:pt>
                <c:pt idx="311">
                  <c:v>24.286319999999996</c:v>
                </c:pt>
                <c:pt idx="312">
                  <c:v>24.389559999999999</c:v>
                </c:pt>
                <c:pt idx="313">
                  <c:v>24.363340000000001</c:v>
                </c:pt>
                <c:pt idx="314">
                  <c:v>24.339599999999997</c:v>
                </c:pt>
                <c:pt idx="315">
                  <c:v>24.012140000000002</c:v>
                </c:pt>
                <c:pt idx="316">
                  <c:v>23.940899999999999</c:v>
                </c:pt>
                <c:pt idx="317">
                  <c:v>23.61354</c:v>
                </c:pt>
                <c:pt idx="318">
                  <c:v>23.391780000000001</c:v>
                </c:pt>
                <c:pt idx="319">
                  <c:v>23.299780000000002</c:v>
                </c:pt>
                <c:pt idx="320">
                  <c:v>23.311780000000002</c:v>
                </c:pt>
                <c:pt idx="321">
                  <c:v>23.561519999999998</c:v>
                </c:pt>
                <c:pt idx="322">
                  <c:v>23.827719999999999</c:v>
                </c:pt>
                <c:pt idx="323">
                  <c:v>23.826299999999996</c:v>
                </c:pt>
                <c:pt idx="324">
                  <c:v>23.4955</c:v>
                </c:pt>
                <c:pt idx="325">
                  <c:v>23.641079999999999</c:v>
                </c:pt>
                <c:pt idx="326">
                  <c:v>23.796800000000001</c:v>
                </c:pt>
                <c:pt idx="327">
                  <c:v>23.894459999999999</c:v>
                </c:pt>
                <c:pt idx="328">
                  <c:v>23.578420000000001</c:v>
                </c:pt>
                <c:pt idx="329">
                  <c:v>23.696479999999998</c:v>
                </c:pt>
                <c:pt idx="330">
                  <c:v>24.06878</c:v>
                </c:pt>
                <c:pt idx="331">
                  <c:v>23.229000000000003</c:v>
                </c:pt>
                <c:pt idx="332">
                  <c:v>22.969519999999999</c:v>
                </c:pt>
                <c:pt idx="333">
                  <c:v>22.6721</c:v>
                </c:pt>
                <c:pt idx="334">
                  <c:v>22.76022</c:v>
                </c:pt>
                <c:pt idx="335">
                  <c:v>22.653700000000004</c:v>
                </c:pt>
                <c:pt idx="336">
                  <c:v>25.220957142857142</c:v>
                </c:pt>
                <c:pt idx="337">
                  <c:v>25.227914285714284</c:v>
                </c:pt>
                <c:pt idx="338">
                  <c:v>25.205314285714287</c:v>
                </c:pt>
                <c:pt idx="339">
                  <c:v>25.376242857142852</c:v>
                </c:pt>
                <c:pt idx="340">
                  <c:v>25.681057142857135</c:v>
                </c:pt>
                <c:pt idx="341">
                  <c:v>25.494485714285712</c:v>
                </c:pt>
                <c:pt idx="342">
                  <c:v>25.51024285714286</c:v>
                </c:pt>
                <c:pt idx="343">
                  <c:v>25.684385714285714</c:v>
                </c:pt>
                <c:pt idx="344">
                  <c:v>25.678971428571426</c:v>
                </c:pt>
                <c:pt idx="345">
                  <c:v>25.215171428571427</c:v>
                </c:pt>
                <c:pt idx="346">
                  <c:v>24.843228571428572</c:v>
                </c:pt>
                <c:pt idx="347">
                  <c:v>24.446371428571428</c:v>
                </c:pt>
                <c:pt idx="348">
                  <c:v>24.273814285714288</c:v>
                </c:pt>
                <c:pt idx="349">
                  <c:v>24.131</c:v>
                </c:pt>
                <c:pt idx="350">
                  <c:v>23.59254285714286</c:v>
                </c:pt>
                <c:pt idx="351">
                  <c:v>23.338328571428573</c:v>
                </c:pt>
                <c:pt idx="352">
                  <c:v>22.355414285714286</c:v>
                </c:pt>
                <c:pt idx="353">
                  <c:v>23.584528571428571</c:v>
                </c:pt>
                <c:pt idx="354">
                  <c:v>23.602528571428575</c:v>
                </c:pt>
                <c:pt idx="355">
                  <c:v>23.364042857142856</c:v>
                </c:pt>
                <c:pt idx="356">
                  <c:v>23.585457142857141</c:v>
                </c:pt>
                <c:pt idx="357">
                  <c:v>23.889514285714284</c:v>
                </c:pt>
                <c:pt idx="358">
                  <c:v>23.848242857142857</c:v>
                </c:pt>
                <c:pt idx="359">
                  <c:v>23.931728571428575</c:v>
                </c:pt>
                <c:pt idx="360">
                  <c:v>24.037200000000002</c:v>
                </c:pt>
                <c:pt idx="361">
                  <c:v>24.348071428571426</c:v>
                </c:pt>
                <c:pt idx="362">
                  <c:v>25.079485714285713</c:v>
                </c:pt>
                <c:pt idx="363">
                  <c:v>25.753142857142855</c:v>
                </c:pt>
                <c:pt idx="364">
                  <c:v>24.553383333333333</c:v>
                </c:pt>
                <c:pt idx="365">
                  <c:v>25.361371428571427</c:v>
                </c:pt>
                <c:pt idx="366">
                  <c:v>25.6021</c:v>
                </c:pt>
                <c:pt idx="367">
                  <c:v>25.573171428571435</c:v>
                </c:pt>
                <c:pt idx="368">
                  <c:v>25.598771428571435</c:v>
                </c:pt>
                <c:pt idx="369">
                  <c:v>25.606471428571428</c:v>
                </c:pt>
                <c:pt idx="370">
                  <c:v>25.565942857142861</c:v>
                </c:pt>
                <c:pt idx="371">
                  <c:v>25.893442857142855</c:v>
                </c:pt>
                <c:pt idx="372">
                  <c:v>25.701457142857144</c:v>
                </c:pt>
                <c:pt idx="373">
                  <c:v>26.0199</c:v>
                </c:pt>
                <c:pt idx="374">
                  <c:v>25.914685714285714</c:v>
                </c:pt>
                <c:pt idx="375">
                  <c:v>25.767471428571433</c:v>
                </c:pt>
                <c:pt idx="376">
                  <c:v>26.209757142857143</c:v>
                </c:pt>
                <c:pt idx="377">
                  <c:v>26.315742857142855</c:v>
                </c:pt>
                <c:pt idx="378">
                  <c:v>26.075385714285716</c:v>
                </c:pt>
                <c:pt idx="379">
                  <c:v>26.221814285714284</c:v>
                </c:pt>
                <c:pt idx="380">
                  <c:v>26.232385714285719</c:v>
                </c:pt>
                <c:pt idx="381">
                  <c:v>25.973514285714288</c:v>
                </c:pt>
                <c:pt idx="382">
                  <c:v>25.948714285714285</c:v>
                </c:pt>
                <c:pt idx="383">
                  <c:v>25.818842857142858</c:v>
                </c:pt>
                <c:pt idx="384">
                  <c:v>25.719757142857141</c:v>
                </c:pt>
                <c:pt idx="385">
                  <c:v>25.824842857142858</c:v>
                </c:pt>
                <c:pt idx="386">
                  <c:v>25.600314285714287</c:v>
                </c:pt>
                <c:pt idx="387">
                  <c:v>26.243528571428573</c:v>
                </c:pt>
                <c:pt idx="388">
                  <c:v>26.514714285714287</c:v>
                </c:pt>
                <c:pt idx="389">
                  <c:v>26.211028571428567</c:v>
                </c:pt>
                <c:pt idx="390">
                  <c:v>26.136928571428573</c:v>
                </c:pt>
                <c:pt idx="391">
                  <c:v>25.900942857142862</c:v>
                </c:pt>
                <c:pt idx="392">
                  <c:v>25.728514285714283</c:v>
                </c:pt>
                <c:pt idx="393">
                  <c:v>25.547228571428569</c:v>
                </c:pt>
                <c:pt idx="394">
                  <c:v>25.235585714285715</c:v>
                </c:pt>
                <c:pt idx="395">
                  <c:v>24.955399999999997</c:v>
                </c:pt>
                <c:pt idx="396">
                  <c:v>24.874085714285712</c:v>
                </c:pt>
                <c:pt idx="397">
                  <c:v>27.798259999999999</c:v>
                </c:pt>
                <c:pt idx="398">
                  <c:v>27.379920000000006</c:v>
                </c:pt>
                <c:pt idx="399">
                  <c:v>27.255020000000002</c:v>
                </c:pt>
                <c:pt idx="400">
                  <c:v>27.15822</c:v>
                </c:pt>
                <c:pt idx="401">
                  <c:v>27.007620000000003</c:v>
                </c:pt>
                <c:pt idx="402">
                  <c:v>26.876919999999995</c:v>
                </c:pt>
                <c:pt idx="403">
                  <c:v>26.579280000000001</c:v>
                </c:pt>
                <c:pt idx="404">
                  <c:v>26.107459999999996</c:v>
                </c:pt>
                <c:pt idx="405">
                  <c:v>25.953999999999997</c:v>
                </c:pt>
                <c:pt idx="406">
                  <c:v>25.526519999999998</c:v>
                </c:pt>
                <c:pt idx="407">
                  <c:v>26.869060000000001</c:v>
                </c:pt>
                <c:pt idx="408">
                  <c:v>27.737180000000002</c:v>
                </c:pt>
                <c:pt idx="409">
                  <c:v>28.53256</c:v>
                </c:pt>
                <c:pt idx="410">
                  <c:v>28.010399999999997</c:v>
                </c:pt>
                <c:pt idx="411">
                  <c:v>28.57498</c:v>
                </c:pt>
                <c:pt idx="412">
                  <c:v>29.133780000000002</c:v>
                </c:pt>
                <c:pt idx="413">
                  <c:v>30.491300000000003</c:v>
                </c:pt>
                <c:pt idx="414">
                  <c:v>30.01388</c:v>
                </c:pt>
                <c:pt idx="415">
                  <c:v>31.161999999999999</c:v>
                </c:pt>
                <c:pt idx="416">
                  <c:v>34.419924999999999</c:v>
                </c:pt>
                <c:pt idx="417">
                  <c:v>34.735225</c:v>
                </c:pt>
                <c:pt idx="418">
                  <c:v>34.53445</c:v>
                </c:pt>
                <c:pt idx="419">
                  <c:v>35.003275000000002</c:v>
                </c:pt>
                <c:pt idx="420">
                  <c:v>33.956224999999996</c:v>
                </c:pt>
                <c:pt idx="421">
                  <c:v>34.2012</c:v>
                </c:pt>
                <c:pt idx="422">
                  <c:v>34.329825</c:v>
                </c:pt>
                <c:pt idx="423">
                  <c:v>34.388174999999997</c:v>
                </c:pt>
                <c:pt idx="424">
                  <c:v>33.369875</c:v>
                </c:pt>
                <c:pt idx="425">
                  <c:v>32.719050000000003</c:v>
                </c:pt>
                <c:pt idx="426">
                  <c:v>32.249400000000001</c:v>
                </c:pt>
                <c:pt idx="427">
                  <c:v>31.770125</c:v>
                </c:pt>
                <c:pt idx="428">
                  <c:v>31.027475000000003</c:v>
                </c:pt>
                <c:pt idx="429">
                  <c:v>30.97785</c:v>
                </c:pt>
                <c:pt idx="430">
                  <c:v>30.744799999999998</c:v>
                </c:pt>
                <c:pt idx="431">
                  <c:v>30.658149999999999</c:v>
                </c:pt>
                <c:pt idx="432">
                  <c:v>30.519599999999997</c:v>
                </c:pt>
                <c:pt idx="433">
                  <c:v>29.701875000000001</c:v>
                </c:pt>
                <c:pt idx="434">
                  <c:v>29.676675000000003</c:v>
                </c:pt>
                <c:pt idx="435">
                  <c:v>29.789524999999998</c:v>
                </c:pt>
                <c:pt idx="436">
                  <c:v>29.558825000000002</c:v>
                </c:pt>
                <c:pt idx="437">
                  <c:v>29.364725</c:v>
                </c:pt>
                <c:pt idx="438">
                  <c:v>29.361774999999998</c:v>
                </c:pt>
                <c:pt idx="439">
                  <c:v>29.351675</c:v>
                </c:pt>
                <c:pt idx="440">
                  <c:v>29.522200000000002</c:v>
                </c:pt>
                <c:pt idx="441">
                  <c:v>29.094974999999998</c:v>
                </c:pt>
                <c:pt idx="442">
                  <c:v>29.763025000000003</c:v>
                </c:pt>
                <c:pt idx="443">
                  <c:v>29.78</c:v>
                </c:pt>
                <c:pt idx="444">
                  <c:v>29.310450000000003</c:v>
                </c:pt>
                <c:pt idx="445">
                  <c:v>29.098624999999998</c:v>
                </c:pt>
                <c:pt idx="446">
                  <c:v>29.175625</c:v>
                </c:pt>
                <c:pt idx="447">
                  <c:v>29.283275</c:v>
                </c:pt>
                <c:pt idx="448">
                  <c:v>29.546275000000001</c:v>
                </c:pt>
                <c:pt idx="449">
                  <c:v>29.731999999999999</c:v>
                </c:pt>
                <c:pt idx="450">
                  <c:v>29.424599999999998</c:v>
                </c:pt>
                <c:pt idx="451">
                  <c:v>29.587074999999999</c:v>
                </c:pt>
                <c:pt idx="452">
                  <c:v>29.330700000000004</c:v>
                </c:pt>
                <c:pt idx="453">
                  <c:v>29.6004</c:v>
                </c:pt>
                <c:pt idx="454">
                  <c:v>29.5489</c:v>
                </c:pt>
                <c:pt idx="455">
                  <c:v>29.0244</c:v>
                </c:pt>
                <c:pt idx="456">
                  <c:v>28.995125000000002</c:v>
                </c:pt>
                <c:pt idx="457">
                  <c:v>29.076725</c:v>
                </c:pt>
                <c:pt idx="458">
                  <c:v>29.114425000000004</c:v>
                </c:pt>
                <c:pt idx="459">
                  <c:v>28.611000000000001</c:v>
                </c:pt>
                <c:pt idx="460">
                  <c:v>28.746200000000002</c:v>
                </c:pt>
                <c:pt idx="461">
                  <c:v>28.79761666666667</c:v>
                </c:pt>
                <c:pt idx="462">
                  <c:v>28.945766666666668</c:v>
                </c:pt>
                <c:pt idx="463">
                  <c:v>28.639116666666666</c:v>
                </c:pt>
                <c:pt idx="464">
                  <c:v>28.368183333333334</c:v>
                </c:pt>
                <c:pt idx="465">
                  <c:v>29.117150000000006</c:v>
                </c:pt>
                <c:pt idx="466">
                  <c:v>28.830300000000005</c:v>
                </c:pt>
                <c:pt idx="467">
                  <c:v>28.738900000000001</c:v>
                </c:pt>
                <c:pt idx="468">
                  <c:v>28.618616666666664</c:v>
                </c:pt>
                <c:pt idx="469">
                  <c:v>28.3124</c:v>
                </c:pt>
                <c:pt idx="470">
                  <c:v>28.317400000000003</c:v>
                </c:pt>
                <c:pt idx="471">
                  <c:v>28.466266666666669</c:v>
                </c:pt>
                <c:pt idx="472">
                  <c:v>28.546833333333336</c:v>
                </c:pt>
                <c:pt idx="473">
                  <c:v>28.432666666666666</c:v>
                </c:pt>
                <c:pt idx="474">
                  <c:v>28.540516666666665</c:v>
                </c:pt>
                <c:pt idx="475">
                  <c:v>28.744466666666668</c:v>
                </c:pt>
                <c:pt idx="476">
                  <c:v>28.768216666666664</c:v>
                </c:pt>
                <c:pt idx="477">
                  <c:v>28.642633333333336</c:v>
                </c:pt>
                <c:pt idx="478">
                  <c:v>28.763950000000005</c:v>
                </c:pt>
                <c:pt idx="479">
                  <c:v>28.312999999999999</c:v>
                </c:pt>
                <c:pt idx="480">
                  <c:v>28.706216666666666</c:v>
                </c:pt>
                <c:pt idx="481">
                  <c:v>28.284333333333333</c:v>
                </c:pt>
                <c:pt idx="482">
                  <c:v>28.148849999999999</c:v>
                </c:pt>
                <c:pt idx="483">
                  <c:v>27.946083333333331</c:v>
                </c:pt>
                <c:pt idx="484">
                  <c:v>27.851100000000002</c:v>
                </c:pt>
                <c:pt idx="485">
                  <c:v>27.360683333333338</c:v>
                </c:pt>
                <c:pt idx="486">
                  <c:v>27.210849999999997</c:v>
                </c:pt>
                <c:pt idx="487">
                  <c:v>27.295483333333337</c:v>
                </c:pt>
                <c:pt idx="488">
                  <c:v>27.407100000000003</c:v>
                </c:pt>
                <c:pt idx="489">
                  <c:v>27.320150000000002</c:v>
                </c:pt>
                <c:pt idx="490">
                  <c:v>27.895316666666663</c:v>
                </c:pt>
                <c:pt idx="491">
                  <c:v>27.529233333333337</c:v>
                </c:pt>
                <c:pt idx="492">
                  <c:v>27.130166666666664</c:v>
                </c:pt>
                <c:pt idx="493">
                  <c:v>26.88536666666667</c:v>
                </c:pt>
                <c:pt idx="494">
                  <c:v>26.869249999999997</c:v>
                </c:pt>
                <c:pt idx="495">
                  <c:v>26.75556666666667</c:v>
                </c:pt>
                <c:pt idx="496">
                  <c:v>26.591133333333335</c:v>
                </c:pt>
                <c:pt idx="497">
                  <c:v>26.472049999999999</c:v>
                </c:pt>
                <c:pt idx="498">
                  <c:v>26.179816666666667</c:v>
                </c:pt>
                <c:pt idx="499">
                  <c:v>26.330016666666669</c:v>
                </c:pt>
                <c:pt idx="500">
                  <c:v>25.883066666666668</c:v>
                </c:pt>
                <c:pt idx="501">
                  <c:v>25.864666666666665</c:v>
                </c:pt>
                <c:pt idx="502">
                  <c:v>25.324883333333332</c:v>
                </c:pt>
                <c:pt idx="503">
                  <c:v>25.290566666666667</c:v>
                </c:pt>
                <c:pt idx="504">
                  <c:v>25.424200000000003</c:v>
                </c:pt>
                <c:pt idx="505">
                  <c:v>26.146566666666661</c:v>
                </c:pt>
                <c:pt idx="506">
                  <c:v>26.780999999999995</c:v>
                </c:pt>
                <c:pt idx="507">
                  <c:v>26.519416666666661</c:v>
                </c:pt>
                <c:pt idx="508">
                  <c:v>26.541133333333335</c:v>
                </c:pt>
                <c:pt idx="509">
                  <c:v>26.747866666666663</c:v>
                </c:pt>
                <c:pt idx="510">
                  <c:v>26.966116666666665</c:v>
                </c:pt>
                <c:pt idx="511">
                  <c:v>26.924333333333333</c:v>
                </c:pt>
                <c:pt idx="512">
                  <c:v>26.661366666666666</c:v>
                </c:pt>
                <c:pt idx="513">
                  <c:v>26.355050000000002</c:v>
                </c:pt>
                <c:pt idx="514">
                  <c:v>26.167966666666661</c:v>
                </c:pt>
                <c:pt idx="515">
                  <c:v>26.822083333333328</c:v>
                </c:pt>
                <c:pt idx="516">
                  <c:v>26.225716666666667</c:v>
                </c:pt>
                <c:pt idx="517">
                  <c:v>26.072083333333335</c:v>
                </c:pt>
                <c:pt idx="518">
                  <c:v>26.044116666666667</c:v>
                </c:pt>
                <c:pt idx="519">
                  <c:v>25.881033333333335</c:v>
                </c:pt>
                <c:pt idx="520">
                  <c:v>27.593674999999998</c:v>
                </c:pt>
                <c:pt idx="521">
                  <c:v>27.643225000000001</c:v>
                </c:pt>
                <c:pt idx="522">
                  <c:v>27.465050000000002</c:v>
                </c:pt>
                <c:pt idx="523">
                  <c:v>27.260375</c:v>
                </c:pt>
                <c:pt idx="524">
                  <c:v>27.183375000000002</c:v>
                </c:pt>
                <c:pt idx="525">
                  <c:v>27.049824999999998</c:v>
                </c:pt>
                <c:pt idx="526">
                  <c:v>27.240274999999997</c:v>
                </c:pt>
                <c:pt idx="527">
                  <c:v>27.654</c:v>
                </c:pt>
                <c:pt idx="528">
                  <c:v>25.164333333333332</c:v>
                </c:pt>
                <c:pt idx="529">
                  <c:v>25.271600000000003</c:v>
                </c:pt>
                <c:pt idx="530">
                  <c:v>24.5458</c:v>
                </c:pt>
                <c:pt idx="531">
                  <c:v>24.485800000000001</c:v>
                </c:pt>
                <c:pt idx="532">
                  <c:v>25.851533333333336</c:v>
                </c:pt>
                <c:pt idx="533">
                  <c:v>25.540900000000004</c:v>
                </c:pt>
                <c:pt idx="534">
                  <c:v>25.472633333333334</c:v>
                </c:pt>
                <c:pt idx="535">
                  <c:v>25.157433333333334</c:v>
                </c:pt>
                <c:pt idx="536">
                  <c:v>25.134166666666669</c:v>
                </c:pt>
                <c:pt idx="537">
                  <c:v>24.599999999999998</c:v>
                </c:pt>
                <c:pt idx="538">
                  <c:v>24.528199999999998</c:v>
                </c:pt>
                <c:pt idx="539">
                  <c:v>24.796733333333336</c:v>
                </c:pt>
                <c:pt idx="540">
                  <c:v>24.225966666666665</c:v>
                </c:pt>
                <c:pt idx="541">
                  <c:v>24.140900000000002</c:v>
                </c:pt>
                <c:pt idx="542">
                  <c:v>24.427166666666668</c:v>
                </c:pt>
                <c:pt idx="543">
                  <c:v>24.596433333333334</c:v>
                </c:pt>
                <c:pt idx="544">
                  <c:v>24.502799999999997</c:v>
                </c:pt>
                <c:pt idx="545">
                  <c:v>24.064266666666665</c:v>
                </c:pt>
                <c:pt idx="546">
                  <c:v>24.023799999999998</c:v>
                </c:pt>
                <c:pt idx="547">
                  <c:v>22.597133333333336</c:v>
                </c:pt>
                <c:pt idx="548">
                  <c:v>22.407766666666664</c:v>
                </c:pt>
                <c:pt idx="549">
                  <c:v>21.529299999999996</c:v>
                </c:pt>
                <c:pt idx="550">
                  <c:v>21.744266666666665</c:v>
                </c:pt>
                <c:pt idx="551">
                  <c:v>21.877066666666664</c:v>
                </c:pt>
                <c:pt idx="552">
                  <c:v>21.844633333333334</c:v>
                </c:pt>
                <c:pt idx="553">
                  <c:v>21.826366666666669</c:v>
                </c:pt>
                <c:pt idx="554">
                  <c:v>22.220200000000002</c:v>
                </c:pt>
                <c:pt idx="555">
                  <c:v>22.213800000000003</c:v>
                </c:pt>
                <c:pt idx="556">
                  <c:v>22.030900000000003</c:v>
                </c:pt>
                <c:pt idx="557">
                  <c:v>21.324950000000001</c:v>
                </c:pt>
                <c:pt idx="558">
                  <c:v>21.305949999999999</c:v>
                </c:pt>
                <c:pt idx="559">
                  <c:v>21.047350000000002</c:v>
                </c:pt>
                <c:pt idx="560">
                  <c:v>21.72495</c:v>
                </c:pt>
                <c:pt idx="561">
                  <c:v>21.7988</c:v>
                </c:pt>
                <c:pt idx="562">
                  <c:v>21.84395</c:v>
                </c:pt>
                <c:pt idx="563">
                  <c:v>21.745950000000001</c:v>
                </c:pt>
                <c:pt idx="564">
                  <c:v>21.805599999999998</c:v>
                </c:pt>
                <c:pt idx="565">
                  <c:v>21.6953</c:v>
                </c:pt>
                <c:pt idx="566">
                  <c:v>21.242000000000001</c:v>
                </c:pt>
                <c:pt idx="567">
                  <c:v>21.234299999999998</c:v>
                </c:pt>
                <c:pt idx="568">
                  <c:v>21.432850000000002</c:v>
                </c:pt>
                <c:pt idx="569">
                  <c:v>21.404199999999999</c:v>
                </c:pt>
                <c:pt idx="570">
                  <c:v>21.343400000000003</c:v>
                </c:pt>
                <c:pt idx="571">
                  <c:v>21.57385</c:v>
                </c:pt>
                <c:pt idx="572">
                  <c:v>21.489249999999998</c:v>
                </c:pt>
                <c:pt idx="573">
                  <c:v>20.549700000000001</c:v>
                </c:pt>
                <c:pt idx="574">
                  <c:v>20.840799999999998</c:v>
                </c:pt>
                <c:pt idx="575">
                  <c:v>20.450099999999999</c:v>
                </c:pt>
                <c:pt idx="576">
                  <c:v>20.107700000000001</c:v>
                </c:pt>
                <c:pt idx="577">
                  <c:v>20.284750000000003</c:v>
                </c:pt>
                <c:pt idx="578">
                  <c:v>20.33605</c:v>
                </c:pt>
                <c:pt idx="579">
                  <c:v>19.789550000000002</c:v>
                </c:pt>
                <c:pt idx="580">
                  <c:v>20.007999999999999</c:v>
                </c:pt>
                <c:pt idx="581">
                  <c:v>20.164300000000001</c:v>
                </c:pt>
                <c:pt idx="582">
                  <c:v>19.777799999999999</c:v>
                </c:pt>
                <c:pt idx="583">
                  <c:v>18.963033333333332</c:v>
                </c:pt>
                <c:pt idx="584">
                  <c:v>18.943866666666665</c:v>
                </c:pt>
                <c:pt idx="585">
                  <c:v>18.851066666666664</c:v>
                </c:pt>
                <c:pt idx="586">
                  <c:v>18.886300000000002</c:v>
                </c:pt>
                <c:pt idx="587">
                  <c:v>19.061333333333334</c:v>
                </c:pt>
                <c:pt idx="588">
                  <c:v>18.681033333333332</c:v>
                </c:pt>
                <c:pt idx="589">
                  <c:v>18.432966666666669</c:v>
                </c:pt>
                <c:pt idx="590">
                  <c:v>18.251000000000001</c:v>
                </c:pt>
                <c:pt idx="591">
                  <c:v>17.768466666666669</c:v>
                </c:pt>
                <c:pt idx="592">
                  <c:v>17.344066666666667</c:v>
                </c:pt>
                <c:pt idx="593">
                  <c:v>17.355799999999999</c:v>
                </c:pt>
                <c:pt idx="594">
                  <c:v>17.3415</c:v>
                </c:pt>
                <c:pt idx="595">
                  <c:v>17.363800000000001</c:v>
                </c:pt>
                <c:pt idx="596">
                  <c:v>17.263000000000002</c:v>
                </c:pt>
                <c:pt idx="597">
                  <c:v>17.157833333333336</c:v>
                </c:pt>
                <c:pt idx="598">
                  <c:v>17.418400000000002</c:v>
                </c:pt>
                <c:pt idx="599">
                  <c:v>17.437933333333334</c:v>
                </c:pt>
                <c:pt idx="600">
                  <c:v>17.190233333333332</c:v>
                </c:pt>
                <c:pt idx="601">
                  <c:v>17.22</c:v>
                </c:pt>
                <c:pt idx="602">
                  <c:v>17.2897</c:v>
                </c:pt>
                <c:pt idx="603">
                  <c:v>17.243199999999998</c:v>
                </c:pt>
                <c:pt idx="604">
                  <c:v>17.105633333333333</c:v>
                </c:pt>
                <c:pt idx="605">
                  <c:v>17.000133333333334</c:v>
                </c:pt>
                <c:pt idx="606">
                  <c:v>16.814533333333333</c:v>
                </c:pt>
                <c:pt idx="607">
                  <c:v>16.916599999999999</c:v>
                </c:pt>
                <c:pt idx="608">
                  <c:v>17.107766666666667</c:v>
                </c:pt>
                <c:pt idx="609">
                  <c:v>17.170933333333334</c:v>
                </c:pt>
                <c:pt idx="610">
                  <c:v>17.157833333333333</c:v>
                </c:pt>
                <c:pt idx="611">
                  <c:v>16.847166666666666</c:v>
                </c:pt>
                <c:pt idx="612">
                  <c:v>16.806866666666664</c:v>
                </c:pt>
                <c:pt idx="613">
                  <c:v>17.086766666666666</c:v>
                </c:pt>
                <c:pt idx="614">
                  <c:v>16.809166666666666</c:v>
                </c:pt>
                <c:pt idx="615">
                  <c:v>16.5762</c:v>
                </c:pt>
                <c:pt idx="616">
                  <c:v>16.178566666666669</c:v>
                </c:pt>
                <c:pt idx="617">
                  <c:v>16.147366666666667</c:v>
                </c:pt>
                <c:pt idx="618">
                  <c:v>16.092299999999998</c:v>
                </c:pt>
                <c:pt idx="619">
                  <c:v>15.946299999999999</c:v>
                </c:pt>
                <c:pt idx="620">
                  <c:v>16.099166666666665</c:v>
                </c:pt>
                <c:pt idx="621">
                  <c:v>16.082033333333332</c:v>
                </c:pt>
                <c:pt idx="622">
                  <c:v>16.019833333333334</c:v>
                </c:pt>
                <c:pt idx="623">
                  <c:v>16.003</c:v>
                </c:pt>
                <c:pt idx="624">
                  <c:v>16.209466666666668</c:v>
                </c:pt>
                <c:pt idx="625">
                  <c:v>16.256899999999998</c:v>
                </c:pt>
                <c:pt idx="626">
                  <c:v>16.040699999999998</c:v>
                </c:pt>
                <c:pt idx="627">
                  <c:v>16.019966666666665</c:v>
                </c:pt>
                <c:pt idx="628">
                  <c:v>16.171466666666664</c:v>
                </c:pt>
                <c:pt idx="629">
                  <c:v>16.099466666666665</c:v>
                </c:pt>
                <c:pt idx="630">
                  <c:v>16.218299999999999</c:v>
                </c:pt>
                <c:pt idx="631">
                  <c:v>16.301599999999997</c:v>
                </c:pt>
                <c:pt idx="632">
                  <c:v>16.162300000000002</c:v>
                </c:pt>
                <c:pt idx="633">
                  <c:v>16.1999</c:v>
                </c:pt>
                <c:pt idx="634">
                  <c:v>16.255733333333335</c:v>
                </c:pt>
                <c:pt idx="635">
                  <c:v>16.251433333333335</c:v>
                </c:pt>
                <c:pt idx="636">
                  <c:v>16.121300000000002</c:v>
                </c:pt>
                <c:pt idx="637">
                  <c:v>16.101866666666666</c:v>
                </c:pt>
                <c:pt idx="638">
                  <c:v>15.980766666666668</c:v>
                </c:pt>
                <c:pt idx="639">
                  <c:v>15.879600000000002</c:v>
                </c:pt>
                <c:pt idx="640">
                  <c:v>15.847166666666666</c:v>
                </c:pt>
                <c:pt idx="641">
                  <c:v>15.696433333333333</c:v>
                </c:pt>
                <c:pt idx="642">
                  <c:v>15.370866666666666</c:v>
                </c:pt>
                <c:pt idx="643">
                  <c:v>16.323050000000002</c:v>
                </c:pt>
                <c:pt idx="644">
                  <c:v>15.755649999999999</c:v>
                </c:pt>
                <c:pt idx="645">
                  <c:v>15.688549999999999</c:v>
                </c:pt>
                <c:pt idx="646">
                  <c:v>15.779300000000001</c:v>
                </c:pt>
                <c:pt idx="647">
                  <c:v>15.7575</c:v>
                </c:pt>
                <c:pt idx="648">
                  <c:v>15.87825</c:v>
                </c:pt>
                <c:pt idx="649">
                  <c:v>15.872450000000001</c:v>
                </c:pt>
                <c:pt idx="650">
                  <c:v>16.021850000000001</c:v>
                </c:pt>
                <c:pt idx="651">
                  <c:v>16.105150000000002</c:v>
                </c:pt>
                <c:pt idx="652">
                  <c:v>16.029399999999999</c:v>
                </c:pt>
                <c:pt idx="653">
                  <c:v>16.335999999999999</c:v>
                </c:pt>
                <c:pt idx="654">
                  <c:v>16.2852</c:v>
                </c:pt>
                <c:pt idx="655">
                  <c:v>16.48875</c:v>
                </c:pt>
                <c:pt idx="656">
                  <c:v>16.712399999999999</c:v>
                </c:pt>
                <c:pt idx="657">
                  <c:v>16.625799999999998</c:v>
                </c:pt>
                <c:pt idx="658">
                  <c:v>16.575299999999999</c:v>
                </c:pt>
                <c:pt idx="659">
                  <c:v>16.45505</c:v>
                </c:pt>
                <c:pt idx="660">
                  <c:v>16.291600000000003</c:v>
                </c:pt>
                <c:pt idx="661">
                  <c:v>16.131550000000001</c:v>
                </c:pt>
                <c:pt idx="662">
                  <c:v>16.168199999999999</c:v>
                </c:pt>
                <c:pt idx="663">
                  <c:v>15.996600000000001</c:v>
                </c:pt>
                <c:pt idx="664">
                  <c:v>16.0139</c:v>
                </c:pt>
                <c:pt idx="665">
                  <c:v>16.200050000000001</c:v>
                </c:pt>
                <c:pt idx="666">
                  <c:v>16.528849999999998</c:v>
                </c:pt>
                <c:pt idx="667">
                  <c:v>16.512799999999999</c:v>
                </c:pt>
                <c:pt idx="668">
                  <c:v>16.81915</c:v>
                </c:pt>
                <c:pt idx="669">
                  <c:v>16.873950000000001</c:v>
                </c:pt>
                <c:pt idx="670">
                  <c:v>17.0608</c:v>
                </c:pt>
                <c:pt idx="671">
                  <c:v>17.169800000000002</c:v>
                </c:pt>
                <c:pt idx="672">
                  <c:v>17.252949999999998</c:v>
                </c:pt>
                <c:pt idx="673">
                  <c:v>17.286450000000002</c:v>
                </c:pt>
                <c:pt idx="674">
                  <c:v>17.5275</c:v>
                </c:pt>
                <c:pt idx="675">
                  <c:v>17.728400000000001</c:v>
                </c:pt>
                <c:pt idx="676">
                  <c:v>17.71405</c:v>
                </c:pt>
                <c:pt idx="677">
                  <c:v>17.782699999999998</c:v>
                </c:pt>
                <c:pt idx="678">
                  <c:v>17.453800000000001</c:v>
                </c:pt>
                <c:pt idx="679">
                  <c:v>17.7865</c:v>
                </c:pt>
                <c:pt idx="680">
                  <c:v>17.494900000000001</c:v>
                </c:pt>
                <c:pt idx="681">
                  <c:v>17.472050000000003</c:v>
                </c:pt>
                <c:pt idx="682">
                  <c:v>17.6431</c:v>
                </c:pt>
                <c:pt idx="683">
                  <c:v>18.37425</c:v>
                </c:pt>
                <c:pt idx="684">
                  <c:v>18.102049999999998</c:v>
                </c:pt>
                <c:pt idx="685">
                  <c:v>17.568950000000001</c:v>
                </c:pt>
                <c:pt idx="686">
                  <c:v>18.0047</c:v>
                </c:pt>
                <c:pt idx="687">
                  <c:v>18.051299999999998</c:v>
                </c:pt>
                <c:pt idx="688">
                  <c:v>18.214100000000002</c:v>
                </c:pt>
                <c:pt idx="689">
                  <c:v>18.478850000000001</c:v>
                </c:pt>
                <c:pt idx="690">
                  <c:v>18.457000000000001</c:v>
                </c:pt>
                <c:pt idx="691">
                  <c:v>18.558350000000001</c:v>
                </c:pt>
                <c:pt idx="692">
                  <c:v>18.815149999999999</c:v>
                </c:pt>
                <c:pt idx="693">
                  <c:v>18.639699999999998</c:v>
                </c:pt>
                <c:pt idx="694">
                  <c:v>18.903950000000002</c:v>
                </c:pt>
                <c:pt idx="695">
                  <c:v>18.8001</c:v>
                </c:pt>
                <c:pt idx="696">
                  <c:v>18.99635</c:v>
                </c:pt>
                <c:pt idx="697">
                  <c:v>19.067350000000001</c:v>
                </c:pt>
                <c:pt idx="698">
                  <c:v>18.985100000000003</c:v>
                </c:pt>
                <c:pt idx="699">
                  <c:v>18.927849999999999</c:v>
                </c:pt>
                <c:pt idx="700">
                  <c:v>18.884399999999999</c:v>
                </c:pt>
                <c:pt idx="701">
                  <c:v>18.853000000000002</c:v>
                </c:pt>
                <c:pt idx="702">
                  <c:v>18.775950000000002</c:v>
                </c:pt>
                <c:pt idx="703">
                  <c:v>18.776</c:v>
                </c:pt>
                <c:pt idx="704">
                  <c:v>18.77505</c:v>
                </c:pt>
                <c:pt idx="705">
                  <c:v>18.212999999999997</c:v>
                </c:pt>
                <c:pt idx="706">
                  <c:v>18.040166666666668</c:v>
                </c:pt>
                <c:pt idx="707">
                  <c:v>17.588899999999999</c:v>
                </c:pt>
                <c:pt idx="708">
                  <c:v>17.759166666666669</c:v>
                </c:pt>
                <c:pt idx="709">
                  <c:v>17.401033333333334</c:v>
                </c:pt>
                <c:pt idx="710">
                  <c:v>17.846</c:v>
                </c:pt>
                <c:pt idx="711">
                  <c:v>18.202233333333336</c:v>
                </c:pt>
                <c:pt idx="712">
                  <c:v>17.969200000000001</c:v>
                </c:pt>
                <c:pt idx="713">
                  <c:v>17.952766666666665</c:v>
                </c:pt>
                <c:pt idx="714">
                  <c:v>17.708733333333331</c:v>
                </c:pt>
                <c:pt idx="715">
                  <c:v>17.748899999999999</c:v>
                </c:pt>
                <c:pt idx="716">
                  <c:v>17.850966666666668</c:v>
                </c:pt>
                <c:pt idx="717">
                  <c:v>18.082966666666668</c:v>
                </c:pt>
                <c:pt idx="718">
                  <c:v>18.0701</c:v>
                </c:pt>
                <c:pt idx="719">
                  <c:v>18.047800000000002</c:v>
                </c:pt>
                <c:pt idx="720">
                  <c:v>18.130966666666666</c:v>
                </c:pt>
                <c:pt idx="721">
                  <c:v>18.255533333333332</c:v>
                </c:pt>
                <c:pt idx="722">
                  <c:v>18.385566666666666</c:v>
                </c:pt>
                <c:pt idx="723">
                  <c:v>18.325133333333333</c:v>
                </c:pt>
                <c:pt idx="724">
                  <c:v>18.394033333333336</c:v>
                </c:pt>
                <c:pt idx="725">
                  <c:v>18.417400000000001</c:v>
                </c:pt>
                <c:pt idx="726">
                  <c:v>18.229966666666666</c:v>
                </c:pt>
                <c:pt idx="727">
                  <c:v>18.324466666666666</c:v>
                </c:pt>
                <c:pt idx="728">
                  <c:v>18.30973333333333</c:v>
                </c:pt>
                <c:pt idx="729">
                  <c:v>18.1206</c:v>
                </c:pt>
                <c:pt idx="730">
                  <c:v>18.038</c:v>
                </c:pt>
                <c:pt idx="731">
                  <c:v>18.298633333333335</c:v>
                </c:pt>
                <c:pt idx="732">
                  <c:v>18.152566666666669</c:v>
                </c:pt>
                <c:pt idx="733">
                  <c:v>18.264066666666665</c:v>
                </c:pt>
                <c:pt idx="734">
                  <c:v>18.669899999999998</c:v>
                </c:pt>
                <c:pt idx="735">
                  <c:v>18.765033333333331</c:v>
                </c:pt>
                <c:pt idx="736">
                  <c:v>18.582899999999999</c:v>
                </c:pt>
                <c:pt idx="737">
                  <c:v>18.747066666666665</c:v>
                </c:pt>
                <c:pt idx="738">
                  <c:v>18.462266666666665</c:v>
                </c:pt>
                <c:pt idx="739">
                  <c:v>17.78786666666667</c:v>
                </c:pt>
                <c:pt idx="740">
                  <c:v>17.987733333333335</c:v>
                </c:pt>
                <c:pt idx="741">
                  <c:v>17.972033333333332</c:v>
                </c:pt>
                <c:pt idx="742">
                  <c:v>17.971799999999998</c:v>
                </c:pt>
                <c:pt idx="743">
                  <c:v>17.867900000000002</c:v>
                </c:pt>
                <c:pt idx="744">
                  <c:v>18.009033333333331</c:v>
                </c:pt>
                <c:pt idx="745">
                  <c:v>17.873733333333334</c:v>
                </c:pt>
                <c:pt idx="746">
                  <c:v>17.593500000000002</c:v>
                </c:pt>
                <c:pt idx="747">
                  <c:v>17.706833333333336</c:v>
                </c:pt>
                <c:pt idx="748">
                  <c:v>17.663866666666667</c:v>
                </c:pt>
                <c:pt idx="749">
                  <c:v>17.5885</c:v>
                </c:pt>
                <c:pt idx="750">
                  <c:v>17.60786666666667</c:v>
                </c:pt>
                <c:pt idx="751">
                  <c:v>17.679066666666667</c:v>
                </c:pt>
                <c:pt idx="752">
                  <c:v>17.454799999999999</c:v>
                </c:pt>
                <c:pt idx="753">
                  <c:v>17.859733333333335</c:v>
                </c:pt>
                <c:pt idx="754">
                  <c:v>17.8917</c:v>
                </c:pt>
                <c:pt idx="755">
                  <c:v>17.932533333333332</c:v>
                </c:pt>
                <c:pt idx="756">
                  <c:v>17.779533333333333</c:v>
                </c:pt>
                <c:pt idx="757">
                  <c:v>17.640766666666664</c:v>
                </c:pt>
                <c:pt idx="758">
                  <c:v>17.553233333333335</c:v>
                </c:pt>
                <c:pt idx="759">
                  <c:v>17.529266666666668</c:v>
                </c:pt>
                <c:pt idx="760">
                  <c:v>17.671200000000002</c:v>
                </c:pt>
                <c:pt idx="761">
                  <c:v>17.590466666666668</c:v>
                </c:pt>
                <c:pt idx="762">
                  <c:v>17.5838</c:v>
                </c:pt>
                <c:pt idx="763">
                  <c:v>17.791166666666669</c:v>
                </c:pt>
                <c:pt idx="764">
                  <c:v>17.488666666666663</c:v>
                </c:pt>
                <c:pt idx="765">
                  <c:v>17.564933333333332</c:v>
                </c:pt>
                <c:pt idx="766">
                  <c:v>17.568700000000003</c:v>
                </c:pt>
                <c:pt idx="767">
                  <c:v>16.988099999999999</c:v>
                </c:pt>
                <c:pt idx="768">
                  <c:v>16.5825</c:v>
                </c:pt>
                <c:pt idx="769">
                  <c:v>16.429549999999999</c:v>
                </c:pt>
                <c:pt idx="770">
                  <c:v>16.341149999999999</c:v>
                </c:pt>
                <c:pt idx="771">
                  <c:v>16.716950000000001</c:v>
                </c:pt>
                <c:pt idx="772">
                  <c:v>16.705199999999998</c:v>
                </c:pt>
                <c:pt idx="773">
                  <c:v>16.8261</c:v>
                </c:pt>
                <c:pt idx="774">
                  <c:v>16.387650000000001</c:v>
                </c:pt>
                <c:pt idx="775">
                  <c:v>15.56305</c:v>
                </c:pt>
                <c:pt idx="776">
                  <c:v>15.559350000000002</c:v>
                </c:pt>
                <c:pt idx="777">
                  <c:v>15.93675</c:v>
                </c:pt>
                <c:pt idx="778">
                  <c:v>15.632400000000001</c:v>
                </c:pt>
                <c:pt idx="779">
                  <c:v>15.520250000000001</c:v>
                </c:pt>
                <c:pt idx="780">
                  <c:v>15.57695</c:v>
                </c:pt>
                <c:pt idx="781">
                  <c:v>15.96175</c:v>
                </c:pt>
                <c:pt idx="782">
                  <c:v>16.130800000000001</c:v>
                </c:pt>
                <c:pt idx="783">
                  <c:v>16.183949999999999</c:v>
                </c:pt>
                <c:pt idx="784">
                  <c:v>16.172699999999999</c:v>
                </c:pt>
                <c:pt idx="785">
                  <c:v>16.136700000000001</c:v>
                </c:pt>
                <c:pt idx="786">
                  <c:v>15.606349999999999</c:v>
                </c:pt>
                <c:pt idx="787">
                  <c:v>15.68455</c:v>
                </c:pt>
                <c:pt idx="788">
                  <c:v>15.017499999999998</c:v>
                </c:pt>
                <c:pt idx="789">
                  <c:v>14.837050000000001</c:v>
                </c:pt>
                <c:pt idx="790">
                  <c:v>14.952350000000001</c:v>
                </c:pt>
                <c:pt idx="791">
                  <c:v>14.960149999999999</c:v>
                </c:pt>
                <c:pt idx="792">
                  <c:v>15.023949999999999</c:v>
                </c:pt>
                <c:pt idx="793">
                  <c:v>14.9252</c:v>
                </c:pt>
                <c:pt idx="794">
                  <c:v>14.850950000000001</c:v>
                </c:pt>
                <c:pt idx="795">
                  <c:v>15.2098</c:v>
                </c:pt>
                <c:pt idx="796">
                  <c:v>15.51695</c:v>
                </c:pt>
                <c:pt idx="797">
                  <c:v>15.31495</c:v>
                </c:pt>
                <c:pt idx="798">
                  <c:v>15.224</c:v>
                </c:pt>
                <c:pt idx="799">
                  <c:v>15.113949999999999</c:v>
                </c:pt>
                <c:pt idx="800">
                  <c:v>15.260000000000002</c:v>
                </c:pt>
                <c:pt idx="801">
                  <c:v>15.100750000000001</c:v>
                </c:pt>
                <c:pt idx="802">
                  <c:v>15.2562</c:v>
                </c:pt>
                <c:pt idx="803">
                  <c:v>15.049950000000001</c:v>
                </c:pt>
                <c:pt idx="804">
                  <c:v>14.660550000000001</c:v>
                </c:pt>
                <c:pt idx="805">
                  <c:v>14.784299999999998</c:v>
                </c:pt>
                <c:pt idx="806">
                  <c:v>14.885400000000001</c:v>
                </c:pt>
                <c:pt idx="807">
                  <c:v>14.914349999999999</c:v>
                </c:pt>
                <c:pt idx="808">
                  <c:v>14.841699999999999</c:v>
                </c:pt>
                <c:pt idx="809">
                  <c:v>14.702100000000002</c:v>
                </c:pt>
                <c:pt idx="810">
                  <c:v>14.613900000000001</c:v>
                </c:pt>
                <c:pt idx="811">
                  <c:v>14.589</c:v>
                </c:pt>
                <c:pt idx="812">
                  <c:v>14.54645</c:v>
                </c:pt>
                <c:pt idx="813">
                  <c:v>14.3506</c:v>
                </c:pt>
                <c:pt idx="814">
                  <c:v>14.394550000000001</c:v>
                </c:pt>
                <c:pt idx="815">
                  <c:v>14.59365</c:v>
                </c:pt>
                <c:pt idx="816">
                  <c:v>14.47715</c:v>
                </c:pt>
                <c:pt idx="817">
                  <c:v>14.32525</c:v>
                </c:pt>
                <c:pt idx="818">
                  <c:v>14.237449999999999</c:v>
                </c:pt>
                <c:pt idx="819">
                  <c:v>14.22115</c:v>
                </c:pt>
                <c:pt idx="820">
                  <c:v>14.239149999999999</c:v>
                </c:pt>
                <c:pt idx="821">
                  <c:v>14.1126</c:v>
                </c:pt>
                <c:pt idx="822">
                  <c:v>14.244400000000001</c:v>
                </c:pt>
                <c:pt idx="823">
                  <c:v>14.16295</c:v>
                </c:pt>
                <c:pt idx="824">
                  <c:v>14.223800000000001</c:v>
                </c:pt>
                <c:pt idx="825">
                  <c:v>14.0318</c:v>
                </c:pt>
                <c:pt idx="826">
                  <c:v>14.021149999999999</c:v>
                </c:pt>
                <c:pt idx="827">
                  <c:v>13.937849999999999</c:v>
                </c:pt>
                <c:pt idx="828">
                  <c:v>14.030750000000001</c:v>
                </c:pt>
                <c:pt idx="829">
                  <c:v>13.81875</c:v>
                </c:pt>
                <c:pt idx="830">
                  <c:v>15.598233333333333</c:v>
                </c:pt>
                <c:pt idx="831">
                  <c:v>15.934066666666666</c:v>
                </c:pt>
                <c:pt idx="832">
                  <c:v>15.8606</c:v>
                </c:pt>
                <c:pt idx="833">
                  <c:v>15.867966666666666</c:v>
                </c:pt>
                <c:pt idx="834">
                  <c:v>15.638433333333333</c:v>
                </c:pt>
                <c:pt idx="835">
                  <c:v>15.309199999999999</c:v>
                </c:pt>
                <c:pt idx="836">
                  <c:v>15.371000000000002</c:v>
                </c:pt>
                <c:pt idx="837">
                  <c:v>15.1999</c:v>
                </c:pt>
                <c:pt idx="838">
                  <c:v>15.462466666666666</c:v>
                </c:pt>
                <c:pt idx="839">
                  <c:v>15.447566666666667</c:v>
                </c:pt>
                <c:pt idx="840">
                  <c:v>15.887766666666666</c:v>
                </c:pt>
                <c:pt idx="841">
                  <c:v>15.791400000000001</c:v>
                </c:pt>
                <c:pt idx="842">
                  <c:v>15.944866666666668</c:v>
                </c:pt>
                <c:pt idx="843">
                  <c:v>16.325666666666667</c:v>
                </c:pt>
                <c:pt idx="844">
                  <c:v>16.381366666666668</c:v>
                </c:pt>
                <c:pt idx="845">
                  <c:v>16.365366666666667</c:v>
                </c:pt>
                <c:pt idx="846">
                  <c:v>16.548366666666666</c:v>
                </c:pt>
                <c:pt idx="847">
                  <c:v>16.627300000000002</c:v>
                </c:pt>
                <c:pt idx="848">
                  <c:v>16.546233333333333</c:v>
                </c:pt>
                <c:pt idx="849">
                  <c:v>16.584366666666668</c:v>
                </c:pt>
                <c:pt idx="850">
                  <c:v>16.588166666666666</c:v>
                </c:pt>
                <c:pt idx="851">
                  <c:v>16.678100000000001</c:v>
                </c:pt>
                <c:pt idx="852">
                  <c:v>16.33713333333333</c:v>
                </c:pt>
                <c:pt idx="853">
                  <c:v>16.101266666666668</c:v>
                </c:pt>
                <c:pt idx="854">
                  <c:v>16.093399999999999</c:v>
                </c:pt>
                <c:pt idx="855">
                  <c:v>16.143533333333334</c:v>
                </c:pt>
                <c:pt idx="856">
                  <c:v>16.336733333333331</c:v>
                </c:pt>
                <c:pt idx="857">
                  <c:v>16.292000000000002</c:v>
                </c:pt>
                <c:pt idx="858">
                  <c:v>16.200199999999999</c:v>
                </c:pt>
                <c:pt idx="859">
                  <c:v>16.057266666666667</c:v>
                </c:pt>
                <c:pt idx="860">
                  <c:v>16.398833333333332</c:v>
                </c:pt>
                <c:pt idx="861">
                  <c:v>16.142133333333334</c:v>
                </c:pt>
                <c:pt idx="862">
                  <c:v>15.696033333333334</c:v>
                </c:pt>
                <c:pt idx="863">
                  <c:v>15.839933333333335</c:v>
                </c:pt>
                <c:pt idx="864">
                  <c:v>15.639666666666669</c:v>
                </c:pt>
                <c:pt idx="865">
                  <c:v>15.891166666666665</c:v>
                </c:pt>
                <c:pt idx="866">
                  <c:v>16.367866666666668</c:v>
                </c:pt>
                <c:pt idx="867">
                  <c:v>16.577366666666666</c:v>
                </c:pt>
                <c:pt idx="868">
                  <c:v>16.435166666666664</c:v>
                </c:pt>
                <c:pt idx="869">
                  <c:v>16.878066666666665</c:v>
                </c:pt>
                <c:pt idx="870">
                  <c:v>17.037566666666667</c:v>
                </c:pt>
                <c:pt idx="871">
                  <c:v>17.306266666666666</c:v>
                </c:pt>
                <c:pt idx="872">
                  <c:v>17.257133333333332</c:v>
                </c:pt>
                <c:pt idx="873">
                  <c:v>17.487399999999997</c:v>
                </c:pt>
                <c:pt idx="874">
                  <c:v>17.362933333333331</c:v>
                </c:pt>
                <c:pt idx="875">
                  <c:v>17.738633333333333</c:v>
                </c:pt>
                <c:pt idx="876">
                  <c:v>17.662299999999998</c:v>
                </c:pt>
                <c:pt idx="877">
                  <c:v>17.815433333333335</c:v>
                </c:pt>
                <c:pt idx="878">
                  <c:v>18.020433333333333</c:v>
                </c:pt>
                <c:pt idx="879">
                  <c:v>18.085100000000001</c:v>
                </c:pt>
                <c:pt idx="880">
                  <c:v>17.862766666666666</c:v>
                </c:pt>
                <c:pt idx="881">
                  <c:v>18.025566666666666</c:v>
                </c:pt>
                <c:pt idx="882">
                  <c:v>18.338466666666665</c:v>
                </c:pt>
                <c:pt idx="883">
                  <c:v>18.1722</c:v>
                </c:pt>
                <c:pt idx="884">
                  <c:v>18.061533333333333</c:v>
                </c:pt>
                <c:pt idx="885">
                  <c:v>18.111666666666665</c:v>
                </c:pt>
                <c:pt idx="886">
                  <c:v>17.931000000000001</c:v>
                </c:pt>
                <c:pt idx="887">
                  <c:v>18.037333333333333</c:v>
                </c:pt>
                <c:pt idx="888">
                  <c:v>17.626233333333332</c:v>
                </c:pt>
                <c:pt idx="889">
                  <c:v>17.64363333333333</c:v>
                </c:pt>
                <c:pt idx="890">
                  <c:v>17.241333333333333</c:v>
                </c:pt>
              </c:numCache>
            </c:numRef>
          </c:val>
          <c:smooth val="0"/>
          <c:extLst>
            <c:ext xmlns:c16="http://schemas.microsoft.com/office/drawing/2014/chart" uri="{C3380CC4-5D6E-409C-BE32-E72D297353CC}">
              <c16:uniqueId val="{00000000-A4F3-4F4D-92A5-79F168DBBFEF}"/>
            </c:ext>
          </c:extLst>
        </c:ser>
        <c:dLbls>
          <c:showLegendKey val="0"/>
          <c:showVal val="0"/>
          <c:showCatName val="0"/>
          <c:showSerName val="0"/>
          <c:showPercent val="0"/>
          <c:showBubbleSize val="0"/>
        </c:dLbls>
        <c:smooth val="0"/>
        <c:axId val="1238259503"/>
        <c:axId val="1238268143"/>
      </c:lineChart>
      <c:dateAx>
        <c:axId val="1238259503"/>
        <c:scaling>
          <c:orientation val="minMax"/>
        </c:scaling>
        <c:delete val="0"/>
        <c:axPos val="b"/>
        <c:numFmt formatCode="yyyy"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38268143"/>
        <c:crosses val="autoZero"/>
        <c:auto val="1"/>
        <c:lblOffset val="100"/>
        <c:baseTimeUnit val="days"/>
        <c:majorUnit val="1"/>
        <c:majorTimeUnit val="years"/>
      </c:dateAx>
      <c:valAx>
        <c:axId val="1238268143"/>
        <c:scaling>
          <c:orientation val="minMax"/>
          <c:max val="60"/>
        </c:scaling>
        <c:delete val="1"/>
        <c:axPos val="l"/>
        <c:numFmt formatCode="_(* #,##0.00_);_(* \(#,##0.00\);_(* &quot;-&quot;??_);_(@_)" sourceLinked="1"/>
        <c:majorTickMark val="none"/>
        <c:minorTickMark val="none"/>
        <c:tickLblPos val="nextTo"/>
        <c:crossAx val="1238259503"/>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085264879155514E-2"/>
          <c:y val="2.8865300293136734E-2"/>
          <c:w val="0.96306554789206067"/>
          <c:h val="0.84499685002503244"/>
        </c:manualLayout>
      </c:layout>
      <c:lineChart>
        <c:grouping val="standard"/>
        <c:varyColors val="0"/>
        <c:ser>
          <c:idx val="0"/>
          <c:order val="0"/>
          <c:tx>
            <c:strRef>
              <c:f>Sheet1!$B$1</c:f>
              <c:strCache>
                <c:ptCount val="1"/>
                <c:pt idx="0">
                  <c:v>Nifty 50</c:v>
                </c:pt>
              </c:strCache>
            </c:strRef>
          </c:tx>
          <c:spPr>
            <a:ln w="25400" cap="rnd">
              <a:solidFill>
                <a:schemeClr val="bg2">
                  <a:lumMod val="75000"/>
                </a:schemeClr>
              </a:solidFill>
              <a:round/>
            </a:ln>
            <a:effectLst/>
          </c:spPr>
          <c:marker>
            <c:symbol val="none"/>
          </c:marker>
          <c:cat>
            <c:numRef>
              <c:f>Sheet1!$A$2:$A$1635</c:f>
              <c:numCache>
                <c:formatCode>m/d/yyyy</c:formatCode>
                <c:ptCount val="1634"/>
                <c:pt idx="0">
                  <c:v>45961</c:v>
                </c:pt>
                <c:pt idx="1">
                  <c:v>45960</c:v>
                </c:pt>
                <c:pt idx="2">
                  <c:v>45959</c:v>
                </c:pt>
                <c:pt idx="3">
                  <c:v>45958</c:v>
                </c:pt>
                <c:pt idx="4">
                  <c:v>45957</c:v>
                </c:pt>
                <c:pt idx="5">
                  <c:v>45954</c:v>
                </c:pt>
                <c:pt idx="6">
                  <c:v>45953</c:v>
                </c:pt>
                <c:pt idx="7">
                  <c:v>45951</c:v>
                </c:pt>
                <c:pt idx="8">
                  <c:v>45950</c:v>
                </c:pt>
                <c:pt idx="9">
                  <c:v>45947</c:v>
                </c:pt>
                <c:pt idx="10">
                  <c:v>45946</c:v>
                </c:pt>
                <c:pt idx="11">
                  <c:v>45945</c:v>
                </c:pt>
                <c:pt idx="12">
                  <c:v>45944</c:v>
                </c:pt>
                <c:pt idx="13">
                  <c:v>45943</c:v>
                </c:pt>
                <c:pt idx="14">
                  <c:v>45940</c:v>
                </c:pt>
                <c:pt idx="15">
                  <c:v>45939</c:v>
                </c:pt>
                <c:pt idx="16">
                  <c:v>45938</c:v>
                </c:pt>
                <c:pt idx="17">
                  <c:v>45937</c:v>
                </c:pt>
                <c:pt idx="18">
                  <c:v>45936</c:v>
                </c:pt>
                <c:pt idx="19">
                  <c:v>45933</c:v>
                </c:pt>
                <c:pt idx="20">
                  <c:v>45931</c:v>
                </c:pt>
                <c:pt idx="21">
                  <c:v>45930</c:v>
                </c:pt>
                <c:pt idx="22">
                  <c:v>45929</c:v>
                </c:pt>
                <c:pt idx="23">
                  <c:v>45926</c:v>
                </c:pt>
                <c:pt idx="24">
                  <c:v>45925</c:v>
                </c:pt>
                <c:pt idx="25">
                  <c:v>45924</c:v>
                </c:pt>
                <c:pt idx="26">
                  <c:v>45923</c:v>
                </c:pt>
                <c:pt idx="27">
                  <c:v>45922</c:v>
                </c:pt>
                <c:pt idx="28">
                  <c:v>45919</c:v>
                </c:pt>
                <c:pt idx="29">
                  <c:v>45918</c:v>
                </c:pt>
                <c:pt idx="30">
                  <c:v>45917</c:v>
                </c:pt>
                <c:pt idx="31">
                  <c:v>45916</c:v>
                </c:pt>
                <c:pt idx="32">
                  <c:v>45915</c:v>
                </c:pt>
                <c:pt idx="33">
                  <c:v>45912</c:v>
                </c:pt>
                <c:pt idx="34">
                  <c:v>45911</c:v>
                </c:pt>
                <c:pt idx="35">
                  <c:v>45910</c:v>
                </c:pt>
                <c:pt idx="36">
                  <c:v>45909</c:v>
                </c:pt>
                <c:pt idx="37">
                  <c:v>45908</c:v>
                </c:pt>
                <c:pt idx="38">
                  <c:v>45905</c:v>
                </c:pt>
                <c:pt idx="39">
                  <c:v>45904</c:v>
                </c:pt>
                <c:pt idx="40">
                  <c:v>45903</c:v>
                </c:pt>
                <c:pt idx="41">
                  <c:v>45902</c:v>
                </c:pt>
                <c:pt idx="42">
                  <c:v>45901</c:v>
                </c:pt>
                <c:pt idx="43">
                  <c:v>45898</c:v>
                </c:pt>
                <c:pt idx="44">
                  <c:v>45897</c:v>
                </c:pt>
                <c:pt idx="45">
                  <c:v>45895</c:v>
                </c:pt>
                <c:pt idx="46">
                  <c:v>45894</c:v>
                </c:pt>
                <c:pt idx="47">
                  <c:v>45891</c:v>
                </c:pt>
                <c:pt idx="48">
                  <c:v>45890</c:v>
                </c:pt>
                <c:pt idx="49">
                  <c:v>45889</c:v>
                </c:pt>
                <c:pt idx="50">
                  <c:v>45888</c:v>
                </c:pt>
                <c:pt idx="51">
                  <c:v>45887</c:v>
                </c:pt>
                <c:pt idx="52">
                  <c:v>45883</c:v>
                </c:pt>
                <c:pt idx="53">
                  <c:v>45882</c:v>
                </c:pt>
                <c:pt idx="54">
                  <c:v>45881</c:v>
                </c:pt>
                <c:pt idx="55">
                  <c:v>45880</c:v>
                </c:pt>
                <c:pt idx="56">
                  <c:v>45877</c:v>
                </c:pt>
                <c:pt idx="57">
                  <c:v>45876</c:v>
                </c:pt>
                <c:pt idx="58">
                  <c:v>45875</c:v>
                </c:pt>
                <c:pt idx="59">
                  <c:v>45874</c:v>
                </c:pt>
                <c:pt idx="60">
                  <c:v>45873</c:v>
                </c:pt>
                <c:pt idx="61">
                  <c:v>45870</c:v>
                </c:pt>
                <c:pt idx="62">
                  <c:v>45869</c:v>
                </c:pt>
                <c:pt idx="63">
                  <c:v>45868</c:v>
                </c:pt>
                <c:pt idx="64">
                  <c:v>45867</c:v>
                </c:pt>
                <c:pt idx="65">
                  <c:v>45866</c:v>
                </c:pt>
                <c:pt idx="66">
                  <c:v>45863</c:v>
                </c:pt>
                <c:pt idx="67">
                  <c:v>45862</c:v>
                </c:pt>
                <c:pt idx="68">
                  <c:v>45861</c:v>
                </c:pt>
                <c:pt idx="69">
                  <c:v>45860</c:v>
                </c:pt>
                <c:pt idx="70">
                  <c:v>45859</c:v>
                </c:pt>
                <c:pt idx="71">
                  <c:v>45856</c:v>
                </c:pt>
                <c:pt idx="72">
                  <c:v>45855</c:v>
                </c:pt>
                <c:pt idx="73">
                  <c:v>45854</c:v>
                </c:pt>
                <c:pt idx="74">
                  <c:v>45853</c:v>
                </c:pt>
                <c:pt idx="75">
                  <c:v>45852</c:v>
                </c:pt>
                <c:pt idx="76">
                  <c:v>45849</c:v>
                </c:pt>
                <c:pt idx="77">
                  <c:v>45848</c:v>
                </c:pt>
                <c:pt idx="78">
                  <c:v>45847</c:v>
                </c:pt>
                <c:pt idx="79">
                  <c:v>45846</c:v>
                </c:pt>
                <c:pt idx="80">
                  <c:v>45845</c:v>
                </c:pt>
                <c:pt idx="81">
                  <c:v>45842</c:v>
                </c:pt>
                <c:pt idx="82">
                  <c:v>45841</c:v>
                </c:pt>
                <c:pt idx="83">
                  <c:v>45840</c:v>
                </c:pt>
                <c:pt idx="84">
                  <c:v>45839</c:v>
                </c:pt>
                <c:pt idx="85">
                  <c:v>45838</c:v>
                </c:pt>
                <c:pt idx="86">
                  <c:v>45835</c:v>
                </c:pt>
                <c:pt idx="87">
                  <c:v>45834</c:v>
                </c:pt>
                <c:pt idx="88">
                  <c:v>45833</c:v>
                </c:pt>
                <c:pt idx="89">
                  <c:v>45832</c:v>
                </c:pt>
                <c:pt idx="90">
                  <c:v>45831</c:v>
                </c:pt>
                <c:pt idx="91">
                  <c:v>45828</c:v>
                </c:pt>
                <c:pt idx="92">
                  <c:v>45827</c:v>
                </c:pt>
                <c:pt idx="93">
                  <c:v>45826</c:v>
                </c:pt>
                <c:pt idx="94">
                  <c:v>45825</c:v>
                </c:pt>
                <c:pt idx="95">
                  <c:v>45824</c:v>
                </c:pt>
                <c:pt idx="96">
                  <c:v>45821</c:v>
                </c:pt>
                <c:pt idx="97">
                  <c:v>45820</c:v>
                </c:pt>
                <c:pt idx="98">
                  <c:v>45819</c:v>
                </c:pt>
                <c:pt idx="99">
                  <c:v>45818</c:v>
                </c:pt>
                <c:pt idx="100">
                  <c:v>45817</c:v>
                </c:pt>
                <c:pt idx="101">
                  <c:v>45814</c:v>
                </c:pt>
                <c:pt idx="102">
                  <c:v>45813</c:v>
                </c:pt>
                <c:pt idx="103">
                  <c:v>45812</c:v>
                </c:pt>
                <c:pt idx="104">
                  <c:v>45811</c:v>
                </c:pt>
                <c:pt idx="105">
                  <c:v>45810</c:v>
                </c:pt>
                <c:pt idx="106">
                  <c:v>45807</c:v>
                </c:pt>
                <c:pt idx="107">
                  <c:v>45806</c:v>
                </c:pt>
                <c:pt idx="108">
                  <c:v>45805</c:v>
                </c:pt>
                <c:pt idx="109">
                  <c:v>45804</c:v>
                </c:pt>
                <c:pt idx="110">
                  <c:v>45803</c:v>
                </c:pt>
                <c:pt idx="111">
                  <c:v>45800</c:v>
                </c:pt>
                <c:pt idx="112">
                  <c:v>45799</c:v>
                </c:pt>
                <c:pt idx="113">
                  <c:v>45798</c:v>
                </c:pt>
                <c:pt idx="114">
                  <c:v>45797</c:v>
                </c:pt>
                <c:pt idx="115">
                  <c:v>45796</c:v>
                </c:pt>
                <c:pt idx="116">
                  <c:v>45793</c:v>
                </c:pt>
                <c:pt idx="117">
                  <c:v>45792</c:v>
                </c:pt>
                <c:pt idx="118">
                  <c:v>45791</c:v>
                </c:pt>
                <c:pt idx="119">
                  <c:v>45790</c:v>
                </c:pt>
                <c:pt idx="120">
                  <c:v>45789</c:v>
                </c:pt>
                <c:pt idx="121">
                  <c:v>45786</c:v>
                </c:pt>
                <c:pt idx="122">
                  <c:v>45785</c:v>
                </c:pt>
                <c:pt idx="123">
                  <c:v>45784</c:v>
                </c:pt>
                <c:pt idx="124">
                  <c:v>45783</c:v>
                </c:pt>
                <c:pt idx="125">
                  <c:v>45782</c:v>
                </c:pt>
                <c:pt idx="126">
                  <c:v>45779</c:v>
                </c:pt>
                <c:pt idx="127">
                  <c:v>45777</c:v>
                </c:pt>
                <c:pt idx="128">
                  <c:v>45776</c:v>
                </c:pt>
                <c:pt idx="129">
                  <c:v>45775</c:v>
                </c:pt>
                <c:pt idx="130">
                  <c:v>45772</c:v>
                </c:pt>
                <c:pt idx="131">
                  <c:v>45771</c:v>
                </c:pt>
                <c:pt idx="132">
                  <c:v>45770</c:v>
                </c:pt>
                <c:pt idx="133">
                  <c:v>45769</c:v>
                </c:pt>
                <c:pt idx="134">
                  <c:v>45768</c:v>
                </c:pt>
                <c:pt idx="135">
                  <c:v>45764</c:v>
                </c:pt>
                <c:pt idx="136">
                  <c:v>45763</c:v>
                </c:pt>
                <c:pt idx="137">
                  <c:v>45762</c:v>
                </c:pt>
                <c:pt idx="138">
                  <c:v>45758</c:v>
                </c:pt>
                <c:pt idx="139">
                  <c:v>45756</c:v>
                </c:pt>
                <c:pt idx="140">
                  <c:v>45755</c:v>
                </c:pt>
                <c:pt idx="141">
                  <c:v>45754</c:v>
                </c:pt>
                <c:pt idx="142">
                  <c:v>45751</c:v>
                </c:pt>
                <c:pt idx="143">
                  <c:v>45750</c:v>
                </c:pt>
                <c:pt idx="144">
                  <c:v>45749</c:v>
                </c:pt>
                <c:pt idx="145">
                  <c:v>45748</c:v>
                </c:pt>
                <c:pt idx="146">
                  <c:v>45744</c:v>
                </c:pt>
                <c:pt idx="147">
                  <c:v>45743</c:v>
                </c:pt>
                <c:pt idx="148">
                  <c:v>45742</c:v>
                </c:pt>
                <c:pt idx="149">
                  <c:v>45741</c:v>
                </c:pt>
                <c:pt idx="150">
                  <c:v>45740</c:v>
                </c:pt>
                <c:pt idx="151">
                  <c:v>45737</c:v>
                </c:pt>
                <c:pt idx="152">
                  <c:v>45736</c:v>
                </c:pt>
                <c:pt idx="153">
                  <c:v>45735</c:v>
                </c:pt>
                <c:pt idx="154">
                  <c:v>45734</c:v>
                </c:pt>
                <c:pt idx="155">
                  <c:v>45733</c:v>
                </c:pt>
                <c:pt idx="156">
                  <c:v>45729</c:v>
                </c:pt>
                <c:pt idx="157">
                  <c:v>45728</c:v>
                </c:pt>
                <c:pt idx="158">
                  <c:v>45727</c:v>
                </c:pt>
                <c:pt idx="159">
                  <c:v>45726</c:v>
                </c:pt>
                <c:pt idx="160">
                  <c:v>45723</c:v>
                </c:pt>
                <c:pt idx="161">
                  <c:v>45722</c:v>
                </c:pt>
                <c:pt idx="162">
                  <c:v>45721</c:v>
                </c:pt>
                <c:pt idx="163">
                  <c:v>45720</c:v>
                </c:pt>
                <c:pt idx="164">
                  <c:v>45719</c:v>
                </c:pt>
                <c:pt idx="165">
                  <c:v>45716</c:v>
                </c:pt>
                <c:pt idx="166">
                  <c:v>45715</c:v>
                </c:pt>
                <c:pt idx="167">
                  <c:v>45713</c:v>
                </c:pt>
                <c:pt idx="168">
                  <c:v>45712</c:v>
                </c:pt>
                <c:pt idx="169">
                  <c:v>45709</c:v>
                </c:pt>
                <c:pt idx="170">
                  <c:v>45708</c:v>
                </c:pt>
                <c:pt idx="171">
                  <c:v>45707</c:v>
                </c:pt>
                <c:pt idx="172">
                  <c:v>45706</c:v>
                </c:pt>
                <c:pt idx="173">
                  <c:v>45705</c:v>
                </c:pt>
                <c:pt idx="174">
                  <c:v>45702</c:v>
                </c:pt>
                <c:pt idx="175">
                  <c:v>45701</c:v>
                </c:pt>
                <c:pt idx="176">
                  <c:v>45700</c:v>
                </c:pt>
                <c:pt idx="177">
                  <c:v>45699</c:v>
                </c:pt>
                <c:pt idx="178">
                  <c:v>45698</c:v>
                </c:pt>
                <c:pt idx="179">
                  <c:v>45695</c:v>
                </c:pt>
                <c:pt idx="180">
                  <c:v>45694</c:v>
                </c:pt>
                <c:pt idx="181">
                  <c:v>45693</c:v>
                </c:pt>
                <c:pt idx="182">
                  <c:v>45692</c:v>
                </c:pt>
                <c:pt idx="183">
                  <c:v>45691</c:v>
                </c:pt>
                <c:pt idx="184">
                  <c:v>45689</c:v>
                </c:pt>
                <c:pt idx="185">
                  <c:v>45688</c:v>
                </c:pt>
                <c:pt idx="186">
                  <c:v>45687</c:v>
                </c:pt>
                <c:pt idx="187">
                  <c:v>45686</c:v>
                </c:pt>
                <c:pt idx="188">
                  <c:v>45685</c:v>
                </c:pt>
                <c:pt idx="189">
                  <c:v>45684</c:v>
                </c:pt>
                <c:pt idx="190">
                  <c:v>45681</c:v>
                </c:pt>
                <c:pt idx="191">
                  <c:v>45680</c:v>
                </c:pt>
                <c:pt idx="192">
                  <c:v>45679</c:v>
                </c:pt>
                <c:pt idx="193">
                  <c:v>45678</c:v>
                </c:pt>
                <c:pt idx="194">
                  <c:v>45677</c:v>
                </c:pt>
                <c:pt idx="195">
                  <c:v>45674</c:v>
                </c:pt>
                <c:pt idx="196">
                  <c:v>45673</c:v>
                </c:pt>
                <c:pt idx="197">
                  <c:v>45672</c:v>
                </c:pt>
                <c:pt idx="198">
                  <c:v>45671</c:v>
                </c:pt>
                <c:pt idx="199">
                  <c:v>45670</c:v>
                </c:pt>
                <c:pt idx="200">
                  <c:v>45667</c:v>
                </c:pt>
                <c:pt idx="201">
                  <c:v>45666</c:v>
                </c:pt>
                <c:pt idx="202">
                  <c:v>45665</c:v>
                </c:pt>
                <c:pt idx="203">
                  <c:v>45664</c:v>
                </c:pt>
                <c:pt idx="204">
                  <c:v>45663</c:v>
                </c:pt>
                <c:pt idx="205">
                  <c:v>45660</c:v>
                </c:pt>
                <c:pt idx="206">
                  <c:v>45659</c:v>
                </c:pt>
                <c:pt idx="207">
                  <c:v>45658</c:v>
                </c:pt>
                <c:pt idx="208">
                  <c:v>45657</c:v>
                </c:pt>
                <c:pt idx="209">
                  <c:v>45656</c:v>
                </c:pt>
                <c:pt idx="210">
                  <c:v>45653</c:v>
                </c:pt>
                <c:pt idx="211">
                  <c:v>45652</c:v>
                </c:pt>
                <c:pt idx="212">
                  <c:v>45650</c:v>
                </c:pt>
                <c:pt idx="213">
                  <c:v>45649</c:v>
                </c:pt>
                <c:pt idx="214">
                  <c:v>45646</c:v>
                </c:pt>
                <c:pt idx="215">
                  <c:v>45645</c:v>
                </c:pt>
                <c:pt idx="216">
                  <c:v>45644</c:v>
                </c:pt>
                <c:pt idx="217">
                  <c:v>45643</c:v>
                </c:pt>
                <c:pt idx="218">
                  <c:v>45642</c:v>
                </c:pt>
                <c:pt idx="219">
                  <c:v>45639</c:v>
                </c:pt>
                <c:pt idx="220">
                  <c:v>45638</c:v>
                </c:pt>
                <c:pt idx="221">
                  <c:v>45637</c:v>
                </c:pt>
                <c:pt idx="222">
                  <c:v>45636</c:v>
                </c:pt>
                <c:pt idx="223">
                  <c:v>45635</c:v>
                </c:pt>
                <c:pt idx="224">
                  <c:v>45632</c:v>
                </c:pt>
                <c:pt idx="225">
                  <c:v>45631</c:v>
                </c:pt>
                <c:pt idx="226">
                  <c:v>45630</c:v>
                </c:pt>
                <c:pt idx="227">
                  <c:v>45629</c:v>
                </c:pt>
                <c:pt idx="228">
                  <c:v>45628</c:v>
                </c:pt>
                <c:pt idx="229">
                  <c:v>45625</c:v>
                </c:pt>
                <c:pt idx="230">
                  <c:v>45624</c:v>
                </c:pt>
                <c:pt idx="231">
                  <c:v>45623</c:v>
                </c:pt>
                <c:pt idx="232">
                  <c:v>45622</c:v>
                </c:pt>
                <c:pt idx="233">
                  <c:v>45621</c:v>
                </c:pt>
                <c:pt idx="234">
                  <c:v>45618</c:v>
                </c:pt>
                <c:pt idx="235">
                  <c:v>45617</c:v>
                </c:pt>
                <c:pt idx="236">
                  <c:v>45615</c:v>
                </c:pt>
                <c:pt idx="237">
                  <c:v>45614</c:v>
                </c:pt>
                <c:pt idx="238">
                  <c:v>45610</c:v>
                </c:pt>
                <c:pt idx="239">
                  <c:v>45609</c:v>
                </c:pt>
                <c:pt idx="240">
                  <c:v>45608</c:v>
                </c:pt>
                <c:pt idx="241">
                  <c:v>45607</c:v>
                </c:pt>
                <c:pt idx="242">
                  <c:v>45604</c:v>
                </c:pt>
                <c:pt idx="243">
                  <c:v>45603</c:v>
                </c:pt>
                <c:pt idx="244">
                  <c:v>45602</c:v>
                </c:pt>
                <c:pt idx="245">
                  <c:v>45601</c:v>
                </c:pt>
                <c:pt idx="246">
                  <c:v>45600</c:v>
                </c:pt>
                <c:pt idx="247">
                  <c:v>45597</c:v>
                </c:pt>
                <c:pt idx="248">
                  <c:v>45596</c:v>
                </c:pt>
                <c:pt idx="249">
                  <c:v>45595</c:v>
                </c:pt>
                <c:pt idx="250">
                  <c:v>45594</c:v>
                </c:pt>
                <c:pt idx="251">
                  <c:v>45593</c:v>
                </c:pt>
                <c:pt idx="252">
                  <c:v>45590</c:v>
                </c:pt>
                <c:pt idx="253">
                  <c:v>45589</c:v>
                </c:pt>
                <c:pt idx="254">
                  <c:v>45588</c:v>
                </c:pt>
                <c:pt idx="255">
                  <c:v>45587</c:v>
                </c:pt>
                <c:pt idx="256">
                  <c:v>45586</c:v>
                </c:pt>
                <c:pt idx="257">
                  <c:v>45583</c:v>
                </c:pt>
                <c:pt idx="258">
                  <c:v>45582</c:v>
                </c:pt>
                <c:pt idx="259">
                  <c:v>45581</c:v>
                </c:pt>
                <c:pt idx="260">
                  <c:v>45580</c:v>
                </c:pt>
                <c:pt idx="261">
                  <c:v>45579</c:v>
                </c:pt>
                <c:pt idx="262">
                  <c:v>45576</c:v>
                </c:pt>
                <c:pt idx="263">
                  <c:v>45575</c:v>
                </c:pt>
                <c:pt idx="264">
                  <c:v>45574</c:v>
                </c:pt>
                <c:pt idx="265">
                  <c:v>45573</c:v>
                </c:pt>
                <c:pt idx="266">
                  <c:v>45572</c:v>
                </c:pt>
                <c:pt idx="267">
                  <c:v>45569</c:v>
                </c:pt>
                <c:pt idx="268">
                  <c:v>45568</c:v>
                </c:pt>
                <c:pt idx="269">
                  <c:v>45566</c:v>
                </c:pt>
                <c:pt idx="270">
                  <c:v>45565</c:v>
                </c:pt>
                <c:pt idx="271">
                  <c:v>45562</c:v>
                </c:pt>
                <c:pt idx="272">
                  <c:v>45561</c:v>
                </c:pt>
                <c:pt idx="273">
                  <c:v>45560</c:v>
                </c:pt>
                <c:pt idx="274">
                  <c:v>45559</c:v>
                </c:pt>
                <c:pt idx="275">
                  <c:v>45558</c:v>
                </c:pt>
                <c:pt idx="276">
                  <c:v>45555</c:v>
                </c:pt>
                <c:pt idx="277">
                  <c:v>45554</c:v>
                </c:pt>
                <c:pt idx="278">
                  <c:v>45553</c:v>
                </c:pt>
                <c:pt idx="279">
                  <c:v>45552</c:v>
                </c:pt>
                <c:pt idx="280">
                  <c:v>45551</c:v>
                </c:pt>
                <c:pt idx="281">
                  <c:v>45548</c:v>
                </c:pt>
                <c:pt idx="282">
                  <c:v>45547</c:v>
                </c:pt>
                <c:pt idx="283">
                  <c:v>45546</c:v>
                </c:pt>
                <c:pt idx="284">
                  <c:v>45545</c:v>
                </c:pt>
                <c:pt idx="285">
                  <c:v>45544</c:v>
                </c:pt>
                <c:pt idx="286">
                  <c:v>45541</c:v>
                </c:pt>
                <c:pt idx="287">
                  <c:v>45540</c:v>
                </c:pt>
                <c:pt idx="288">
                  <c:v>45539</c:v>
                </c:pt>
                <c:pt idx="289">
                  <c:v>45538</c:v>
                </c:pt>
                <c:pt idx="290">
                  <c:v>45537</c:v>
                </c:pt>
                <c:pt idx="291">
                  <c:v>45534</c:v>
                </c:pt>
                <c:pt idx="292">
                  <c:v>45533</c:v>
                </c:pt>
                <c:pt idx="293">
                  <c:v>45532</c:v>
                </c:pt>
                <c:pt idx="294">
                  <c:v>45531</c:v>
                </c:pt>
                <c:pt idx="295">
                  <c:v>45530</c:v>
                </c:pt>
                <c:pt idx="296">
                  <c:v>45527</c:v>
                </c:pt>
                <c:pt idx="297">
                  <c:v>45526</c:v>
                </c:pt>
                <c:pt idx="298">
                  <c:v>45525</c:v>
                </c:pt>
                <c:pt idx="299">
                  <c:v>45524</c:v>
                </c:pt>
                <c:pt idx="300">
                  <c:v>45523</c:v>
                </c:pt>
                <c:pt idx="301">
                  <c:v>45520</c:v>
                </c:pt>
                <c:pt idx="302">
                  <c:v>45518</c:v>
                </c:pt>
                <c:pt idx="303">
                  <c:v>45517</c:v>
                </c:pt>
                <c:pt idx="304">
                  <c:v>45516</c:v>
                </c:pt>
                <c:pt idx="305">
                  <c:v>45513</c:v>
                </c:pt>
                <c:pt idx="306">
                  <c:v>45512</c:v>
                </c:pt>
                <c:pt idx="307">
                  <c:v>45511</c:v>
                </c:pt>
                <c:pt idx="308">
                  <c:v>45510</c:v>
                </c:pt>
                <c:pt idx="309">
                  <c:v>45509</c:v>
                </c:pt>
                <c:pt idx="310">
                  <c:v>45506</c:v>
                </c:pt>
                <c:pt idx="311">
                  <c:v>45505</c:v>
                </c:pt>
                <c:pt idx="312">
                  <c:v>45504</c:v>
                </c:pt>
                <c:pt idx="313">
                  <c:v>45503</c:v>
                </c:pt>
                <c:pt idx="314">
                  <c:v>45502</c:v>
                </c:pt>
                <c:pt idx="315">
                  <c:v>45499</c:v>
                </c:pt>
                <c:pt idx="316">
                  <c:v>45498</c:v>
                </c:pt>
                <c:pt idx="317">
                  <c:v>45497</c:v>
                </c:pt>
                <c:pt idx="318">
                  <c:v>45496</c:v>
                </c:pt>
                <c:pt idx="319">
                  <c:v>45495</c:v>
                </c:pt>
                <c:pt idx="320">
                  <c:v>45492</c:v>
                </c:pt>
                <c:pt idx="321">
                  <c:v>45491</c:v>
                </c:pt>
                <c:pt idx="322">
                  <c:v>45489</c:v>
                </c:pt>
                <c:pt idx="323">
                  <c:v>45488</c:v>
                </c:pt>
                <c:pt idx="324">
                  <c:v>45485</c:v>
                </c:pt>
                <c:pt idx="325">
                  <c:v>45484</c:v>
                </c:pt>
                <c:pt idx="326">
                  <c:v>45483</c:v>
                </c:pt>
                <c:pt idx="327">
                  <c:v>45482</c:v>
                </c:pt>
                <c:pt idx="328">
                  <c:v>45481</c:v>
                </c:pt>
                <c:pt idx="329">
                  <c:v>45478</c:v>
                </c:pt>
                <c:pt idx="330">
                  <c:v>45477</c:v>
                </c:pt>
                <c:pt idx="331">
                  <c:v>45476</c:v>
                </c:pt>
                <c:pt idx="332">
                  <c:v>45475</c:v>
                </c:pt>
                <c:pt idx="333">
                  <c:v>45474</c:v>
                </c:pt>
                <c:pt idx="334">
                  <c:v>45471</c:v>
                </c:pt>
                <c:pt idx="335">
                  <c:v>45470</c:v>
                </c:pt>
                <c:pt idx="336">
                  <c:v>45469</c:v>
                </c:pt>
                <c:pt idx="337">
                  <c:v>45468</c:v>
                </c:pt>
                <c:pt idx="338">
                  <c:v>45467</c:v>
                </c:pt>
                <c:pt idx="339">
                  <c:v>45464</c:v>
                </c:pt>
                <c:pt idx="340">
                  <c:v>45463</c:v>
                </c:pt>
                <c:pt idx="341">
                  <c:v>45462</c:v>
                </c:pt>
                <c:pt idx="342">
                  <c:v>45461</c:v>
                </c:pt>
                <c:pt idx="343">
                  <c:v>45457</c:v>
                </c:pt>
                <c:pt idx="344">
                  <c:v>45456</c:v>
                </c:pt>
                <c:pt idx="345">
                  <c:v>45455</c:v>
                </c:pt>
                <c:pt idx="346">
                  <c:v>45454</c:v>
                </c:pt>
                <c:pt idx="347">
                  <c:v>45453</c:v>
                </c:pt>
                <c:pt idx="348">
                  <c:v>45450</c:v>
                </c:pt>
                <c:pt idx="349">
                  <c:v>45449</c:v>
                </c:pt>
                <c:pt idx="350">
                  <c:v>45448</c:v>
                </c:pt>
                <c:pt idx="351">
                  <c:v>45447</c:v>
                </c:pt>
                <c:pt idx="352">
                  <c:v>45446</c:v>
                </c:pt>
                <c:pt idx="353">
                  <c:v>45443</c:v>
                </c:pt>
                <c:pt idx="354">
                  <c:v>45442</c:v>
                </c:pt>
                <c:pt idx="355">
                  <c:v>45441</c:v>
                </c:pt>
                <c:pt idx="356">
                  <c:v>45440</c:v>
                </c:pt>
                <c:pt idx="357">
                  <c:v>45439</c:v>
                </c:pt>
                <c:pt idx="358">
                  <c:v>45436</c:v>
                </c:pt>
                <c:pt idx="359">
                  <c:v>45435</c:v>
                </c:pt>
                <c:pt idx="360">
                  <c:v>45434</c:v>
                </c:pt>
                <c:pt idx="361">
                  <c:v>45433</c:v>
                </c:pt>
                <c:pt idx="362">
                  <c:v>45430</c:v>
                </c:pt>
                <c:pt idx="363">
                  <c:v>45429</c:v>
                </c:pt>
                <c:pt idx="364">
                  <c:v>45428</c:v>
                </c:pt>
                <c:pt idx="365">
                  <c:v>45427</c:v>
                </c:pt>
                <c:pt idx="366">
                  <c:v>45426</c:v>
                </c:pt>
                <c:pt idx="367">
                  <c:v>45425</c:v>
                </c:pt>
                <c:pt idx="368">
                  <c:v>45422</c:v>
                </c:pt>
                <c:pt idx="369">
                  <c:v>45421</c:v>
                </c:pt>
                <c:pt idx="370">
                  <c:v>45420</c:v>
                </c:pt>
                <c:pt idx="371">
                  <c:v>45419</c:v>
                </c:pt>
                <c:pt idx="372">
                  <c:v>45418</c:v>
                </c:pt>
                <c:pt idx="373">
                  <c:v>45415</c:v>
                </c:pt>
                <c:pt idx="374">
                  <c:v>45414</c:v>
                </c:pt>
                <c:pt idx="375">
                  <c:v>45412</c:v>
                </c:pt>
                <c:pt idx="376">
                  <c:v>45411</c:v>
                </c:pt>
                <c:pt idx="377">
                  <c:v>45408</c:v>
                </c:pt>
                <c:pt idx="378">
                  <c:v>45407</c:v>
                </c:pt>
                <c:pt idx="379">
                  <c:v>45406</c:v>
                </c:pt>
                <c:pt idx="380">
                  <c:v>45405</c:v>
                </c:pt>
                <c:pt idx="381">
                  <c:v>45404</c:v>
                </c:pt>
                <c:pt idx="382">
                  <c:v>45401</c:v>
                </c:pt>
                <c:pt idx="383">
                  <c:v>45400</c:v>
                </c:pt>
                <c:pt idx="384">
                  <c:v>45398</c:v>
                </c:pt>
                <c:pt idx="385">
                  <c:v>45397</c:v>
                </c:pt>
                <c:pt idx="386">
                  <c:v>45394</c:v>
                </c:pt>
                <c:pt idx="387">
                  <c:v>45392</c:v>
                </c:pt>
                <c:pt idx="388">
                  <c:v>45391</c:v>
                </c:pt>
                <c:pt idx="389">
                  <c:v>45390</c:v>
                </c:pt>
                <c:pt idx="390">
                  <c:v>45387</c:v>
                </c:pt>
                <c:pt idx="391">
                  <c:v>45386</c:v>
                </c:pt>
                <c:pt idx="392">
                  <c:v>45385</c:v>
                </c:pt>
                <c:pt idx="393">
                  <c:v>45384</c:v>
                </c:pt>
                <c:pt idx="394">
                  <c:v>45383</c:v>
                </c:pt>
                <c:pt idx="395">
                  <c:v>45379</c:v>
                </c:pt>
                <c:pt idx="396">
                  <c:v>45378</c:v>
                </c:pt>
                <c:pt idx="397">
                  <c:v>45377</c:v>
                </c:pt>
                <c:pt idx="398">
                  <c:v>45373</c:v>
                </c:pt>
                <c:pt idx="399">
                  <c:v>45372</c:v>
                </c:pt>
                <c:pt idx="400">
                  <c:v>45371</c:v>
                </c:pt>
                <c:pt idx="401">
                  <c:v>45370</c:v>
                </c:pt>
                <c:pt idx="402">
                  <c:v>45369</c:v>
                </c:pt>
                <c:pt idx="403">
                  <c:v>45366</c:v>
                </c:pt>
                <c:pt idx="404">
                  <c:v>45365</c:v>
                </c:pt>
                <c:pt idx="405">
                  <c:v>45364</c:v>
                </c:pt>
                <c:pt idx="406">
                  <c:v>45363</c:v>
                </c:pt>
                <c:pt idx="407">
                  <c:v>45362</c:v>
                </c:pt>
                <c:pt idx="408">
                  <c:v>45358</c:v>
                </c:pt>
                <c:pt idx="409">
                  <c:v>45357</c:v>
                </c:pt>
                <c:pt idx="410">
                  <c:v>45356</c:v>
                </c:pt>
                <c:pt idx="411">
                  <c:v>45355</c:v>
                </c:pt>
                <c:pt idx="412">
                  <c:v>45353</c:v>
                </c:pt>
                <c:pt idx="413">
                  <c:v>45352</c:v>
                </c:pt>
                <c:pt idx="414">
                  <c:v>45351</c:v>
                </c:pt>
                <c:pt idx="415">
                  <c:v>45350</c:v>
                </c:pt>
                <c:pt idx="416">
                  <c:v>45349</c:v>
                </c:pt>
                <c:pt idx="417">
                  <c:v>45348</c:v>
                </c:pt>
                <c:pt idx="418">
                  <c:v>45345</c:v>
                </c:pt>
                <c:pt idx="419">
                  <c:v>45344</c:v>
                </c:pt>
                <c:pt idx="420">
                  <c:v>45343</c:v>
                </c:pt>
                <c:pt idx="421">
                  <c:v>45342</c:v>
                </c:pt>
                <c:pt idx="422">
                  <c:v>45341</c:v>
                </c:pt>
                <c:pt idx="423">
                  <c:v>45338</c:v>
                </c:pt>
                <c:pt idx="424">
                  <c:v>45337</c:v>
                </c:pt>
                <c:pt idx="425">
                  <c:v>45336</c:v>
                </c:pt>
                <c:pt idx="426">
                  <c:v>45335</c:v>
                </c:pt>
                <c:pt idx="427">
                  <c:v>45334</c:v>
                </c:pt>
                <c:pt idx="428">
                  <c:v>45331</c:v>
                </c:pt>
                <c:pt idx="429">
                  <c:v>45330</c:v>
                </c:pt>
                <c:pt idx="430">
                  <c:v>45329</c:v>
                </c:pt>
                <c:pt idx="431">
                  <c:v>45328</c:v>
                </c:pt>
                <c:pt idx="432">
                  <c:v>45327</c:v>
                </c:pt>
                <c:pt idx="433">
                  <c:v>45324</c:v>
                </c:pt>
                <c:pt idx="434">
                  <c:v>45323</c:v>
                </c:pt>
                <c:pt idx="435">
                  <c:v>45322</c:v>
                </c:pt>
                <c:pt idx="436">
                  <c:v>45321</c:v>
                </c:pt>
                <c:pt idx="437">
                  <c:v>45320</c:v>
                </c:pt>
                <c:pt idx="438">
                  <c:v>45316</c:v>
                </c:pt>
                <c:pt idx="439">
                  <c:v>45315</c:v>
                </c:pt>
                <c:pt idx="440">
                  <c:v>45314</c:v>
                </c:pt>
                <c:pt idx="441">
                  <c:v>45311</c:v>
                </c:pt>
                <c:pt idx="442">
                  <c:v>45310</c:v>
                </c:pt>
                <c:pt idx="443">
                  <c:v>45309</c:v>
                </c:pt>
                <c:pt idx="444">
                  <c:v>45308</c:v>
                </c:pt>
                <c:pt idx="445">
                  <c:v>45307</c:v>
                </c:pt>
                <c:pt idx="446">
                  <c:v>45306</c:v>
                </c:pt>
                <c:pt idx="447">
                  <c:v>45303</c:v>
                </c:pt>
                <c:pt idx="448">
                  <c:v>45302</c:v>
                </c:pt>
                <c:pt idx="449">
                  <c:v>45301</c:v>
                </c:pt>
                <c:pt idx="450">
                  <c:v>45300</c:v>
                </c:pt>
                <c:pt idx="451">
                  <c:v>45299</c:v>
                </c:pt>
                <c:pt idx="452">
                  <c:v>45296</c:v>
                </c:pt>
                <c:pt idx="453">
                  <c:v>45295</c:v>
                </c:pt>
                <c:pt idx="454">
                  <c:v>45294</c:v>
                </c:pt>
                <c:pt idx="455">
                  <c:v>45293</c:v>
                </c:pt>
                <c:pt idx="456">
                  <c:v>45292</c:v>
                </c:pt>
                <c:pt idx="457">
                  <c:v>45289</c:v>
                </c:pt>
                <c:pt idx="458">
                  <c:v>45288</c:v>
                </c:pt>
                <c:pt idx="459">
                  <c:v>45287</c:v>
                </c:pt>
                <c:pt idx="460">
                  <c:v>45286</c:v>
                </c:pt>
                <c:pt idx="461">
                  <c:v>45282</c:v>
                </c:pt>
                <c:pt idx="462">
                  <c:v>45281</c:v>
                </c:pt>
                <c:pt idx="463">
                  <c:v>45280</c:v>
                </c:pt>
                <c:pt idx="464">
                  <c:v>45279</c:v>
                </c:pt>
                <c:pt idx="465">
                  <c:v>45278</c:v>
                </c:pt>
                <c:pt idx="466">
                  <c:v>45275</c:v>
                </c:pt>
                <c:pt idx="467">
                  <c:v>45274</c:v>
                </c:pt>
                <c:pt idx="468">
                  <c:v>45273</c:v>
                </c:pt>
                <c:pt idx="469">
                  <c:v>45272</c:v>
                </c:pt>
                <c:pt idx="470">
                  <c:v>45271</c:v>
                </c:pt>
                <c:pt idx="471">
                  <c:v>45268</c:v>
                </c:pt>
                <c:pt idx="472">
                  <c:v>45267</c:v>
                </c:pt>
                <c:pt idx="473">
                  <c:v>45266</c:v>
                </c:pt>
                <c:pt idx="474">
                  <c:v>45265</c:v>
                </c:pt>
                <c:pt idx="475">
                  <c:v>45264</c:v>
                </c:pt>
                <c:pt idx="476">
                  <c:v>45261</c:v>
                </c:pt>
                <c:pt idx="477">
                  <c:v>45260</c:v>
                </c:pt>
                <c:pt idx="478">
                  <c:v>45259</c:v>
                </c:pt>
                <c:pt idx="479">
                  <c:v>45258</c:v>
                </c:pt>
                <c:pt idx="480">
                  <c:v>45254</c:v>
                </c:pt>
                <c:pt idx="481">
                  <c:v>45253</c:v>
                </c:pt>
                <c:pt idx="482">
                  <c:v>45252</c:v>
                </c:pt>
                <c:pt idx="483">
                  <c:v>45251</c:v>
                </c:pt>
                <c:pt idx="484">
                  <c:v>45250</c:v>
                </c:pt>
                <c:pt idx="485">
                  <c:v>45247</c:v>
                </c:pt>
                <c:pt idx="486">
                  <c:v>45246</c:v>
                </c:pt>
                <c:pt idx="487">
                  <c:v>45245</c:v>
                </c:pt>
                <c:pt idx="488">
                  <c:v>45243</c:v>
                </c:pt>
                <c:pt idx="489">
                  <c:v>45242</c:v>
                </c:pt>
                <c:pt idx="490">
                  <c:v>45240</c:v>
                </c:pt>
                <c:pt idx="491">
                  <c:v>45239</c:v>
                </c:pt>
                <c:pt idx="492">
                  <c:v>45238</c:v>
                </c:pt>
                <c:pt idx="493">
                  <c:v>45237</c:v>
                </c:pt>
                <c:pt idx="494">
                  <c:v>45236</c:v>
                </c:pt>
                <c:pt idx="495">
                  <c:v>45233</c:v>
                </c:pt>
                <c:pt idx="496">
                  <c:v>45232</c:v>
                </c:pt>
                <c:pt idx="497">
                  <c:v>45231</c:v>
                </c:pt>
                <c:pt idx="498">
                  <c:v>45230</c:v>
                </c:pt>
                <c:pt idx="499">
                  <c:v>45229</c:v>
                </c:pt>
                <c:pt idx="500">
                  <c:v>45226</c:v>
                </c:pt>
                <c:pt idx="501">
                  <c:v>45225</c:v>
                </c:pt>
                <c:pt idx="502">
                  <c:v>45224</c:v>
                </c:pt>
                <c:pt idx="503">
                  <c:v>45222</c:v>
                </c:pt>
                <c:pt idx="504">
                  <c:v>45219</c:v>
                </c:pt>
                <c:pt idx="505">
                  <c:v>45218</c:v>
                </c:pt>
                <c:pt idx="506">
                  <c:v>45217</c:v>
                </c:pt>
                <c:pt idx="507">
                  <c:v>45216</c:v>
                </c:pt>
                <c:pt idx="508">
                  <c:v>45215</c:v>
                </c:pt>
                <c:pt idx="509">
                  <c:v>45212</c:v>
                </c:pt>
                <c:pt idx="510">
                  <c:v>45211</c:v>
                </c:pt>
                <c:pt idx="511">
                  <c:v>45210</c:v>
                </c:pt>
                <c:pt idx="512">
                  <c:v>45209</c:v>
                </c:pt>
                <c:pt idx="513">
                  <c:v>45208</c:v>
                </c:pt>
                <c:pt idx="514">
                  <c:v>45205</c:v>
                </c:pt>
                <c:pt idx="515">
                  <c:v>45204</c:v>
                </c:pt>
                <c:pt idx="516">
                  <c:v>45203</c:v>
                </c:pt>
                <c:pt idx="517">
                  <c:v>45202</c:v>
                </c:pt>
                <c:pt idx="518">
                  <c:v>45198</c:v>
                </c:pt>
                <c:pt idx="519">
                  <c:v>45197</c:v>
                </c:pt>
                <c:pt idx="520">
                  <c:v>45196</c:v>
                </c:pt>
                <c:pt idx="521">
                  <c:v>45195</c:v>
                </c:pt>
                <c:pt idx="522">
                  <c:v>45194</c:v>
                </c:pt>
                <c:pt idx="523">
                  <c:v>45191</c:v>
                </c:pt>
                <c:pt idx="524">
                  <c:v>45190</c:v>
                </c:pt>
                <c:pt idx="525">
                  <c:v>45189</c:v>
                </c:pt>
                <c:pt idx="526">
                  <c:v>45187</c:v>
                </c:pt>
                <c:pt idx="527">
                  <c:v>45184</c:v>
                </c:pt>
                <c:pt idx="528">
                  <c:v>45183</c:v>
                </c:pt>
                <c:pt idx="529">
                  <c:v>45182</c:v>
                </c:pt>
                <c:pt idx="530">
                  <c:v>45181</c:v>
                </c:pt>
                <c:pt idx="531">
                  <c:v>45180</c:v>
                </c:pt>
                <c:pt idx="532">
                  <c:v>45177</c:v>
                </c:pt>
                <c:pt idx="533">
                  <c:v>45176</c:v>
                </c:pt>
                <c:pt idx="534">
                  <c:v>45175</c:v>
                </c:pt>
                <c:pt idx="535">
                  <c:v>45174</c:v>
                </c:pt>
                <c:pt idx="536">
                  <c:v>45173</c:v>
                </c:pt>
                <c:pt idx="537">
                  <c:v>45170</c:v>
                </c:pt>
                <c:pt idx="538">
                  <c:v>45169</c:v>
                </c:pt>
                <c:pt idx="539">
                  <c:v>45168</c:v>
                </c:pt>
                <c:pt idx="540">
                  <c:v>45167</c:v>
                </c:pt>
                <c:pt idx="541">
                  <c:v>45166</c:v>
                </c:pt>
                <c:pt idx="542">
                  <c:v>45163</c:v>
                </c:pt>
                <c:pt idx="543">
                  <c:v>45162</c:v>
                </c:pt>
                <c:pt idx="544">
                  <c:v>45161</c:v>
                </c:pt>
                <c:pt idx="545">
                  <c:v>45160</c:v>
                </c:pt>
                <c:pt idx="546">
                  <c:v>45159</c:v>
                </c:pt>
                <c:pt idx="547">
                  <c:v>45156</c:v>
                </c:pt>
                <c:pt idx="548">
                  <c:v>45155</c:v>
                </c:pt>
                <c:pt idx="549">
                  <c:v>45154</c:v>
                </c:pt>
                <c:pt idx="550">
                  <c:v>45152</c:v>
                </c:pt>
                <c:pt idx="551">
                  <c:v>45149</c:v>
                </c:pt>
                <c:pt idx="552">
                  <c:v>45148</c:v>
                </c:pt>
                <c:pt idx="553">
                  <c:v>45147</c:v>
                </c:pt>
                <c:pt idx="554">
                  <c:v>45146</c:v>
                </c:pt>
                <c:pt idx="555">
                  <c:v>45145</c:v>
                </c:pt>
                <c:pt idx="556">
                  <c:v>45142</c:v>
                </c:pt>
                <c:pt idx="557">
                  <c:v>45141</c:v>
                </c:pt>
                <c:pt idx="558">
                  <c:v>45140</c:v>
                </c:pt>
                <c:pt idx="559">
                  <c:v>45139</c:v>
                </c:pt>
                <c:pt idx="560">
                  <c:v>45138</c:v>
                </c:pt>
                <c:pt idx="561">
                  <c:v>45135</c:v>
                </c:pt>
                <c:pt idx="562">
                  <c:v>45134</c:v>
                </c:pt>
                <c:pt idx="563">
                  <c:v>45133</c:v>
                </c:pt>
                <c:pt idx="564">
                  <c:v>45132</c:v>
                </c:pt>
                <c:pt idx="565">
                  <c:v>45131</c:v>
                </c:pt>
                <c:pt idx="566">
                  <c:v>45128</c:v>
                </c:pt>
                <c:pt idx="567">
                  <c:v>45127</c:v>
                </c:pt>
                <c:pt idx="568">
                  <c:v>45126</c:v>
                </c:pt>
                <c:pt idx="569">
                  <c:v>45125</c:v>
                </c:pt>
                <c:pt idx="570">
                  <c:v>45124</c:v>
                </c:pt>
                <c:pt idx="571">
                  <c:v>45121</c:v>
                </c:pt>
                <c:pt idx="572">
                  <c:v>45120</c:v>
                </c:pt>
                <c:pt idx="573">
                  <c:v>45119</c:v>
                </c:pt>
                <c:pt idx="574">
                  <c:v>45118</c:v>
                </c:pt>
                <c:pt idx="575">
                  <c:v>45117</c:v>
                </c:pt>
                <c:pt idx="576">
                  <c:v>45114</c:v>
                </c:pt>
                <c:pt idx="577">
                  <c:v>45113</c:v>
                </c:pt>
                <c:pt idx="578">
                  <c:v>45112</c:v>
                </c:pt>
                <c:pt idx="579">
                  <c:v>45111</c:v>
                </c:pt>
                <c:pt idx="580">
                  <c:v>45110</c:v>
                </c:pt>
                <c:pt idx="581">
                  <c:v>45107</c:v>
                </c:pt>
                <c:pt idx="582">
                  <c:v>45105</c:v>
                </c:pt>
                <c:pt idx="583">
                  <c:v>45104</c:v>
                </c:pt>
                <c:pt idx="584">
                  <c:v>45103</c:v>
                </c:pt>
                <c:pt idx="585">
                  <c:v>45100</c:v>
                </c:pt>
                <c:pt idx="586">
                  <c:v>45099</c:v>
                </c:pt>
                <c:pt idx="587">
                  <c:v>45098</c:v>
                </c:pt>
                <c:pt idx="588">
                  <c:v>45097</c:v>
                </c:pt>
                <c:pt idx="589">
                  <c:v>45096</c:v>
                </c:pt>
                <c:pt idx="590">
                  <c:v>45093</c:v>
                </c:pt>
                <c:pt idx="591">
                  <c:v>45092</c:v>
                </c:pt>
                <c:pt idx="592">
                  <c:v>45091</c:v>
                </c:pt>
                <c:pt idx="593">
                  <c:v>45090</c:v>
                </c:pt>
                <c:pt idx="594">
                  <c:v>45089</c:v>
                </c:pt>
                <c:pt idx="595">
                  <c:v>45086</c:v>
                </c:pt>
                <c:pt idx="596">
                  <c:v>45085</c:v>
                </c:pt>
                <c:pt idx="597">
                  <c:v>45084</c:v>
                </c:pt>
                <c:pt idx="598">
                  <c:v>45083</c:v>
                </c:pt>
                <c:pt idx="599">
                  <c:v>45082</c:v>
                </c:pt>
                <c:pt idx="600">
                  <c:v>45079</c:v>
                </c:pt>
                <c:pt idx="601">
                  <c:v>45078</c:v>
                </c:pt>
                <c:pt idx="602">
                  <c:v>45077</c:v>
                </c:pt>
                <c:pt idx="603">
                  <c:v>45076</c:v>
                </c:pt>
                <c:pt idx="604">
                  <c:v>45075</c:v>
                </c:pt>
                <c:pt idx="605">
                  <c:v>45072</c:v>
                </c:pt>
                <c:pt idx="606">
                  <c:v>45071</c:v>
                </c:pt>
                <c:pt idx="607">
                  <c:v>45070</c:v>
                </c:pt>
                <c:pt idx="608">
                  <c:v>45069</c:v>
                </c:pt>
                <c:pt idx="609">
                  <c:v>45068</c:v>
                </c:pt>
                <c:pt idx="610">
                  <c:v>45065</c:v>
                </c:pt>
                <c:pt idx="611">
                  <c:v>45064</c:v>
                </c:pt>
                <c:pt idx="612">
                  <c:v>45063</c:v>
                </c:pt>
                <c:pt idx="613">
                  <c:v>45062</c:v>
                </c:pt>
                <c:pt idx="614">
                  <c:v>45061</c:v>
                </c:pt>
                <c:pt idx="615">
                  <c:v>45058</c:v>
                </c:pt>
                <c:pt idx="616">
                  <c:v>45057</c:v>
                </c:pt>
                <c:pt idx="617">
                  <c:v>45056</c:v>
                </c:pt>
                <c:pt idx="618">
                  <c:v>45055</c:v>
                </c:pt>
                <c:pt idx="619">
                  <c:v>45054</c:v>
                </c:pt>
                <c:pt idx="620">
                  <c:v>45051</c:v>
                </c:pt>
                <c:pt idx="621">
                  <c:v>45050</c:v>
                </c:pt>
                <c:pt idx="622">
                  <c:v>45049</c:v>
                </c:pt>
                <c:pt idx="623">
                  <c:v>45048</c:v>
                </c:pt>
                <c:pt idx="624">
                  <c:v>45044</c:v>
                </c:pt>
                <c:pt idx="625">
                  <c:v>45043</c:v>
                </c:pt>
                <c:pt idx="626">
                  <c:v>45042</c:v>
                </c:pt>
                <c:pt idx="627">
                  <c:v>45041</c:v>
                </c:pt>
                <c:pt idx="628">
                  <c:v>45040</c:v>
                </c:pt>
                <c:pt idx="629">
                  <c:v>45037</c:v>
                </c:pt>
                <c:pt idx="630">
                  <c:v>45036</c:v>
                </c:pt>
                <c:pt idx="631">
                  <c:v>45035</c:v>
                </c:pt>
                <c:pt idx="632">
                  <c:v>45034</c:v>
                </c:pt>
                <c:pt idx="633">
                  <c:v>45033</c:v>
                </c:pt>
                <c:pt idx="634">
                  <c:v>45029</c:v>
                </c:pt>
                <c:pt idx="635">
                  <c:v>45028</c:v>
                </c:pt>
                <c:pt idx="636">
                  <c:v>45027</c:v>
                </c:pt>
                <c:pt idx="637">
                  <c:v>45026</c:v>
                </c:pt>
                <c:pt idx="638">
                  <c:v>45022</c:v>
                </c:pt>
                <c:pt idx="639">
                  <c:v>45021</c:v>
                </c:pt>
                <c:pt idx="640">
                  <c:v>45019</c:v>
                </c:pt>
                <c:pt idx="641">
                  <c:v>45016</c:v>
                </c:pt>
                <c:pt idx="642">
                  <c:v>45014</c:v>
                </c:pt>
                <c:pt idx="643">
                  <c:v>45013</c:v>
                </c:pt>
                <c:pt idx="644">
                  <c:v>45012</c:v>
                </c:pt>
                <c:pt idx="645">
                  <c:v>45009</c:v>
                </c:pt>
                <c:pt idx="646">
                  <c:v>45008</c:v>
                </c:pt>
                <c:pt idx="647">
                  <c:v>45007</c:v>
                </c:pt>
                <c:pt idx="648">
                  <c:v>45006</c:v>
                </c:pt>
                <c:pt idx="649">
                  <c:v>45005</c:v>
                </c:pt>
                <c:pt idx="650">
                  <c:v>45002</c:v>
                </c:pt>
                <c:pt idx="651">
                  <c:v>45001</c:v>
                </c:pt>
                <c:pt idx="652">
                  <c:v>45000</c:v>
                </c:pt>
                <c:pt idx="653">
                  <c:v>44999</c:v>
                </c:pt>
                <c:pt idx="654">
                  <c:v>44998</c:v>
                </c:pt>
                <c:pt idx="655">
                  <c:v>44995</c:v>
                </c:pt>
                <c:pt idx="656">
                  <c:v>44994</c:v>
                </c:pt>
                <c:pt idx="657">
                  <c:v>44993</c:v>
                </c:pt>
                <c:pt idx="658">
                  <c:v>44991</c:v>
                </c:pt>
                <c:pt idx="659">
                  <c:v>44988</c:v>
                </c:pt>
                <c:pt idx="660">
                  <c:v>44987</c:v>
                </c:pt>
                <c:pt idx="661">
                  <c:v>44986</c:v>
                </c:pt>
                <c:pt idx="662">
                  <c:v>44985</c:v>
                </c:pt>
                <c:pt idx="663">
                  <c:v>44984</c:v>
                </c:pt>
                <c:pt idx="664">
                  <c:v>44981</c:v>
                </c:pt>
                <c:pt idx="665">
                  <c:v>44980</c:v>
                </c:pt>
                <c:pt idx="666">
                  <c:v>44979</c:v>
                </c:pt>
                <c:pt idx="667">
                  <c:v>44978</c:v>
                </c:pt>
                <c:pt idx="668">
                  <c:v>44977</c:v>
                </c:pt>
                <c:pt idx="669">
                  <c:v>44974</c:v>
                </c:pt>
                <c:pt idx="670">
                  <c:v>44973</c:v>
                </c:pt>
                <c:pt idx="671">
                  <c:v>44972</c:v>
                </c:pt>
                <c:pt idx="672">
                  <c:v>44971</c:v>
                </c:pt>
                <c:pt idx="673">
                  <c:v>44970</c:v>
                </c:pt>
                <c:pt idx="674">
                  <c:v>44967</c:v>
                </c:pt>
                <c:pt idx="675">
                  <c:v>44966</c:v>
                </c:pt>
                <c:pt idx="676">
                  <c:v>44965</c:v>
                </c:pt>
                <c:pt idx="677">
                  <c:v>44964</c:v>
                </c:pt>
                <c:pt idx="678">
                  <c:v>44963</c:v>
                </c:pt>
                <c:pt idx="679">
                  <c:v>44960</c:v>
                </c:pt>
                <c:pt idx="680">
                  <c:v>44959</c:v>
                </c:pt>
                <c:pt idx="681">
                  <c:v>44958</c:v>
                </c:pt>
                <c:pt idx="682">
                  <c:v>44957</c:v>
                </c:pt>
                <c:pt idx="683">
                  <c:v>44956</c:v>
                </c:pt>
                <c:pt idx="684">
                  <c:v>44953</c:v>
                </c:pt>
                <c:pt idx="685">
                  <c:v>44951</c:v>
                </c:pt>
                <c:pt idx="686">
                  <c:v>44950</c:v>
                </c:pt>
                <c:pt idx="687">
                  <c:v>44949</c:v>
                </c:pt>
                <c:pt idx="688">
                  <c:v>44946</c:v>
                </c:pt>
                <c:pt idx="689">
                  <c:v>44945</c:v>
                </c:pt>
                <c:pt idx="690">
                  <c:v>44944</c:v>
                </c:pt>
                <c:pt idx="691">
                  <c:v>44943</c:v>
                </c:pt>
                <c:pt idx="692">
                  <c:v>44942</c:v>
                </c:pt>
                <c:pt idx="693">
                  <c:v>44939</c:v>
                </c:pt>
                <c:pt idx="694">
                  <c:v>44938</c:v>
                </c:pt>
                <c:pt idx="695">
                  <c:v>44937</c:v>
                </c:pt>
                <c:pt idx="696">
                  <c:v>44936</c:v>
                </c:pt>
                <c:pt idx="697">
                  <c:v>44935</c:v>
                </c:pt>
                <c:pt idx="698">
                  <c:v>44932</c:v>
                </c:pt>
                <c:pt idx="699">
                  <c:v>44931</c:v>
                </c:pt>
                <c:pt idx="700">
                  <c:v>44930</c:v>
                </c:pt>
                <c:pt idx="701">
                  <c:v>44929</c:v>
                </c:pt>
                <c:pt idx="702">
                  <c:v>44928</c:v>
                </c:pt>
                <c:pt idx="703">
                  <c:v>44925</c:v>
                </c:pt>
                <c:pt idx="704">
                  <c:v>44924</c:v>
                </c:pt>
                <c:pt idx="705">
                  <c:v>44923</c:v>
                </c:pt>
                <c:pt idx="706">
                  <c:v>44922</c:v>
                </c:pt>
                <c:pt idx="707">
                  <c:v>44921</c:v>
                </c:pt>
                <c:pt idx="708">
                  <c:v>44918</c:v>
                </c:pt>
                <c:pt idx="709">
                  <c:v>44917</c:v>
                </c:pt>
                <c:pt idx="710">
                  <c:v>44916</c:v>
                </c:pt>
                <c:pt idx="711">
                  <c:v>44915</c:v>
                </c:pt>
                <c:pt idx="712">
                  <c:v>44914</c:v>
                </c:pt>
                <c:pt idx="713">
                  <c:v>44911</c:v>
                </c:pt>
                <c:pt idx="714">
                  <c:v>44910</c:v>
                </c:pt>
                <c:pt idx="715">
                  <c:v>44909</c:v>
                </c:pt>
                <c:pt idx="716">
                  <c:v>44908</c:v>
                </c:pt>
                <c:pt idx="717">
                  <c:v>44907</c:v>
                </c:pt>
                <c:pt idx="718">
                  <c:v>44904</c:v>
                </c:pt>
                <c:pt idx="719">
                  <c:v>44903</c:v>
                </c:pt>
                <c:pt idx="720">
                  <c:v>44902</c:v>
                </c:pt>
                <c:pt idx="721">
                  <c:v>44901</c:v>
                </c:pt>
                <c:pt idx="722">
                  <c:v>44900</c:v>
                </c:pt>
                <c:pt idx="723">
                  <c:v>44897</c:v>
                </c:pt>
                <c:pt idx="724">
                  <c:v>44896</c:v>
                </c:pt>
                <c:pt idx="725">
                  <c:v>44895</c:v>
                </c:pt>
                <c:pt idx="726">
                  <c:v>44894</c:v>
                </c:pt>
                <c:pt idx="727">
                  <c:v>44893</c:v>
                </c:pt>
                <c:pt idx="728">
                  <c:v>44890</c:v>
                </c:pt>
                <c:pt idx="729">
                  <c:v>44889</c:v>
                </c:pt>
                <c:pt idx="730">
                  <c:v>44888</c:v>
                </c:pt>
                <c:pt idx="731">
                  <c:v>44887</c:v>
                </c:pt>
                <c:pt idx="732">
                  <c:v>44886</c:v>
                </c:pt>
                <c:pt idx="733">
                  <c:v>44883</c:v>
                </c:pt>
                <c:pt idx="734">
                  <c:v>44882</c:v>
                </c:pt>
                <c:pt idx="735">
                  <c:v>44881</c:v>
                </c:pt>
                <c:pt idx="736">
                  <c:v>44880</c:v>
                </c:pt>
                <c:pt idx="737">
                  <c:v>44879</c:v>
                </c:pt>
                <c:pt idx="738">
                  <c:v>44876</c:v>
                </c:pt>
                <c:pt idx="739">
                  <c:v>44875</c:v>
                </c:pt>
                <c:pt idx="740">
                  <c:v>44874</c:v>
                </c:pt>
                <c:pt idx="741">
                  <c:v>44872</c:v>
                </c:pt>
                <c:pt idx="742">
                  <c:v>44869</c:v>
                </c:pt>
                <c:pt idx="743">
                  <c:v>44868</c:v>
                </c:pt>
                <c:pt idx="744">
                  <c:v>44867</c:v>
                </c:pt>
                <c:pt idx="745">
                  <c:v>44866</c:v>
                </c:pt>
                <c:pt idx="746">
                  <c:v>44865</c:v>
                </c:pt>
                <c:pt idx="747">
                  <c:v>44862</c:v>
                </c:pt>
                <c:pt idx="748">
                  <c:v>44861</c:v>
                </c:pt>
                <c:pt idx="749">
                  <c:v>44859</c:v>
                </c:pt>
                <c:pt idx="750">
                  <c:v>44858</c:v>
                </c:pt>
                <c:pt idx="751">
                  <c:v>44855</c:v>
                </c:pt>
                <c:pt idx="752">
                  <c:v>44854</c:v>
                </c:pt>
                <c:pt idx="753">
                  <c:v>44853</c:v>
                </c:pt>
                <c:pt idx="754">
                  <c:v>44852</c:v>
                </c:pt>
                <c:pt idx="755">
                  <c:v>44851</c:v>
                </c:pt>
                <c:pt idx="756">
                  <c:v>44848</c:v>
                </c:pt>
                <c:pt idx="757">
                  <c:v>44847</c:v>
                </c:pt>
                <c:pt idx="758">
                  <c:v>44846</c:v>
                </c:pt>
                <c:pt idx="759">
                  <c:v>44845</c:v>
                </c:pt>
                <c:pt idx="760">
                  <c:v>44844</c:v>
                </c:pt>
                <c:pt idx="761">
                  <c:v>44841</c:v>
                </c:pt>
                <c:pt idx="762">
                  <c:v>44840</c:v>
                </c:pt>
                <c:pt idx="763">
                  <c:v>44838</c:v>
                </c:pt>
                <c:pt idx="764">
                  <c:v>44837</c:v>
                </c:pt>
                <c:pt idx="765">
                  <c:v>44834</c:v>
                </c:pt>
                <c:pt idx="766">
                  <c:v>44833</c:v>
                </c:pt>
                <c:pt idx="767">
                  <c:v>44832</c:v>
                </c:pt>
                <c:pt idx="768">
                  <c:v>44831</c:v>
                </c:pt>
                <c:pt idx="769">
                  <c:v>44830</c:v>
                </c:pt>
                <c:pt idx="770">
                  <c:v>44827</c:v>
                </c:pt>
                <c:pt idx="771">
                  <c:v>44826</c:v>
                </c:pt>
                <c:pt idx="772">
                  <c:v>44825</c:v>
                </c:pt>
                <c:pt idx="773">
                  <c:v>44824</c:v>
                </c:pt>
                <c:pt idx="774">
                  <c:v>44823</c:v>
                </c:pt>
                <c:pt idx="775">
                  <c:v>44820</c:v>
                </c:pt>
                <c:pt idx="776">
                  <c:v>44819</c:v>
                </c:pt>
                <c:pt idx="777">
                  <c:v>44818</c:v>
                </c:pt>
                <c:pt idx="778">
                  <c:v>44817</c:v>
                </c:pt>
                <c:pt idx="779">
                  <c:v>44816</c:v>
                </c:pt>
                <c:pt idx="780">
                  <c:v>44813</c:v>
                </c:pt>
                <c:pt idx="781">
                  <c:v>44812</c:v>
                </c:pt>
                <c:pt idx="782">
                  <c:v>44811</c:v>
                </c:pt>
                <c:pt idx="783">
                  <c:v>44810</c:v>
                </c:pt>
                <c:pt idx="784">
                  <c:v>44809</c:v>
                </c:pt>
                <c:pt idx="785">
                  <c:v>44806</c:v>
                </c:pt>
                <c:pt idx="786">
                  <c:v>44805</c:v>
                </c:pt>
                <c:pt idx="787">
                  <c:v>44803</c:v>
                </c:pt>
                <c:pt idx="788">
                  <c:v>44802</c:v>
                </c:pt>
                <c:pt idx="789">
                  <c:v>44799</c:v>
                </c:pt>
                <c:pt idx="790">
                  <c:v>44798</c:v>
                </c:pt>
                <c:pt idx="791">
                  <c:v>44797</c:v>
                </c:pt>
                <c:pt idx="792">
                  <c:v>44796</c:v>
                </c:pt>
                <c:pt idx="793">
                  <c:v>44795</c:v>
                </c:pt>
                <c:pt idx="794">
                  <c:v>44792</c:v>
                </c:pt>
                <c:pt idx="795">
                  <c:v>44791</c:v>
                </c:pt>
                <c:pt idx="796">
                  <c:v>44790</c:v>
                </c:pt>
                <c:pt idx="797">
                  <c:v>44789</c:v>
                </c:pt>
                <c:pt idx="798">
                  <c:v>44785</c:v>
                </c:pt>
                <c:pt idx="799">
                  <c:v>44784</c:v>
                </c:pt>
                <c:pt idx="800">
                  <c:v>44783</c:v>
                </c:pt>
                <c:pt idx="801">
                  <c:v>44781</c:v>
                </c:pt>
                <c:pt idx="802">
                  <c:v>44778</c:v>
                </c:pt>
                <c:pt idx="803">
                  <c:v>44777</c:v>
                </c:pt>
                <c:pt idx="804">
                  <c:v>44776</c:v>
                </c:pt>
                <c:pt idx="805">
                  <c:v>44775</c:v>
                </c:pt>
                <c:pt idx="806">
                  <c:v>44774</c:v>
                </c:pt>
                <c:pt idx="807">
                  <c:v>44771</c:v>
                </c:pt>
                <c:pt idx="808">
                  <c:v>44770</c:v>
                </c:pt>
                <c:pt idx="809">
                  <c:v>44769</c:v>
                </c:pt>
                <c:pt idx="810">
                  <c:v>44768</c:v>
                </c:pt>
                <c:pt idx="811">
                  <c:v>44767</c:v>
                </c:pt>
                <c:pt idx="812">
                  <c:v>44764</c:v>
                </c:pt>
                <c:pt idx="813">
                  <c:v>44763</c:v>
                </c:pt>
                <c:pt idx="814">
                  <c:v>44762</c:v>
                </c:pt>
                <c:pt idx="815">
                  <c:v>44761</c:v>
                </c:pt>
                <c:pt idx="816">
                  <c:v>44760</c:v>
                </c:pt>
                <c:pt idx="817">
                  <c:v>44757</c:v>
                </c:pt>
                <c:pt idx="818">
                  <c:v>44756</c:v>
                </c:pt>
                <c:pt idx="819">
                  <c:v>44755</c:v>
                </c:pt>
                <c:pt idx="820">
                  <c:v>44754</c:v>
                </c:pt>
                <c:pt idx="821">
                  <c:v>44753</c:v>
                </c:pt>
                <c:pt idx="822">
                  <c:v>44750</c:v>
                </c:pt>
                <c:pt idx="823">
                  <c:v>44749</c:v>
                </c:pt>
                <c:pt idx="824">
                  <c:v>44748</c:v>
                </c:pt>
                <c:pt idx="825">
                  <c:v>44747</c:v>
                </c:pt>
                <c:pt idx="826">
                  <c:v>44746</c:v>
                </c:pt>
                <c:pt idx="827">
                  <c:v>44743</c:v>
                </c:pt>
                <c:pt idx="828">
                  <c:v>44742</c:v>
                </c:pt>
                <c:pt idx="829">
                  <c:v>44741</c:v>
                </c:pt>
                <c:pt idx="830">
                  <c:v>44740</c:v>
                </c:pt>
                <c:pt idx="831">
                  <c:v>44739</c:v>
                </c:pt>
                <c:pt idx="832">
                  <c:v>44736</c:v>
                </c:pt>
                <c:pt idx="833">
                  <c:v>44735</c:v>
                </c:pt>
                <c:pt idx="834">
                  <c:v>44734</c:v>
                </c:pt>
                <c:pt idx="835">
                  <c:v>44733</c:v>
                </c:pt>
                <c:pt idx="836">
                  <c:v>44732</c:v>
                </c:pt>
                <c:pt idx="837">
                  <c:v>44729</c:v>
                </c:pt>
                <c:pt idx="838">
                  <c:v>44728</c:v>
                </c:pt>
                <c:pt idx="839">
                  <c:v>44727</c:v>
                </c:pt>
                <c:pt idx="840">
                  <c:v>44726</c:v>
                </c:pt>
                <c:pt idx="841">
                  <c:v>44725</c:v>
                </c:pt>
                <c:pt idx="842">
                  <c:v>44722</c:v>
                </c:pt>
                <c:pt idx="843">
                  <c:v>44721</c:v>
                </c:pt>
                <c:pt idx="844">
                  <c:v>44720</c:v>
                </c:pt>
                <c:pt idx="845">
                  <c:v>44719</c:v>
                </c:pt>
                <c:pt idx="846">
                  <c:v>44718</c:v>
                </c:pt>
                <c:pt idx="847">
                  <c:v>44715</c:v>
                </c:pt>
                <c:pt idx="848">
                  <c:v>44714</c:v>
                </c:pt>
                <c:pt idx="849">
                  <c:v>44713</c:v>
                </c:pt>
                <c:pt idx="850">
                  <c:v>44712</c:v>
                </c:pt>
                <c:pt idx="851">
                  <c:v>44711</c:v>
                </c:pt>
                <c:pt idx="852">
                  <c:v>44708</c:v>
                </c:pt>
                <c:pt idx="853">
                  <c:v>44707</c:v>
                </c:pt>
                <c:pt idx="854">
                  <c:v>44706</c:v>
                </c:pt>
                <c:pt idx="855">
                  <c:v>44705</c:v>
                </c:pt>
                <c:pt idx="856">
                  <c:v>44704</c:v>
                </c:pt>
                <c:pt idx="857">
                  <c:v>44701</c:v>
                </c:pt>
                <c:pt idx="858">
                  <c:v>44700</c:v>
                </c:pt>
                <c:pt idx="859">
                  <c:v>44699</c:v>
                </c:pt>
                <c:pt idx="860">
                  <c:v>44698</c:v>
                </c:pt>
                <c:pt idx="861">
                  <c:v>44697</c:v>
                </c:pt>
                <c:pt idx="862">
                  <c:v>44694</c:v>
                </c:pt>
                <c:pt idx="863">
                  <c:v>44693</c:v>
                </c:pt>
                <c:pt idx="864">
                  <c:v>44692</c:v>
                </c:pt>
                <c:pt idx="865">
                  <c:v>44691</c:v>
                </c:pt>
                <c:pt idx="866">
                  <c:v>44690</c:v>
                </c:pt>
                <c:pt idx="867">
                  <c:v>44687</c:v>
                </c:pt>
                <c:pt idx="868">
                  <c:v>44686</c:v>
                </c:pt>
                <c:pt idx="869">
                  <c:v>44685</c:v>
                </c:pt>
                <c:pt idx="870">
                  <c:v>44683</c:v>
                </c:pt>
                <c:pt idx="871">
                  <c:v>44680</c:v>
                </c:pt>
                <c:pt idx="872">
                  <c:v>44679</c:v>
                </c:pt>
                <c:pt idx="873">
                  <c:v>44678</c:v>
                </c:pt>
                <c:pt idx="874">
                  <c:v>44677</c:v>
                </c:pt>
                <c:pt idx="875">
                  <c:v>44676</c:v>
                </c:pt>
                <c:pt idx="876">
                  <c:v>44673</c:v>
                </c:pt>
                <c:pt idx="877">
                  <c:v>44672</c:v>
                </c:pt>
                <c:pt idx="878">
                  <c:v>44671</c:v>
                </c:pt>
                <c:pt idx="879">
                  <c:v>44670</c:v>
                </c:pt>
                <c:pt idx="880">
                  <c:v>44669</c:v>
                </c:pt>
                <c:pt idx="881">
                  <c:v>44664</c:v>
                </c:pt>
                <c:pt idx="882">
                  <c:v>44663</c:v>
                </c:pt>
                <c:pt idx="883">
                  <c:v>44662</c:v>
                </c:pt>
                <c:pt idx="884">
                  <c:v>44659</c:v>
                </c:pt>
                <c:pt idx="885">
                  <c:v>44658</c:v>
                </c:pt>
                <c:pt idx="886">
                  <c:v>44657</c:v>
                </c:pt>
                <c:pt idx="887">
                  <c:v>44656</c:v>
                </c:pt>
                <c:pt idx="888">
                  <c:v>44655</c:v>
                </c:pt>
                <c:pt idx="889">
                  <c:v>44652</c:v>
                </c:pt>
                <c:pt idx="890">
                  <c:v>44651</c:v>
                </c:pt>
                <c:pt idx="891">
                  <c:v>44650</c:v>
                </c:pt>
                <c:pt idx="892">
                  <c:v>44649</c:v>
                </c:pt>
                <c:pt idx="893">
                  <c:v>44648</c:v>
                </c:pt>
                <c:pt idx="894">
                  <c:v>44645</c:v>
                </c:pt>
                <c:pt idx="895">
                  <c:v>44644</c:v>
                </c:pt>
                <c:pt idx="896">
                  <c:v>44643</c:v>
                </c:pt>
                <c:pt idx="897">
                  <c:v>44642</c:v>
                </c:pt>
                <c:pt idx="898">
                  <c:v>44641</c:v>
                </c:pt>
                <c:pt idx="899">
                  <c:v>44637</c:v>
                </c:pt>
                <c:pt idx="900">
                  <c:v>44636</c:v>
                </c:pt>
                <c:pt idx="901">
                  <c:v>44635</c:v>
                </c:pt>
                <c:pt idx="902">
                  <c:v>44634</c:v>
                </c:pt>
                <c:pt idx="903">
                  <c:v>44631</c:v>
                </c:pt>
                <c:pt idx="904">
                  <c:v>44630</c:v>
                </c:pt>
                <c:pt idx="905">
                  <c:v>44629</c:v>
                </c:pt>
                <c:pt idx="906">
                  <c:v>44628</c:v>
                </c:pt>
                <c:pt idx="907">
                  <c:v>44627</c:v>
                </c:pt>
                <c:pt idx="908">
                  <c:v>44624</c:v>
                </c:pt>
                <c:pt idx="909">
                  <c:v>44623</c:v>
                </c:pt>
                <c:pt idx="910">
                  <c:v>44622</c:v>
                </c:pt>
                <c:pt idx="911">
                  <c:v>44620</c:v>
                </c:pt>
                <c:pt idx="912">
                  <c:v>44617</c:v>
                </c:pt>
                <c:pt idx="913">
                  <c:v>44616</c:v>
                </c:pt>
                <c:pt idx="914">
                  <c:v>44615</c:v>
                </c:pt>
                <c:pt idx="915">
                  <c:v>44614</c:v>
                </c:pt>
                <c:pt idx="916">
                  <c:v>44613</c:v>
                </c:pt>
                <c:pt idx="917">
                  <c:v>44610</c:v>
                </c:pt>
                <c:pt idx="918">
                  <c:v>44609</c:v>
                </c:pt>
                <c:pt idx="919">
                  <c:v>44608</c:v>
                </c:pt>
                <c:pt idx="920">
                  <c:v>44607</c:v>
                </c:pt>
                <c:pt idx="921">
                  <c:v>44606</c:v>
                </c:pt>
                <c:pt idx="922">
                  <c:v>44603</c:v>
                </c:pt>
                <c:pt idx="923">
                  <c:v>44602</c:v>
                </c:pt>
                <c:pt idx="924">
                  <c:v>44601</c:v>
                </c:pt>
                <c:pt idx="925">
                  <c:v>44600</c:v>
                </c:pt>
                <c:pt idx="926">
                  <c:v>44599</c:v>
                </c:pt>
                <c:pt idx="927">
                  <c:v>44596</c:v>
                </c:pt>
                <c:pt idx="928">
                  <c:v>44595</c:v>
                </c:pt>
                <c:pt idx="929">
                  <c:v>44594</c:v>
                </c:pt>
                <c:pt idx="930">
                  <c:v>44593</c:v>
                </c:pt>
                <c:pt idx="931">
                  <c:v>44592</c:v>
                </c:pt>
                <c:pt idx="932">
                  <c:v>44589</c:v>
                </c:pt>
                <c:pt idx="933">
                  <c:v>44588</c:v>
                </c:pt>
                <c:pt idx="934">
                  <c:v>44586</c:v>
                </c:pt>
                <c:pt idx="935">
                  <c:v>44585</c:v>
                </c:pt>
                <c:pt idx="936">
                  <c:v>44582</c:v>
                </c:pt>
                <c:pt idx="937">
                  <c:v>44581</c:v>
                </c:pt>
                <c:pt idx="938">
                  <c:v>44580</c:v>
                </c:pt>
                <c:pt idx="939">
                  <c:v>44579</c:v>
                </c:pt>
                <c:pt idx="940">
                  <c:v>44578</c:v>
                </c:pt>
                <c:pt idx="941">
                  <c:v>44575</c:v>
                </c:pt>
                <c:pt idx="942">
                  <c:v>44574</c:v>
                </c:pt>
                <c:pt idx="943">
                  <c:v>44573</c:v>
                </c:pt>
                <c:pt idx="944">
                  <c:v>44572</c:v>
                </c:pt>
                <c:pt idx="945">
                  <c:v>44571</c:v>
                </c:pt>
                <c:pt idx="946">
                  <c:v>44568</c:v>
                </c:pt>
                <c:pt idx="947">
                  <c:v>44567</c:v>
                </c:pt>
                <c:pt idx="948">
                  <c:v>44566</c:v>
                </c:pt>
                <c:pt idx="949">
                  <c:v>44565</c:v>
                </c:pt>
                <c:pt idx="950">
                  <c:v>44564</c:v>
                </c:pt>
                <c:pt idx="951">
                  <c:v>44561</c:v>
                </c:pt>
                <c:pt idx="952">
                  <c:v>44560</c:v>
                </c:pt>
                <c:pt idx="953">
                  <c:v>44559</c:v>
                </c:pt>
                <c:pt idx="954">
                  <c:v>44558</c:v>
                </c:pt>
                <c:pt idx="955">
                  <c:v>44557</c:v>
                </c:pt>
                <c:pt idx="956">
                  <c:v>44554</c:v>
                </c:pt>
                <c:pt idx="957">
                  <c:v>44553</c:v>
                </c:pt>
                <c:pt idx="958">
                  <c:v>44552</c:v>
                </c:pt>
                <c:pt idx="959">
                  <c:v>44551</c:v>
                </c:pt>
                <c:pt idx="960">
                  <c:v>44550</c:v>
                </c:pt>
                <c:pt idx="961">
                  <c:v>44547</c:v>
                </c:pt>
                <c:pt idx="962">
                  <c:v>44546</c:v>
                </c:pt>
                <c:pt idx="963">
                  <c:v>44545</c:v>
                </c:pt>
                <c:pt idx="964">
                  <c:v>44544</c:v>
                </c:pt>
                <c:pt idx="965">
                  <c:v>44543</c:v>
                </c:pt>
                <c:pt idx="966">
                  <c:v>44540</c:v>
                </c:pt>
                <c:pt idx="967">
                  <c:v>44539</c:v>
                </c:pt>
                <c:pt idx="968">
                  <c:v>44538</c:v>
                </c:pt>
                <c:pt idx="969">
                  <c:v>44537</c:v>
                </c:pt>
                <c:pt idx="970">
                  <c:v>44536</c:v>
                </c:pt>
                <c:pt idx="971">
                  <c:v>44533</c:v>
                </c:pt>
                <c:pt idx="972">
                  <c:v>44532</c:v>
                </c:pt>
                <c:pt idx="973">
                  <c:v>44531</c:v>
                </c:pt>
                <c:pt idx="974">
                  <c:v>44530</c:v>
                </c:pt>
                <c:pt idx="975">
                  <c:v>44529</c:v>
                </c:pt>
                <c:pt idx="976">
                  <c:v>44526</c:v>
                </c:pt>
                <c:pt idx="977">
                  <c:v>44525</c:v>
                </c:pt>
                <c:pt idx="978">
                  <c:v>44524</c:v>
                </c:pt>
                <c:pt idx="979">
                  <c:v>44523</c:v>
                </c:pt>
                <c:pt idx="980">
                  <c:v>44522</c:v>
                </c:pt>
                <c:pt idx="981">
                  <c:v>44518</c:v>
                </c:pt>
                <c:pt idx="982">
                  <c:v>44517</c:v>
                </c:pt>
                <c:pt idx="983">
                  <c:v>44516</c:v>
                </c:pt>
                <c:pt idx="984">
                  <c:v>44515</c:v>
                </c:pt>
                <c:pt idx="985">
                  <c:v>44512</c:v>
                </c:pt>
                <c:pt idx="986">
                  <c:v>44511</c:v>
                </c:pt>
                <c:pt idx="987">
                  <c:v>44510</c:v>
                </c:pt>
                <c:pt idx="988">
                  <c:v>44509</c:v>
                </c:pt>
                <c:pt idx="989">
                  <c:v>44508</c:v>
                </c:pt>
                <c:pt idx="990">
                  <c:v>44504</c:v>
                </c:pt>
                <c:pt idx="991">
                  <c:v>44503</c:v>
                </c:pt>
                <c:pt idx="992">
                  <c:v>44502</c:v>
                </c:pt>
                <c:pt idx="993">
                  <c:v>44501</c:v>
                </c:pt>
                <c:pt idx="994">
                  <c:v>44498</c:v>
                </c:pt>
                <c:pt idx="995">
                  <c:v>44497</c:v>
                </c:pt>
                <c:pt idx="996">
                  <c:v>44496</c:v>
                </c:pt>
                <c:pt idx="997">
                  <c:v>44495</c:v>
                </c:pt>
                <c:pt idx="998">
                  <c:v>44494</c:v>
                </c:pt>
                <c:pt idx="999">
                  <c:v>44491</c:v>
                </c:pt>
                <c:pt idx="1000">
                  <c:v>44490</c:v>
                </c:pt>
                <c:pt idx="1001">
                  <c:v>44489</c:v>
                </c:pt>
                <c:pt idx="1002">
                  <c:v>44488</c:v>
                </c:pt>
                <c:pt idx="1003">
                  <c:v>44487</c:v>
                </c:pt>
                <c:pt idx="1004">
                  <c:v>44483</c:v>
                </c:pt>
                <c:pt idx="1005">
                  <c:v>44482</c:v>
                </c:pt>
                <c:pt idx="1006">
                  <c:v>44481</c:v>
                </c:pt>
                <c:pt idx="1007">
                  <c:v>44480</c:v>
                </c:pt>
                <c:pt idx="1008">
                  <c:v>44477</c:v>
                </c:pt>
                <c:pt idx="1009">
                  <c:v>44476</c:v>
                </c:pt>
                <c:pt idx="1010">
                  <c:v>44475</c:v>
                </c:pt>
                <c:pt idx="1011">
                  <c:v>44474</c:v>
                </c:pt>
                <c:pt idx="1012">
                  <c:v>44473</c:v>
                </c:pt>
                <c:pt idx="1013">
                  <c:v>44470</c:v>
                </c:pt>
                <c:pt idx="1014">
                  <c:v>44469</c:v>
                </c:pt>
                <c:pt idx="1015">
                  <c:v>44468</c:v>
                </c:pt>
                <c:pt idx="1016">
                  <c:v>44467</c:v>
                </c:pt>
                <c:pt idx="1017">
                  <c:v>44466</c:v>
                </c:pt>
                <c:pt idx="1018">
                  <c:v>44463</c:v>
                </c:pt>
                <c:pt idx="1019">
                  <c:v>44462</c:v>
                </c:pt>
                <c:pt idx="1020">
                  <c:v>44461</c:v>
                </c:pt>
                <c:pt idx="1021">
                  <c:v>44460</c:v>
                </c:pt>
                <c:pt idx="1022">
                  <c:v>44459</c:v>
                </c:pt>
                <c:pt idx="1023">
                  <c:v>44456</c:v>
                </c:pt>
                <c:pt idx="1024">
                  <c:v>44455</c:v>
                </c:pt>
                <c:pt idx="1025">
                  <c:v>44454</c:v>
                </c:pt>
                <c:pt idx="1026">
                  <c:v>44453</c:v>
                </c:pt>
                <c:pt idx="1027">
                  <c:v>44452</c:v>
                </c:pt>
                <c:pt idx="1028">
                  <c:v>44448</c:v>
                </c:pt>
                <c:pt idx="1029">
                  <c:v>44447</c:v>
                </c:pt>
                <c:pt idx="1030">
                  <c:v>44446</c:v>
                </c:pt>
                <c:pt idx="1031">
                  <c:v>44445</c:v>
                </c:pt>
                <c:pt idx="1032">
                  <c:v>44442</c:v>
                </c:pt>
                <c:pt idx="1033">
                  <c:v>44441</c:v>
                </c:pt>
                <c:pt idx="1034">
                  <c:v>44440</c:v>
                </c:pt>
                <c:pt idx="1035">
                  <c:v>44439</c:v>
                </c:pt>
                <c:pt idx="1036">
                  <c:v>44438</c:v>
                </c:pt>
                <c:pt idx="1037">
                  <c:v>44435</c:v>
                </c:pt>
                <c:pt idx="1038">
                  <c:v>44434</c:v>
                </c:pt>
                <c:pt idx="1039">
                  <c:v>44433</c:v>
                </c:pt>
                <c:pt idx="1040">
                  <c:v>44432</c:v>
                </c:pt>
                <c:pt idx="1041">
                  <c:v>44431</c:v>
                </c:pt>
                <c:pt idx="1042">
                  <c:v>44428</c:v>
                </c:pt>
                <c:pt idx="1043">
                  <c:v>44426</c:v>
                </c:pt>
                <c:pt idx="1044">
                  <c:v>44425</c:v>
                </c:pt>
                <c:pt idx="1045">
                  <c:v>44424</c:v>
                </c:pt>
                <c:pt idx="1046">
                  <c:v>44421</c:v>
                </c:pt>
                <c:pt idx="1047">
                  <c:v>44420</c:v>
                </c:pt>
                <c:pt idx="1048">
                  <c:v>44419</c:v>
                </c:pt>
                <c:pt idx="1049">
                  <c:v>44418</c:v>
                </c:pt>
                <c:pt idx="1050">
                  <c:v>44417</c:v>
                </c:pt>
                <c:pt idx="1051">
                  <c:v>44414</c:v>
                </c:pt>
                <c:pt idx="1052">
                  <c:v>44413</c:v>
                </c:pt>
                <c:pt idx="1053">
                  <c:v>44412</c:v>
                </c:pt>
                <c:pt idx="1054">
                  <c:v>44411</c:v>
                </c:pt>
                <c:pt idx="1055">
                  <c:v>44410</c:v>
                </c:pt>
                <c:pt idx="1056">
                  <c:v>44407</c:v>
                </c:pt>
                <c:pt idx="1057">
                  <c:v>44406</c:v>
                </c:pt>
                <c:pt idx="1058">
                  <c:v>44405</c:v>
                </c:pt>
                <c:pt idx="1059">
                  <c:v>44404</c:v>
                </c:pt>
                <c:pt idx="1060">
                  <c:v>44403</c:v>
                </c:pt>
                <c:pt idx="1061">
                  <c:v>44400</c:v>
                </c:pt>
                <c:pt idx="1062">
                  <c:v>44399</c:v>
                </c:pt>
                <c:pt idx="1063">
                  <c:v>44397</c:v>
                </c:pt>
                <c:pt idx="1064">
                  <c:v>44396</c:v>
                </c:pt>
                <c:pt idx="1065">
                  <c:v>44393</c:v>
                </c:pt>
                <c:pt idx="1066">
                  <c:v>44392</c:v>
                </c:pt>
                <c:pt idx="1067">
                  <c:v>44391</c:v>
                </c:pt>
                <c:pt idx="1068">
                  <c:v>44390</c:v>
                </c:pt>
                <c:pt idx="1069">
                  <c:v>44389</c:v>
                </c:pt>
                <c:pt idx="1070">
                  <c:v>44386</c:v>
                </c:pt>
                <c:pt idx="1071">
                  <c:v>44385</c:v>
                </c:pt>
                <c:pt idx="1072">
                  <c:v>44384</c:v>
                </c:pt>
                <c:pt idx="1073">
                  <c:v>44383</c:v>
                </c:pt>
                <c:pt idx="1074">
                  <c:v>44382</c:v>
                </c:pt>
                <c:pt idx="1075">
                  <c:v>44379</c:v>
                </c:pt>
                <c:pt idx="1076">
                  <c:v>44378</c:v>
                </c:pt>
                <c:pt idx="1077">
                  <c:v>44377</c:v>
                </c:pt>
                <c:pt idx="1078">
                  <c:v>44376</c:v>
                </c:pt>
                <c:pt idx="1079">
                  <c:v>44375</c:v>
                </c:pt>
                <c:pt idx="1080">
                  <c:v>44372</c:v>
                </c:pt>
                <c:pt idx="1081">
                  <c:v>44371</c:v>
                </c:pt>
                <c:pt idx="1082">
                  <c:v>44370</c:v>
                </c:pt>
                <c:pt idx="1083">
                  <c:v>44369</c:v>
                </c:pt>
                <c:pt idx="1084">
                  <c:v>44368</c:v>
                </c:pt>
                <c:pt idx="1085">
                  <c:v>44365</c:v>
                </c:pt>
                <c:pt idx="1086">
                  <c:v>44364</c:v>
                </c:pt>
                <c:pt idx="1087">
                  <c:v>44363</c:v>
                </c:pt>
                <c:pt idx="1088">
                  <c:v>44362</c:v>
                </c:pt>
                <c:pt idx="1089">
                  <c:v>44361</c:v>
                </c:pt>
                <c:pt idx="1090">
                  <c:v>44358</c:v>
                </c:pt>
                <c:pt idx="1091">
                  <c:v>44357</c:v>
                </c:pt>
                <c:pt idx="1092">
                  <c:v>44356</c:v>
                </c:pt>
                <c:pt idx="1093">
                  <c:v>44355</c:v>
                </c:pt>
                <c:pt idx="1094">
                  <c:v>44354</c:v>
                </c:pt>
                <c:pt idx="1095">
                  <c:v>44351</c:v>
                </c:pt>
                <c:pt idx="1096">
                  <c:v>44350</c:v>
                </c:pt>
                <c:pt idx="1097">
                  <c:v>44349</c:v>
                </c:pt>
                <c:pt idx="1098">
                  <c:v>44348</c:v>
                </c:pt>
                <c:pt idx="1099">
                  <c:v>44347</c:v>
                </c:pt>
                <c:pt idx="1100">
                  <c:v>44344</c:v>
                </c:pt>
                <c:pt idx="1101">
                  <c:v>44343</c:v>
                </c:pt>
                <c:pt idx="1102">
                  <c:v>44342</c:v>
                </c:pt>
                <c:pt idx="1103">
                  <c:v>44341</c:v>
                </c:pt>
                <c:pt idx="1104">
                  <c:v>44340</c:v>
                </c:pt>
                <c:pt idx="1105">
                  <c:v>44337</c:v>
                </c:pt>
                <c:pt idx="1106">
                  <c:v>44336</c:v>
                </c:pt>
                <c:pt idx="1107">
                  <c:v>44335</c:v>
                </c:pt>
                <c:pt idx="1108">
                  <c:v>44334</c:v>
                </c:pt>
                <c:pt idx="1109">
                  <c:v>44333</c:v>
                </c:pt>
                <c:pt idx="1110">
                  <c:v>44330</c:v>
                </c:pt>
                <c:pt idx="1111">
                  <c:v>44328</c:v>
                </c:pt>
                <c:pt idx="1112">
                  <c:v>44327</c:v>
                </c:pt>
                <c:pt idx="1113">
                  <c:v>44326</c:v>
                </c:pt>
                <c:pt idx="1114">
                  <c:v>44323</c:v>
                </c:pt>
                <c:pt idx="1115">
                  <c:v>44322</c:v>
                </c:pt>
                <c:pt idx="1116">
                  <c:v>44321</c:v>
                </c:pt>
                <c:pt idx="1117">
                  <c:v>44320</c:v>
                </c:pt>
                <c:pt idx="1118">
                  <c:v>44319</c:v>
                </c:pt>
                <c:pt idx="1119">
                  <c:v>44316</c:v>
                </c:pt>
                <c:pt idx="1120">
                  <c:v>44315</c:v>
                </c:pt>
                <c:pt idx="1121">
                  <c:v>44314</c:v>
                </c:pt>
                <c:pt idx="1122">
                  <c:v>44313</c:v>
                </c:pt>
                <c:pt idx="1123">
                  <c:v>44312</c:v>
                </c:pt>
                <c:pt idx="1124">
                  <c:v>44309</c:v>
                </c:pt>
                <c:pt idx="1125">
                  <c:v>44308</c:v>
                </c:pt>
                <c:pt idx="1126">
                  <c:v>44306</c:v>
                </c:pt>
                <c:pt idx="1127">
                  <c:v>44305</c:v>
                </c:pt>
                <c:pt idx="1128">
                  <c:v>44302</c:v>
                </c:pt>
                <c:pt idx="1129">
                  <c:v>44301</c:v>
                </c:pt>
                <c:pt idx="1130">
                  <c:v>44299</c:v>
                </c:pt>
                <c:pt idx="1131">
                  <c:v>44298</c:v>
                </c:pt>
                <c:pt idx="1132">
                  <c:v>44295</c:v>
                </c:pt>
                <c:pt idx="1133">
                  <c:v>44294</c:v>
                </c:pt>
                <c:pt idx="1134">
                  <c:v>44293</c:v>
                </c:pt>
                <c:pt idx="1135">
                  <c:v>44292</c:v>
                </c:pt>
                <c:pt idx="1136">
                  <c:v>44291</c:v>
                </c:pt>
                <c:pt idx="1137">
                  <c:v>44287</c:v>
                </c:pt>
                <c:pt idx="1138">
                  <c:v>44286</c:v>
                </c:pt>
                <c:pt idx="1139">
                  <c:v>44285</c:v>
                </c:pt>
                <c:pt idx="1140">
                  <c:v>44281</c:v>
                </c:pt>
                <c:pt idx="1141">
                  <c:v>44280</c:v>
                </c:pt>
                <c:pt idx="1142">
                  <c:v>44279</c:v>
                </c:pt>
                <c:pt idx="1143">
                  <c:v>44278</c:v>
                </c:pt>
                <c:pt idx="1144">
                  <c:v>44277</c:v>
                </c:pt>
                <c:pt idx="1145">
                  <c:v>44274</c:v>
                </c:pt>
                <c:pt idx="1146">
                  <c:v>44273</c:v>
                </c:pt>
                <c:pt idx="1147">
                  <c:v>44272</c:v>
                </c:pt>
                <c:pt idx="1148">
                  <c:v>44271</c:v>
                </c:pt>
                <c:pt idx="1149">
                  <c:v>44270</c:v>
                </c:pt>
                <c:pt idx="1150">
                  <c:v>44267</c:v>
                </c:pt>
                <c:pt idx="1151">
                  <c:v>44265</c:v>
                </c:pt>
                <c:pt idx="1152">
                  <c:v>44264</c:v>
                </c:pt>
                <c:pt idx="1153">
                  <c:v>44263</c:v>
                </c:pt>
                <c:pt idx="1154">
                  <c:v>44260</c:v>
                </c:pt>
                <c:pt idx="1155">
                  <c:v>44259</c:v>
                </c:pt>
                <c:pt idx="1156">
                  <c:v>44258</c:v>
                </c:pt>
                <c:pt idx="1157">
                  <c:v>44257</c:v>
                </c:pt>
                <c:pt idx="1158">
                  <c:v>44256</c:v>
                </c:pt>
                <c:pt idx="1159">
                  <c:v>44253</c:v>
                </c:pt>
                <c:pt idx="1160">
                  <c:v>44252</c:v>
                </c:pt>
                <c:pt idx="1161">
                  <c:v>44251</c:v>
                </c:pt>
                <c:pt idx="1162">
                  <c:v>44250</c:v>
                </c:pt>
                <c:pt idx="1163">
                  <c:v>44249</c:v>
                </c:pt>
                <c:pt idx="1164">
                  <c:v>44246</c:v>
                </c:pt>
                <c:pt idx="1165">
                  <c:v>44245</c:v>
                </c:pt>
                <c:pt idx="1166">
                  <c:v>44244</c:v>
                </c:pt>
                <c:pt idx="1167">
                  <c:v>44243</c:v>
                </c:pt>
                <c:pt idx="1168">
                  <c:v>44242</c:v>
                </c:pt>
                <c:pt idx="1169">
                  <c:v>44239</c:v>
                </c:pt>
                <c:pt idx="1170">
                  <c:v>44238</c:v>
                </c:pt>
                <c:pt idx="1171">
                  <c:v>44237</c:v>
                </c:pt>
                <c:pt idx="1172">
                  <c:v>44236</c:v>
                </c:pt>
                <c:pt idx="1173">
                  <c:v>44235</c:v>
                </c:pt>
                <c:pt idx="1174">
                  <c:v>44232</c:v>
                </c:pt>
                <c:pt idx="1175">
                  <c:v>44231</c:v>
                </c:pt>
                <c:pt idx="1176">
                  <c:v>44230</c:v>
                </c:pt>
                <c:pt idx="1177">
                  <c:v>44229</c:v>
                </c:pt>
                <c:pt idx="1178">
                  <c:v>44228</c:v>
                </c:pt>
                <c:pt idx="1179">
                  <c:v>44225</c:v>
                </c:pt>
                <c:pt idx="1180">
                  <c:v>44224</c:v>
                </c:pt>
                <c:pt idx="1181">
                  <c:v>44223</c:v>
                </c:pt>
                <c:pt idx="1182">
                  <c:v>44221</c:v>
                </c:pt>
                <c:pt idx="1183">
                  <c:v>44218</c:v>
                </c:pt>
                <c:pt idx="1184">
                  <c:v>44217</c:v>
                </c:pt>
                <c:pt idx="1185">
                  <c:v>44216</c:v>
                </c:pt>
                <c:pt idx="1186">
                  <c:v>44215</c:v>
                </c:pt>
                <c:pt idx="1187">
                  <c:v>44214</c:v>
                </c:pt>
                <c:pt idx="1188">
                  <c:v>44211</c:v>
                </c:pt>
                <c:pt idx="1189">
                  <c:v>44210</c:v>
                </c:pt>
                <c:pt idx="1190">
                  <c:v>44209</c:v>
                </c:pt>
                <c:pt idx="1191">
                  <c:v>44208</c:v>
                </c:pt>
                <c:pt idx="1192">
                  <c:v>44207</c:v>
                </c:pt>
                <c:pt idx="1193">
                  <c:v>44204</c:v>
                </c:pt>
                <c:pt idx="1194">
                  <c:v>44203</c:v>
                </c:pt>
                <c:pt idx="1195">
                  <c:v>44202</c:v>
                </c:pt>
                <c:pt idx="1196">
                  <c:v>44201</c:v>
                </c:pt>
                <c:pt idx="1197">
                  <c:v>44200</c:v>
                </c:pt>
                <c:pt idx="1198">
                  <c:v>44197</c:v>
                </c:pt>
                <c:pt idx="1199">
                  <c:v>44196</c:v>
                </c:pt>
                <c:pt idx="1200">
                  <c:v>44195</c:v>
                </c:pt>
                <c:pt idx="1201">
                  <c:v>44194</c:v>
                </c:pt>
                <c:pt idx="1202">
                  <c:v>44193</c:v>
                </c:pt>
                <c:pt idx="1203">
                  <c:v>44189</c:v>
                </c:pt>
                <c:pt idx="1204">
                  <c:v>44188</c:v>
                </c:pt>
                <c:pt idx="1205">
                  <c:v>44187</c:v>
                </c:pt>
                <c:pt idx="1206">
                  <c:v>44186</c:v>
                </c:pt>
                <c:pt idx="1207">
                  <c:v>44183</c:v>
                </c:pt>
                <c:pt idx="1208">
                  <c:v>44182</c:v>
                </c:pt>
                <c:pt idx="1209">
                  <c:v>44181</c:v>
                </c:pt>
                <c:pt idx="1210">
                  <c:v>44180</c:v>
                </c:pt>
                <c:pt idx="1211">
                  <c:v>44179</c:v>
                </c:pt>
                <c:pt idx="1212">
                  <c:v>44176</c:v>
                </c:pt>
                <c:pt idx="1213">
                  <c:v>44175</c:v>
                </c:pt>
                <c:pt idx="1214">
                  <c:v>44174</c:v>
                </c:pt>
                <c:pt idx="1215">
                  <c:v>44173</c:v>
                </c:pt>
                <c:pt idx="1216">
                  <c:v>44172</c:v>
                </c:pt>
                <c:pt idx="1217">
                  <c:v>44169</c:v>
                </c:pt>
                <c:pt idx="1218">
                  <c:v>44168</c:v>
                </c:pt>
                <c:pt idx="1219">
                  <c:v>44167</c:v>
                </c:pt>
                <c:pt idx="1220">
                  <c:v>44166</c:v>
                </c:pt>
                <c:pt idx="1221">
                  <c:v>44162</c:v>
                </c:pt>
                <c:pt idx="1222">
                  <c:v>44161</c:v>
                </c:pt>
                <c:pt idx="1223">
                  <c:v>44160</c:v>
                </c:pt>
                <c:pt idx="1224">
                  <c:v>44159</c:v>
                </c:pt>
                <c:pt idx="1225">
                  <c:v>44158</c:v>
                </c:pt>
                <c:pt idx="1226">
                  <c:v>44155</c:v>
                </c:pt>
                <c:pt idx="1227">
                  <c:v>44154</c:v>
                </c:pt>
                <c:pt idx="1228">
                  <c:v>44153</c:v>
                </c:pt>
                <c:pt idx="1229">
                  <c:v>44152</c:v>
                </c:pt>
                <c:pt idx="1230">
                  <c:v>44149</c:v>
                </c:pt>
                <c:pt idx="1231">
                  <c:v>44148</c:v>
                </c:pt>
                <c:pt idx="1232">
                  <c:v>44147</c:v>
                </c:pt>
                <c:pt idx="1233">
                  <c:v>44146</c:v>
                </c:pt>
                <c:pt idx="1234">
                  <c:v>44145</c:v>
                </c:pt>
                <c:pt idx="1235">
                  <c:v>44144</c:v>
                </c:pt>
                <c:pt idx="1236">
                  <c:v>44141</c:v>
                </c:pt>
                <c:pt idx="1237">
                  <c:v>44140</c:v>
                </c:pt>
                <c:pt idx="1238">
                  <c:v>44139</c:v>
                </c:pt>
                <c:pt idx="1239">
                  <c:v>44138</c:v>
                </c:pt>
                <c:pt idx="1240">
                  <c:v>44137</c:v>
                </c:pt>
                <c:pt idx="1241">
                  <c:v>44134</c:v>
                </c:pt>
                <c:pt idx="1242">
                  <c:v>44133</c:v>
                </c:pt>
                <c:pt idx="1243">
                  <c:v>44132</c:v>
                </c:pt>
                <c:pt idx="1244">
                  <c:v>44131</c:v>
                </c:pt>
                <c:pt idx="1245">
                  <c:v>44130</c:v>
                </c:pt>
                <c:pt idx="1246">
                  <c:v>44127</c:v>
                </c:pt>
                <c:pt idx="1247">
                  <c:v>44126</c:v>
                </c:pt>
                <c:pt idx="1248">
                  <c:v>44125</c:v>
                </c:pt>
                <c:pt idx="1249">
                  <c:v>44124</c:v>
                </c:pt>
                <c:pt idx="1250">
                  <c:v>44123</c:v>
                </c:pt>
                <c:pt idx="1251">
                  <c:v>44120</c:v>
                </c:pt>
                <c:pt idx="1252">
                  <c:v>44119</c:v>
                </c:pt>
                <c:pt idx="1253">
                  <c:v>44118</c:v>
                </c:pt>
                <c:pt idx="1254">
                  <c:v>44117</c:v>
                </c:pt>
                <c:pt idx="1255">
                  <c:v>44116</c:v>
                </c:pt>
                <c:pt idx="1256">
                  <c:v>44113</c:v>
                </c:pt>
                <c:pt idx="1257">
                  <c:v>44112</c:v>
                </c:pt>
                <c:pt idx="1258">
                  <c:v>44111</c:v>
                </c:pt>
                <c:pt idx="1259">
                  <c:v>44110</c:v>
                </c:pt>
                <c:pt idx="1260">
                  <c:v>44109</c:v>
                </c:pt>
                <c:pt idx="1261">
                  <c:v>44105</c:v>
                </c:pt>
                <c:pt idx="1262">
                  <c:v>44104</c:v>
                </c:pt>
                <c:pt idx="1263">
                  <c:v>44103</c:v>
                </c:pt>
                <c:pt idx="1264">
                  <c:v>44102</c:v>
                </c:pt>
                <c:pt idx="1265">
                  <c:v>44099</c:v>
                </c:pt>
                <c:pt idx="1266">
                  <c:v>44098</c:v>
                </c:pt>
                <c:pt idx="1267">
                  <c:v>44097</c:v>
                </c:pt>
                <c:pt idx="1268">
                  <c:v>44096</c:v>
                </c:pt>
                <c:pt idx="1269">
                  <c:v>44095</c:v>
                </c:pt>
                <c:pt idx="1270">
                  <c:v>44092</c:v>
                </c:pt>
                <c:pt idx="1271">
                  <c:v>44091</c:v>
                </c:pt>
                <c:pt idx="1272">
                  <c:v>44090</c:v>
                </c:pt>
                <c:pt idx="1273">
                  <c:v>44089</c:v>
                </c:pt>
                <c:pt idx="1274">
                  <c:v>44088</c:v>
                </c:pt>
                <c:pt idx="1275">
                  <c:v>44085</c:v>
                </c:pt>
                <c:pt idx="1276">
                  <c:v>44084</c:v>
                </c:pt>
                <c:pt idx="1277">
                  <c:v>44083</c:v>
                </c:pt>
                <c:pt idx="1278">
                  <c:v>44082</c:v>
                </c:pt>
                <c:pt idx="1279">
                  <c:v>44081</c:v>
                </c:pt>
                <c:pt idx="1280">
                  <c:v>44078</c:v>
                </c:pt>
                <c:pt idx="1281">
                  <c:v>44077</c:v>
                </c:pt>
                <c:pt idx="1282">
                  <c:v>44076</c:v>
                </c:pt>
                <c:pt idx="1283">
                  <c:v>44075</c:v>
                </c:pt>
                <c:pt idx="1284">
                  <c:v>44074</c:v>
                </c:pt>
                <c:pt idx="1285">
                  <c:v>44071</c:v>
                </c:pt>
                <c:pt idx="1286">
                  <c:v>44070</c:v>
                </c:pt>
                <c:pt idx="1287">
                  <c:v>44069</c:v>
                </c:pt>
                <c:pt idx="1288">
                  <c:v>44068</c:v>
                </c:pt>
                <c:pt idx="1289">
                  <c:v>44067</c:v>
                </c:pt>
                <c:pt idx="1290">
                  <c:v>44064</c:v>
                </c:pt>
                <c:pt idx="1291">
                  <c:v>44063</c:v>
                </c:pt>
                <c:pt idx="1292">
                  <c:v>44062</c:v>
                </c:pt>
                <c:pt idx="1293">
                  <c:v>44061</c:v>
                </c:pt>
                <c:pt idx="1294">
                  <c:v>44060</c:v>
                </c:pt>
                <c:pt idx="1295">
                  <c:v>44057</c:v>
                </c:pt>
                <c:pt idx="1296">
                  <c:v>44056</c:v>
                </c:pt>
                <c:pt idx="1297">
                  <c:v>44055</c:v>
                </c:pt>
                <c:pt idx="1298">
                  <c:v>44054</c:v>
                </c:pt>
                <c:pt idx="1299">
                  <c:v>44053</c:v>
                </c:pt>
                <c:pt idx="1300">
                  <c:v>44050</c:v>
                </c:pt>
                <c:pt idx="1301">
                  <c:v>44049</c:v>
                </c:pt>
                <c:pt idx="1302">
                  <c:v>44048</c:v>
                </c:pt>
                <c:pt idx="1303">
                  <c:v>44047</c:v>
                </c:pt>
                <c:pt idx="1304">
                  <c:v>44046</c:v>
                </c:pt>
                <c:pt idx="1305">
                  <c:v>44043</c:v>
                </c:pt>
                <c:pt idx="1306">
                  <c:v>44042</c:v>
                </c:pt>
                <c:pt idx="1307">
                  <c:v>44041</c:v>
                </c:pt>
                <c:pt idx="1308">
                  <c:v>44040</c:v>
                </c:pt>
                <c:pt idx="1309">
                  <c:v>44039</c:v>
                </c:pt>
                <c:pt idx="1310">
                  <c:v>44036</c:v>
                </c:pt>
                <c:pt idx="1311">
                  <c:v>44035</c:v>
                </c:pt>
                <c:pt idx="1312">
                  <c:v>44034</c:v>
                </c:pt>
                <c:pt idx="1313">
                  <c:v>44033</c:v>
                </c:pt>
                <c:pt idx="1314">
                  <c:v>44032</c:v>
                </c:pt>
                <c:pt idx="1315">
                  <c:v>44029</c:v>
                </c:pt>
                <c:pt idx="1316">
                  <c:v>44028</c:v>
                </c:pt>
                <c:pt idx="1317">
                  <c:v>44027</c:v>
                </c:pt>
                <c:pt idx="1318">
                  <c:v>44026</c:v>
                </c:pt>
                <c:pt idx="1319">
                  <c:v>44025</c:v>
                </c:pt>
                <c:pt idx="1320">
                  <c:v>44022</c:v>
                </c:pt>
                <c:pt idx="1321">
                  <c:v>44021</c:v>
                </c:pt>
                <c:pt idx="1322">
                  <c:v>44020</c:v>
                </c:pt>
                <c:pt idx="1323">
                  <c:v>44019</c:v>
                </c:pt>
                <c:pt idx="1324">
                  <c:v>44018</c:v>
                </c:pt>
                <c:pt idx="1325">
                  <c:v>44015</c:v>
                </c:pt>
                <c:pt idx="1326">
                  <c:v>44014</c:v>
                </c:pt>
                <c:pt idx="1327">
                  <c:v>44013</c:v>
                </c:pt>
                <c:pt idx="1328">
                  <c:v>44012</c:v>
                </c:pt>
                <c:pt idx="1329">
                  <c:v>44011</c:v>
                </c:pt>
                <c:pt idx="1330">
                  <c:v>44008</c:v>
                </c:pt>
                <c:pt idx="1331">
                  <c:v>44007</c:v>
                </c:pt>
                <c:pt idx="1332">
                  <c:v>44006</c:v>
                </c:pt>
                <c:pt idx="1333">
                  <c:v>44005</c:v>
                </c:pt>
                <c:pt idx="1334">
                  <c:v>44004</c:v>
                </c:pt>
                <c:pt idx="1335">
                  <c:v>44001</c:v>
                </c:pt>
                <c:pt idx="1336">
                  <c:v>44000</c:v>
                </c:pt>
                <c:pt idx="1337">
                  <c:v>43999</c:v>
                </c:pt>
                <c:pt idx="1338">
                  <c:v>43998</c:v>
                </c:pt>
                <c:pt idx="1339">
                  <c:v>43997</c:v>
                </c:pt>
                <c:pt idx="1340">
                  <c:v>43994</c:v>
                </c:pt>
                <c:pt idx="1341">
                  <c:v>43993</c:v>
                </c:pt>
                <c:pt idx="1342">
                  <c:v>43992</c:v>
                </c:pt>
                <c:pt idx="1343">
                  <c:v>43991</c:v>
                </c:pt>
                <c:pt idx="1344">
                  <c:v>43990</c:v>
                </c:pt>
                <c:pt idx="1345">
                  <c:v>43987</c:v>
                </c:pt>
                <c:pt idx="1346">
                  <c:v>43986</c:v>
                </c:pt>
                <c:pt idx="1347">
                  <c:v>43985</c:v>
                </c:pt>
                <c:pt idx="1348">
                  <c:v>43984</c:v>
                </c:pt>
                <c:pt idx="1349">
                  <c:v>43983</c:v>
                </c:pt>
                <c:pt idx="1350">
                  <c:v>43980</c:v>
                </c:pt>
                <c:pt idx="1351">
                  <c:v>43979</c:v>
                </c:pt>
                <c:pt idx="1352">
                  <c:v>43978</c:v>
                </c:pt>
                <c:pt idx="1353">
                  <c:v>43977</c:v>
                </c:pt>
                <c:pt idx="1354">
                  <c:v>43973</c:v>
                </c:pt>
                <c:pt idx="1355">
                  <c:v>43972</c:v>
                </c:pt>
                <c:pt idx="1356">
                  <c:v>43971</c:v>
                </c:pt>
                <c:pt idx="1357">
                  <c:v>43970</c:v>
                </c:pt>
                <c:pt idx="1358">
                  <c:v>43969</c:v>
                </c:pt>
                <c:pt idx="1359">
                  <c:v>43966</c:v>
                </c:pt>
                <c:pt idx="1360">
                  <c:v>43965</c:v>
                </c:pt>
                <c:pt idx="1361">
                  <c:v>43964</c:v>
                </c:pt>
                <c:pt idx="1362">
                  <c:v>43963</c:v>
                </c:pt>
                <c:pt idx="1363">
                  <c:v>43962</c:v>
                </c:pt>
                <c:pt idx="1364">
                  <c:v>43959</c:v>
                </c:pt>
                <c:pt idx="1365">
                  <c:v>43958</c:v>
                </c:pt>
                <c:pt idx="1366">
                  <c:v>43957</c:v>
                </c:pt>
                <c:pt idx="1367">
                  <c:v>43956</c:v>
                </c:pt>
                <c:pt idx="1368">
                  <c:v>43955</c:v>
                </c:pt>
                <c:pt idx="1369">
                  <c:v>43951</c:v>
                </c:pt>
                <c:pt idx="1370">
                  <c:v>43950</c:v>
                </c:pt>
                <c:pt idx="1371">
                  <c:v>43949</c:v>
                </c:pt>
                <c:pt idx="1372">
                  <c:v>43948</c:v>
                </c:pt>
                <c:pt idx="1373">
                  <c:v>43945</c:v>
                </c:pt>
                <c:pt idx="1374">
                  <c:v>43944</c:v>
                </c:pt>
                <c:pt idx="1375">
                  <c:v>43943</c:v>
                </c:pt>
                <c:pt idx="1376">
                  <c:v>43942</c:v>
                </c:pt>
                <c:pt idx="1377">
                  <c:v>43941</c:v>
                </c:pt>
                <c:pt idx="1378">
                  <c:v>43938</c:v>
                </c:pt>
                <c:pt idx="1379">
                  <c:v>43937</c:v>
                </c:pt>
                <c:pt idx="1380">
                  <c:v>43936</c:v>
                </c:pt>
                <c:pt idx="1381">
                  <c:v>43934</c:v>
                </c:pt>
                <c:pt idx="1382">
                  <c:v>43930</c:v>
                </c:pt>
                <c:pt idx="1383">
                  <c:v>43929</c:v>
                </c:pt>
                <c:pt idx="1384">
                  <c:v>43928</c:v>
                </c:pt>
                <c:pt idx="1385">
                  <c:v>43924</c:v>
                </c:pt>
                <c:pt idx="1386">
                  <c:v>43922</c:v>
                </c:pt>
                <c:pt idx="1387">
                  <c:v>43921</c:v>
                </c:pt>
                <c:pt idx="1388">
                  <c:v>43920</c:v>
                </c:pt>
                <c:pt idx="1389">
                  <c:v>43917</c:v>
                </c:pt>
                <c:pt idx="1390">
                  <c:v>43916</c:v>
                </c:pt>
                <c:pt idx="1391">
                  <c:v>43915</c:v>
                </c:pt>
                <c:pt idx="1392">
                  <c:v>43914</c:v>
                </c:pt>
                <c:pt idx="1393">
                  <c:v>43913</c:v>
                </c:pt>
                <c:pt idx="1394">
                  <c:v>43910</c:v>
                </c:pt>
                <c:pt idx="1395">
                  <c:v>43909</c:v>
                </c:pt>
                <c:pt idx="1396">
                  <c:v>43908</c:v>
                </c:pt>
                <c:pt idx="1397">
                  <c:v>43907</c:v>
                </c:pt>
                <c:pt idx="1398">
                  <c:v>43906</c:v>
                </c:pt>
                <c:pt idx="1399">
                  <c:v>43903</c:v>
                </c:pt>
                <c:pt idx="1400">
                  <c:v>43902</c:v>
                </c:pt>
                <c:pt idx="1401">
                  <c:v>43901</c:v>
                </c:pt>
                <c:pt idx="1402">
                  <c:v>43899</c:v>
                </c:pt>
                <c:pt idx="1403">
                  <c:v>43896</c:v>
                </c:pt>
                <c:pt idx="1404">
                  <c:v>43895</c:v>
                </c:pt>
                <c:pt idx="1405">
                  <c:v>43894</c:v>
                </c:pt>
                <c:pt idx="1406">
                  <c:v>43893</c:v>
                </c:pt>
                <c:pt idx="1407">
                  <c:v>43892</c:v>
                </c:pt>
                <c:pt idx="1408">
                  <c:v>43889</c:v>
                </c:pt>
                <c:pt idx="1409">
                  <c:v>43888</c:v>
                </c:pt>
                <c:pt idx="1410">
                  <c:v>43887</c:v>
                </c:pt>
                <c:pt idx="1411">
                  <c:v>43886</c:v>
                </c:pt>
                <c:pt idx="1412">
                  <c:v>43885</c:v>
                </c:pt>
                <c:pt idx="1413">
                  <c:v>43881</c:v>
                </c:pt>
                <c:pt idx="1414">
                  <c:v>43880</c:v>
                </c:pt>
                <c:pt idx="1415">
                  <c:v>43879</c:v>
                </c:pt>
                <c:pt idx="1416">
                  <c:v>43878</c:v>
                </c:pt>
                <c:pt idx="1417">
                  <c:v>43875</c:v>
                </c:pt>
                <c:pt idx="1418">
                  <c:v>43874</c:v>
                </c:pt>
                <c:pt idx="1419">
                  <c:v>43873</c:v>
                </c:pt>
                <c:pt idx="1420">
                  <c:v>43872</c:v>
                </c:pt>
                <c:pt idx="1421">
                  <c:v>43871</c:v>
                </c:pt>
                <c:pt idx="1422">
                  <c:v>43868</c:v>
                </c:pt>
                <c:pt idx="1423">
                  <c:v>43867</c:v>
                </c:pt>
                <c:pt idx="1424">
                  <c:v>43866</c:v>
                </c:pt>
                <c:pt idx="1425">
                  <c:v>43865</c:v>
                </c:pt>
                <c:pt idx="1426">
                  <c:v>43864</c:v>
                </c:pt>
                <c:pt idx="1427">
                  <c:v>43862</c:v>
                </c:pt>
                <c:pt idx="1428">
                  <c:v>43861</c:v>
                </c:pt>
                <c:pt idx="1429">
                  <c:v>43860</c:v>
                </c:pt>
                <c:pt idx="1430">
                  <c:v>43859</c:v>
                </c:pt>
                <c:pt idx="1431">
                  <c:v>43858</c:v>
                </c:pt>
                <c:pt idx="1432">
                  <c:v>43857</c:v>
                </c:pt>
                <c:pt idx="1433">
                  <c:v>43854</c:v>
                </c:pt>
                <c:pt idx="1434">
                  <c:v>43853</c:v>
                </c:pt>
                <c:pt idx="1435">
                  <c:v>43852</c:v>
                </c:pt>
                <c:pt idx="1436">
                  <c:v>43851</c:v>
                </c:pt>
                <c:pt idx="1437">
                  <c:v>43850</c:v>
                </c:pt>
                <c:pt idx="1438">
                  <c:v>43847</c:v>
                </c:pt>
                <c:pt idx="1439">
                  <c:v>43846</c:v>
                </c:pt>
                <c:pt idx="1440">
                  <c:v>43845</c:v>
                </c:pt>
                <c:pt idx="1441">
                  <c:v>43844</c:v>
                </c:pt>
                <c:pt idx="1442">
                  <c:v>43843</c:v>
                </c:pt>
                <c:pt idx="1443">
                  <c:v>43840</c:v>
                </c:pt>
                <c:pt idx="1444">
                  <c:v>43839</c:v>
                </c:pt>
                <c:pt idx="1445">
                  <c:v>43838</c:v>
                </c:pt>
                <c:pt idx="1446">
                  <c:v>43837</c:v>
                </c:pt>
                <c:pt idx="1447">
                  <c:v>43836</c:v>
                </c:pt>
                <c:pt idx="1448">
                  <c:v>43833</c:v>
                </c:pt>
                <c:pt idx="1449">
                  <c:v>43832</c:v>
                </c:pt>
                <c:pt idx="1450">
                  <c:v>43831</c:v>
                </c:pt>
                <c:pt idx="1451">
                  <c:v>43830</c:v>
                </c:pt>
                <c:pt idx="1452">
                  <c:v>43829</c:v>
                </c:pt>
                <c:pt idx="1453">
                  <c:v>43826</c:v>
                </c:pt>
                <c:pt idx="1454">
                  <c:v>43825</c:v>
                </c:pt>
                <c:pt idx="1455">
                  <c:v>43823</c:v>
                </c:pt>
                <c:pt idx="1456">
                  <c:v>43822</c:v>
                </c:pt>
                <c:pt idx="1457">
                  <c:v>43819</c:v>
                </c:pt>
                <c:pt idx="1458">
                  <c:v>43818</c:v>
                </c:pt>
                <c:pt idx="1459">
                  <c:v>43817</c:v>
                </c:pt>
                <c:pt idx="1460">
                  <c:v>43816</c:v>
                </c:pt>
                <c:pt idx="1461">
                  <c:v>43815</c:v>
                </c:pt>
                <c:pt idx="1462">
                  <c:v>43812</c:v>
                </c:pt>
                <c:pt idx="1463">
                  <c:v>43811</c:v>
                </c:pt>
                <c:pt idx="1464">
                  <c:v>43810</c:v>
                </c:pt>
                <c:pt idx="1465">
                  <c:v>43809</c:v>
                </c:pt>
                <c:pt idx="1466">
                  <c:v>43808</c:v>
                </c:pt>
                <c:pt idx="1467">
                  <c:v>43805</c:v>
                </c:pt>
                <c:pt idx="1468">
                  <c:v>43804</c:v>
                </c:pt>
                <c:pt idx="1469">
                  <c:v>43803</c:v>
                </c:pt>
                <c:pt idx="1470">
                  <c:v>43802</c:v>
                </c:pt>
                <c:pt idx="1471">
                  <c:v>43801</c:v>
                </c:pt>
                <c:pt idx="1472">
                  <c:v>43798</c:v>
                </c:pt>
                <c:pt idx="1473">
                  <c:v>43797</c:v>
                </c:pt>
                <c:pt idx="1474">
                  <c:v>43796</c:v>
                </c:pt>
                <c:pt idx="1475">
                  <c:v>43795</c:v>
                </c:pt>
                <c:pt idx="1476">
                  <c:v>43794</c:v>
                </c:pt>
                <c:pt idx="1477">
                  <c:v>43791</c:v>
                </c:pt>
                <c:pt idx="1478">
                  <c:v>43790</c:v>
                </c:pt>
                <c:pt idx="1479">
                  <c:v>43789</c:v>
                </c:pt>
                <c:pt idx="1480">
                  <c:v>43788</c:v>
                </c:pt>
                <c:pt idx="1481">
                  <c:v>43787</c:v>
                </c:pt>
                <c:pt idx="1482">
                  <c:v>43784</c:v>
                </c:pt>
                <c:pt idx="1483">
                  <c:v>43783</c:v>
                </c:pt>
                <c:pt idx="1484">
                  <c:v>43782</c:v>
                </c:pt>
                <c:pt idx="1485">
                  <c:v>43780</c:v>
                </c:pt>
                <c:pt idx="1486">
                  <c:v>43777</c:v>
                </c:pt>
                <c:pt idx="1487">
                  <c:v>43776</c:v>
                </c:pt>
                <c:pt idx="1488">
                  <c:v>43775</c:v>
                </c:pt>
                <c:pt idx="1489">
                  <c:v>43774</c:v>
                </c:pt>
                <c:pt idx="1490">
                  <c:v>43773</c:v>
                </c:pt>
                <c:pt idx="1491">
                  <c:v>43770</c:v>
                </c:pt>
                <c:pt idx="1492">
                  <c:v>43769</c:v>
                </c:pt>
                <c:pt idx="1493">
                  <c:v>43768</c:v>
                </c:pt>
                <c:pt idx="1494">
                  <c:v>43767</c:v>
                </c:pt>
                <c:pt idx="1495">
                  <c:v>43765</c:v>
                </c:pt>
                <c:pt idx="1496">
                  <c:v>43763</c:v>
                </c:pt>
                <c:pt idx="1497">
                  <c:v>43762</c:v>
                </c:pt>
                <c:pt idx="1498">
                  <c:v>43761</c:v>
                </c:pt>
                <c:pt idx="1499">
                  <c:v>43760</c:v>
                </c:pt>
                <c:pt idx="1500">
                  <c:v>43756</c:v>
                </c:pt>
                <c:pt idx="1501">
                  <c:v>43755</c:v>
                </c:pt>
                <c:pt idx="1502">
                  <c:v>43754</c:v>
                </c:pt>
                <c:pt idx="1503">
                  <c:v>43753</c:v>
                </c:pt>
                <c:pt idx="1504">
                  <c:v>43752</c:v>
                </c:pt>
                <c:pt idx="1505">
                  <c:v>43749</c:v>
                </c:pt>
                <c:pt idx="1506">
                  <c:v>43748</c:v>
                </c:pt>
                <c:pt idx="1507">
                  <c:v>43747</c:v>
                </c:pt>
                <c:pt idx="1508">
                  <c:v>43745</c:v>
                </c:pt>
                <c:pt idx="1509">
                  <c:v>43742</c:v>
                </c:pt>
                <c:pt idx="1510">
                  <c:v>43741</c:v>
                </c:pt>
                <c:pt idx="1511">
                  <c:v>43739</c:v>
                </c:pt>
                <c:pt idx="1512">
                  <c:v>43738</c:v>
                </c:pt>
                <c:pt idx="1513">
                  <c:v>43735</c:v>
                </c:pt>
                <c:pt idx="1514">
                  <c:v>43734</c:v>
                </c:pt>
                <c:pt idx="1515">
                  <c:v>43733</c:v>
                </c:pt>
                <c:pt idx="1516">
                  <c:v>43732</c:v>
                </c:pt>
                <c:pt idx="1517">
                  <c:v>43731</c:v>
                </c:pt>
                <c:pt idx="1518">
                  <c:v>43728</c:v>
                </c:pt>
                <c:pt idx="1519">
                  <c:v>43727</c:v>
                </c:pt>
                <c:pt idx="1520">
                  <c:v>43726</c:v>
                </c:pt>
                <c:pt idx="1521">
                  <c:v>43725</c:v>
                </c:pt>
                <c:pt idx="1522">
                  <c:v>43724</c:v>
                </c:pt>
                <c:pt idx="1523">
                  <c:v>43721</c:v>
                </c:pt>
                <c:pt idx="1524">
                  <c:v>43720</c:v>
                </c:pt>
                <c:pt idx="1525">
                  <c:v>43719</c:v>
                </c:pt>
                <c:pt idx="1526">
                  <c:v>43717</c:v>
                </c:pt>
                <c:pt idx="1527">
                  <c:v>43714</c:v>
                </c:pt>
                <c:pt idx="1528">
                  <c:v>43713</c:v>
                </c:pt>
                <c:pt idx="1529">
                  <c:v>43712</c:v>
                </c:pt>
                <c:pt idx="1530">
                  <c:v>43711</c:v>
                </c:pt>
                <c:pt idx="1531">
                  <c:v>43707</c:v>
                </c:pt>
                <c:pt idx="1532">
                  <c:v>43706</c:v>
                </c:pt>
                <c:pt idx="1533">
                  <c:v>43705</c:v>
                </c:pt>
                <c:pt idx="1534">
                  <c:v>43704</c:v>
                </c:pt>
                <c:pt idx="1535">
                  <c:v>43703</c:v>
                </c:pt>
                <c:pt idx="1536">
                  <c:v>43700</c:v>
                </c:pt>
                <c:pt idx="1537">
                  <c:v>43699</c:v>
                </c:pt>
                <c:pt idx="1538">
                  <c:v>43698</c:v>
                </c:pt>
                <c:pt idx="1539">
                  <c:v>43697</c:v>
                </c:pt>
                <c:pt idx="1540">
                  <c:v>43696</c:v>
                </c:pt>
                <c:pt idx="1541">
                  <c:v>43693</c:v>
                </c:pt>
                <c:pt idx="1542">
                  <c:v>43691</c:v>
                </c:pt>
                <c:pt idx="1543">
                  <c:v>43690</c:v>
                </c:pt>
                <c:pt idx="1544">
                  <c:v>43686</c:v>
                </c:pt>
                <c:pt idx="1545">
                  <c:v>43685</c:v>
                </c:pt>
                <c:pt idx="1546">
                  <c:v>43684</c:v>
                </c:pt>
                <c:pt idx="1547">
                  <c:v>43683</c:v>
                </c:pt>
                <c:pt idx="1548">
                  <c:v>43682</c:v>
                </c:pt>
                <c:pt idx="1549">
                  <c:v>43679</c:v>
                </c:pt>
                <c:pt idx="1550">
                  <c:v>43678</c:v>
                </c:pt>
                <c:pt idx="1551">
                  <c:v>43677</c:v>
                </c:pt>
                <c:pt idx="1552">
                  <c:v>43676</c:v>
                </c:pt>
                <c:pt idx="1553">
                  <c:v>43675</c:v>
                </c:pt>
                <c:pt idx="1554">
                  <c:v>43672</c:v>
                </c:pt>
                <c:pt idx="1555">
                  <c:v>43671</c:v>
                </c:pt>
                <c:pt idx="1556">
                  <c:v>43670</c:v>
                </c:pt>
                <c:pt idx="1557">
                  <c:v>43669</c:v>
                </c:pt>
                <c:pt idx="1558">
                  <c:v>43668</c:v>
                </c:pt>
                <c:pt idx="1559">
                  <c:v>43665</c:v>
                </c:pt>
                <c:pt idx="1560">
                  <c:v>43664</c:v>
                </c:pt>
                <c:pt idx="1561">
                  <c:v>43663</c:v>
                </c:pt>
                <c:pt idx="1562">
                  <c:v>43662</c:v>
                </c:pt>
                <c:pt idx="1563">
                  <c:v>43661</c:v>
                </c:pt>
                <c:pt idx="1564">
                  <c:v>43658</c:v>
                </c:pt>
                <c:pt idx="1565">
                  <c:v>43657</c:v>
                </c:pt>
                <c:pt idx="1566">
                  <c:v>43656</c:v>
                </c:pt>
                <c:pt idx="1567">
                  <c:v>43655</c:v>
                </c:pt>
                <c:pt idx="1568">
                  <c:v>43654</c:v>
                </c:pt>
                <c:pt idx="1569">
                  <c:v>43651</c:v>
                </c:pt>
                <c:pt idx="1570">
                  <c:v>43650</c:v>
                </c:pt>
                <c:pt idx="1571">
                  <c:v>43649</c:v>
                </c:pt>
                <c:pt idx="1572">
                  <c:v>43648</c:v>
                </c:pt>
                <c:pt idx="1573">
                  <c:v>43647</c:v>
                </c:pt>
                <c:pt idx="1574">
                  <c:v>43644</c:v>
                </c:pt>
                <c:pt idx="1575">
                  <c:v>43643</c:v>
                </c:pt>
                <c:pt idx="1576">
                  <c:v>43642</c:v>
                </c:pt>
                <c:pt idx="1577">
                  <c:v>43641</c:v>
                </c:pt>
                <c:pt idx="1578">
                  <c:v>43640</c:v>
                </c:pt>
                <c:pt idx="1579">
                  <c:v>43637</c:v>
                </c:pt>
                <c:pt idx="1580">
                  <c:v>43636</c:v>
                </c:pt>
                <c:pt idx="1581">
                  <c:v>43635</c:v>
                </c:pt>
                <c:pt idx="1582">
                  <c:v>43634</c:v>
                </c:pt>
                <c:pt idx="1583">
                  <c:v>43633</c:v>
                </c:pt>
                <c:pt idx="1584">
                  <c:v>43630</c:v>
                </c:pt>
                <c:pt idx="1585">
                  <c:v>43629</c:v>
                </c:pt>
                <c:pt idx="1586">
                  <c:v>43628</c:v>
                </c:pt>
                <c:pt idx="1587">
                  <c:v>43627</c:v>
                </c:pt>
                <c:pt idx="1588">
                  <c:v>43626</c:v>
                </c:pt>
                <c:pt idx="1589">
                  <c:v>43623</c:v>
                </c:pt>
                <c:pt idx="1590">
                  <c:v>43622</c:v>
                </c:pt>
                <c:pt idx="1591">
                  <c:v>43620</c:v>
                </c:pt>
                <c:pt idx="1592">
                  <c:v>43619</c:v>
                </c:pt>
                <c:pt idx="1593">
                  <c:v>43616</c:v>
                </c:pt>
                <c:pt idx="1594">
                  <c:v>43615</c:v>
                </c:pt>
                <c:pt idx="1595">
                  <c:v>43614</c:v>
                </c:pt>
                <c:pt idx="1596">
                  <c:v>43613</c:v>
                </c:pt>
                <c:pt idx="1597">
                  <c:v>43612</c:v>
                </c:pt>
                <c:pt idx="1598">
                  <c:v>43609</c:v>
                </c:pt>
                <c:pt idx="1599">
                  <c:v>43608</c:v>
                </c:pt>
                <c:pt idx="1600">
                  <c:v>43607</c:v>
                </c:pt>
                <c:pt idx="1601">
                  <c:v>43606</c:v>
                </c:pt>
                <c:pt idx="1602">
                  <c:v>43605</c:v>
                </c:pt>
                <c:pt idx="1603">
                  <c:v>43602</c:v>
                </c:pt>
                <c:pt idx="1604">
                  <c:v>43601</c:v>
                </c:pt>
                <c:pt idx="1605">
                  <c:v>43600</c:v>
                </c:pt>
                <c:pt idx="1606">
                  <c:v>43599</c:v>
                </c:pt>
                <c:pt idx="1607">
                  <c:v>43598</c:v>
                </c:pt>
                <c:pt idx="1608">
                  <c:v>43595</c:v>
                </c:pt>
                <c:pt idx="1609">
                  <c:v>43594</c:v>
                </c:pt>
                <c:pt idx="1610">
                  <c:v>43593</c:v>
                </c:pt>
                <c:pt idx="1611">
                  <c:v>43592</c:v>
                </c:pt>
                <c:pt idx="1612">
                  <c:v>43591</c:v>
                </c:pt>
                <c:pt idx="1613">
                  <c:v>43588</c:v>
                </c:pt>
                <c:pt idx="1614">
                  <c:v>43587</c:v>
                </c:pt>
                <c:pt idx="1615">
                  <c:v>43585</c:v>
                </c:pt>
                <c:pt idx="1616">
                  <c:v>43581</c:v>
                </c:pt>
                <c:pt idx="1617">
                  <c:v>43580</c:v>
                </c:pt>
                <c:pt idx="1618">
                  <c:v>43579</c:v>
                </c:pt>
                <c:pt idx="1619">
                  <c:v>43578</c:v>
                </c:pt>
                <c:pt idx="1620">
                  <c:v>43577</c:v>
                </c:pt>
                <c:pt idx="1621">
                  <c:v>43573</c:v>
                </c:pt>
                <c:pt idx="1622">
                  <c:v>43571</c:v>
                </c:pt>
                <c:pt idx="1623">
                  <c:v>43570</c:v>
                </c:pt>
                <c:pt idx="1624">
                  <c:v>43567</c:v>
                </c:pt>
                <c:pt idx="1625">
                  <c:v>43566</c:v>
                </c:pt>
                <c:pt idx="1626">
                  <c:v>43565</c:v>
                </c:pt>
                <c:pt idx="1627">
                  <c:v>43564</c:v>
                </c:pt>
                <c:pt idx="1628">
                  <c:v>43563</c:v>
                </c:pt>
                <c:pt idx="1629">
                  <c:v>43560</c:v>
                </c:pt>
                <c:pt idx="1630">
                  <c:v>43559</c:v>
                </c:pt>
                <c:pt idx="1631">
                  <c:v>43558</c:v>
                </c:pt>
                <c:pt idx="1632">
                  <c:v>43557</c:v>
                </c:pt>
                <c:pt idx="1633">
                  <c:v>43556</c:v>
                </c:pt>
              </c:numCache>
            </c:numRef>
          </c:cat>
          <c:val>
            <c:numRef>
              <c:f>Sheet1!$B$2:$B$1635</c:f>
              <c:numCache>
                <c:formatCode>_ * #,##0_ ;_ * \-#,##0_ ;_ * "-"??_ ;_ @_ </c:formatCode>
                <c:ptCount val="1634"/>
                <c:pt idx="0">
                  <c:v>244.26394580123034</c:v>
                </c:pt>
                <c:pt idx="1">
                  <c:v>243.51561726512722</c:v>
                </c:pt>
                <c:pt idx="2">
                  <c:v>245.0972044560788</c:v>
                </c:pt>
                <c:pt idx="3">
                  <c:v>243.87847561869083</c:v>
                </c:pt>
                <c:pt idx="4">
                  <c:v>244.22046342902627</c:v>
                </c:pt>
                <c:pt idx="5">
                  <c:v>242.47478307703884</c:v>
                </c:pt>
                <c:pt idx="6">
                  <c:v>243.38340415589147</c:v>
                </c:pt>
                <c:pt idx="7">
                  <c:v>243.17079787255108</c:v>
                </c:pt>
                <c:pt idx="8">
                  <c:v>243.00872444150508</c:v>
                </c:pt>
                <c:pt idx="9">
                  <c:v>241.25829178365922</c:v>
                </c:pt>
                <c:pt idx="10">
                  <c:v>240.24391209818265</c:v>
                </c:pt>
                <c:pt idx="11">
                  <c:v>237.94389506908664</c:v>
                </c:pt>
                <c:pt idx="12">
                  <c:v>236.05004178068901</c:v>
                </c:pt>
                <c:pt idx="13">
                  <c:v>238.12066104574492</c:v>
                </c:pt>
                <c:pt idx="14">
                  <c:v>238.63458332178257</c:v>
                </c:pt>
                <c:pt idx="15">
                  <c:v>237.70083442570362</c:v>
                </c:pt>
                <c:pt idx="16">
                  <c:v>236.23890633601178</c:v>
                </c:pt>
                <c:pt idx="17">
                  <c:v>236.83294456831243</c:v>
                </c:pt>
                <c:pt idx="18">
                  <c:v>236.60241813163094</c:v>
                </c:pt>
                <c:pt idx="19">
                  <c:v>234.85521308151394</c:v>
                </c:pt>
                <c:pt idx="20">
                  <c:v>234.35160726944386</c:v>
                </c:pt>
                <c:pt idx="21">
                  <c:v>232.57650222368312</c:v>
                </c:pt>
                <c:pt idx="22">
                  <c:v>230.7854571520223</c:v>
                </c:pt>
                <c:pt idx="23">
                  <c:v>230.92073945879156</c:v>
                </c:pt>
                <c:pt idx="24">
                  <c:v>233.28334831629763</c:v>
                </c:pt>
                <c:pt idx="25">
                  <c:v>235.08817507494783</c:v>
                </c:pt>
                <c:pt idx="26">
                  <c:v>236.04990317176814</c:v>
                </c:pt>
                <c:pt idx="27">
                  <c:v>236.29537957062917</c:v>
                </c:pt>
                <c:pt idx="28">
                  <c:v>237.44729890815773</c:v>
                </c:pt>
                <c:pt idx="29">
                  <c:v>238.00420975093957</c:v>
                </c:pt>
                <c:pt idx="30">
                  <c:v>237.34928259982811</c:v>
                </c:pt>
                <c:pt idx="31">
                  <c:v>236.3616544360795</c:v>
                </c:pt>
                <c:pt idx="32">
                  <c:v>234.68492212158773</c:v>
                </c:pt>
                <c:pt idx="33">
                  <c:v>235.09358082286175</c:v>
                </c:pt>
                <c:pt idx="34">
                  <c:v>234.16858409007202</c:v>
                </c:pt>
                <c:pt idx="35">
                  <c:v>233.75077720002059</c:v>
                </c:pt>
                <c:pt idx="36">
                  <c:v>232.60145182943975</c:v>
                </c:pt>
                <c:pt idx="37">
                  <c:v>231.67419775136727</c:v>
                </c:pt>
                <c:pt idx="38">
                  <c:v>231.38921781005823</c:v>
                </c:pt>
                <c:pt idx="39">
                  <c:v>231.36157523098188</c:v>
                </c:pt>
                <c:pt idx="40">
                  <c:v>231.41886031785006</c:v>
                </c:pt>
                <c:pt idx="41">
                  <c:v>230.28852436942842</c:v>
                </c:pt>
                <c:pt idx="42">
                  <c:v>230.36806608873346</c:v>
                </c:pt>
                <c:pt idx="43">
                  <c:v>228.44328320970737</c:v>
                </c:pt>
                <c:pt idx="44">
                  <c:v>229.08531973117792</c:v>
                </c:pt>
                <c:pt idx="45">
                  <c:v>230.91279914775313</c:v>
                </c:pt>
                <c:pt idx="46">
                  <c:v>233.16618417561355</c:v>
                </c:pt>
                <c:pt idx="47">
                  <c:v>232.06174829412021</c:v>
                </c:pt>
                <c:pt idx="48">
                  <c:v>234.08692363440511</c:v>
                </c:pt>
                <c:pt idx="49">
                  <c:v>233.9298599257848</c:v>
                </c:pt>
                <c:pt idx="50">
                  <c:v>233.06024735751993</c:v>
                </c:pt>
                <c:pt idx="51">
                  <c:v>231.7949261214452</c:v>
                </c:pt>
                <c:pt idx="52">
                  <c:v>229.0594592667984</c:v>
                </c:pt>
                <c:pt idx="53">
                  <c:v>229.12618956156018</c:v>
                </c:pt>
                <c:pt idx="54">
                  <c:v>227.95001366287931</c:v>
                </c:pt>
                <c:pt idx="55">
                  <c:v>228.68254200840369</c:v>
                </c:pt>
                <c:pt idx="56">
                  <c:v>226.60732884768464</c:v>
                </c:pt>
                <c:pt idx="57">
                  <c:v>228.74570807377162</c:v>
                </c:pt>
                <c:pt idx="58">
                  <c:v>228.61456423335403</c:v>
                </c:pt>
                <c:pt idx="59">
                  <c:v>229.46498936671566</c:v>
                </c:pt>
                <c:pt idx="60">
                  <c:v>229.93566565944184</c:v>
                </c:pt>
                <c:pt idx="61">
                  <c:v>227.97763644068132</c:v>
                </c:pt>
                <c:pt idx="62">
                  <c:v>229.98253527597035</c:v>
                </c:pt>
                <c:pt idx="63">
                  <c:v>230.90976955276844</c:v>
                </c:pt>
                <c:pt idx="64">
                  <c:v>230.75555722766316</c:v>
                </c:pt>
                <c:pt idx="65">
                  <c:v>229.3753291961871</c:v>
                </c:pt>
                <c:pt idx="66">
                  <c:v>231.18948235508435</c:v>
                </c:pt>
                <c:pt idx="67">
                  <c:v>233.42936291379712</c:v>
                </c:pt>
                <c:pt idx="68">
                  <c:v>235.00982143210737</c:v>
                </c:pt>
                <c:pt idx="69">
                  <c:v>233.2967141765244</c:v>
                </c:pt>
                <c:pt idx="70">
                  <c:v>233.7792514326222</c:v>
                </c:pt>
                <c:pt idx="71">
                  <c:v>233.42312551235796</c:v>
                </c:pt>
                <c:pt idx="72">
                  <c:v>234.48621633288317</c:v>
                </c:pt>
                <c:pt idx="73">
                  <c:v>235.32755268129057</c:v>
                </c:pt>
                <c:pt idx="74">
                  <c:v>235.20383431877673</c:v>
                </c:pt>
                <c:pt idx="75">
                  <c:v>234.13068445085128</c:v>
                </c:pt>
                <c:pt idx="76">
                  <c:v>234.85192606996188</c:v>
                </c:pt>
                <c:pt idx="77">
                  <c:v>236.95933610287159</c:v>
                </c:pt>
                <c:pt idx="78">
                  <c:v>238.05161400187717</c:v>
                </c:pt>
                <c:pt idx="79">
                  <c:v>238.52943855466538</c:v>
                </c:pt>
                <c:pt idx="80">
                  <c:v>238.1625209398477</c:v>
                </c:pt>
                <c:pt idx="81">
                  <c:v>238.05236645030473</c:v>
                </c:pt>
                <c:pt idx="82">
                  <c:v>237.58006645307691</c:v>
                </c:pt>
                <c:pt idx="83">
                  <c:v>238.17105528911839</c:v>
                </c:pt>
                <c:pt idx="84">
                  <c:v>238.75180686628988</c:v>
                </c:pt>
                <c:pt idx="85">
                  <c:v>238.46605467527891</c:v>
                </c:pt>
                <c:pt idx="86">
                  <c:v>239.31414325826009</c:v>
                </c:pt>
                <c:pt idx="87">
                  <c:v>238.36023666483177</c:v>
                </c:pt>
                <c:pt idx="88">
                  <c:v>235.65249159435902</c:v>
                </c:pt>
                <c:pt idx="89">
                  <c:v>233.65317671845358</c:v>
                </c:pt>
                <c:pt idx="90">
                  <c:v>233.12691824845845</c:v>
                </c:pt>
                <c:pt idx="91">
                  <c:v>234.27032303799075</c:v>
                </c:pt>
                <c:pt idx="92">
                  <c:v>231.37775287217485</c:v>
                </c:pt>
                <c:pt idx="93">
                  <c:v>231.69833550487309</c:v>
                </c:pt>
                <c:pt idx="94">
                  <c:v>232.31205620393726</c:v>
                </c:pt>
                <c:pt idx="95">
                  <c:v>233.25728983917404</c:v>
                </c:pt>
                <c:pt idx="96">
                  <c:v>231.09740642907778</c:v>
                </c:pt>
                <c:pt idx="97">
                  <c:v>232.50492061669087</c:v>
                </c:pt>
                <c:pt idx="98">
                  <c:v>234.89632052718915</c:v>
                </c:pt>
                <c:pt idx="99">
                  <c:v>234.50467112063333</c:v>
                </c:pt>
                <c:pt idx="100">
                  <c:v>234.34519165653504</c:v>
                </c:pt>
                <c:pt idx="101">
                  <c:v>233.09444415842603</c:v>
                </c:pt>
                <c:pt idx="102">
                  <c:v>230.90212626084616</c:v>
                </c:pt>
                <c:pt idx="103">
                  <c:v>229.8411739779572</c:v>
                </c:pt>
                <c:pt idx="104">
                  <c:v>229.16492085430619</c:v>
                </c:pt>
                <c:pt idx="105">
                  <c:v>230.93915464399291</c:v>
                </c:pt>
                <c:pt idx="106">
                  <c:v>231.23910434875589</c:v>
                </c:pt>
                <c:pt idx="107">
                  <c:v>232.23530646432405</c:v>
                </c:pt>
                <c:pt idx="108">
                  <c:v>231.47642262255999</c:v>
                </c:pt>
                <c:pt idx="109">
                  <c:v>232.20683223172242</c:v>
                </c:pt>
                <c:pt idx="110">
                  <c:v>233.7843799626944</c:v>
                </c:pt>
                <c:pt idx="111">
                  <c:v>232.37205406539965</c:v>
                </c:pt>
                <c:pt idx="112">
                  <c:v>230.11488699412692</c:v>
                </c:pt>
                <c:pt idx="113">
                  <c:v>232.17065530337533</c:v>
                </c:pt>
                <c:pt idx="114">
                  <c:v>230.90097778693038</c:v>
                </c:pt>
                <c:pt idx="115">
                  <c:v>233.39690862503909</c:v>
                </c:pt>
                <c:pt idx="116">
                  <c:v>234.07193406967673</c:v>
                </c:pt>
                <c:pt idx="117">
                  <c:v>234.54910518040938</c:v>
                </c:pt>
                <c:pt idx="118">
                  <c:v>230.78884316994643</c:v>
                </c:pt>
                <c:pt idx="119">
                  <c:v>229.7486624239136</c:v>
                </c:pt>
                <c:pt idx="120">
                  <c:v>232.84136407019153</c:v>
                </c:pt>
                <c:pt idx="121">
                  <c:v>224.35976539450078</c:v>
                </c:pt>
                <c:pt idx="122">
                  <c:v>226.54087577076461</c:v>
                </c:pt>
                <c:pt idx="123">
                  <c:v>227.95615205794647</c:v>
                </c:pt>
                <c:pt idx="124">
                  <c:v>227.79744484355012</c:v>
                </c:pt>
                <c:pt idx="125">
                  <c:v>228.65105798209174</c:v>
                </c:pt>
                <c:pt idx="126">
                  <c:v>227.34066904545975</c:v>
                </c:pt>
                <c:pt idx="127">
                  <c:v>227.26528559378082</c:v>
                </c:pt>
                <c:pt idx="128">
                  <c:v>227.59858064465027</c:v>
                </c:pt>
                <c:pt idx="129">
                  <c:v>227.45741735938125</c:v>
                </c:pt>
                <c:pt idx="130">
                  <c:v>224.80681876685586</c:v>
                </c:pt>
                <c:pt idx="131">
                  <c:v>226.82233108522865</c:v>
                </c:pt>
                <c:pt idx="132">
                  <c:v>227.56780946421711</c:v>
                </c:pt>
                <c:pt idx="133">
                  <c:v>225.43483598604408</c:v>
                </c:pt>
                <c:pt idx="134">
                  <c:v>225.36458106443732</c:v>
                </c:pt>
                <c:pt idx="135">
                  <c:v>222.89136228807686</c:v>
                </c:pt>
                <c:pt idx="136">
                  <c:v>219.29992594323369</c:v>
                </c:pt>
                <c:pt idx="137">
                  <c:v>218.31303042663825</c:v>
                </c:pt>
                <c:pt idx="138">
                  <c:v>213.98015516278628</c:v>
                </c:pt>
                <c:pt idx="139">
                  <c:v>209.93655671679031</c:v>
                </c:pt>
                <c:pt idx="140">
                  <c:v>211.26904387566384</c:v>
                </c:pt>
                <c:pt idx="141">
                  <c:v>207.61412464506213</c:v>
                </c:pt>
                <c:pt idx="142">
                  <c:v>214.065379847847</c:v>
                </c:pt>
                <c:pt idx="143">
                  <c:v>218.02547631965595</c:v>
                </c:pt>
                <c:pt idx="144">
                  <c:v>218.96661109108982</c:v>
                </c:pt>
                <c:pt idx="145">
                  <c:v>217.69247828790262</c:v>
                </c:pt>
                <c:pt idx="146">
                  <c:v>220.59778067316412</c:v>
                </c:pt>
                <c:pt idx="147">
                  <c:v>220.24359527779208</c:v>
                </c:pt>
                <c:pt idx="148">
                  <c:v>219.20967173447283</c:v>
                </c:pt>
                <c:pt idx="149">
                  <c:v>220.81502045471649</c:v>
                </c:pt>
                <c:pt idx="150">
                  <c:v>220.83523755588911</c:v>
                </c:pt>
                <c:pt idx="151">
                  <c:v>217.92726199858222</c:v>
                </c:pt>
                <c:pt idx="152">
                  <c:v>216.35185280524655</c:v>
                </c:pt>
                <c:pt idx="153">
                  <c:v>213.56547687409159</c:v>
                </c:pt>
                <c:pt idx="154">
                  <c:v>212.92239088507739</c:v>
                </c:pt>
                <c:pt idx="155">
                  <c:v>210.1321933079613</c:v>
                </c:pt>
                <c:pt idx="156">
                  <c:v>209.21889912834791</c:v>
                </c:pt>
                <c:pt idx="157">
                  <c:v>209.98972313858121</c:v>
                </c:pt>
                <c:pt idx="158">
                  <c:v>210.5485547049808</c:v>
                </c:pt>
                <c:pt idx="159">
                  <c:v>210.0917195030672</c:v>
                </c:pt>
                <c:pt idx="160">
                  <c:v>211.08358513953957</c:v>
                </c:pt>
                <c:pt idx="161">
                  <c:v>210.80020910145777</c:v>
                </c:pt>
                <c:pt idx="162">
                  <c:v>208.50563742282455</c:v>
                </c:pt>
                <c:pt idx="163">
                  <c:v>205.76345793615278</c:v>
                </c:pt>
                <c:pt idx="164">
                  <c:v>206.18926454106585</c:v>
                </c:pt>
                <c:pt idx="165">
                  <c:v>206.11213857723882</c:v>
                </c:pt>
                <c:pt idx="166">
                  <c:v>210.75072571670711</c:v>
                </c:pt>
                <c:pt idx="167">
                  <c:v>210.88986927198636</c:v>
                </c:pt>
                <c:pt idx="168">
                  <c:v>211.09182246969414</c:v>
                </c:pt>
                <c:pt idx="169">
                  <c:v>213.58264457900509</c:v>
                </c:pt>
                <c:pt idx="170">
                  <c:v>214.69989188504169</c:v>
                </c:pt>
                <c:pt idx="171">
                  <c:v>214.56338189925904</c:v>
                </c:pt>
                <c:pt idx="172">
                  <c:v>215.12575789377806</c:v>
                </c:pt>
                <c:pt idx="173">
                  <c:v>215.29436574537937</c:v>
                </c:pt>
                <c:pt idx="174">
                  <c:v>214.86800470478281</c:v>
                </c:pt>
                <c:pt idx="175">
                  <c:v>216.01849835055384</c:v>
                </c:pt>
                <c:pt idx="176">
                  <c:v>216.09899053103055</c:v>
                </c:pt>
                <c:pt idx="177">
                  <c:v>216.37834691040717</c:v>
                </c:pt>
                <c:pt idx="178">
                  <c:v>219.39552649608527</c:v>
                </c:pt>
                <c:pt idx="179">
                  <c:v>221.49196662297186</c:v>
                </c:pt>
                <c:pt idx="180">
                  <c:v>221.80613364276124</c:v>
                </c:pt>
                <c:pt idx="181">
                  <c:v>222.93324198345402</c:v>
                </c:pt>
                <c:pt idx="182">
                  <c:v>223.44102586442466</c:v>
                </c:pt>
                <c:pt idx="183">
                  <c:v>220.15310345373828</c:v>
                </c:pt>
                <c:pt idx="184">
                  <c:v>#N/A</c:v>
                </c:pt>
                <c:pt idx="185">
                  <c:v>221.46331417890056</c:v>
                </c:pt>
                <c:pt idx="186">
                  <c:v>218.9748880237932</c:v>
                </c:pt>
                <c:pt idx="187">
                  <c:v>218.12040362917759</c:v>
                </c:pt>
                <c:pt idx="188">
                  <c:v>215.47681468779331</c:v>
                </c:pt>
                <c:pt idx="189">
                  <c:v>214.84404516274668</c:v>
                </c:pt>
                <c:pt idx="190">
                  <c:v>217.71625961846905</c:v>
                </c:pt>
                <c:pt idx="191">
                  <c:v>218.74451999730704</c:v>
                </c:pt>
                <c:pt idx="192">
                  <c:v>218.22808295941928</c:v>
                </c:pt>
                <c:pt idx="193">
                  <c:v>216.946366268133</c:v>
                </c:pt>
                <c:pt idx="194">
                  <c:v>219.92045828069493</c:v>
                </c:pt>
                <c:pt idx="195">
                  <c:v>218.62074223096997</c:v>
                </c:pt>
                <c:pt idx="196">
                  <c:v>219.07036976899832</c:v>
                </c:pt>
                <c:pt idx="197">
                  <c:v>218.17095628274635</c:v>
                </c:pt>
                <c:pt idx="198">
                  <c:v>217.70740844880777</c:v>
                </c:pt>
                <c:pt idx="199">
                  <c:v>217.00214645814606</c:v>
                </c:pt>
                <c:pt idx="200">
                  <c:v>220.26157483495638</c:v>
                </c:pt>
                <c:pt idx="201">
                  <c:v>220.66316448126599</c:v>
                </c:pt>
                <c:pt idx="202">
                  <c:v>222.22190100154845</c:v>
                </c:pt>
                <c:pt idx="203">
                  <c:v>221.90987251939535</c:v>
                </c:pt>
                <c:pt idx="204">
                  <c:v>221.12918747450587</c:v>
                </c:pt>
                <c:pt idx="205">
                  <c:v>225.11340189854621</c:v>
                </c:pt>
                <c:pt idx="206">
                  <c:v>226.38450510674866</c:v>
                </c:pt>
                <c:pt idx="207">
                  <c:v>221.9352775544634</c:v>
                </c:pt>
                <c:pt idx="208">
                  <c:v>221.09057498940632</c:v>
                </c:pt>
                <c:pt idx="209">
                  <c:v>221.09768364691953</c:v>
                </c:pt>
                <c:pt idx="210">
                  <c:v>222.36930168825663</c:v>
                </c:pt>
                <c:pt idx="211">
                  <c:v>221.96587052342687</c:v>
                </c:pt>
                <c:pt idx="212">
                  <c:v>221.58192381261657</c:v>
                </c:pt>
                <c:pt idx="213">
                  <c:v>221.82641014775712</c:v>
                </c:pt>
                <c:pt idx="214">
                  <c:v>220.52410013108442</c:v>
                </c:pt>
                <c:pt idx="215">
                  <c:v>224.15008969977305</c:v>
                </c:pt>
                <c:pt idx="216">
                  <c:v>226.40222724734565</c:v>
                </c:pt>
                <c:pt idx="217">
                  <c:v>227.48462431042063</c:v>
                </c:pt>
                <c:pt idx="218">
                  <c:v>230.67183743945759</c:v>
                </c:pt>
                <c:pt idx="219">
                  <c:v>231.81726195897969</c:v>
                </c:pt>
                <c:pt idx="220">
                  <c:v>229.69610984162944</c:v>
                </c:pt>
                <c:pt idx="221">
                  <c:v>230.55841573963701</c:v>
                </c:pt>
                <c:pt idx="222">
                  <c:v>230.24628825111188</c:v>
                </c:pt>
                <c:pt idx="223">
                  <c:v>230.47855719994141</c:v>
                </c:pt>
                <c:pt idx="224">
                  <c:v>231.15086986998486</c:v>
                </c:pt>
                <c:pt idx="225">
                  <c:v>231.50277811879971</c:v>
                </c:pt>
                <c:pt idx="226">
                  <c:v>229.13779310836446</c:v>
                </c:pt>
                <c:pt idx="227">
                  <c:v>229.29050053661456</c:v>
                </c:pt>
                <c:pt idx="228">
                  <c:v>227.57273998154523</c:v>
                </c:pt>
                <c:pt idx="229">
                  <c:v>226.13698917662339</c:v>
                </c:pt>
                <c:pt idx="230">
                  <c:v>223.92659271550718</c:v>
                </c:pt>
                <c:pt idx="231">
                  <c:v>227.30118530428621</c:v>
                </c:pt>
                <c:pt idx="232">
                  <c:v>226.44541382683389</c:v>
                </c:pt>
                <c:pt idx="233">
                  <c:v>226.88480410599229</c:v>
                </c:pt>
                <c:pt idx="234">
                  <c:v>224.06017211267718</c:v>
                </c:pt>
                <c:pt idx="235">
                  <c:v>218.41801678356018</c:v>
                </c:pt>
                <c:pt idx="236">
                  <c:v>220.87438467539772</c:v>
                </c:pt>
                <c:pt idx="237">
                  <c:v>220.63991778510865</c:v>
                </c:pt>
                <c:pt idx="238">
                  <c:v>221.62051649644172</c:v>
                </c:pt>
                <c:pt idx="239">
                  <c:v>222.06519371586757</c:v>
                </c:pt>
                <c:pt idx="240">
                  <c:v>225.00407906252846</c:v>
                </c:pt>
                <c:pt idx="241">
                  <c:v>227.34035222506921</c:v>
                </c:pt>
                <c:pt idx="242">
                  <c:v>227.64986594537226</c:v>
                </c:pt>
                <c:pt idx="243">
                  <c:v>228.24845847078717</c:v>
                </c:pt>
                <c:pt idx="244">
                  <c:v>230.84214820065819</c:v>
                </c:pt>
                <c:pt idx="245">
                  <c:v>227.7723170263238</c:v>
                </c:pt>
                <c:pt idx="246">
                  <c:v>226.07582303997086</c:v>
                </c:pt>
                <c:pt idx="247">
                  <c:v>229.13153590565091</c:v>
                </c:pt>
                <c:pt idx="248">
                  <c:v>228.1307002918708</c:v>
                </c:pt>
                <c:pt idx="249">
                  <c:v>229.83634246700117</c:v>
                </c:pt>
                <c:pt idx="250">
                  <c:v>230.52200119599698</c:v>
                </c:pt>
                <c:pt idx="251">
                  <c:v>229.54866955237239</c:v>
                </c:pt>
                <c:pt idx="252">
                  <c:v>227.90401530242485</c:v>
                </c:pt>
                <c:pt idx="253">
                  <c:v>230.13623276794095</c:v>
                </c:pt>
                <c:pt idx="254">
                  <c:v>230.72017235029247</c:v>
                </c:pt>
                <c:pt idx="255">
                  <c:v>230.93986748987163</c:v>
                </c:pt>
                <c:pt idx="256">
                  <c:v>234.21808727609709</c:v>
                </c:pt>
                <c:pt idx="257">
                  <c:v>235.34834401942112</c:v>
                </c:pt>
                <c:pt idx="258">
                  <c:v>234.45544515245001</c:v>
                </c:pt>
                <c:pt idx="259">
                  <c:v>236.70593919424653</c:v>
                </c:pt>
                <c:pt idx="260">
                  <c:v>237.38920196903871</c:v>
                </c:pt>
                <c:pt idx="261">
                  <c:v>238.33215845771835</c:v>
                </c:pt>
                <c:pt idx="262">
                  <c:v>237.3091850191478</c:v>
                </c:pt>
                <c:pt idx="263">
                  <c:v>237.52509811531471</c:v>
                </c:pt>
                <c:pt idx="264">
                  <c:v>237.56557192020878</c:v>
                </c:pt>
                <c:pt idx="265">
                  <c:v>237.7633866515649</c:v>
                </c:pt>
                <c:pt idx="266">
                  <c:v>235.90309652329222</c:v>
                </c:pt>
                <c:pt idx="267">
                  <c:v>238.0042691547628</c:v>
                </c:pt>
                <c:pt idx="268">
                  <c:v>240.10183795429074</c:v>
                </c:pt>
                <c:pt idx="269">
                  <c:v>245.18058762261941</c:v>
                </c:pt>
                <c:pt idx="270">
                  <c:v>245.34618568051042</c:v>
                </c:pt>
                <c:pt idx="271">
                  <c:v>246.57091430404461</c:v>
                </c:pt>
                <c:pt idx="272">
                  <c:v>246.36963434966677</c:v>
                </c:pt>
                <c:pt idx="273">
                  <c:v>244.18076187383423</c:v>
                </c:pt>
                <c:pt idx="274">
                  <c:v>243.73701531430564</c:v>
                </c:pt>
                <c:pt idx="275">
                  <c:v>243.74760899611499</c:v>
                </c:pt>
                <c:pt idx="276">
                  <c:v>242.14705218427858</c:v>
                </c:pt>
                <c:pt idx="277">
                  <c:v>239.0354997247623</c:v>
                </c:pt>
                <c:pt idx="278">
                  <c:v>238.91243480430398</c:v>
                </c:pt>
                <c:pt idx="279">
                  <c:v>239.97025848583613</c:v>
                </c:pt>
                <c:pt idx="280">
                  <c:v>239.70018890415784</c:v>
                </c:pt>
                <c:pt idx="281">
                  <c:v>239.80111599982575</c:v>
                </c:pt>
                <c:pt idx="282">
                  <c:v>240.06457195585108</c:v>
                </c:pt>
                <c:pt idx="283">
                  <c:v>235.57815761022377</c:v>
                </c:pt>
                <c:pt idx="284">
                  <c:v>236.82951894783949</c:v>
                </c:pt>
                <c:pt idx="285">
                  <c:v>235.27630698311742</c:v>
                </c:pt>
                <c:pt idx="286">
                  <c:v>234.86733146145284</c:v>
                </c:pt>
                <c:pt idx="287">
                  <c:v>237.45418975165239</c:v>
                </c:pt>
                <c:pt idx="288">
                  <c:v>238.07668241528023</c:v>
                </c:pt>
                <c:pt idx="289">
                  <c:v>238.82736852943856</c:v>
                </c:pt>
                <c:pt idx="290">
                  <c:v>239.02973755390894</c:v>
                </c:pt>
                <c:pt idx="291">
                  <c:v>238.55771477452291</c:v>
                </c:pt>
                <c:pt idx="292">
                  <c:v>237.63612386093169</c:v>
                </c:pt>
                <c:pt idx="293">
                  <c:v>236.46371020438878</c:v>
                </c:pt>
                <c:pt idx="294">
                  <c:v>236.09514908379504</c:v>
                </c:pt>
                <c:pt idx="295">
                  <c:v>236.26288567932235</c:v>
                </c:pt>
                <c:pt idx="296">
                  <c:v>234.4684743910118</c:v>
                </c:pt>
                <c:pt idx="297">
                  <c:v>234.40162528860355</c:v>
                </c:pt>
                <c:pt idx="298">
                  <c:v>234.29711416226749</c:v>
                </c:pt>
                <c:pt idx="299">
                  <c:v>233.37819642072165</c:v>
                </c:pt>
                <c:pt idx="300">
                  <c:v>232.19958496528838</c:v>
                </c:pt>
                <c:pt idx="301">
                  <c:v>231.51996562498763</c:v>
                </c:pt>
                <c:pt idx="302">
                  <c:v>227.75162469456535</c:v>
                </c:pt>
                <c:pt idx="303">
                  <c:v>227.67103350771657</c:v>
                </c:pt>
                <c:pt idx="304">
                  <c:v>229.31913317941141</c:v>
                </c:pt>
                <c:pt idx="305">
                  <c:v>229.84850044948894</c:v>
                </c:pt>
                <c:pt idx="306">
                  <c:v>227.37316293676662</c:v>
                </c:pt>
                <c:pt idx="307">
                  <c:v>229.35960698430554</c:v>
                </c:pt>
                <c:pt idx="308">
                  <c:v>226.29690426875874</c:v>
                </c:pt>
                <c:pt idx="309">
                  <c:v>226.73047297324052</c:v>
                </c:pt>
                <c:pt idx="310">
                  <c:v>233.12234415406974</c:v>
                </c:pt>
                <c:pt idx="311">
                  <c:v>236.37565393708738</c:v>
                </c:pt>
                <c:pt idx="312">
                  <c:v>235.57306868270041</c:v>
                </c:pt>
                <c:pt idx="313">
                  <c:v>234.50556217798177</c:v>
                </c:pt>
                <c:pt idx="314">
                  <c:v>234.33253864218702</c:v>
                </c:pt>
                <c:pt idx="315">
                  <c:v>234.2042857878333</c:v>
                </c:pt>
                <c:pt idx="316">
                  <c:v>229.95065522417022</c:v>
                </c:pt>
                <c:pt idx="317">
                  <c:v>229.66957613391997</c:v>
                </c:pt>
                <c:pt idx="318">
                  <c:v>230.16274667437594</c:v>
                </c:pt>
                <c:pt idx="319">
                  <c:v>230.24731791738117</c:v>
                </c:pt>
                <c:pt idx="320">
                  <c:v>230.93764974713773</c:v>
                </c:pt>
                <c:pt idx="321">
                  <c:v>233.96720512932214</c:v>
                </c:pt>
                <c:pt idx="322">
                  <c:v>231.88620999647534</c:v>
                </c:pt>
                <c:pt idx="323">
                  <c:v>231.55705341195758</c:v>
                </c:pt>
                <c:pt idx="324">
                  <c:v>230.53738678621357</c:v>
                </c:pt>
                <c:pt idx="325">
                  <c:v>228.27113092998667</c:v>
                </c:pt>
                <c:pt idx="326">
                  <c:v>228.27287344213474</c:v>
                </c:pt>
                <c:pt idx="327">
                  <c:v>229.18153412353618</c:v>
                </c:pt>
                <c:pt idx="328">
                  <c:v>228.22378608287229</c:v>
                </c:pt>
                <c:pt idx="329">
                  <c:v>228.25631957672795</c:v>
                </c:pt>
                <c:pt idx="330">
                  <c:v>227.31112554404001</c:v>
                </c:pt>
                <c:pt idx="331">
                  <c:v>227.06343140244508</c:v>
                </c:pt>
                <c:pt idx="332">
                  <c:v>225.97111390089063</c:v>
                </c:pt>
                <c:pt idx="333">
                  <c:v>226.2685884463524</c:v>
                </c:pt>
                <c:pt idx="334">
                  <c:v>225.04714683437027</c:v>
                </c:pt>
                <c:pt idx="335">
                  <c:v>224.96382307165291</c:v>
                </c:pt>
                <c:pt idx="336">
                  <c:v>222.99589321568737</c:v>
                </c:pt>
                <c:pt idx="337">
                  <c:v>221.42040481725402</c:v>
                </c:pt>
                <c:pt idx="338">
                  <c:v>220.34739355824939</c:v>
                </c:pt>
                <c:pt idx="339">
                  <c:v>220.13251012835187</c:v>
                </c:pt>
                <c:pt idx="340">
                  <c:v>220.85981093743192</c:v>
                </c:pt>
                <c:pt idx="341">
                  <c:v>220.59613716738809</c:v>
                </c:pt>
                <c:pt idx="342">
                  <c:v>221.83478608683257</c:v>
                </c:pt>
                <c:pt idx="343">
                  <c:v>221.1243361622754</c:v>
                </c:pt>
                <c:pt idx="344">
                  <c:v>220.66072892451359</c:v>
                </c:pt>
                <c:pt idx="345">
                  <c:v>219.8721431711345</c:v>
                </c:pt>
                <c:pt idx="346">
                  <c:v>219.28949067161963</c:v>
                </c:pt>
                <c:pt idx="347">
                  <c:v>219.12015017286515</c:v>
                </c:pt>
                <c:pt idx="348">
                  <c:v>219.33679591618517</c:v>
                </c:pt>
                <c:pt idx="349">
                  <c:v>214.73264319291593</c:v>
                </c:pt>
                <c:pt idx="350">
                  <c:v>212.55693856456602</c:v>
                </c:pt>
                <c:pt idx="351">
                  <c:v>205.95133242775506</c:v>
                </c:pt>
                <c:pt idx="352">
                  <c:v>218.9689080389214</c:v>
                </c:pt>
                <c:pt idx="353">
                  <c:v>211.98846377752872</c:v>
                </c:pt>
                <c:pt idx="354">
                  <c:v>211.68397958092581</c:v>
                </c:pt>
                <c:pt idx="355">
                  <c:v>214.253868178956</c:v>
                </c:pt>
                <c:pt idx="356">
                  <c:v>215.71914268402313</c:v>
                </c:pt>
                <c:pt idx="357">
                  <c:v>216.24789611459394</c:v>
                </c:pt>
                <c:pt idx="358">
                  <c:v>216.76215501229657</c:v>
                </c:pt>
                <c:pt idx="359">
                  <c:v>217.14976495887277</c:v>
                </c:pt>
                <c:pt idx="360">
                  <c:v>213.7614302856532</c:v>
                </c:pt>
                <c:pt idx="361">
                  <c:v>212.97549790304501</c:v>
                </c:pt>
                <c:pt idx="362">
                  <c:v>#N/A</c:v>
                </c:pt>
                <c:pt idx="363">
                  <c:v>212.07255978994809</c:v>
                </c:pt>
                <c:pt idx="364">
                  <c:v>211.72578007120541</c:v>
                </c:pt>
                <c:pt idx="365">
                  <c:v>210.04583995025919</c:v>
                </c:pt>
                <c:pt idx="366">
                  <c:v>210.12900530278128</c:v>
                </c:pt>
                <c:pt idx="367">
                  <c:v>208.93948334514812</c:v>
                </c:pt>
                <c:pt idx="368">
                  <c:v>208.57573393423601</c:v>
                </c:pt>
                <c:pt idx="369">
                  <c:v>207.4382101232035</c:v>
                </c:pt>
                <c:pt idx="370">
                  <c:v>210.58510785754171</c:v>
                </c:pt>
                <c:pt idx="371">
                  <c:v>210.30454360042614</c:v>
                </c:pt>
                <c:pt idx="372">
                  <c:v>211.33335841494758</c:v>
                </c:pt>
                <c:pt idx="373">
                  <c:v>211.87446784075021</c:v>
                </c:pt>
                <c:pt idx="374">
                  <c:v>213.51526084218779</c:v>
                </c:pt>
                <c:pt idx="375">
                  <c:v>212.9377170714707</c:v>
                </c:pt>
                <c:pt idx="376">
                  <c:v>213.25532951300747</c:v>
                </c:pt>
                <c:pt idx="377">
                  <c:v>211.64491166651484</c:v>
                </c:pt>
                <c:pt idx="378">
                  <c:v>213.20877671686952</c:v>
                </c:pt>
                <c:pt idx="379">
                  <c:v>211.53972729684884</c:v>
                </c:pt>
                <c:pt idx="380">
                  <c:v>211.41818707452012</c:v>
                </c:pt>
                <c:pt idx="381">
                  <c:v>211.02382489337015</c:v>
                </c:pt>
                <c:pt idx="382">
                  <c:v>209.12884293233111</c:v>
                </c:pt>
                <c:pt idx="383">
                  <c:v>208.00929867846295</c:v>
                </c:pt>
                <c:pt idx="384">
                  <c:v>209.42423834397979</c:v>
                </c:pt>
                <c:pt idx="385">
                  <c:v>210.64397704636269</c:v>
                </c:pt>
                <c:pt idx="386">
                  <c:v>212.71225976103821</c:v>
                </c:pt>
                <c:pt idx="387">
                  <c:v>214.81937277483181</c:v>
                </c:pt>
                <c:pt idx="388">
                  <c:v>213.51143919622669</c:v>
                </c:pt>
                <c:pt idx="389">
                  <c:v>214.07743882396269</c:v>
                </c:pt>
                <c:pt idx="390">
                  <c:v>212.71455670886979</c:v>
                </c:pt>
                <c:pt idx="391">
                  <c:v>212.9976951316587</c:v>
                </c:pt>
                <c:pt idx="392">
                  <c:v>212.57588838417641</c:v>
                </c:pt>
                <c:pt idx="393">
                  <c:v>212.67984507482902</c:v>
                </c:pt>
                <c:pt idx="394">
                  <c:v>212.62513415363412</c:v>
                </c:pt>
                <c:pt idx="395">
                  <c:v>211.38880198329565</c:v>
                </c:pt>
                <c:pt idx="396">
                  <c:v>208.66553271368545</c:v>
                </c:pt>
                <c:pt idx="397">
                  <c:v>207.71901199561205</c:v>
                </c:pt>
                <c:pt idx="398">
                  <c:v>208.51953791746038</c:v>
                </c:pt>
                <c:pt idx="399">
                  <c:v>207.77312887857465</c:v>
                </c:pt>
                <c:pt idx="400">
                  <c:v>206.15421628536015</c:v>
                </c:pt>
                <c:pt idx="401">
                  <c:v>205.6860943570328</c:v>
                </c:pt>
                <c:pt idx="402">
                  <c:v>208.37968151630238</c:v>
                </c:pt>
                <c:pt idx="403">
                  <c:v>208.15089759176902</c:v>
                </c:pt>
                <c:pt idx="404">
                  <c:v>209.13533775033758</c:v>
                </c:pt>
                <c:pt idx="405">
                  <c:v>207.29090844286739</c:v>
                </c:pt>
                <c:pt idx="406">
                  <c:v>211.31046814172961</c:v>
                </c:pt>
                <c:pt idx="407">
                  <c:v>211.48873901524303</c:v>
                </c:pt>
                <c:pt idx="408">
                  <c:v>212.78063356157602</c:v>
                </c:pt>
                <c:pt idx="409">
                  <c:v>212.43613098939048</c:v>
                </c:pt>
                <c:pt idx="410">
                  <c:v>211.49749117853224</c:v>
                </c:pt>
                <c:pt idx="411">
                  <c:v>212.05036256133445</c:v>
                </c:pt>
                <c:pt idx="412">
                  <c:v>#N/A</c:v>
                </c:pt>
                <c:pt idx="413">
                  <c:v>211.34191256549272</c:v>
                </c:pt>
                <c:pt idx="414">
                  <c:v>208.36255341393772</c:v>
                </c:pt>
                <c:pt idx="415">
                  <c:v>208.04272322966705</c:v>
                </c:pt>
                <c:pt idx="416">
                  <c:v>210.43265784585893</c:v>
                </c:pt>
                <c:pt idx="417">
                  <c:v>209.57948033535439</c:v>
                </c:pt>
                <c:pt idx="418">
                  <c:v>210.51267479574983</c:v>
                </c:pt>
                <c:pt idx="419">
                  <c:v>210.61732453100683</c:v>
                </c:pt>
                <c:pt idx="420">
                  <c:v>208.81839855213082</c:v>
                </c:pt>
                <c:pt idx="421">
                  <c:v>210.19232977834452</c:v>
                </c:pt>
                <c:pt idx="422">
                  <c:v>210.01766273677376</c:v>
                </c:pt>
                <c:pt idx="423">
                  <c:v>209.28091671980008</c:v>
                </c:pt>
                <c:pt idx="424">
                  <c:v>208.07353401264908</c:v>
                </c:pt>
                <c:pt idx="425">
                  <c:v>207.6355892265226</c:v>
                </c:pt>
                <c:pt idx="426">
                  <c:v>206.52376746967437</c:v>
                </c:pt>
                <c:pt idx="427">
                  <c:v>205.37311541370804</c:v>
                </c:pt>
                <c:pt idx="428">
                  <c:v>206.9022886312963</c:v>
                </c:pt>
                <c:pt idx="429">
                  <c:v>206.31623031258292</c:v>
                </c:pt>
                <c:pt idx="430">
                  <c:v>207.56753224637538</c:v>
                </c:pt>
                <c:pt idx="431">
                  <c:v>207.32001631625013</c:v>
                </c:pt>
                <c:pt idx="432">
                  <c:v>205.29890023721927</c:v>
                </c:pt>
                <c:pt idx="433">
                  <c:v>206.07156576597271</c:v>
                </c:pt>
                <c:pt idx="434">
                  <c:v>203.91651386683245</c:v>
                </c:pt>
                <c:pt idx="435">
                  <c:v>204.13050623938159</c:v>
                </c:pt>
                <c:pt idx="436">
                  <c:v>202.02283878990451</c:v>
                </c:pt>
                <c:pt idx="437">
                  <c:v>204.07448843407562</c:v>
                </c:pt>
                <c:pt idx="438">
                  <c:v>200.12423319564849</c:v>
                </c:pt>
                <c:pt idx="439">
                  <c:v>201.01158770578476</c:v>
                </c:pt>
                <c:pt idx="440">
                  <c:v>198.81776491134971</c:v>
                </c:pt>
                <c:pt idx="441">
                  <c:v>#N/A</c:v>
                </c:pt>
                <c:pt idx="442">
                  <c:v>202.79247472367322</c:v>
                </c:pt>
                <c:pt idx="443">
                  <c:v>201.14578094246144</c:v>
                </c:pt>
                <c:pt idx="444">
                  <c:v>202.10758824437943</c:v>
                </c:pt>
                <c:pt idx="445">
                  <c:v>205.25365432519237</c:v>
                </c:pt>
                <c:pt idx="446">
                  <c:v>206.12611827697231</c:v>
                </c:pt>
                <c:pt idx="447">
                  <c:v>204.26339259194722</c:v>
                </c:pt>
                <c:pt idx="448">
                  <c:v>201.79563896732392</c:v>
                </c:pt>
                <c:pt idx="449">
                  <c:v>201.38003001873201</c:v>
                </c:pt>
                <c:pt idx="450">
                  <c:v>200.6431651941119</c:v>
                </c:pt>
                <c:pt idx="451">
                  <c:v>200.17367697785028</c:v>
                </c:pt>
                <c:pt idx="452">
                  <c:v>201.94125753933525</c:v>
                </c:pt>
                <c:pt idx="453">
                  <c:v>201.3061118613594</c:v>
                </c:pt>
                <c:pt idx="454">
                  <c:v>200.19793353900255</c:v>
                </c:pt>
                <c:pt idx="455">
                  <c:v>201.60582395082946</c:v>
                </c:pt>
                <c:pt idx="456">
                  <c:v>202.21417850452858</c:v>
                </c:pt>
                <c:pt idx="457">
                  <c:v>201.95616789896599</c:v>
                </c:pt>
                <c:pt idx="458">
                  <c:v>202.26817657984469</c:v>
                </c:pt>
                <c:pt idx="459">
                  <c:v>201.08726817657984</c:v>
                </c:pt>
                <c:pt idx="460">
                  <c:v>199.24329429842103</c:v>
                </c:pt>
                <c:pt idx="461">
                  <c:v>198.42700656214234</c:v>
                </c:pt>
                <c:pt idx="462">
                  <c:v>197.0239674625459</c:v>
                </c:pt>
                <c:pt idx="463">
                  <c:v>196.16673069078726</c:v>
                </c:pt>
                <c:pt idx="464">
                  <c:v>199.29553006031469</c:v>
                </c:pt>
                <c:pt idx="465">
                  <c:v>198.96160136866411</c:v>
                </c:pt>
                <c:pt idx="466">
                  <c:v>199.06947871164988</c:v>
                </c:pt>
                <c:pt idx="467">
                  <c:v>196.11241579508055</c:v>
                </c:pt>
                <c:pt idx="468">
                  <c:v>193.82410131916089</c:v>
                </c:pt>
                <c:pt idx="469">
                  <c:v>193.71814469979287</c:v>
                </c:pt>
                <c:pt idx="470">
                  <c:v>194.40794189514037</c:v>
                </c:pt>
                <c:pt idx="471">
                  <c:v>194.02458922256235</c:v>
                </c:pt>
                <c:pt idx="472">
                  <c:v>193.68652206456008</c:v>
                </c:pt>
                <c:pt idx="473">
                  <c:v>193.95645303731749</c:v>
                </c:pt>
                <c:pt idx="474">
                  <c:v>193.0779496968425</c:v>
                </c:pt>
                <c:pt idx="475">
                  <c:v>191.30508219509008</c:v>
                </c:pt>
                <c:pt idx="476">
                  <c:v>187.9034608667414</c:v>
                </c:pt>
                <c:pt idx="477">
                  <c:v>186.71055289118408</c:v>
                </c:pt>
                <c:pt idx="478">
                  <c:v>186.33601178571851</c:v>
                </c:pt>
                <c:pt idx="479">
                  <c:v>184.74450415628749</c:v>
                </c:pt>
                <c:pt idx="480">
                  <c:v>183.47514346023311</c:v>
                </c:pt>
                <c:pt idx="481">
                  <c:v>183.80584454415487</c:v>
                </c:pt>
                <c:pt idx="482">
                  <c:v>183.94102784455208</c:v>
                </c:pt>
                <c:pt idx="483">
                  <c:v>183.5980697717705</c:v>
                </c:pt>
                <c:pt idx="484">
                  <c:v>182.99581401058973</c:v>
                </c:pt>
                <c:pt idx="485">
                  <c:v>183.32249543580625</c:v>
                </c:pt>
                <c:pt idx="486">
                  <c:v>183.53199291906429</c:v>
                </c:pt>
                <c:pt idx="487">
                  <c:v>182.42345817376807</c:v>
                </c:pt>
                <c:pt idx="488">
                  <c:v>180.14349983564941</c:v>
                </c:pt>
                <c:pt idx="489">
                  <c:v>#N/A</c:v>
                </c:pt>
                <c:pt idx="490">
                  <c:v>179.89651853993323</c:v>
                </c:pt>
                <c:pt idx="491">
                  <c:v>179.64137911916012</c:v>
                </c:pt>
                <c:pt idx="492">
                  <c:v>180.26785183894435</c:v>
                </c:pt>
                <c:pt idx="493">
                  <c:v>179.75264248007002</c:v>
                </c:pt>
                <c:pt idx="494">
                  <c:v>179.80996716948704</c:v>
                </c:pt>
                <c:pt idx="495">
                  <c:v>178.22855819000512</c:v>
                </c:pt>
                <c:pt idx="496">
                  <c:v>177.42771544776622</c:v>
                </c:pt>
                <c:pt idx="497">
                  <c:v>176.07156576597271</c:v>
                </c:pt>
                <c:pt idx="498">
                  <c:v>177.01101742908173</c:v>
                </c:pt>
                <c:pt idx="499">
                  <c:v>177.44694248521836</c:v>
                </c:pt>
                <c:pt idx="500">
                  <c:v>176.5718647652163</c:v>
                </c:pt>
                <c:pt idx="501">
                  <c:v>174.71543588545359</c:v>
                </c:pt>
                <c:pt idx="502">
                  <c:v>177.26215699242402</c:v>
                </c:pt>
                <c:pt idx="503">
                  <c:v>178.54870519466633</c:v>
                </c:pt>
                <c:pt idx="504">
                  <c:v>181.18435382501218</c:v>
                </c:pt>
                <c:pt idx="505">
                  <c:v>181.91379317172854</c:v>
                </c:pt>
                <c:pt idx="506">
                  <c:v>182.2694438614069</c:v>
                </c:pt>
                <c:pt idx="507">
                  <c:v>183.47249008946216</c:v>
                </c:pt>
                <c:pt idx="508">
                  <c:v>182.79366280013784</c:v>
                </c:pt>
                <c:pt idx="509">
                  <c:v>183.10250327711091</c:v>
                </c:pt>
                <c:pt idx="510">
                  <c:v>183.17626302428823</c:v>
                </c:pt>
                <c:pt idx="511">
                  <c:v>183.47864828580367</c:v>
                </c:pt>
                <c:pt idx="512">
                  <c:v>182.4472395043345</c:v>
                </c:pt>
                <c:pt idx="513">
                  <c:v>180.85014791551984</c:v>
                </c:pt>
                <c:pt idx="514">
                  <c:v>182.02862076203223</c:v>
                </c:pt>
                <c:pt idx="515">
                  <c:v>180.91172987893501</c:v>
                </c:pt>
                <c:pt idx="516">
                  <c:v>179.96408048822022</c:v>
                </c:pt>
                <c:pt idx="517">
                  <c:v>180.76674494770484</c:v>
                </c:pt>
                <c:pt idx="518">
                  <c:v>181.70294920181064</c:v>
                </c:pt>
                <c:pt idx="519">
                  <c:v>180.71039052073391</c:v>
                </c:pt>
                <c:pt idx="520">
                  <c:v>182.73507082915856</c:v>
                </c:pt>
                <c:pt idx="521">
                  <c:v>182.16374465860622</c:v>
                </c:pt>
                <c:pt idx="522">
                  <c:v>182.1394088923563</c:v>
                </c:pt>
                <c:pt idx="523">
                  <c:v>182.11798391344468</c:v>
                </c:pt>
                <c:pt idx="524">
                  <c:v>182.543077672479</c:v>
                </c:pt>
                <c:pt idx="525">
                  <c:v>183.88249527739606</c:v>
                </c:pt>
                <c:pt idx="526">
                  <c:v>185.70336106831834</c:v>
                </c:pt>
                <c:pt idx="527">
                  <c:v>185.94972852452784</c:v>
                </c:pt>
                <c:pt idx="528">
                  <c:v>185.14706406504322</c:v>
                </c:pt>
                <c:pt idx="529">
                  <c:v>184.85347056936584</c:v>
                </c:pt>
                <c:pt idx="530">
                  <c:v>184.08266636040696</c:v>
                </c:pt>
                <c:pt idx="531">
                  <c:v>184.30873751034619</c:v>
                </c:pt>
                <c:pt idx="532">
                  <c:v>182.535157162715</c:v>
                </c:pt>
                <c:pt idx="533">
                  <c:v>181.73700739379586</c:v>
                </c:pt>
                <c:pt idx="534">
                  <c:v>182.67713230023483</c:v>
                </c:pt>
                <c:pt idx="535">
                  <c:v>182.32266968702106</c:v>
                </c:pt>
                <c:pt idx="536">
                  <c:v>181.81229183910276</c:v>
                </c:pt>
                <c:pt idx="537">
                  <c:v>180.76480442281263</c:v>
                </c:pt>
                <c:pt idx="538">
                  <c:v>178.91195957371818</c:v>
                </c:pt>
                <c:pt idx="539">
                  <c:v>179.91580498120859</c:v>
                </c:pt>
                <c:pt idx="540">
                  <c:v>179.72939578391265</c:v>
                </c:pt>
                <c:pt idx="541">
                  <c:v>179.40806070278683</c:v>
                </c:pt>
                <c:pt idx="542">
                  <c:v>179.2607986249995</c:v>
                </c:pt>
                <c:pt idx="543">
                  <c:v>180.28482153111375</c:v>
                </c:pt>
                <c:pt idx="544">
                  <c:v>180.8996907040937</c:v>
                </c:pt>
                <c:pt idx="545">
                  <c:v>180.74997326827955</c:v>
                </c:pt>
                <c:pt idx="546">
                  <c:v>180.68918335584078</c:v>
                </c:pt>
                <c:pt idx="547">
                  <c:v>177.8687294314262</c:v>
                </c:pt>
                <c:pt idx="548">
                  <c:v>178.35784071062815</c:v>
                </c:pt>
                <c:pt idx="549">
                  <c:v>179.15846563884853</c:v>
                </c:pt>
                <c:pt idx="550">
                  <c:v>178.84647675924424</c:v>
                </c:pt>
                <c:pt idx="551">
                  <c:v>178.91728611653446</c:v>
                </c:pt>
                <c:pt idx="552">
                  <c:v>179.78699769117142</c:v>
                </c:pt>
                <c:pt idx="553">
                  <c:v>180.41368822497418</c:v>
                </c:pt>
                <c:pt idx="554">
                  <c:v>179.81828370473926</c:v>
                </c:pt>
                <c:pt idx="555">
                  <c:v>180.20516100416222</c:v>
                </c:pt>
                <c:pt idx="556">
                  <c:v>179.35230031404819</c:v>
                </c:pt>
                <c:pt idx="557">
                  <c:v>178.25596315378857</c:v>
                </c:pt>
                <c:pt idx="558">
                  <c:v>179.55373867862136</c:v>
                </c:pt>
                <c:pt idx="559">
                  <c:v>181.35989212265702</c:v>
                </c:pt>
                <c:pt idx="560">
                  <c:v>181.59711139008908</c:v>
                </c:pt>
                <c:pt idx="561">
                  <c:v>180.41893556269281</c:v>
                </c:pt>
                <c:pt idx="562">
                  <c:v>180.3669374160921</c:v>
                </c:pt>
                <c:pt idx="563">
                  <c:v>181.33541774748622</c:v>
                </c:pt>
                <c:pt idx="564">
                  <c:v>180.56243539834225</c:v>
                </c:pt>
                <c:pt idx="565">
                  <c:v>180.4949526551529</c:v>
                </c:pt>
                <c:pt idx="566">
                  <c:v>181.05154667754417</c:v>
                </c:pt>
                <c:pt idx="567">
                  <c:v>183.38269131001269</c:v>
                </c:pt>
                <c:pt idx="568">
                  <c:v>184.37679449049341</c:v>
                </c:pt>
                <c:pt idx="569">
                  <c:v>183.65624591598714</c:v>
                </c:pt>
                <c:pt idx="570">
                  <c:v>183.48603416115861</c:v>
                </c:pt>
                <c:pt idx="571">
                  <c:v>178.57603095335216</c:v>
                </c:pt>
                <c:pt idx="572">
                  <c:v>176.88256656198394</c:v>
                </c:pt>
                <c:pt idx="573">
                  <c:v>181.03477499811888</c:v>
                </c:pt>
                <c:pt idx="574">
                  <c:v>181.44440396183899</c:v>
                </c:pt>
                <c:pt idx="575">
                  <c:v>180.58516726136494</c:v>
                </c:pt>
                <c:pt idx="576">
                  <c:v>180.45582533691868</c:v>
                </c:pt>
                <c:pt idx="577">
                  <c:v>181.86036933337027</c:v>
                </c:pt>
                <c:pt idx="578">
                  <c:v>180.93881802232792</c:v>
                </c:pt>
                <c:pt idx="579">
                  <c:v>180.54015896463096</c:v>
                </c:pt>
                <c:pt idx="580">
                  <c:v>179.81776887160456</c:v>
                </c:pt>
                <c:pt idx="581">
                  <c:v>178.69066053091177</c:v>
                </c:pt>
                <c:pt idx="582">
                  <c:v>176.72734437188379</c:v>
                </c:pt>
                <c:pt idx="583">
                  <c:v>175.16070714311175</c:v>
                </c:pt>
                <c:pt idx="584">
                  <c:v>174.13347643054306</c:v>
                </c:pt>
                <c:pt idx="585">
                  <c:v>173.89540570831139</c:v>
                </c:pt>
                <c:pt idx="586">
                  <c:v>175.07344292678678</c:v>
                </c:pt>
                <c:pt idx="587">
                  <c:v>176.15041444067342</c:v>
                </c:pt>
                <c:pt idx="588">
                  <c:v>175.76545786486818</c:v>
                </c:pt>
                <c:pt idx="589">
                  <c:v>175.22460585563286</c:v>
                </c:pt>
                <c:pt idx="590">
                  <c:v>175.82511910466559</c:v>
                </c:pt>
                <c:pt idx="591">
                  <c:v>174.7375539089696</c:v>
                </c:pt>
                <c:pt idx="592">
                  <c:v>175.23692224831592</c:v>
                </c:pt>
                <c:pt idx="593">
                  <c:v>174.72915816861973</c:v>
                </c:pt>
                <c:pt idx="594">
                  <c:v>173.73719352577533</c:v>
                </c:pt>
                <c:pt idx="595">
                  <c:v>173.18863882079452</c:v>
                </c:pt>
                <c:pt idx="596">
                  <c:v>174.00233259012549</c:v>
                </c:pt>
                <c:pt idx="597">
                  <c:v>174.94259610548534</c:v>
                </c:pt>
                <c:pt idx="598">
                  <c:v>173.61321774669418</c:v>
                </c:pt>
                <c:pt idx="599">
                  <c:v>173.61785124490612</c:v>
                </c:pt>
                <c:pt idx="600">
                  <c:v>173.25174548233923</c:v>
                </c:pt>
                <c:pt idx="601">
                  <c:v>172.87890728647295</c:v>
                </c:pt>
                <c:pt idx="602">
                  <c:v>173.10074096368842</c:v>
                </c:pt>
                <c:pt idx="603">
                  <c:v>173.88463381503234</c:v>
                </c:pt>
                <c:pt idx="604">
                  <c:v>173.79980515545981</c:v>
                </c:pt>
                <c:pt idx="605">
                  <c:v>173.03161471472305</c:v>
                </c:pt>
                <c:pt idx="606">
                  <c:v>171.26850924125478</c:v>
                </c:pt>
                <c:pt idx="607">
                  <c:v>170.89877984547087</c:v>
                </c:pt>
                <c:pt idx="608">
                  <c:v>171.40155400401568</c:v>
                </c:pt>
                <c:pt idx="609">
                  <c:v>170.86697899876836</c:v>
                </c:pt>
                <c:pt idx="610">
                  <c:v>169.31162849641004</c:v>
                </c:pt>
                <c:pt idx="611">
                  <c:v>168.61697998883207</c:v>
                </c:pt>
                <c:pt idx="612">
                  <c:v>169.2490960718232</c:v>
                </c:pt>
                <c:pt idx="613">
                  <c:v>170.25060492893323</c:v>
                </c:pt>
                <c:pt idx="614">
                  <c:v>171.07516959791531</c:v>
                </c:pt>
                <c:pt idx="615">
                  <c:v>170.46639921745364</c:v>
                </c:pt>
                <c:pt idx="616">
                  <c:v>170.41354961605327</c:v>
                </c:pt>
                <c:pt idx="617">
                  <c:v>170.30361294052884</c:v>
                </c:pt>
                <c:pt idx="618">
                  <c:v>169.78699769117139</c:v>
                </c:pt>
                <c:pt idx="619">
                  <c:v>169.72442566403575</c:v>
                </c:pt>
                <c:pt idx="620">
                  <c:v>167.95676589745315</c:v>
                </c:pt>
                <c:pt idx="621">
                  <c:v>169.09508175946203</c:v>
                </c:pt>
                <c:pt idx="622">
                  <c:v>167.46902090618551</c:v>
                </c:pt>
                <c:pt idx="623">
                  <c:v>168.18650028315824</c:v>
                </c:pt>
                <c:pt idx="624">
                  <c:v>167.51121742195326</c:v>
                </c:pt>
                <c:pt idx="625">
                  <c:v>165.94115457270831</c:v>
                </c:pt>
                <c:pt idx="626">
                  <c:v>165.1375297514148</c:v>
                </c:pt>
                <c:pt idx="627">
                  <c:v>164.73332633688304</c:v>
                </c:pt>
                <c:pt idx="628">
                  <c:v>164.342825404243</c:v>
                </c:pt>
                <c:pt idx="629">
                  <c:v>163.3377820196508</c:v>
                </c:pt>
                <c:pt idx="630">
                  <c:v>163.25254743395286</c:v>
                </c:pt>
                <c:pt idx="631">
                  <c:v>163.21005389906895</c:v>
                </c:pt>
                <c:pt idx="632">
                  <c:v>163.72135250624731</c:v>
                </c:pt>
                <c:pt idx="633">
                  <c:v>164.11375436123069</c:v>
                </c:pt>
                <c:pt idx="634">
                  <c:v>164.78783924533383</c:v>
                </c:pt>
                <c:pt idx="635">
                  <c:v>164.76516678613436</c:v>
                </c:pt>
                <c:pt idx="636">
                  <c:v>164.0184904300441</c:v>
                </c:pt>
                <c:pt idx="637">
                  <c:v>163.28747688201213</c:v>
                </c:pt>
                <c:pt idx="638">
                  <c:v>162.88409522036838</c:v>
                </c:pt>
                <c:pt idx="639">
                  <c:v>162.48439659576491</c:v>
                </c:pt>
                <c:pt idx="640">
                  <c:v>161.22429299549719</c:v>
                </c:pt>
                <c:pt idx="641">
                  <c:v>160.82166378228101</c:v>
                </c:pt>
                <c:pt idx="642">
                  <c:v>158.31670356304133</c:v>
                </c:pt>
                <c:pt idx="643">
                  <c:v>156.84382536860073</c:v>
                </c:pt>
                <c:pt idx="644">
                  <c:v>157.46175383847705</c:v>
                </c:pt>
                <c:pt idx="645">
                  <c:v>157.06643129551819</c:v>
                </c:pt>
                <c:pt idx="646">
                  <c:v>158.4630547822058</c:v>
                </c:pt>
                <c:pt idx="647">
                  <c:v>159.08215152727229</c:v>
                </c:pt>
                <c:pt idx="648">
                  <c:v>158.62601927060024</c:v>
                </c:pt>
                <c:pt idx="649">
                  <c:v>157.73652622282771</c:v>
                </c:pt>
                <c:pt idx="650">
                  <c:v>158.94458217330867</c:v>
                </c:pt>
                <c:pt idx="651">
                  <c:v>158.0491388425759</c:v>
                </c:pt>
                <c:pt idx="652">
                  <c:v>157.8264438099236</c:v>
                </c:pt>
                <c:pt idx="653">
                  <c:v>158.4146505669105</c:v>
                </c:pt>
                <c:pt idx="654">
                  <c:v>159.71599032113707</c:v>
                </c:pt>
                <c:pt idx="655">
                  <c:v>162.03176916466344</c:v>
                </c:pt>
                <c:pt idx="656">
                  <c:v>163.38500805911869</c:v>
                </c:pt>
                <c:pt idx="657">
                  <c:v>165.08913543675672</c:v>
                </c:pt>
                <c:pt idx="658">
                  <c:v>164.65185399332302</c:v>
                </c:pt>
                <c:pt idx="659">
                  <c:v>163.45775794130111</c:v>
                </c:pt>
                <c:pt idx="660">
                  <c:v>160.79283312674005</c:v>
                </c:pt>
                <c:pt idx="661">
                  <c:v>161.93890118768044</c:v>
                </c:pt>
                <c:pt idx="662">
                  <c:v>160.21889318796559</c:v>
                </c:pt>
                <c:pt idx="663">
                  <c:v>160.96347060896838</c:v>
                </c:pt>
                <c:pt idx="664">
                  <c:v>161.93103018110247</c:v>
                </c:pt>
                <c:pt idx="665">
                  <c:v>162.31406603328992</c:v>
                </c:pt>
                <c:pt idx="666">
                  <c:v>162.6553013951978</c:v>
                </c:pt>
                <c:pt idx="667">
                  <c:v>165.28958373760935</c:v>
                </c:pt>
                <c:pt idx="668">
                  <c:v>165.6190571425177</c:v>
                </c:pt>
                <c:pt idx="669">
                  <c:v>166.5185399332301</c:v>
                </c:pt>
                <c:pt idx="670">
                  <c:v>167.50151479749235</c:v>
                </c:pt>
                <c:pt idx="671">
                  <c:v>167.15960619225453</c:v>
                </c:pt>
                <c:pt idx="672">
                  <c:v>166.2189466514065</c:v>
                </c:pt>
                <c:pt idx="673">
                  <c:v>164.89621162017986</c:v>
                </c:pt>
                <c:pt idx="674">
                  <c:v>165.90484893607754</c:v>
                </c:pt>
                <c:pt idx="675">
                  <c:v>166.35844662962509</c:v>
                </c:pt>
                <c:pt idx="676">
                  <c:v>166.32316075862644</c:v>
                </c:pt>
                <c:pt idx="677">
                  <c:v>164.52781881041864</c:v>
                </c:pt>
                <c:pt idx="678">
                  <c:v>164.72569294559798</c:v>
                </c:pt>
                <c:pt idx="679">
                  <c:v>165.41674752187049</c:v>
                </c:pt>
                <c:pt idx="680">
                  <c:v>163.35119738306358</c:v>
                </c:pt>
                <c:pt idx="681">
                  <c:v>163.83328911048716</c:v>
                </c:pt>
                <c:pt idx="682">
                  <c:v>165.39807492010186</c:v>
                </c:pt>
                <c:pt idx="683">
                  <c:v>165.38717431853914</c:v>
                </c:pt>
                <c:pt idx="684">
                  <c:v>164.78110681203441</c:v>
                </c:pt>
                <c:pt idx="685">
                  <c:v>167.7197248414908</c:v>
                </c:pt>
                <c:pt idx="686">
                  <c:v>169.59379665675283</c:v>
                </c:pt>
                <c:pt idx="687">
                  <c:v>169.58492568581713</c:v>
                </c:pt>
                <c:pt idx="688">
                  <c:v>168.73972808889982</c:v>
                </c:pt>
                <c:pt idx="689">
                  <c:v>169.79832402013392</c:v>
                </c:pt>
                <c:pt idx="690">
                  <c:v>170.49477444368318</c:v>
                </c:pt>
                <c:pt idx="691">
                  <c:v>169.66797223069275</c:v>
                </c:pt>
                <c:pt idx="692">
                  <c:v>168.27154675674927</c:v>
                </c:pt>
                <c:pt idx="693">
                  <c:v>169.0750428697591</c:v>
                </c:pt>
                <c:pt idx="694">
                  <c:v>168.08004863192997</c:v>
                </c:pt>
                <c:pt idx="695">
                  <c:v>168.45268881505214</c:v>
                </c:pt>
                <c:pt idx="696">
                  <c:v>168.81049784364123</c:v>
                </c:pt>
                <c:pt idx="697">
                  <c:v>170.60061225540474</c:v>
                </c:pt>
                <c:pt idx="698">
                  <c:v>168.17960943966355</c:v>
                </c:pt>
                <c:pt idx="699">
                  <c:v>169.52544265748944</c:v>
                </c:pt>
                <c:pt idx="700">
                  <c:v>169.88089533442371</c:v>
                </c:pt>
                <c:pt idx="701">
                  <c:v>171.52434170663224</c:v>
                </c:pt>
                <c:pt idx="702">
                  <c:v>171.14837490940917</c:v>
                </c:pt>
                <c:pt idx="703">
                  <c:v>170.44946912783308</c:v>
                </c:pt>
                <c:pt idx="704">
                  <c:v>170.92836294943942</c:v>
                </c:pt>
                <c:pt idx="705">
                  <c:v>170.33470094135259</c:v>
                </c:pt>
                <c:pt idx="706">
                  <c:v>170.40414401070854</c:v>
                </c:pt>
                <c:pt idx="707">
                  <c:v>169.28586703840259</c:v>
                </c:pt>
                <c:pt idx="708">
                  <c:v>167.44642765208368</c:v>
                </c:pt>
                <c:pt idx="709">
                  <c:v>170.70690549643774</c:v>
                </c:pt>
                <c:pt idx="710">
                  <c:v>171.37252533573059</c:v>
                </c:pt>
                <c:pt idx="711">
                  <c:v>173.12052243682402</c:v>
                </c:pt>
                <c:pt idx="712">
                  <c:v>173.31289181771737</c:v>
                </c:pt>
                <c:pt idx="713">
                  <c:v>171.85456755996816</c:v>
                </c:pt>
                <c:pt idx="714">
                  <c:v>173.42397696715761</c:v>
                </c:pt>
                <c:pt idx="715">
                  <c:v>175.58940473408867</c:v>
                </c:pt>
                <c:pt idx="716">
                  <c:v>175.06564122466921</c:v>
                </c:pt>
                <c:pt idx="717">
                  <c:v>173.9608291189621</c:v>
                </c:pt>
                <c:pt idx="718">
                  <c:v>173.9738781587983</c:v>
                </c:pt>
                <c:pt idx="719">
                  <c:v>175.1608457520326</c:v>
                </c:pt>
                <c:pt idx="720">
                  <c:v>174.98570347987595</c:v>
                </c:pt>
                <c:pt idx="721">
                  <c:v>175.84983109512928</c:v>
                </c:pt>
                <c:pt idx="722">
                  <c:v>176.27439021975454</c:v>
                </c:pt>
                <c:pt idx="723">
                  <c:v>176.29524096170829</c:v>
                </c:pt>
                <c:pt idx="724">
                  <c:v>177.31789757988824</c:v>
                </c:pt>
                <c:pt idx="725">
                  <c:v>176.63524864460277</c:v>
                </c:pt>
                <c:pt idx="726">
                  <c:v>175.38283783944334</c:v>
                </c:pt>
                <c:pt idx="727">
                  <c:v>174.83824338934454</c:v>
                </c:pt>
                <c:pt idx="728">
                  <c:v>174.22232474882085</c:v>
                </c:pt>
                <c:pt idx="729">
                  <c:v>173.85845653026229</c:v>
                </c:pt>
                <c:pt idx="730">
                  <c:v>171.88662582323801</c:v>
                </c:pt>
                <c:pt idx="731">
                  <c:v>171.83248913900098</c:v>
                </c:pt>
                <c:pt idx="732">
                  <c:v>170.9984198583021</c:v>
                </c:pt>
                <c:pt idx="733">
                  <c:v>172.50080195161362</c:v>
                </c:pt>
                <c:pt idx="734">
                  <c:v>172.8853228993818</c:v>
                </c:pt>
                <c:pt idx="735">
                  <c:v>173.42332352510209</c:v>
                </c:pt>
                <c:pt idx="736">
                  <c:v>173.57292215326979</c:v>
                </c:pt>
                <c:pt idx="737">
                  <c:v>173.03995105124966</c:v>
                </c:pt>
                <c:pt idx="738">
                  <c:v>173.26160651699541</c:v>
                </c:pt>
                <c:pt idx="739">
                  <c:v>170.55863355365551</c:v>
                </c:pt>
                <c:pt idx="740">
                  <c:v>171.85211220194131</c:v>
                </c:pt>
                <c:pt idx="741">
                  <c:v>172.30773952611591</c:v>
                </c:pt>
                <c:pt idx="742">
                  <c:v>171.43230538317448</c:v>
                </c:pt>
                <c:pt idx="743">
                  <c:v>170.38899603578486</c:v>
                </c:pt>
                <c:pt idx="744">
                  <c:v>170.58140501922702</c:v>
                </c:pt>
                <c:pt idx="745">
                  <c:v>171.22160002217743</c:v>
                </c:pt>
                <c:pt idx="746">
                  <c:v>169.65468557556363</c:v>
                </c:pt>
                <c:pt idx="747">
                  <c:v>167.63861882150735</c:v>
                </c:pt>
                <c:pt idx="748">
                  <c:v>166.95286108613951</c:v>
                </c:pt>
                <c:pt idx="749">
                  <c:v>166.23433224162306</c:v>
                </c:pt>
                <c:pt idx="750">
                  <c:v>166.98905781576104</c:v>
                </c:pt>
                <c:pt idx="751">
                  <c:v>165.80674352201308</c:v>
                </c:pt>
                <c:pt idx="752">
                  <c:v>165.96076773501142</c:v>
                </c:pt>
                <c:pt idx="753">
                  <c:v>165.16753858278318</c:v>
                </c:pt>
                <c:pt idx="754">
                  <c:v>165.12398567971834</c:v>
                </c:pt>
                <c:pt idx="755">
                  <c:v>163.3050109105022</c:v>
                </c:pt>
                <c:pt idx="756">
                  <c:v>162.16022003176124</c:v>
                </c:pt>
                <c:pt idx="757">
                  <c:v>161.10403985600513</c:v>
                </c:pt>
                <c:pt idx="758">
                  <c:v>162.0370165023821</c:v>
                </c:pt>
                <c:pt idx="759">
                  <c:v>160.73003338494865</c:v>
                </c:pt>
                <c:pt idx="760">
                  <c:v>163.18611415830725</c:v>
                </c:pt>
                <c:pt idx="761">
                  <c:v>163.75715321038064</c:v>
                </c:pt>
                <c:pt idx="762">
                  <c:v>164.00593642206815</c:v>
                </c:pt>
                <c:pt idx="763">
                  <c:v>163.5585266267737</c:v>
                </c:pt>
                <c:pt idx="764">
                  <c:v>159.91599309331548</c:v>
                </c:pt>
                <c:pt idx="765">
                  <c:v>162.01101742908173</c:v>
                </c:pt>
                <c:pt idx="766">
                  <c:v>155.89951249262401</c:v>
                </c:pt>
                <c:pt idx="767">
                  <c:v>156.37000067324334</c:v>
                </c:pt>
                <c:pt idx="768">
                  <c:v>157.54914676308567</c:v>
                </c:pt>
                <c:pt idx="769">
                  <c:v>157.43618049257651</c:v>
                </c:pt>
                <c:pt idx="770">
                  <c:v>160.22906114237512</c:v>
                </c:pt>
                <c:pt idx="771">
                  <c:v>162.85742290373807</c:v>
                </c:pt>
                <c:pt idx="772">
                  <c:v>163.33189114051382</c:v>
                </c:pt>
                <c:pt idx="773">
                  <c:v>164.28124344082786</c:v>
                </c:pt>
                <c:pt idx="774">
                  <c:v>162.64329192226811</c:v>
                </c:pt>
                <c:pt idx="775">
                  <c:v>161.69120704608548</c:v>
                </c:pt>
                <c:pt idx="776">
                  <c:v>165.00824723079177</c:v>
                </c:pt>
                <c:pt idx="777">
                  <c:v>166.07161526915871</c:v>
                </c:pt>
                <c:pt idx="778">
                  <c:v>166.84726088971087</c:v>
                </c:pt>
                <c:pt idx="779">
                  <c:v>165.70520258683848</c:v>
                </c:pt>
                <c:pt idx="780">
                  <c:v>164.74033598802421</c:v>
                </c:pt>
                <c:pt idx="781">
                  <c:v>164.35985450023563</c:v>
                </c:pt>
                <c:pt idx="782">
                  <c:v>162.93304397070995</c:v>
                </c:pt>
                <c:pt idx="783">
                  <c:v>162.98743807151428</c:v>
                </c:pt>
                <c:pt idx="784">
                  <c:v>163.04599043994472</c:v>
                </c:pt>
                <c:pt idx="785">
                  <c:v>162.02319521284389</c:v>
                </c:pt>
                <c:pt idx="786">
                  <c:v>162.24778126720236</c:v>
                </c:pt>
                <c:pt idx="787">
                  <c:v>164.27420408777508</c:v>
                </c:pt>
                <c:pt idx="788">
                  <c:v>160.28458391582083</c:v>
                </c:pt>
                <c:pt idx="789">
                  <c:v>162.42224039539184</c:v>
                </c:pt>
                <c:pt idx="790">
                  <c:v>162.03032367163149</c:v>
                </c:pt>
                <c:pt idx="791">
                  <c:v>162.78071276667367</c:v>
                </c:pt>
                <c:pt idx="792">
                  <c:v>162.71447750377214</c:v>
                </c:pt>
                <c:pt idx="793">
                  <c:v>161.97910767536999</c:v>
                </c:pt>
                <c:pt idx="794">
                  <c:v>164.37320055918798</c:v>
                </c:pt>
                <c:pt idx="795">
                  <c:v>166.21199640408858</c:v>
                </c:pt>
                <c:pt idx="796">
                  <c:v>166.209699456257</c:v>
                </c:pt>
                <c:pt idx="797">
                  <c:v>164.98459460850901</c:v>
                </c:pt>
                <c:pt idx="798">
                  <c:v>163.82253701848251</c:v>
                </c:pt>
                <c:pt idx="799">
                  <c:v>163.44909488374674</c:v>
                </c:pt>
                <c:pt idx="800">
                  <c:v>162.41709206404525</c:v>
                </c:pt>
                <c:pt idx="801">
                  <c:v>162.5102570601444</c:v>
                </c:pt>
                <c:pt idx="802">
                  <c:v>161.57215188369523</c:v>
                </c:pt>
                <c:pt idx="803">
                  <c:v>161.50405530099917</c:v>
                </c:pt>
                <c:pt idx="804">
                  <c:v>161.55796427058044</c:v>
                </c:pt>
                <c:pt idx="805">
                  <c:v>161.17805701974979</c:v>
                </c:pt>
                <c:pt idx="806">
                  <c:v>160.89134446692989</c:v>
                </c:pt>
                <c:pt idx="807">
                  <c:v>159.23593812497771</c:v>
                </c:pt>
                <c:pt idx="808">
                  <c:v>156.99510710509327</c:v>
                </c:pt>
                <c:pt idx="809">
                  <c:v>154.21343397661073</c:v>
                </c:pt>
                <c:pt idx="810">
                  <c:v>152.6518064702644</c:v>
                </c:pt>
                <c:pt idx="811">
                  <c:v>153.90307870214528</c:v>
                </c:pt>
                <c:pt idx="812">
                  <c:v>154.84067894609697</c:v>
                </c:pt>
                <c:pt idx="813">
                  <c:v>153.92456308488013</c:v>
                </c:pt>
                <c:pt idx="814">
                  <c:v>153.12818553002072</c:v>
                </c:pt>
                <c:pt idx="815">
                  <c:v>151.29083517815207</c:v>
                </c:pt>
                <c:pt idx="816">
                  <c:v>150.74279530630591</c:v>
                </c:pt>
                <c:pt idx="817">
                  <c:v>148.64707792593532</c:v>
                </c:pt>
                <c:pt idx="818">
                  <c:v>147.67594422377024</c:v>
                </c:pt>
                <c:pt idx="819">
                  <c:v>147.9655180607424</c:v>
                </c:pt>
                <c:pt idx="820">
                  <c:v>148.69989782542405</c:v>
                </c:pt>
                <c:pt idx="821">
                  <c:v>150.05002791979692</c:v>
                </c:pt>
                <c:pt idx="822">
                  <c:v>150.4943685175578</c:v>
                </c:pt>
                <c:pt idx="823">
                  <c:v>149.8986075743835</c:v>
                </c:pt>
                <c:pt idx="824">
                  <c:v>148.80480497724832</c:v>
                </c:pt>
                <c:pt idx="825">
                  <c:v>147.06575805218824</c:v>
                </c:pt>
                <c:pt idx="826">
                  <c:v>147.18952591788806</c:v>
                </c:pt>
                <c:pt idx="827">
                  <c:v>146.68198955284763</c:v>
                </c:pt>
                <c:pt idx="828">
                  <c:v>147.16168532606758</c:v>
                </c:pt>
                <c:pt idx="829">
                  <c:v>147.51153424234386</c:v>
                </c:pt>
                <c:pt idx="830">
                  <c:v>147.93980610592098</c:v>
                </c:pt>
                <c:pt idx="831">
                  <c:v>147.67025135737737</c:v>
                </c:pt>
                <c:pt idx="832">
                  <c:v>146.41039527303977</c:v>
                </c:pt>
                <c:pt idx="833">
                  <c:v>145.16356842726398</c:v>
                </c:pt>
                <c:pt idx="834">
                  <c:v>143.68677948112742</c:v>
                </c:pt>
                <c:pt idx="835">
                  <c:v>145.79644685931987</c:v>
                </c:pt>
                <c:pt idx="836">
                  <c:v>142.94768701313615</c:v>
                </c:pt>
                <c:pt idx="837">
                  <c:v>142.57966052695153</c:v>
                </c:pt>
                <c:pt idx="838">
                  <c:v>143.49955843158065</c:v>
                </c:pt>
                <c:pt idx="839">
                  <c:v>146.63491202293778</c:v>
                </c:pt>
                <c:pt idx="840">
                  <c:v>147.00005742369581</c:v>
                </c:pt>
                <c:pt idx="841">
                  <c:v>147.43588347346034</c:v>
                </c:pt>
                <c:pt idx="842">
                  <c:v>151.38779211830072</c:v>
                </c:pt>
                <c:pt idx="843">
                  <c:v>153.79418159352736</c:v>
                </c:pt>
                <c:pt idx="844">
                  <c:v>152.66047942845603</c:v>
                </c:pt>
                <c:pt idx="845">
                  <c:v>153.05650491665642</c:v>
                </c:pt>
                <c:pt idx="846">
                  <c:v>154.42828770459667</c:v>
                </c:pt>
                <c:pt idx="847">
                  <c:v>154.68373404512315</c:v>
                </c:pt>
                <c:pt idx="848">
                  <c:v>155.08020506199779</c:v>
                </c:pt>
                <c:pt idx="849">
                  <c:v>153.75618294793455</c:v>
                </c:pt>
                <c:pt idx="850">
                  <c:v>154.52524464474533</c:v>
                </c:pt>
                <c:pt idx="851">
                  <c:v>155.0191379317173</c:v>
                </c:pt>
                <c:pt idx="852">
                  <c:v>152.016294468712</c:v>
                </c:pt>
                <c:pt idx="853">
                  <c:v>150.60148351147879</c:v>
                </c:pt>
                <c:pt idx="854">
                  <c:v>149.38713075573546</c:v>
                </c:pt>
                <c:pt idx="855">
                  <c:v>150.69919290005504</c:v>
                </c:pt>
                <c:pt idx="856">
                  <c:v>151.76240252822672</c:v>
                </c:pt>
                <c:pt idx="857">
                  <c:v>152.22438606148691</c:v>
                </c:pt>
                <c:pt idx="858">
                  <c:v>148.08880079521919</c:v>
                </c:pt>
                <c:pt idx="859">
                  <c:v>152.35877731090773</c:v>
                </c:pt>
                <c:pt idx="860">
                  <c:v>152.48993105196251</c:v>
                </c:pt>
                <c:pt idx="861">
                  <c:v>148.44496631803224</c:v>
                </c:pt>
                <c:pt idx="862">
                  <c:v>148.05100016237046</c:v>
                </c:pt>
                <c:pt idx="863">
                  <c:v>148.16932267760754</c:v>
                </c:pt>
                <c:pt idx="864">
                  <c:v>151.24053004051342</c:v>
                </c:pt>
                <c:pt idx="865">
                  <c:v>152.06950049305172</c:v>
                </c:pt>
                <c:pt idx="866">
                  <c:v>152.83359206998563</c:v>
                </c:pt>
                <c:pt idx="867">
                  <c:v>154.26839241373577</c:v>
                </c:pt>
                <c:pt idx="868">
                  <c:v>156.74415565385789</c:v>
                </c:pt>
                <c:pt idx="869">
                  <c:v>156.86506223540547</c:v>
                </c:pt>
                <c:pt idx="870">
                  <c:v>160.522436824034</c:v>
                </c:pt>
                <c:pt idx="871">
                  <c:v>161.14253353345822</c:v>
                </c:pt>
                <c:pt idx="872">
                  <c:v>162.67813226459256</c:v>
                </c:pt>
                <c:pt idx="873">
                  <c:v>160.73427085767241</c:v>
                </c:pt>
                <c:pt idx="874">
                  <c:v>162.2162576383416</c:v>
                </c:pt>
                <c:pt idx="875">
                  <c:v>159.82082816850092</c:v>
                </c:pt>
                <c:pt idx="876">
                  <c:v>162.18360533683949</c:v>
                </c:pt>
                <c:pt idx="877">
                  <c:v>164.03683631078496</c:v>
                </c:pt>
                <c:pt idx="878">
                  <c:v>161.62755584949446</c:v>
                </c:pt>
                <c:pt idx="879">
                  <c:v>159.68262517375618</c:v>
                </c:pt>
                <c:pt idx="880">
                  <c:v>161.38728718580327</c:v>
                </c:pt>
                <c:pt idx="881">
                  <c:v>163.76210352898312</c:v>
                </c:pt>
                <c:pt idx="882">
                  <c:v>164.15599047954726</c:v>
                </c:pt>
                <c:pt idx="883">
                  <c:v>165.67992626005409</c:v>
                </c:pt>
                <c:pt idx="884">
                  <c:v>166.49861985117363</c:v>
                </c:pt>
                <c:pt idx="885">
                  <c:v>165.09195711836014</c:v>
                </c:pt>
                <c:pt idx="886">
                  <c:v>166.76762016403376</c:v>
                </c:pt>
                <c:pt idx="887">
                  <c:v>167.50783140402916</c:v>
                </c:pt>
                <c:pt idx="888">
                  <c:v>167.9613399918419</c:v>
                </c:pt>
                <c:pt idx="889">
                  <c:v>165.11625328206122</c:v>
                </c:pt>
                <c:pt idx="890">
                  <c:v>163.23838952274969</c:v>
                </c:pt>
                <c:pt idx="891">
                  <c:v>164.05422182971697</c:v>
                </c:pt>
                <c:pt idx="892">
                  <c:v>162.66012300551665</c:v>
                </c:pt>
                <c:pt idx="893">
                  <c:v>161.85768626068773</c:v>
                </c:pt>
                <c:pt idx="894">
                  <c:v>161.15226585983072</c:v>
                </c:pt>
                <c:pt idx="895">
                  <c:v>161.83359801036795</c:v>
                </c:pt>
                <c:pt idx="896">
                  <c:v>161.70399866935438</c:v>
                </c:pt>
                <c:pt idx="897">
                  <c:v>162.17908074563678</c:v>
                </c:pt>
                <c:pt idx="898">
                  <c:v>160.30977113687038</c:v>
                </c:pt>
                <c:pt idx="899">
                  <c:v>162.03711550875414</c:v>
                </c:pt>
                <c:pt idx="900">
                  <c:v>159.12826869537324</c:v>
                </c:pt>
                <c:pt idx="901">
                  <c:v>156.25083660384382</c:v>
                </c:pt>
                <c:pt idx="902">
                  <c:v>158.14880855731874</c:v>
                </c:pt>
                <c:pt idx="903">
                  <c:v>156.37314907587452</c:v>
                </c:pt>
                <c:pt idx="904">
                  <c:v>156.04205196646456</c:v>
                </c:pt>
                <c:pt idx="905">
                  <c:v>153.77553869367034</c:v>
                </c:pt>
                <c:pt idx="906">
                  <c:v>150.75220091165068</c:v>
                </c:pt>
                <c:pt idx="907">
                  <c:v>149.27825344839195</c:v>
                </c:pt>
                <c:pt idx="908">
                  <c:v>152.45812030462281</c:v>
                </c:pt>
                <c:pt idx="909">
                  <c:v>154.91238926137285</c:v>
                </c:pt>
                <c:pt idx="910">
                  <c:v>155.9035915551525</c:v>
                </c:pt>
                <c:pt idx="911">
                  <c:v>157.19142684023143</c:v>
                </c:pt>
                <c:pt idx="912">
                  <c:v>155.69804442613926</c:v>
                </c:pt>
                <c:pt idx="913">
                  <c:v>151.79464890360344</c:v>
                </c:pt>
                <c:pt idx="914">
                  <c:v>159.45479171039446</c:v>
                </c:pt>
                <c:pt idx="915">
                  <c:v>159.74080131797282</c:v>
                </c:pt>
                <c:pt idx="916">
                  <c:v>161.17144339409683</c:v>
                </c:pt>
                <c:pt idx="917">
                  <c:v>162.18054603994315</c:v>
                </c:pt>
                <c:pt idx="918">
                  <c:v>162.51647466030914</c:v>
                </c:pt>
                <c:pt idx="919">
                  <c:v>162.63351999334677</c:v>
                </c:pt>
                <c:pt idx="920">
                  <c:v>162.84331449572093</c:v>
                </c:pt>
                <c:pt idx="921">
                  <c:v>158.0997211980563</c:v>
                </c:pt>
                <c:pt idx="922">
                  <c:v>162.49587143428553</c:v>
                </c:pt>
                <c:pt idx="923">
                  <c:v>164.62550839772047</c:v>
                </c:pt>
                <c:pt idx="924">
                  <c:v>163.52916133682365</c:v>
                </c:pt>
                <c:pt idx="925">
                  <c:v>161.79250046532997</c:v>
                </c:pt>
                <c:pt idx="926">
                  <c:v>161.34707079747653</c:v>
                </c:pt>
                <c:pt idx="927">
                  <c:v>163.83495241753758</c:v>
                </c:pt>
                <c:pt idx="928">
                  <c:v>164.25294741969594</c:v>
                </c:pt>
                <c:pt idx="929">
                  <c:v>166.12691032794871</c:v>
                </c:pt>
                <c:pt idx="930">
                  <c:v>164.25924422495831</c:v>
                </c:pt>
                <c:pt idx="931">
                  <c:v>162.30619502671192</c:v>
                </c:pt>
                <c:pt idx="932">
                  <c:v>159.95834801927853</c:v>
                </c:pt>
                <c:pt idx="933">
                  <c:v>159.83469896122514</c:v>
                </c:pt>
                <c:pt idx="934">
                  <c:v>161.61819974733572</c:v>
                </c:pt>
                <c:pt idx="935">
                  <c:v>160.40014415327769</c:v>
                </c:pt>
                <c:pt idx="936">
                  <c:v>164.85570811337419</c:v>
                </c:pt>
                <c:pt idx="937">
                  <c:v>166.17172061193858</c:v>
                </c:pt>
                <c:pt idx="938">
                  <c:v>167.96621110534673</c:v>
                </c:pt>
                <c:pt idx="939">
                  <c:v>169.47738496449631</c:v>
                </c:pt>
                <c:pt idx="940">
                  <c:v>171.51236193561417</c:v>
                </c:pt>
                <c:pt idx="941">
                  <c:v>170.77153685611205</c:v>
                </c:pt>
                <c:pt idx="942">
                  <c:v>170.77797227029532</c:v>
                </c:pt>
                <c:pt idx="943">
                  <c:v>170.38891683068721</c:v>
                </c:pt>
                <c:pt idx="944">
                  <c:v>169.13426848151946</c:v>
                </c:pt>
                <c:pt idx="945">
                  <c:v>168.60343591713561</c:v>
                </c:pt>
                <c:pt idx="946">
                  <c:v>167.24267253840458</c:v>
                </c:pt>
                <c:pt idx="947">
                  <c:v>166.42836492956687</c:v>
                </c:pt>
                <c:pt idx="948">
                  <c:v>168.04565381827973</c:v>
                </c:pt>
                <c:pt idx="949">
                  <c:v>166.92131765600433</c:v>
                </c:pt>
                <c:pt idx="950">
                  <c:v>165.09091755145363</c:v>
                </c:pt>
                <c:pt idx="951">
                  <c:v>162.64053954512511</c:v>
                </c:pt>
                <c:pt idx="952">
                  <c:v>161.20898661037825</c:v>
                </c:pt>
                <c:pt idx="953">
                  <c:v>161.23437184417187</c:v>
                </c:pt>
                <c:pt idx="954">
                  <c:v>161.36783243369544</c:v>
                </c:pt>
                <c:pt idx="955">
                  <c:v>159.9499918814775</c:v>
                </c:pt>
                <c:pt idx="956">
                  <c:v>159.29896558142482</c:v>
                </c:pt>
                <c:pt idx="957">
                  <c:v>159.8067494623954</c:v>
                </c:pt>
                <c:pt idx="958">
                  <c:v>158.716461591468</c:v>
                </c:pt>
                <c:pt idx="959">
                  <c:v>157.00068116383969</c:v>
                </c:pt>
                <c:pt idx="960">
                  <c:v>155.32679033222578</c:v>
                </c:pt>
                <c:pt idx="961">
                  <c:v>158.57008067039195</c:v>
                </c:pt>
                <c:pt idx="962">
                  <c:v>160.95356007112619</c:v>
                </c:pt>
                <c:pt idx="963">
                  <c:v>160.56228688878414</c:v>
                </c:pt>
                <c:pt idx="964">
                  <c:v>161.68834576193322</c:v>
                </c:pt>
                <c:pt idx="965">
                  <c:v>162.05766923159175</c:v>
                </c:pt>
                <c:pt idx="966">
                  <c:v>163.45166904942002</c:v>
                </c:pt>
                <c:pt idx="967">
                  <c:v>162.11304349547936</c:v>
                </c:pt>
                <c:pt idx="968">
                  <c:v>161.74839312658162</c:v>
                </c:pt>
                <c:pt idx="969">
                  <c:v>159.09229968040742</c:v>
                </c:pt>
                <c:pt idx="970">
                  <c:v>156.81029191038735</c:v>
                </c:pt>
                <c:pt idx="971">
                  <c:v>159.79417565314503</c:v>
                </c:pt>
                <c:pt idx="972">
                  <c:v>161.67115825574535</c:v>
                </c:pt>
                <c:pt idx="973">
                  <c:v>159.410001227679</c:v>
                </c:pt>
                <c:pt idx="974">
                  <c:v>157.68271625961847</c:v>
                </c:pt>
                <c:pt idx="975">
                  <c:v>158.15584791037151</c:v>
                </c:pt>
                <c:pt idx="976">
                  <c:v>157.74391209818265</c:v>
                </c:pt>
                <c:pt idx="977">
                  <c:v>162.18322911262567</c:v>
                </c:pt>
                <c:pt idx="978">
                  <c:v>161.02186456720355</c:v>
                </c:pt>
                <c:pt idx="979">
                  <c:v>161.72583947502861</c:v>
                </c:pt>
                <c:pt idx="980">
                  <c:v>160.75290385689223</c:v>
                </c:pt>
                <c:pt idx="981">
                  <c:v>163.99723376196491</c:v>
                </c:pt>
                <c:pt idx="982">
                  <c:v>165.32339441366446</c:v>
                </c:pt>
                <c:pt idx="983">
                  <c:v>166.22445140569246</c:v>
                </c:pt>
                <c:pt idx="984">
                  <c:v>167.19730781873122</c:v>
                </c:pt>
                <c:pt idx="985">
                  <c:v>167.13022110103006</c:v>
                </c:pt>
                <c:pt idx="986">
                  <c:v>165.08074959704408</c:v>
                </c:pt>
                <c:pt idx="987">
                  <c:v>166.4325429984674</c:v>
                </c:pt>
                <c:pt idx="988">
                  <c:v>166.79920319671774</c:v>
                </c:pt>
                <c:pt idx="989">
                  <c:v>166.95632630916126</c:v>
                </c:pt>
                <c:pt idx="990">
                  <c:v>165.59560253297903</c:v>
                </c:pt>
                <c:pt idx="991">
                  <c:v>164.76450344344161</c:v>
                </c:pt>
                <c:pt idx="992">
                  <c:v>165.1472620777873</c:v>
                </c:pt>
                <c:pt idx="993">
                  <c:v>165.52144676031349</c:v>
                </c:pt>
                <c:pt idx="994">
                  <c:v>163.07098954888738</c:v>
                </c:pt>
                <c:pt idx="995">
                  <c:v>164.58625237120262</c:v>
                </c:pt>
                <c:pt idx="996">
                  <c:v>167.69247828790262</c:v>
                </c:pt>
                <c:pt idx="997">
                  <c:v>168.26812113627633</c:v>
                </c:pt>
                <c:pt idx="998">
                  <c:v>166.78029297965617</c:v>
                </c:pt>
                <c:pt idx="999">
                  <c:v>167.32603590367077</c:v>
                </c:pt>
                <c:pt idx="1000">
                  <c:v>168.1013152006463</c:v>
                </c:pt>
                <c:pt idx="1001">
                  <c:v>169.31461848884595</c:v>
                </c:pt>
                <c:pt idx="1002">
                  <c:v>170.72961755818605</c:v>
                </c:pt>
                <c:pt idx="1003">
                  <c:v>171.66766333081199</c:v>
                </c:pt>
                <c:pt idx="1004">
                  <c:v>170.58904831114933</c:v>
                </c:pt>
                <c:pt idx="1005">
                  <c:v>169.30438122997595</c:v>
                </c:pt>
                <c:pt idx="1006">
                  <c:v>167.90619344260998</c:v>
                </c:pt>
                <c:pt idx="1007">
                  <c:v>167.47678300575427</c:v>
                </c:pt>
                <c:pt idx="1008">
                  <c:v>167.63030228625516</c:v>
                </c:pt>
                <c:pt idx="1009">
                  <c:v>166.56243935859712</c:v>
                </c:pt>
                <c:pt idx="1010">
                  <c:v>165.09921428543143</c:v>
                </c:pt>
                <c:pt idx="1011">
                  <c:v>166.88654661814036</c:v>
                </c:pt>
                <c:pt idx="1012">
                  <c:v>165.32574086468205</c:v>
                </c:pt>
                <c:pt idx="1013">
                  <c:v>163.78172659192344</c:v>
                </c:pt>
                <c:pt idx="1014">
                  <c:v>164.5194230700688</c:v>
                </c:pt>
                <c:pt idx="1015">
                  <c:v>165.2942568383701</c:v>
                </c:pt>
                <c:pt idx="1016">
                  <c:v>165.2614362260355</c:v>
                </c:pt>
                <c:pt idx="1017">
                  <c:v>166.17140379154802</c:v>
                </c:pt>
                <c:pt idx="1018">
                  <c:v>166.38694066350109</c:v>
                </c:pt>
                <c:pt idx="1019">
                  <c:v>166.32785366066162</c:v>
                </c:pt>
                <c:pt idx="1020">
                  <c:v>164.08465638848517</c:v>
                </c:pt>
                <c:pt idx="1021">
                  <c:v>164.01721324784464</c:v>
                </c:pt>
                <c:pt idx="1022">
                  <c:v>162.41037943202025</c:v>
                </c:pt>
                <c:pt idx="1023">
                  <c:v>163.8547338906732</c:v>
                </c:pt>
                <c:pt idx="1024">
                  <c:v>164.61038022407121</c:v>
                </c:pt>
                <c:pt idx="1025">
                  <c:v>164.03452946231621</c:v>
                </c:pt>
                <c:pt idx="1026">
                  <c:v>162.52533573060762</c:v>
                </c:pt>
                <c:pt idx="1027">
                  <c:v>162.18189252660301</c:v>
                </c:pt>
                <c:pt idx="1028">
                  <c:v>162.08551972404942</c:v>
                </c:pt>
                <c:pt idx="1029">
                  <c:v>161.80348027199031</c:v>
                </c:pt>
                <c:pt idx="1030">
                  <c:v>162.05872859977268</c:v>
                </c:pt>
                <c:pt idx="1031">
                  <c:v>162.32260038256061</c:v>
                </c:pt>
                <c:pt idx="1032">
                  <c:v>161.72388904949923</c:v>
                </c:pt>
                <c:pt idx="1033">
                  <c:v>160.7397954132328</c:v>
                </c:pt>
                <c:pt idx="1034">
                  <c:v>159.00494635834764</c:v>
                </c:pt>
                <c:pt idx="1035">
                  <c:v>159.49634468474392</c:v>
                </c:pt>
                <c:pt idx="1036">
                  <c:v>157.3519953744223</c:v>
                </c:pt>
                <c:pt idx="1037">
                  <c:v>155.37045214229988</c:v>
                </c:pt>
                <c:pt idx="1038">
                  <c:v>154.54505581979257</c:v>
                </c:pt>
                <c:pt idx="1039">
                  <c:v>154.53908573555793</c:v>
                </c:pt>
                <c:pt idx="1040">
                  <c:v>154.34321152909399</c:v>
                </c:pt>
                <c:pt idx="1041">
                  <c:v>153.14583836615725</c:v>
                </c:pt>
                <c:pt idx="1042">
                  <c:v>152.46419929586668</c:v>
                </c:pt>
                <c:pt idx="1043">
                  <c:v>153.42648182837047</c:v>
                </c:pt>
                <c:pt idx="1044">
                  <c:v>153.59884202147248</c:v>
                </c:pt>
                <c:pt idx="1045">
                  <c:v>152.86295735993571</c:v>
                </c:pt>
                <c:pt idx="1046">
                  <c:v>152.51003924612587</c:v>
                </c:pt>
                <c:pt idx="1047">
                  <c:v>150.91191799104192</c:v>
                </c:pt>
                <c:pt idx="1048">
                  <c:v>150.23173431442046</c:v>
                </c:pt>
                <c:pt idx="1049">
                  <c:v>149.98742619074963</c:v>
                </c:pt>
                <c:pt idx="1050">
                  <c:v>149.91810192904015</c:v>
                </c:pt>
                <c:pt idx="1051">
                  <c:v>149.88067752040521</c:v>
                </c:pt>
                <c:pt idx="1052">
                  <c:v>150.28053455520399</c:v>
                </c:pt>
                <c:pt idx="1053">
                  <c:v>149.94625934125122</c:v>
                </c:pt>
                <c:pt idx="1054">
                  <c:v>149.32296472600976</c:v>
                </c:pt>
                <c:pt idx="1055">
                  <c:v>147.06064932339044</c:v>
                </c:pt>
                <c:pt idx="1056">
                  <c:v>145.7978824517146</c:v>
                </c:pt>
                <c:pt idx="1057">
                  <c:v>146.08005061205739</c:v>
                </c:pt>
                <c:pt idx="1058">
                  <c:v>145.38478826497274</c:v>
                </c:pt>
                <c:pt idx="1059">
                  <c:v>145.56729661120991</c:v>
                </c:pt>
                <c:pt idx="1060">
                  <c:v>146.18151234213434</c:v>
                </c:pt>
                <c:pt idx="1061">
                  <c:v>146.53969759493722</c:v>
                </c:pt>
                <c:pt idx="1062">
                  <c:v>146.3258834338578</c:v>
                </c:pt>
                <c:pt idx="1063">
                  <c:v>144.68015991509213</c:v>
                </c:pt>
                <c:pt idx="1064">
                  <c:v>145.5384659556689</c:v>
                </c:pt>
                <c:pt idx="1065">
                  <c:v>146.87119072983538</c:v>
                </c:pt>
                <c:pt idx="1066">
                  <c:v>146.77552087252334</c:v>
                </c:pt>
                <c:pt idx="1067">
                  <c:v>146.30454756068102</c:v>
                </c:pt>
                <c:pt idx="1068">
                  <c:v>145.85799912082342</c:v>
                </c:pt>
                <c:pt idx="1069">
                  <c:v>145.06959157891401</c:v>
                </c:pt>
                <c:pt idx="1070">
                  <c:v>145.00188112106895</c:v>
                </c:pt>
                <c:pt idx="1071">
                  <c:v>145.30818703491758</c:v>
                </c:pt>
                <c:pt idx="1072">
                  <c:v>146.65533703749173</c:v>
                </c:pt>
                <c:pt idx="1073">
                  <c:v>146.16877022205148</c:v>
                </c:pt>
                <c:pt idx="1074">
                  <c:v>146.54705376838052</c:v>
                </c:pt>
                <c:pt idx="1075">
                  <c:v>145.67169883053674</c:v>
                </c:pt>
                <c:pt idx="1076">
                  <c:v>145.36921456264926</c:v>
                </c:pt>
                <c:pt idx="1077">
                  <c:v>145.69401486679683</c:v>
                </c:pt>
                <c:pt idx="1078">
                  <c:v>145.88025575326029</c:v>
                </c:pt>
                <c:pt idx="1079">
                  <c:v>146.40190052631789</c:v>
                </c:pt>
                <c:pt idx="1080">
                  <c:v>146.93995065522415</c:v>
                </c:pt>
                <c:pt idx="1081">
                  <c:v>146.57746852587431</c:v>
                </c:pt>
                <c:pt idx="1082">
                  <c:v>145.66125365828543</c:v>
                </c:pt>
                <c:pt idx="1083">
                  <c:v>146.48567971834666</c:v>
                </c:pt>
                <c:pt idx="1084">
                  <c:v>146.16186947791959</c:v>
                </c:pt>
                <c:pt idx="1085">
                  <c:v>145.57897936311181</c:v>
                </c:pt>
                <c:pt idx="1086">
                  <c:v>145.7323402334174</c:v>
                </c:pt>
                <c:pt idx="1087">
                  <c:v>146.25565821416268</c:v>
                </c:pt>
                <c:pt idx="1088">
                  <c:v>147.17319976713702</c:v>
                </c:pt>
                <c:pt idx="1089">
                  <c:v>146.81682633094266</c:v>
                </c:pt>
                <c:pt idx="1090">
                  <c:v>146.67694022787308</c:v>
                </c:pt>
                <c:pt idx="1091">
                  <c:v>145.99606350664729</c:v>
                </c:pt>
                <c:pt idx="1092">
                  <c:v>144.95274425862047</c:v>
                </c:pt>
                <c:pt idx="1093">
                  <c:v>145.92031373139176</c:v>
                </c:pt>
                <c:pt idx="1094">
                  <c:v>145.86111782154299</c:v>
                </c:pt>
                <c:pt idx="1095">
                  <c:v>144.97508999679218</c:v>
                </c:pt>
                <c:pt idx="1096">
                  <c:v>145.07023512033234</c:v>
                </c:pt>
                <c:pt idx="1097">
                  <c:v>144.07673587872117</c:v>
                </c:pt>
                <c:pt idx="1098">
                  <c:v>143.90709836085048</c:v>
                </c:pt>
                <c:pt idx="1099">
                  <c:v>143.79703297704239</c:v>
                </c:pt>
                <c:pt idx="1100">
                  <c:v>142.43614089002767</c:v>
                </c:pt>
                <c:pt idx="1101">
                  <c:v>141.66042596501512</c:v>
                </c:pt>
                <c:pt idx="1102">
                  <c:v>141.25172766119226</c:v>
                </c:pt>
                <c:pt idx="1103">
                  <c:v>140.39634230859096</c:v>
                </c:pt>
                <c:pt idx="1104">
                  <c:v>140.08824437940825</c:v>
                </c:pt>
                <c:pt idx="1105">
                  <c:v>140.01872210495466</c:v>
                </c:pt>
                <c:pt idx="1106">
                  <c:v>137.96137959439071</c:v>
                </c:pt>
                <c:pt idx="1107">
                  <c:v>139.11401177779803</c:v>
                </c:pt>
                <c:pt idx="1108">
                  <c:v>139.62917163348635</c:v>
                </c:pt>
                <c:pt idx="1109">
                  <c:v>137.9825273554606</c:v>
                </c:pt>
                <c:pt idx="1110">
                  <c:v>136.08932750911848</c:v>
                </c:pt>
                <c:pt idx="1111">
                  <c:v>136.29829035796743</c:v>
                </c:pt>
                <c:pt idx="1112">
                  <c:v>137.75159499265374</c:v>
                </c:pt>
                <c:pt idx="1113">
                  <c:v>138.35299929903488</c:v>
                </c:pt>
                <c:pt idx="1114">
                  <c:v>137.2684240957748</c:v>
                </c:pt>
                <c:pt idx="1115">
                  <c:v>136.3181609368379</c:v>
                </c:pt>
                <c:pt idx="1116">
                  <c:v>135.40865870127402</c:v>
                </c:pt>
                <c:pt idx="1117">
                  <c:v>134.36317121369933</c:v>
                </c:pt>
                <c:pt idx="1118">
                  <c:v>135.37402627233089</c:v>
                </c:pt>
                <c:pt idx="1119">
                  <c:v>135.15736072773643</c:v>
                </c:pt>
                <c:pt idx="1120">
                  <c:v>137.26123623316397</c:v>
                </c:pt>
                <c:pt idx="1121">
                  <c:v>136.83558803844616</c:v>
                </c:pt>
                <c:pt idx="1122">
                  <c:v>135.16385554574293</c:v>
                </c:pt>
                <c:pt idx="1123">
                  <c:v>133.62394013678721</c:v>
                </c:pt>
                <c:pt idx="1124">
                  <c:v>132.39383546725068</c:v>
                </c:pt>
                <c:pt idx="1125">
                  <c:v>132.99309133535834</c:v>
                </c:pt>
                <c:pt idx="1126">
                  <c:v>132.37012344114467</c:v>
                </c:pt>
                <c:pt idx="1127">
                  <c:v>132.84993802201112</c:v>
                </c:pt>
                <c:pt idx="1128">
                  <c:v>135.23601138969303</c:v>
                </c:pt>
                <c:pt idx="1129">
                  <c:v>134.71963375562851</c:v>
                </c:pt>
                <c:pt idx="1130">
                  <c:v>133.83473460351908</c:v>
                </c:pt>
                <c:pt idx="1131">
                  <c:v>132.65029167277206</c:v>
                </c:pt>
                <c:pt idx="1132">
                  <c:v>137.47237722219802</c:v>
                </c:pt>
                <c:pt idx="1133">
                  <c:v>137.68663691195164</c:v>
                </c:pt>
                <c:pt idx="1134">
                  <c:v>136.99578034842324</c:v>
                </c:pt>
                <c:pt idx="1135">
                  <c:v>135.80938699214681</c:v>
                </c:pt>
                <c:pt idx="1136">
                  <c:v>135.15480636333754</c:v>
                </c:pt>
                <c:pt idx="1137">
                  <c:v>136.74133397225447</c:v>
                </c:pt>
                <c:pt idx="1138">
                  <c:v>135.2716932861799</c:v>
                </c:pt>
                <c:pt idx="1139">
                  <c:v>136.16710691500106</c:v>
                </c:pt>
                <c:pt idx="1140">
                  <c:v>133.13072009314519</c:v>
                </c:pt>
                <c:pt idx="1141">
                  <c:v>131.48765984578768</c:v>
                </c:pt>
                <c:pt idx="1142">
                  <c:v>133.9175336324646</c:v>
                </c:pt>
                <c:pt idx="1143">
                  <c:v>136.16052299125971</c:v>
                </c:pt>
                <c:pt idx="1144">
                  <c:v>135.50598196499928</c:v>
                </c:pt>
                <c:pt idx="1145">
                  <c:v>135.22439794225156</c:v>
                </c:pt>
                <c:pt idx="1146">
                  <c:v>133.39207711408307</c:v>
                </c:pt>
                <c:pt idx="1147">
                  <c:v>134.94247729783888</c:v>
                </c:pt>
                <c:pt idx="1148">
                  <c:v>136.87414111972248</c:v>
                </c:pt>
                <c:pt idx="1149">
                  <c:v>136.75755121599627</c:v>
                </c:pt>
                <c:pt idx="1150">
                  <c:v>137.49843569932162</c:v>
                </c:pt>
                <c:pt idx="1151">
                  <c:v>138.77238039040191</c:v>
                </c:pt>
                <c:pt idx="1152">
                  <c:v>138.09293926157088</c:v>
                </c:pt>
                <c:pt idx="1153">
                  <c:v>137.07400528298001</c:v>
                </c:pt>
                <c:pt idx="1154">
                  <c:v>136.93017872630281</c:v>
                </c:pt>
                <c:pt idx="1155">
                  <c:v>138.18335188052703</c:v>
                </c:pt>
                <c:pt idx="1156">
                  <c:v>139.3669235552</c:v>
                </c:pt>
                <c:pt idx="1157">
                  <c:v>136.5873196598933</c:v>
                </c:pt>
                <c:pt idx="1158">
                  <c:v>134.88273685294385</c:v>
                </c:pt>
                <c:pt idx="1159">
                  <c:v>132.86638298040862</c:v>
                </c:pt>
                <c:pt idx="1160">
                  <c:v>137.79006886883241</c:v>
                </c:pt>
                <c:pt idx="1161">
                  <c:v>136.34077399221414</c:v>
                </c:pt>
                <c:pt idx="1162">
                  <c:v>134.27386746611012</c:v>
                </c:pt>
                <c:pt idx="1163">
                  <c:v>134.12308076147781</c:v>
                </c:pt>
                <c:pt idx="1164">
                  <c:v>136.97922648301645</c:v>
                </c:pt>
                <c:pt idx="1165">
                  <c:v>138.07922687904193</c:v>
                </c:pt>
                <c:pt idx="1166">
                  <c:v>138.54453702640302</c:v>
                </c:pt>
                <c:pt idx="1167">
                  <c:v>139.40390243516072</c:v>
                </c:pt>
                <c:pt idx="1168">
                  <c:v>139.33001397969974</c:v>
                </c:pt>
                <c:pt idx="1169">
                  <c:v>138.5059839451267</c:v>
                </c:pt>
                <c:pt idx="1170">
                  <c:v>138.92152358925819</c:v>
                </c:pt>
                <c:pt idx="1171">
                  <c:v>138.15083818794577</c:v>
                </c:pt>
                <c:pt idx="1172">
                  <c:v>137.95496398148182</c:v>
                </c:pt>
                <c:pt idx="1173">
                  <c:v>138.20951926465989</c:v>
                </c:pt>
                <c:pt idx="1174">
                  <c:v>136.48339267115233</c:v>
                </c:pt>
                <c:pt idx="1175">
                  <c:v>136.22889679179752</c:v>
                </c:pt>
                <c:pt idx="1176">
                  <c:v>135.29318756955198</c:v>
                </c:pt>
                <c:pt idx="1177">
                  <c:v>134.12380350799378</c:v>
                </c:pt>
                <c:pt idx="1178">
                  <c:v>130.98172738397443</c:v>
                </c:pt>
                <c:pt idx="1179">
                  <c:v>125.95057007869026</c:v>
                </c:pt>
                <c:pt idx="1180">
                  <c:v>127.94253868178956</c:v>
                </c:pt>
                <c:pt idx="1181">
                  <c:v>129.42015928145136</c:v>
                </c:pt>
                <c:pt idx="1182">
                  <c:v>131.53248003041475</c:v>
                </c:pt>
                <c:pt idx="1183">
                  <c:v>132.96034992812139</c:v>
                </c:pt>
                <c:pt idx="1184">
                  <c:v>134.59606390267277</c:v>
                </c:pt>
                <c:pt idx="1185">
                  <c:v>135.08889782146377</c:v>
                </c:pt>
                <c:pt idx="1186">
                  <c:v>133.85546653782637</c:v>
                </c:pt>
                <c:pt idx="1187">
                  <c:v>131.7353044841966</c:v>
                </c:pt>
                <c:pt idx="1188">
                  <c:v>133.10443390136589</c:v>
                </c:pt>
                <c:pt idx="1189">
                  <c:v>134.61717206119386</c:v>
                </c:pt>
                <c:pt idx="1190">
                  <c:v>134.10996241718115</c:v>
                </c:pt>
                <c:pt idx="1191">
                  <c:v>134.08960670708768</c:v>
                </c:pt>
                <c:pt idx="1192">
                  <c:v>133.37713705254072</c:v>
                </c:pt>
                <c:pt idx="1193">
                  <c:v>132.22595036216532</c:v>
                </c:pt>
                <c:pt idx="1194">
                  <c:v>130.04929527264375</c:v>
                </c:pt>
                <c:pt idx="1195">
                  <c:v>130.17820156905299</c:v>
                </c:pt>
                <c:pt idx="1196">
                  <c:v>130.72995417985101</c:v>
                </c:pt>
                <c:pt idx="1197">
                  <c:v>130.23523913999105</c:v>
                </c:pt>
                <c:pt idx="1198">
                  <c:v>128.8861387118875</c:v>
                </c:pt>
                <c:pt idx="1199">
                  <c:v>128.34995980341296</c:v>
                </c:pt>
                <c:pt idx="1200">
                  <c:v>128.5879612211842</c:v>
                </c:pt>
                <c:pt idx="1201">
                  <c:v>128.11137424804659</c:v>
                </c:pt>
                <c:pt idx="1202">
                  <c:v>127.82400825317117</c:v>
                </c:pt>
                <c:pt idx="1203">
                  <c:v>126.72662162536781</c:v>
                </c:pt>
                <c:pt idx="1204">
                  <c:v>125.44713257745268</c:v>
                </c:pt>
                <c:pt idx="1205">
                  <c:v>124.10613087058282</c:v>
                </c:pt>
                <c:pt idx="1206">
                  <c:v>122.70138886138713</c:v>
                </c:pt>
                <c:pt idx="1207">
                  <c:v>126.64646606655606</c:v>
                </c:pt>
                <c:pt idx="1208">
                  <c:v>126.4268105295257</c:v>
                </c:pt>
                <c:pt idx="1209">
                  <c:v>126.07886253559279</c:v>
                </c:pt>
                <c:pt idx="1210">
                  <c:v>125.00668293011339</c:v>
                </c:pt>
                <c:pt idx="1211">
                  <c:v>125.03055336641467</c:v>
                </c:pt>
                <c:pt idx="1212">
                  <c:v>124.6415474299926</c:v>
                </c:pt>
                <c:pt idx="1213">
                  <c:v>124.27664954516473</c:v>
                </c:pt>
                <c:pt idx="1214">
                  <c:v>124.64663635751596</c:v>
                </c:pt>
                <c:pt idx="1215">
                  <c:v>123.54643794874637</c:v>
                </c:pt>
                <c:pt idx="1216">
                  <c:v>123.10053305030712</c:v>
                </c:pt>
                <c:pt idx="1217">
                  <c:v>122.24823669651379</c:v>
                </c:pt>
                <c:pt idx="1218">
                  <c:v>121.16518619138328</c:v>
                </c:pt>
                <c:pt idx="1219">
                  <c:v>120.74891390009861</c:v>
                </c:pt>
                <c:pt idx="1220">
                  <c:v>120.33886910961589</c:v>
                </c:pt>
                <c:pt idx="1221">
                  <c:v>119.06671643386969</c:v>
                </c:pt>
                <c:pt idx="1222">
                  <c:v>119.41059526591131</c:v>
                </c:pt>
                <c:pt idx="1223">
                  <c:v>118.28059593915465</c:v>
                </c:pt>
                <c:pt idx="1224">
                  <c:v>119.87342035333396</c:v>
                </c:pt>
                <c:pt idx="1225">
                  <c:v>118.87506979949229</c:v>
                </c:pt>
                <c:pt idx="1226">
                  <c:v>117.78368295783517</c:v>
                </c:pt>
                <c:pt idx="1227">
                  <c:v>116.99244383368514</c:v>
                </c:pt>
                <c:pt idx="1228">
                  <c:v>118.31874309430555</c:v>
                </c:pt>
                <c:pt idx="1229">
                  <c:v>118.00460577642778</c:v>
                </c:pt>
                <c:pt idx="1230">
                  <c:v>117.2978388889109</c:v>
                </c:pt>
                <c:pt idx="1231">
                  <c:v>116.74016569706427</c:v>
                </c:pt>
                <c:pt idx="1232">
                  <c:v>116.45156212253821</c:v>
                </c:pt>
                <c:pt idx="1233">
                  <c:v>116.84668665275298</c:v>
                </c:pt>
                <c:pt idx="1234">
                  <c:v>115.9249274283293</c:v>
                </c:pt>
                <c:pt idx="1235">
                  <c:v>114.9399328340772</c:v>
                </c:pt>
                <c:pt idx="1236">
                  <c:v>113.26949732484783</c:v>
                </c:pt>
                <c:pt idx="1237">
                  <c:v>112.15053720857475</c:v>
                </c:pt>
                <c:pt idx="1238">
                  <c:v>110.06080971371317</c:v>
                </c:pt>
                <c:pt idx="1239">
                  <c:v>109.05080610988122</c:v>
                </c:pt>
                <c:pt idx="1240">
                  <c:v>108.08250398995681</c:v>
                </c:pt>
                <c:pt idx="1241">
                  <c:v>108.64814719475346</c:v>
                </c:pt>
                <c:pt idx="1242">
                  <c:v>108.70053146620518</c:v>
                </c:pt>
                <c:pt idx="1243">
                  <c:v>109.09840837356293</c:v>
                </c:pt>
                <c:pt idx="1244">
                  <c:v>110.29928636207028</c:v>
                </c:pt>
                <c:pt idx="1245">
                  <c:v>109.38033891861281</c:v>
                </c:pt>
                <c:pt idx="1246">
                  <c:v>110.78422947300888</c:v>
                </c:pt>
                <c:pt idx="1247">
                  <c:v>110.5170805793061</c:v>
                </c:pt>
                <c:pt idx="1248">
                  <c:v>110.73809250363354</c:v>
                </c:pt>
                <c:pt idx="1249">
                  <c:v>110.74132011136237</c:v>
                </c:pt>
                <c:pt idx="1250">
                  <c:v>110.49930893552309</c:v>
                </c:pt>
                <c:pt idx="1251">
                  <c:v>109.7942845601543</c:v>
                </c:pt>
                <c:pt idx="1252">
                  <c:v>109.21681009389765</c:v>
                </c:pt>
                <c:pt idx="1253">
                  <c:v>111.81229183910277</c:v>
                </c:pt>
                <c:pt idx="1254">
                  <c:v>111.71706751046497</c:v>
                </c:pt>
                <c:pt idx="1255">
                  <c:v>111.6070615304801</c:v>
                </c:pt>
                <c:pt idx="1256">
                  <c:v>111.50378798379464</c:v>
                </c:pt>
                <c:pt idx="1257">
                  <c:v>111.06102158734936</c:v>
                </c:pt>
                <c:pt idx="1258">
                  <c:v>110.04939427901579</c:v>
                </c:pt>
                <c:pt idx="1259">
                  <c:v>109.34260759022452</c:v>
                </c:pt>
                <c:pt idx="1260">
                  <c:v>108.25665619839293</c:v>
                </c:pt>
                <c:pt idx="1261">
                  <c:v>107.12248870337295</c:v>
                </c:pt>
                <c:pt idx="1262">
                  <c:v>105.72086539489682</c:v>
                </c:pt>
                <c:pt idx="1263">
                  <c:v>105.59553322851858</c:v>
                </c:pt>
                <c:pt idx="1264">
                  <c:v>105.55623759945189</c:v>
                </c:pt>
                <c:pt idx="1265">
                  <c:v>104.02723269269609</c:v>
                </c:pt>
                <c:pt idx="1266">
                  <c:v>100.350947887006</c:v>
                </c:pt>
                <c:pt idx="1267">
                  <c:v>103.42742238890494</c:v>
                </c:pt>
                <c:pt idx="1268">
                  <c:v>103.82141824647834</c:v>
                </c:pt>
                <c:pt idx="1269">
                  <c:v>104.52737328174442</c:v>
                </c:pt>
                <c:pt idx="1270">
                  <c:v>106.90231833320793</c:v>
                </c:pt>
                <c:pt idx="1271">
                  <c:v>106.91099129139951</c:v>
                </c:pt>
                <c:pt idx="1272">
                  <c:v>107.7691290211438</c:v>
                </c:pt>
                <c:pt idx="1273">
                  <c:v>107.08322277621787</c:v>
                </c:pt>
                <c:pt idx="1274">
                  <c:v>106.49688723966275</c:v>
                </c:pt>
                <c:pt idx="1275">
                  <c:v>106.35331809955288</c:v>
                </c:pt>
                <c:pt idx="1276">
                  <c:v>106.03938869505643</c:v>
                </c:pt>
                <c:pt idx="1277">
                  <c:v>104.370834306896</c:v>
                </c:pt>
                <c:pt idx="1278">
                  <c:v>104.61028121769917</c:v>
                </c:pt>
                <c:pt idx="1279">
                  <c:v>104.93576466581389</c:v>
                </c:pt>
                <c:pt idx="1280">
                  <c:v>104.62915183221193</c:v>
                </c:pt>
                <c:pt idx="1281">
                  <c:v>106.27781584022749</c:v>
                </c:pt>
                <c:pt idx="1282">
                  <c:v>106.14815709539064</c:v>
                </c:pt>
                <c:pt idx="1283">
                  <c:v>105.51486283657216</c:v>
                </c:pt>
                <c:pt idx="1284">
                  <c:v>104.65496279340539</c:v>
                </c:pt>
                <c:pt idx="1285">
                  <c:v>106.90038770895293</c:v>
                </c:pt>
                <c:pt idx="1286">
                  <c:v>106.33187331936685</c:v>
                </c:pt>
                <c:pt idx="1287">
                  <c:v>106.39862341540302</c:v>
                </c:pt>
                <c:pt idx="1288">
                  <c:v>105.74192405023189</c:v>
                </c:pt>
                <c:pt idx="1289">
                  <c:v>105.73206301557568</c:v>
                </c:pt>
                <c:pt idx="1290">
                  <c:v>105.06457195585108</c:v>
                </c:pt>
                <c:pt idx="1291">
                  <c:v>104.6002419715733</c:v>
                </c:pt>
                <c:pt idx="1292">
                  <c:v>105.32775069403466</c:v>
                </c:pt>
                <c:pt idx="1293">
                  <c:v>105.02233583753451</c:v>
                </c:pt>
                <c:pt idx="1294">
                  <c:v>103.86969375348998</c:v>
                </c:pt>
                <c:pt idx="1295">
                  <c:v>103.18951997750577</c:v>
                </c:pt>
                <c:pt idx="1296">
                  <c:v>104.11572458803448</c:v>
                </c:pt>
                <c:pt idx="1297">
                  <c:v>104.07210238050921</c:v>
                </c:pt>
                <c:pt idx="1298">
                  <c:v>104.21959217295225</c:v>
                </c:pt>
                <c:pt idx="1299">
                  <c:v>103.89756404722208</c:v>
                </c:pt>
                <c:pt idx="1300">
                  <c:v>103.62260355076454</c:v>
                </c:pt>
                <c:pt idx="1301">
                  <c:v>103.4190068472807</c:v>
                </c:pt>
                <c:pt idx="1302">
                  <c:v>102.52029630627027</c:v>
                </c:pt>
                <c:pt idx="1303">
                  <c:v>102.39178603534924</c:v>
                </c:pt>
                <c:pt idx="1304">
                  <c:v>100.6824905250902</c:v>
                </c:pt>
                <c:pt idx="1305">
                  <c:v>102.23258378909266</c:v>
                </c:pt>
                <c:pt idx="1306">
                  <c:v>101.39966298230954</c:v>
                </c:pt>
                <c:pt idx="1307">
                  <c:v>102.19173375998479</c:v>
                </c:pt>
                <c:pt idx="1308">
                  <c:v>103.16329318954969</c:v>
                </c:pt>
                <c:pt idx="1309">
                  <c:v>101.46054200048316</c:v>
                </c:pt>
                <c:pt idx="1310">
                  <c:v>101.65300048711134</c:v>
                </c:pt>
                <c:pt idx="1311">
                  <c:v>101.69304856460562</c:v>
                </c:pt>
                <c:pt idx="1312">
                  <c:v>100.99613281110773</c:v>
                </c:pt>
                <c:pt idx="1313">
                  <c:v>101.40045503328594</c:v>
                </c:pt>
                <c:pt idx="1314">
                  <c:v>100.32000839574036</c:v>
                </c:pt>
                <c:pt idx="1315">
                  <c:v>99.333360395075033</c:v>
                </c:pt>
                <c:pt idx="1316">
                  <c:v>97.89580767418191</c:v>
                </c:pt>
                <c:pt idx="1317">
                  <c:v>97.021987335104882</c:v>
                </c:pt>
                <c:pt idx="1318">
                  <c:v>96.857765465785377</c:v>
                </c:pt>
                <c:pt idx="1319">
                  <c:v>98.540269851767661</c:v>
                </c:pt>
                <c:pt idx="1320">
                  <c:v>97.979081933713246</c:v>
                </c:pt>
                <c:pt idx="1321">
                  <c:v>98.037871917436604</c:v>
                </c:pt>
                <c:pt idx="1322">
                  <c:v>97.231643228558198</c:v>
                </c:pt>
                <c:pt idx="1323">
                  <c:v>98.185332007968029</c:v>
                </c:pt>
                <c:pt idx="1324">
                  <c:v>98.068801508065064</c:v>
                </c:pt>
                <c:pt idx="1325">
                  <c:v>96.702345262941122</c:v>
                </c:pt>
                <c:pt idx="1326">
                  <c:v>95.982252117746299</c:v>
                </c:pt>
                <c:pt idx="1327">
                  <c:v>94.857896154196482</c:v>
                </c:pt>
                <c:pt idx="1328">
                  <c:v>93.958839090883899</c:v>
                </c:pt>
                <c:pt idx="1329">
                  <c:v>94.171366169126642</c:v>
                </c:pt>
                <c:pt idx="1330">
                  <c:v>94.82034303727788</c:v>
                </c:pt>
                <c:pt idx="1331">
                  <c:v>93.816665940619941</c:v>
                </c:pt>
                <c:pt idx="1332">
                  <c:v>93.988818220340661</c:v>
                </c:pt>
                <c:pt idx="1333">
                  <c:v>95.303444629696372</c:v>
                </c:pt>
                <c:pt idx="1334">
                  <c:v>93.96837340451232</c:v>
                </c:pt>
                <c:pt idx="1335">
                  <c:v>93.352959696486067</c:v>
                </c:pt>
                <c:pt idx="1336">
                  <c:v>91.795807278156431</c:v>
                </c:pt>
                <c:pt idx="1337">
                  <c:v>90.254485978717597</c:v>
                </c:pt>
                <c:pt idx="1338">
                  <c:v>90.393520626987552</c:v>
                </c:pt>
                <c:pt idx="1339">
                  <c:v>89.82159051756571</c:v>
                </c:pt>
                <c:pt idx="1340">
                  <c:v>90.983271883378407</c:v>
                </c:pt>
                <c:pt idx="1341">
                  <c:v>90.361086139503939</c:v>
                </c:pt>
                <c:pt idx="1342">
                  <c:v>92.286383851664695</c:v>
                </c:pt>
                <c:pt idx="1343">
                  <c:v>91.709533125551957</c:v>
                </c:pt>
                <c:pt idx="1344">
                  <c:v>92.787920430558913</c:v>
                </c:pt>
                <c:pt idx="1345">
                  <c:v>92.411319992554724</c:v>
                </c:pt>
                <c:pt idx="1346">
                  <c:v>91.576339853232952</c:v>
                </c:pt>
                <c:pt idx="1347">
                  <c:v>91.348981620457096</c:v>
                </c:pt>
                <c:pt idx="1348">
                  <c:v>90.737062837364206</c:v>
                </c:pt>
                <c:pt idx="1349">
                  <c:v>89.654794482572896</c:v>
                </c:pt>
                <c:pt idx="1350">
                  <c:v>87.419656329081334</c:v>
                </c:pt>
                <c:pt idx="1351">
                  <c:v>86.543925167023744</c:v>
                </c:pt>
                <c:pt idx="1352">
                  <c:v>85.231902625252971</c:v>
                </c:pt>
                <c:pt idx="1353">
                  <c:v>83.024407050837794</c:v>
                </c:pt>
                <c:pt idx="1354">
                  <c:v>83.324346854963579</c:v>
                </c:pt>
                <c:pt idx="1355">
                  <c:v>83.620375907393395</c:v>
                </c:pt>
                <c:pt idx="1356">
                  <c:v>83.15584791037152</c:v>
                </c:pt>
                <c:pt idx="1357">
                  <c:v>81.713612188080418</c:v>
                </c:pt>
                <c:pt idx="1358">
                  <c:v>81.116979988832085</c:v>
                </c:pt>
                <c:pt idx="1359">
                  <c:v>83.51400346126276</c:v>
                </c:pt>
                <c:pt idx="1360">
                  <c:v>83.425778883128913</c:v>
                </c:pt>
                <c:pt idx="1361">
                  <c:v>85.378016229124512</c:v>
                </c:pt>
                <c:pt idx="1362">
                  <c:v>84.115160251713803</c:v>
                </c:pt>
                <c:pt idx="1363">
                  <c:v>84.521581408979486</c:v>
                </c:pt>
                <c:pt idx="1364">
                  <c:v>84.341577923955185</c:v>
                </c:pt>
                <c:pt idx="1365">
                  <c:v>83.703105631878472</c:v>
                </c:pt>
                <c:pt idx="1366">
                  <c:v>84.337884986277714</c:v>
                </c:pt>
                <c:pt idx="1367">
                  <c:v>84.002946429632203</c:v>
                </c:pt>
                <c:pt idx="1368">
                  <c:v>84.719881271558634</c:v>
                </c:pt>
                <c:pt idx="1369">
                  <c:v>89.260986737106393</c:v>
                </c:pt>
                <c:pt idx="1370">
                  <c:v>86.442126815281824</c:v>
                </c:pt>
                <c:pt idx="1371">
                  <c:v>84.725178112463311</c:v>
                </c:pt>
                <c:pt idx="1372">
                  <c:v>84.217493237864787</c:v>
                </c:pt>
                <c:pt idx="1373">
                  <c:v>83.063603673532427</c:v>
                </c:pt>
                <c:pt idx="1374">
                  <c:v>84.332538642187018</c:v>
                </c:pt>
                <c:pt idx="1375">
                  <c:v>83.355820980638313</c:v>
                </c:pt>
                <c:pt idx="1376">
                  <c:v>81.339378002368235</c:v>
                </c:pt>
                <c:pt idx="1377">
                  <c:v>83.675274940695189</c:v>
                </c:pt>
                <c:pt idx="1378">
                  <c:v>83.854624983663953</c:v>
                </c:pt>
                <c:pt idx="1379">
                  <c:v>81.740135995152656</c:v>
                </c:pt>
                <c:pt idx="1380">
                  <c:v>81.306433632068561</c:v>
                </c:pt>
                <c:pt idx="1381">
                  <c:v>81.610541604457666</c:v>
                </c:pt>
                <c:pt idx="1382">
                  <c:v>82.560963173589855</c:v>
                </c:pt>
                <c:pt idx="1383">
                  <c:v>79.652695547485436</c:v>
                </c:pt>
                <c:pt idx="1384">
                  <c:v>80.128906296409241</c:v>
                </c:pt>
                <c:pt idx="1385">
                  <c:v>73.682497455536236</c:v>
                </c:pt>
                <c:pt idx="1386">
                  <c:v>75.013172797801261</c:v>
                </c:pt>
                <c:pt idx="1387">
                  <c:v>78.166095069878693</c:v>
                </c:pt>
                <c:pt idx="1388">
                  <c:v>75.172597808394954</c:v>
                </c:pt>
                <c:pt idx="1389">
                  <c:v>77.902010423390848</c:v>
                </c:pt>
                <c:pt idx="1390">
                  <c:v>78.002388033693848</c:v>
                </c:pt>
                <c:pt idx="1391">
                  <c:v>75.446825657699335</c:v>
                </c:pt>
                <c:pt idx="1392">
                  <c:v>71.21173898752123</c:v>
                </c:pt>
                <c:pt idx="1393">
                  <c:v>69.293688541794552</c:v>
                </c:pt>
                <c:pt idx="1394">
                  <c:v>79.056187106202159</c:v>
                </c:pt>
                <c:pt idx="1395">
                  <c:v>74.123145115619636</c:v>
                </c:pt>
                <c:pt idx="1396">
                  <c:v>76.450869077933859</c:v>
                </c:pt>
                <c:pt idx="1397">
                  <c:v>80.406208293565768</c:v>
                </c:pt>
                <c:pt idx="1398">
                  <c:v>81.291800490279556</c:v>
                </c:pt>
                <c:pt idx="1399">
                  <c:v>87.516009330360504</c:v>
                </c:pt>
                <c:pt idx="1400">
                  <c:v>84.66660594275848</c:v>
                </c:pt>
                <c:pt idx="1401">
                  <c:v>92.245632828928876</c:v>
                </c:pt>
                <c:pt idx="1402">
                  <c:v>92.262741130019137</c:v>
                </c:pt>
                <c:pt idx="1403">
                  <c:v>97.189991247836716</c:v>
                </c:pt>
                <c:pt idx="1404">
                  <c:v>99.450633442768378</c:v>
                </c:pt>
                <c:pt idx="1405">
                  <c:v>99.117080975331575</c:v>
                </c:pt>
                <c:pt idx="1406">
                  <c:v>99.365507764079695</c:v>
                </c:pt>
                <c:pt idx="1407">
                  <c:v>97.721813875941052</c:v>
                </c:pt>
                <c:pt idx="1408">
                  <c:v>98.450946302904057</c:v>
                </c:pt>
                <c:pt idx="1409">
                  <c:v>102.28581951534402</c:v>
                </c:pt>
                <c:pt idx="1410">
                  <c:v>102.71486362862315</c:v>
                </c:pt>
                <c:pt idx="1411">
                  <c:v>103.7517771643783</c:v>
                </c:pt>
                <c:pt idx="1412">
                  <c:v>103.9238502390014</c:v>
                </c:pt>
                <c:pt idx="1413">
                  <c:v>106.16192888174282</c:v>
                </c:pt>
                <c:pt idx="1414">
                  <c:v>106.691038735253</c:v>
                </c:pt>
                <c:pt idx="1415">
                  <c:v>105.55076254707754</c:v>
                </c:pt>
                <c:pt idx="1416">
                  <c:v>105.97606421949317</c:v>
                </c:pt>
                <c:pt idx="1417">
                  <c:v>106.54519244858601</c:v>
                </c:pt>
                <c:pt idx="1418">
                  <c:v>107.03732342213546</c:v>
                </c:pt>
                <c:pt idx="1419">
                  <c:v>107.07183704343211</c:v>
                </c:pt>
                <c:pt idx="1420">
                  <c:v>106.20793714283452</c:v>
                </c:pt>
                <c:pt idx="1421">
                  <c:v>105.58432570720251</c:v>
                </c:pt>
                <c:pt idx="1422">
                  <c:v>106.13391007845266</c:v>
                </c:pt>
                <c:pt idx="1423">
                  <c:v>106.35998122839186</c:v>
                </c:pt>
                <c:pt idx="1424">
                  <c:v>105.94257036382861</c:v>
                </c:pt>
                <c:pt idx="1425">
                  <c:v>105.0075145836386</c:v>
                </c:pt>
                <c:pt idx="1426">
                  <c:v>102.82654281629566</c:v>
                </c:pt>
                <c:pt idx="1427">
                  <c:v>102.32495673421542</c:v>
                </c:pt>
                <c:pt idx="1428">
                  <c:v>104.30120312543316</c:v>
                </c:pt>
                <c:pt idx="1429">
                  <c:v>105.27062401736175</c:v>
                </c:pt>
                <c:pt idx="1430">
                  <c:v>106.24913369424456</c:v>
                </c:pt>
                <c:pt idx="1431">
                  <c:v>105.60058255349314</c:v>
                </c:pt>
                <c:pt idx="1432">
                  <c:v>106.23298575496318</c:v>
                </c:pt>
                <c:pt idx="1433">
                  <c:v>107.30469012985675</c:v>
                </c:pt>
                <c:pt idx="1434">
                  <c:v>106.78216420008792</c:v>
                </c:pt>
                <c:pt idx="1435">
                  <c:v>106.21039250086135</c:v>
                </c:pt>
                <c:pt idx="1436">
                  <c:v>106.63011021389337</c:v>
                </c:pt>
                <c:pt idx="1437">
                  <c:v>107.06920347393559</c:v>
                </c:pt>
                <c:pt idx="1438">
                  <c:v>108.12385895156211</c:v>
                </c:pt>
                <c:pt idx="1439">
                  <c:v>108.00274445663322</c:v>
                </c:pt>
                <c:pt idx="1440">
                  <c:v>107.81828568486669</c:v>
                </c:pt>
                <c:pt idx="1441">
                  <c:v>107.87207584680149</c:v>
                </c:pt>
                <c:pt idx="1442">
                  <c:v>107.53856298191351</c:v>
                </c:pt>
                <c:pt idx="1443">
                  <c:v>106.95854405189517</c:v>
                </c:pt>
                <c:pt idx="1444">
                  <c:v>106.570498477282</c:v>
                </c:pt>
                <c:pt idx="1445">
                  <c:v>105.17432051926863</c:v>
                </c:pt>
                <c:pt idx="1446">
                  <c:v>105.2393083018823</c:v>
                </c:pt>
                <c:pt idx="1447">
                  <c:v>104.74813769014173</c:v>
                </c:pt>
                <c:pt idx="1448">
                  <c:v>106.62956567884709</c:v>
                </c:pt>
                <c:pt idx="1449">
                  <c:v>106.96677148141254</c:v>
                </c:pt>
                <c:pt idx="1450">
                  <c:v>106.21796648832319</c:v>
                </c:pt>
                <c:pt idx="1451">
                  <c:v>106.09966377436051</c:v>
                </c:pt>
                <c:pt idx="1452">
                  <c:v>106.82423200757201</c:v>
                </c:pt>
                <c:pt idx="1453">
                  <c:v>106.73437382429934</c:v>
                </c:pt>
                <c:pt idx="1454">
                  <c:v>105.76984384715</c:v>
                </c:pt>
                <c:pt idx="1455">
                  <c:v>106.4884815986757</c:v>
                </c:pt>
                <c:pt idx="1456">
                  <c:v>106.90063522488306</c:v>
                </c:pt>
                <c:pt idx="1457">
                  <c:v>107.01659148782817</c:v>
                </c:pt>
                <c:pt idx="1458">
                  <c:v>106.85304286183859</c:v>
                </c:pt>
                <c:pt idx="1459">
                  <c:v>106.25041087644401</c:v>
                </c:pt>
                <c:pt idx="1460">
                  <c:v>105.89388893069159</c:v>
                </c:pt>
                <c:pt idx="1461">
                  <c:v>104.97676320447984</c:v>
                </c:pt>
                <c:pt idx="1462">
                  <c:v>105.26883200202765</c:v>
                </c:pt>
                <c:pt idx="1463">
                  <c:v>104.22916608912949</c:v>
                </c:pt>
                <c:pt idx="1464">
                  <c:v>103.75039107516959</c:v>
                </c:pt>
                <c:pt idx="1465">
                  <c:v>103.25589384932815</c:v>
                </c:pt>
                <c:pt idx="1466">
                  <c:v>104.08894336439494</c:v>
                </c:pt>
                <c:pt idx="1467">
                  <c:v>104.16485154984574</c:v>
                </c:pt>
                <c:pt idx="1468">
                  <c:v>104.97270394322578</c:v>
                </c:pt>
                <c:pt idx="1469">
                  <c:v>105.21168552408034</c:v>
                </c:pt>
                <c:pt idx="1470">
                  <c:v>104.80375946995947</c:v>
                </c:pt>
                <c:pt idx="1471">
                  <c:v>105.21548736876704</c:v>
                </c:pt>
                <c:pt idx="1472">
                  <c:v>105.38794656824113</c:v>
                </c:pt>
                <c:pt idx="1473">
                  <c:v>106.28404334102943</c:v>
                </c:pt>
                <c:pt idx="1474">
                  <c:v>105.770616096852</c:v>
                </c:pt>
                <c:pt idx="1475">
                  <c:v>105.06698771132909</c:v>
                </c:pt>
                <c:pt idx="1476">
                  <c:v>105.67753030585048</c:v>
                </c:pt>
                <c:pt idx="1477">
                  <c:v>104.29270837871125</c:v>
                </c:pt>
                <c:pt idx="1478">
                  <c:v>104.79958140105899</c:v>
                </c:pt>
                <c:pt idx="1479">
                  <c:v>105.17454823392434</c:v>
                </c:pt>
                <c:pt idx="1480">
                  <c:v>104.68306080179319</c:v>
                </c:pt>
                <c:pt idx="1481">
                  <c:v>104.23585891988007</c:v>
                </c:pt>
                <c:pt idx="1482">
                  <c:v>104.34125120292741</c:v>
                </c:pt>
                <c:pt idx="1483">
                  <c:v>104.15611918783092</c:v>
                </c:pt>
                <c:pt idx="1484">
                  <c:v>104.04195494021995</c:v>
                </c:pt>
                <c:pt idx="1485">
                  <c:v>104.20387986170789</c:v>
                </c:pt>
                <c:pt idx="1486">
                  <c:v>104.28615415688154</c:v>
                </c:pt>
                <c:pt idx="1487">
                  <c:v>105.49258640286088</c:v>
                </c:pt>
                <c:pt idx="1488">
                  <c:v>105.19569599499422</c:v>
                </c:pt>
                <c:pt idx="1489">
                  <c:v>105.16080614948378</c:v>
                </c:pt>
                <c:pt idx="1490">
                  <c:v>105.26368367068105</c:v>
                </c:pt>
                <c:pt idx="1491">
                  <c:v>104.94716029923686</c:v>
                </c:pt>
                <c:pt idx="1492">
                  <c:v>105.04093913484272</c:v>
                </c:pt>
                <c:pt idx="1493">
                  <c:v>104.60463785449232</c:v>
                </c:pt>
                <c:pt idx="1494">
                  <c:v>103.96723483123374</c:v>
                </c:pt>
                <c:pt idx="1495">
                  <c:v>102.48837665192131</c:v>
                </c:pt>
                <c:pt idx="1496">
                  <c:v>102.25505823554803</c:v>
                </c:pt>
                <c:pt idx="1497">
                  <c:v>102.07192614916696</c:v>
                </c:pt>
                <c:pt idx="1498">
                  <c:v>102.12579551619942</c:v>
                </c:pt>
                <c:pt idx="1499">
                  <c:v>102.05842168001934</c:v>
                </c:pt>
                <c:pt idx="1500">
                  <c:v>102.52980091798709</c:v>
                </c:pt>
                <c:pt idx="1501">
                  <c:v>101.74294777611888</c:v>
                </c:pt>
                <c:pt idx="1502">
                  <c:v>100.74007263107454</c:v>
                </c:pt>
                <c:pt idx="1503">
                  <c:v>100.35697737506386</c:v>
                </c:pt>
                <c:pt idx="1504">
                  <c:v>99.527224772186344</c:v>
                </c:pt>
                <c:pt idx="1505">
                  <c:v>98.984966872467922</c:v>
                </c:pt>
                <c:pt idx="1506">
                  <c:v>98.452371994661576</c:v>
                </c:pt>
                <c:pt idx="1507">
                  <c:v>98.982194694050506</c:v>
                </c:pt>
                <c:pt idx="1508">
                  <c:v>97.638034683912252</c:v>
                </c:pt>
                <c:pt idx="1509">
                  <c:v>98.149937229960116</c:v>
                </c:pt>
                <c:pt idx="1510">
                  <c:v>99.203681848963797</c:v>
                </c:pt>
                <c:pt idx="1511">
                  <c:v>99.500740567662945</c:v>
                </c:pt>
                <c:pt idx="1512">
                  <c:v>100.66733264952931</c:v>
                </c:pt>
                <c:pt idx="1513">
                  <c:v>100.50698192935697</c:v>
                </c:pt>
                <c:pt idx="1514">
                  <c:v>99.704792700458199</c:v>
                </c:pt>
                <c:pt idx="1515">
                  <c:v>98.578199192900058</c:v>
                </c:pt>
                <c:pt idx="1516">
                  <c:v>99.592361064358101</c:v>
                </c:pt>
                <c:pt idx="1517">
                  <c:v>99.627953855110121</c:v>
                </c:pt>
                <c:pt idx="1518">
                  <c:v>97.246365476082048</c:v>
                </c:pt>
                <c:pt idx="1519">
                  <c:v>92.526741621090736</c:v>
                </c:pt>
                <c:pt idx="1520">
                  <c:v>93.70459072745922</c:v>
                </c:pt>
                <c:pt idx="1521">
                  <c:v>93.422175051186301</c:v>
                </c:pt>
                <c:pt idx="1522">
                  <c:v>94.928873822319204</c:v>
                </c:pt>
                <c:pt idx="1523">
                  <c:v>95.421212709249971</c:v>
                </c:pt>
                <c:pt idx="1524">
                  <c:v>94.67164536709582</c:v>
                </c:pt>
                <c:pt idx="1525">
                  <c:v>95.305791080713959</c:v>
                </c:pt>
                <c:pt idx="1526">
                  <c:v>95.170241456740158</c:v>
                </c:pt>
                <c:pt idx="1527">
                  <c:v>94.707089648289767</c:v>
                </c:pt>
                <c:pt idx="1528">
                  <c:v>93.91648416492086</c:v>
                </c:pt>
                <c:pt idx="1529">
                  <c:v>93.703887782217663</c:v>
                </c:pt>
                <c:pt idx="1530">
                  <c:v>93.387770336898882</c:v>
                </c:pt>
                <c:pt idx="1531">
                  <c:v>95.231674910597235</c:v>
                </c:pt>
                <c:pt idx="1532">
                  <c:v>94.617488881584421</c:v>
                </c:pt>
                <c:pt idx="1533">
                  <c:v>95.220318879723095</c:v>
                </c:pt>
                <c:pt idx="1534">
                  <c:v>95.845385709024228</c:v>
                </c:pt>
                <c:pt idx="1535">
                  <c:v>95.549376457868831</c:v>
                </c:pt>
                <c:pt idx="1536">
                  <c:v>93.889574232997646</c:v>
                </c:pt>
                <c:pt idx="1537">
                  <c:v>92.914064449187947</c:v>
                </c:pt>
                <c:pt idx="1538">
                  <c:v>94.226275103065632</c:v>
                </c:pt>
                <c:pt idx="1539">
                  <c:v>95.089056231659072</c:v>
                </c:pt>
                <c:pt idx="1540">
                  <c:v>95.326315101639949</c:v>
                </c:pt>
                <c:pt idx="1541">
                  <c:v>95.361670277099037</c:v>
                </c:pt>
                <c:pt idx="1542">
                  <c:v>95.30783061197819</c:v>
                </c:pt>
                <c:pt idx="1543">
                  <c:v>94.518254794878601</c:v>
                </c:pt>
                <c:pt idx="1544">
                  <c:v>95.926501629644889</c:v>
                </c:pt>
                <c:pt idx="1545">
                  <c:v>95.376263816339218</c:v>
                </c:pt>
                <c:pt idx="1546">
                  <c:v>93.745995192250575</c:v>
                </c:pt>
                <c:pt idx="1547">
                  <c:v>94.461108316931274</c:v>
                </c:pt>
                <c:pt idx="1548">
                  <c:v>93.909860638630704</c:v>
                </c:pt>
                <c:pt idx="1549">
                  <c:v>94.924735355967513</c:v>
                </c:pt>
                <c:pt idx="1550">
                  <c:v>94.7927202594759</c:v>
                </c:pt>
                <c:pt idx="1551">
                  <c:v>95.841643268160738</c:v>
                </c:pt>
                <c:pt idx="1552">
                  <c:v>95.427014482652112</c:v>
                </c:pt>
                <c:pt idx="1553">
                  <c:v>96.208649988713262</c:v>
                </c:pt>
                <c:pt idx="1554">
                  <c:v>97.077727922569096</c:v>
                </c:pt>
                <c:pt idx="1555">
                  <c:v>96.856983315446172</c:v>
                </c:pt>
                <c:pt idx="1556">
                  <c:v>97.068282714675519</c:v>
                </c:pt>
                <c:pt idx="1557">
                  <c:v>97.662558562269069</c:v>
                </c:pt>
                <c:pt idx="1558">
                  <c:v>97.757901698553312</c:v>
                </c:pt>
                <c:pt idx="1559">
                  <c:v>98.003506805698009</c:v>
                </c:pt>
                <c:pt idx="1560">
                  <c:v>99.335201913595156</c:v>
                </c:pt>
                <c:pt idx="1561">
                  <c:v>100.3861248509954</c:v>
                </c:pt>
                <c:pt idx="1562">
                  <c:v>100.22721962385499</c:v>
                </c:pt>
                <c:pt idx="1563">
                  <c:v>99.478563140323701</c:v>
                </c:pt>
                <c:pt idx="1564">
                  <c:v>99.148901623308475</c:v>
                </c:pt>
                <c:pt idx="1565">
                  <c:v>99.454088765152932</c:v>
                </c:pt>
                <c:pt idx="1566">
                  <c:v>98.753301862507868</c:v>
                </c:pt>
                <c:pt idx="1567">
                  <c:v>99.387338669116744</c:v>
                </c:pt>
                <c:pt idx="1568">
                  <c:v>99.363933562764089</c:v>
                </c:pt>
                <c:pt idx="1569">
                  <c:v>101.63024882281424</c:v>
                </c:pt>
                <c:pt idx="1570">
                  <c:v>103.13848219271394</c:v>
                </c:pt>
                <c:pt idx="1571">
                  <c:v>102.85210626155899</c:v>
                </c:pt>
                <c:pt idx="1572">
                  <c:v>102.84133436827993</c:v>
                </c:pt>
                <c:pt idx="1573">
                  <c:v>102.37780633561574</c:v>
                </c:pt>
                <c:pt idx="1574">
                  <c:v>101.98549358636721</c:v>
                </c:pt>
                <c:pt idx="1575">
                  <c:v>102.46555568316379</c:v>
                </c:pt>
                <c:pt idx="1576">
                  <c:v>102.50625720271356</c:v>
                </c:pt>
                <c:pt idx="1577">
                  <c:v>102.11233064960061</c:v>
                </c:pt>
                <c:pt idx="1578">
                  <c:v>101.31788371899614</c:v>
                </c:pt>
                <c:pt idx="1579">
                  <c:v>101.53480668015793</c:v>
                </c:pt>
                <c:pt idx="1580">
                  <c:v>102.48388176263023</c:v>
                </c:pt>
                <c:pt idx="1581">
                  <c:v>101.32946746452602</c:v>
                </c:pt>
                <c:pt idx="1582">
                  <c:v>101.38531695899948</c:v>
                </c:pt>
                <c:pt idx="1583">
                  <c:v>101.18192816889695</c:v>
                </c:pt>
                <c:pt idx="1584">
                  <c:v>102.51842508583853</c:v>
                </c:pt>
                <c:pt idx="1585">
                  <c:v>103.26741819103478</c:v>
                </c:pt>
                <c:pt idx="1586">
                  <c:v>103.2368351227085</c:v>
                </c:pt>
                <c:pt idx="1587">
                  <c:v>103.634989247908</c:v>
                </c:pt>
                <c:pt idx="1588">
                  <c:v>103.21294488513281</c:v>
                </c:pt>
                <c:pt idx="1589">
                  <c:v>102.65835079145693</c:v>
                </c:pt>
                <c:pt idx="1590">
                  <c:v>102.50774229829432</c:v>
                </c:pt>
                <c:pt idx="1591">
                  <c:v>103.86122870867969</c:v>
                </c:pt>
                <c:pt idx="1592">
                  <c:v>104.57878729075003</c:v>
                </c:pt>
                <c:pt idx="1593">
                  <c:v>103.00392263246063</c:v>
                </c:pt>
                <c:pt idx="1594">
                  <c:v>102.96761699582986</c:v>
                </c:pt>
                <c:pt idx="1595">
                  <c:v>102.20289177811483</c:v>
                </c:pt>
                <c:pt idx="1596">
                  <c:v>102.23883109116902</c:v>
                </c:pt>
                <c:pt idx="1597">
                  <c:v>102.11953831348586</c:v>
                </c:pt>
                <c:pt idx="1598">
                  <c:v>101.55952857125885</c:v>
                </c:pt>
                <c:pt idx="1599">
                  <c:v>100.19390397966012</c:v>
                </c:pt>
                <c:pt idx="1600">
                  <c:v>100.86073169669201</c:v>
                </c:pt>
                <c:pt idx="1601">
                  <c:v>100.71286568003516</c:v>
                </c:pt>
                <c:pt idx="1602">
                  <c:v>101.74625458894535</c:v>
                </c:pt>
                <c:pt idx="1603">
                  <c:v>98.245102154774671</c:v>
                </c:pt>
                <c:pt idx="1604">
                  <c:v>97.097836116732466</c:v>
                </c:pt>
                <c:pt idx="1605">
                  <c:v>96.161681365812697</c:v>
                </c:pt>
                <c:pt idx="1606">
                  <c:v>96.714315133321975</c:v>
                </c:pt>
                <c:pt idx="1607">
                  <c:v>96.181017310274086</c:v>
                </c:pt>
                <c:pt idx="1608">
                  <c:v>97.286057130636934</c:v>
                </c:pt>
                <c:pt idx="1609">
                  <c:v>97.659845787674897</c:v>
                </c:pt>
                <c:pt idx="1610">
                  <c:v>98.101483511478804</c:v>
                </c:pt>
                <c:pt idx="1611">
                  <c:v>99.25529387071353</c:v>
                </c:pt>
                <c:pt idx="1612">
                  <c:v>100.06781936485432</c:v>
                </c:pt>
                <c:pt idx="1613">
                  <c:v>100.87106796193403</c:v>
                </c:pt>
                <c:pt idx="1614">
                  <c:v>101.2314412555592</c:v>
                </c:pt>
                <c:pt idx="1615">
                  <c:v>101.54801413018942</c:v>
                </c:pt>
                <c:pt idx="1616">
                  <c:v>101.46961098416294</c:v>
                </c:pt>
                <c:pt idx="1617">
                  <c:v>100.56065328364534</c:v>
                </c:pt>
                <c:pt idx="1618">
                  <c:v>101.14509779849432</c:v>
                </c:pt>
                <c:pt idx="1619">
                  <c:v>99.830382283403765</c:v>
                </c:pt>
                <c:pt idx="1620">
                  <c:v>100.04082032719626</c:v>
                </c:pt>
                <c:pt idx="1621">
                  <c:v>101.22477812672024</c:v>
                </c:pt>
                <c:pt idx="1622">
                  <c:v>101.30639897983835</c:v>
                </c:pt>
                <c:pt idx="1623">
                  <c:v>100.5692668380137</c:v>
                </c:pt>
                <c:pt idx="1624">
                  <c:v>99.87394508710581</c:v>
                </c:pt>
                <c:pt idx="1625">
                  <c:v>99.56025329790225</c:v>
                </c:pt>
                <c:pt idx="1626">
                  <c:v>99.389407902292589</c:v>
                </c:pt>
                <c:pt idx="1627">
                  <c:v>100.06218590228467</c:v>
                </c:pt>
                <c:pt idx="1628">
                  <c:v>99.428792637094119</c:v>
                </c:pt>
                <c:pt idx="1629">
                  <c:v>99.928081771342804</c:v>
                </c:pt>
                <c:pt idx="1630">
                  <c:v>99.348835091026459</c:v>
                </c:pt>
                <c:pt idx="1631">
                  <c:v>99.84379764681654</c:v>
                </c:pt>
                <c:pt idx="1632">
                  <c:v>100.46341912565492</c:v>
                </c:pt>
                <c:pt idx="1633">
                  <c:v>100</c:v>
                </c:pt>
              </c:numCache>
            </c:numRef>
          </c:val>
          <c:smooth val="0"/>
          <c:extLst>
            <c:ext xmlns:c16="http://schemas.microsoft.com/office/drawing/2014/chart" uri="{C3380CC4-5D6E-409C-BE32-E72D297353CC}">
              <c16:uniqueId val="{00000000-A988-4359-AE19-57C4916E4C7F}"/>
            </c:ext>
          </c:extLst>
        </c:ser>
        <c:ser>
          <c:idx val="1"/>
          <c:order val="1"/>
          <c:tx>
            <c:strRef>
              <c:f>Sheet1!$C$1</c:f>
              <c:strCache>
                <c:ptCount val="1"/>
                <c:pt idx="0">
                  <c:v>Pharma</c:v>
                </c:pt>
              </c:strCache>
            </c:strRef>
          </c:tx>
          <c:spPr>
            <a:ln w="28575" cap="rnd">
              <a:solidFill>
                <a:schemeClr val="accent4">
                  <a:lumMod val="50000"/>
                </a:schemeClr>
              </a:solidFill>
              <a:round/>
            </a:ln>
            <a:effectLst/>
          </c:spPr>
          <c:marker>
            <c:symbol val="none"/>
          </c:marker>
          <c:cat>
            <c:numRef>
              <c:f>Sheet1!$A$2:$A$1635</c:f>
              <c:numCache>
                <c:formatCode>m/d/yyyy</c:formatCode>
                <c:ptCount val="1634"/>
                <c:pt idx="0">
                  <c:v>45961</c:v>
                </c:pt>
                <c:pt idx="1">
                  <c:v>45960</c:v>
                </c:pt>
                <c:pt idx="2">
                  <c:v>45959</c:v>
                </c:pt>
                <c:pt idx="3">
                  <c:v>45958</c:v>
                </c:pt>
                <c:pt idx="4">
                  <c:v>45957</c:v>
                </c:pt>
                <c:pt idx="5">
                  <c:v>45954</c:v>
                </c:pt>
                <c:pt idx="6">
                  <c:v>45953</c:v>
                </c:pt>
                <c:pt idx="7">
                  <c:v>45951</c:v>
                </c:pt>
                <c:pt idx="8">
                  <c:v>45950</c:v>
                </c:pt>
                <c:pt idx="9">
                  <c:v>45947</c:v>
                </c:pt>
                <c:pt idx="10">
                  <c:v>45946</c:v>
                </c:pt>
                <c:pt idx="11">
                  <c:v>45945</c:v>
                </c:pt>
                <c:pt idx="12">
                  <c:v>45944</c:v>
                </c:pt>
                <c:pt idx="13">
                  <c:v>45943</c:v>
                </c:pt>
                <c:pt idx="14">
                  <c:v>45940</c:v>
                </c:pt>
                <c:pt idx="15">
                  <c:v>45939</c:v>
                </c:pt>
                <c:pt idx="16">
                  <c:v>45938</c:v>
                </c:pt>
                <c:pt idx="17">
                  <c:v>45937</c:v>
                </c:pt>
                <c:pt idx="18">
                  <c:v>45936</c:v>
                </c:pt>
                <c:pt idx="19">
                  <c:v>45933</c:v>
                </c:pt>
                <c:pt idx="20">
                  <c:v>45931</c:v>
                </c:pt>
                <c:pt idx="21">
                  <c:v>45930</c:v>
                </c:pt>
                <c:pt idx="22">
                  <c:v>45929</c:v>
                </c:pt>
                <c:pt idx="23">
                  <c:v>45926</c:v>
                </c:pt>
                <c:pt idx="24">
                  <c:v>45925</c:v>
                </c:pt>
                <c:pt idx="25">
                  <c:v>45924</c:v>
                </c:pt>
                <c:pt idx="26">
                  <c:v>45923</c:v>
                </c:pt>
                <c:pt idx="27">
                  <c:v>45922</c:v>
                </c:pt>
                <c:pt idx="28">
                  <c:v>45919</c:v>
                </c:pt>
                <c:pt idx="29">
                  <c:v>45918</c:v>
                </c:pt>
                <c:pt idx="30">
                  <c:v>45917</c:v>
                </c:pt>
                <c:pt idx="31">
                  <c:v>45916</c:v>
                </c:pt>
                <c:pt idx="32">
                  <c:v>45915</c:v>
                </c:pt>
                <c:pt idx="33">
                  <c:v>45912</c:v>
                </c:pt>
                <c:pt idx="34">
                  <c:v>45911</c:v>
                </c:pt>
                <c:pt idx="35">
                  <c:v>45910</c:v>
                </c:pt>
                <c:pt idx="36">
                  <c:v>45909</c:v>
                </c:pt>
                <c:pt idx="37">
                  <c:v>45908</c:v>
                </c:pt>
                <c:pt idx="38">
                  <c:v>45905</c:v>
                </c:pt>
                <c:pt idx="39">
                  <c:v>45904</c:v>
                </c:pt>
                <c:pt idx="40">
                  <c:v>45903</c:v>
                </c:pt>
                <c:pt idx="41">
                  <c:v>45902</c:v>
                </c:pt>
                <c:pt idx="42">
                  <c:v>45901</c:v>
                </c:pt>
                <c:pt idx="43">
                  <c:v>45898</c:v>
                </c:pt>
                <c:pt idx="44">
                  <c:v>45897</c:v>
                </c:pt>
                <c:pt idx="45">
                  <c:v>45895</c:v>
                </c:pt>
                <c:pt idx="46">
                  <c:v>45894</c:v>
                </c:pt>
                <c:pt idx="47">
                  <c:v>45891</c:v>
                </c:pt>
                <c:pt idx="48">
                  <c:v>45890</c:v>
                </c:pt>
                <c:pt idx="49">
                  <c:v>45889</c:v>
                </c:pt>
                <c:pt idx="50">
                  <c:v>45888</c:v>
                </c:pt>
                <c:pt idx="51">
                  <c:v>45887</c:v>
                </c:pt>
                <c:pt idx="52">
                  <c:v>45883</c:v>
                </c:pt>
                <c:pt idx="53">
                  <c:v>45882</c:v>
                </c:pt>
                <c:pt idx="54">
                  <c:v>45881</c:v>
                </c:pt>
                <c:pt idx="55">
                  <c:v>45880</c:v>
                </c:pt>
                <c:pt idx="56">
                  <c:v>45877</c:v>
                </c:pt>
                <c:pt idx="57">
                  <c:v>45876</c:v>
                </c:pt>
                <c:pt idx="58">
                  <c:v>45875</c:v>
                </c:pt>
                <c:pt idx="59">
                  <c:v>45874</c:v>
                </c:pt>
                <c:pt idx="60">
                  <c:v>45873</c:v>
                </c:pt>
                <c:pt idx="61">
                  <c:v>45870</c:v>
                </c:pt>
                <c:pt idx="62">
                  <c:v>45869</c:v>
                </c:pt>
                <c:pt idx="63">
                  <c:v>45868</c:v>
                </c:pt>
                <c:pt idx="64">
                  <c:v>45867</c:v>
                </c:pt>
                <c:pt idx="65">
                  <c:v>45866</c:v>
                </c:pt>
                <c:pt idx="66">
                  <c:v>45863</c:v>
                </c:pt>
                <c:pt idx="67">
                  <c:v>45862</c:v>
                </c:pt>
                <c:pt idx="68">
                  <c:v>45861</c:v>
                </c:pt>
                <c:pt idx="69">
                  <c:v>45860</c:v>
                </c:pt>
                <c:pt idx="70">
                  <c:v>45859</c:v>
                </c:pt>
                <c:pt idx="71">
                  <c:v>45856</c:v>
                </c:pt>
                <c:pt idx="72">
                  <c:v>45855</c:v>
                </c:pt>
                <c:pt idx="73">
                  <c:v>45854</c:v>
                </c:pt>
                <c:pt idx="74">
                  <c:v>45853</c:v>
                </c:pt>
                <c:pt idx="75">
                  <c:v>45852</c:v>
                </c:pt>
                <c:pt idx="76">
                  <c:v>45849</c:v>
                </c:pt>
                <c:pt idx="77">
                  <c:v>45848</c:v>
                </c:pt>
                <c:pt idx="78">
                  <c:v>45847</c:v>
                </c:pt>
                <c:pt idx="79">
                  <c:v>45846</c:v>
                </c:pt>
                <c:pt idx="80">
                  <c:v>45845</c:v>
                </c:pt>
                <c:pt idx="81">
                  <c:v>45842</c:v>
                </c:pt>
                <c:pt idx="82">
                  <c:v>45841</c:v>
                </c:pt>
                <c:pt idx="83">
                  <c:v>45840</c:v>
                </c:pt>
                <c:pt idx="84">
                  <c:v>45839</c:v>
                </c:pt>
                <c:pt idx="85">
                  <c:v>45838</c:v>
                </c:pt>
                <c:pt idx="86">
                  <c:v>45835</c:v>
                </c:pt>
                <c:pt idx="87">
                  <c:v>45834</c:v>
                </c:pt>
                <c:pt idx="88">
                  <c:v>45833</c:v>
                </c:pt>
                <c:pt idx="89">
                  <c:v>45832</c:v>
                </c:pt>
                <c:pt idx="90">
                  <c:v>45831</c:v>
                </c:pt>
                <c:pt idx="91">
                  <c:v>45828</c:v>
                </c:pt>
                <c:pt idx="92">
                  <c:v>45827</c:v>
                </c:pt>
                <c:pt idx="93">
                  <c:v>45826</c:v>
                </c:pt>
                <c:pt idx="94">
                  <c:v>45825</c:v>
                </c:pt>
                <c:pt idx="95">
                  <c:v>45824</c:v>
                </c:pt>
                <c:pt idx="96">
                  <c:v>45821</c:v>
                </c:pt>
                <c:pt idx="97">
                  <c:v>45820</c:v>
                </c:pt>
                <c:pt idx="98">
                  <c:v>45819</c:v>
                </c:pt>
                <c:pt idx="99">
                  <c:v>45818</c:v>
                </c:pt>
                <c:pt idx="100">
                  <c:v>45817</c:v>
                </c:pt>
                <c:pt idx="101">
                  <c:v>45814</c:v>
                </c:pt>
                <c:pt idx="102">
                  <c:v>45813</c:v>
                </c:pt>
                <c:pt idx="103">
                  <c:v>45812</c:v>
                </c:pt>
                <c:pt idx="104">
                  <c:v>45811</c:v>
                </c:pt>
                <c:pt idx="105">
                  <c:v>45810</c:v>
                </c:pt>
                <c:pt idx="106">
                  <c:v>45807</c:v>
                </c:pt>
                <c:pt idx="107">
                  <c:v>45806</c:v>
                </c:pt>
                <c:pt idx="108">
                  <c:v>45805</c:v>
                </c:pt>
                <c:pt idx="109">
                  <c:v>45804</c:v>
                </c:pt>
                <c:pt idx="110">
                  <c:v>45803</c:v>
                </c:pt>
                <c:pt idx="111">
                  <c:v>45800</c:v>
                </c:pt>
                <c:pt idx="112">
                  <c:v>45799</c:v>
                </c:pt>
                <c:pt idx="113">
                  <c:v>45798</c:v>
                </c:pt>
                <c:pt idx="114">
                  <c:v>45797</c:v>
                </c:pt>
                <c:pt idx="115">
                  <c:v>45796</c:v>
                </c:pt>
                <c:pt idx="116">
                  <c:v>45793</c:v>
                </c:pt>
                <c:pt idx="117">
                  <c:v>45792</c:v>
                </c:pt>
                <c:pt idx="118">
                  <c:v>45791</c:v>
                </c:pt>
                <c:pt idx="119">
                  <c:v>45790</c:v>
                </c:pt>
                <c:pt idx="120">
                  <c:v>45789</c:v>
                </c:pt>
                <c:pt idx="121">
                  <c:v>45786</c:v>
                </c:pt>
                <c:pt idx="122">
                  <c:v>45785</c:v>
                </c:pt>
                <c:pt idx="123">
                  <c:v>45784</c:v>
                </c:pt>
                <c:pt idx="124">
                  <c:v>45783</c:v>
                </c:pt>
                <c:pt idx="125">
                  <c:v>45782</c:v>
                </c:pt>
                <c:pt idx="126">
                  <c:v>45779</c:v>
                </c:pt>
                <c:pt idx="127">
                  <c:v>45777</c:v>
                </c:pt>
                <c:pt idx="128">
                  <c:v>45776</c:v>
                </c:pt>
                <c:pt idx="129">
                  <c:v>45775</c:v>
                </c:pt>
                <c:pt idx="130">
                  <c:v>45772</c:v>
                </c:pt>
                <c:pt idx="131">
                  <c:v>45771</c:v>
                </c:pt>
                <c:pt idx="132">
                  <c:v>45770</c:v>
                </c:pt>
                <c:pt idx="133">
                  <c:v>45769</c:v>
                </c:pt>
                <c:pt idx="134">
                  <c:v>45768</c:v>
                </c:pt>
                <c:pt idx="135">
                  <c:v>45764</c:v>
                </c:pt>
                <c:pt idx="136">
                  <c:v>45763</c:v>
                </c:pt>
                <c:pt idx="137">
                  <c:v>45762</c:v>
                </c:pt>
                <c:pt idx="138">
                  <c:v>45758</c:v>
                </c:pt>
                <c:pt idx="139">
                  <c:v>45756</c:v>
                </c:pt>
                <c:pt idx="140">
                  <c:v>45755</c:v>
                </c:pt>
                <c:pt idx="141">
                  <c:v>45754</c:v>
                </c:pt>
                <c:pt idx="142">
                  <c:v>45751</c:v>
                </c:pt>
                <c:pt idx="143">
                  <c:v>45750</c:v>
                </c:pt>
                <c:pt idx="144">
                  <c:v>45749</c:v>
                </c:pt>
                <c:pt idx="145">
                  <c:v>45748</c:v>
                </c:pt>
                <c:pt idx="146">
                  <c:v>45744</c:v>
                </c:pt>
                <c:pt idx="147">
                  <c:v>45743</c:v>
                </c:pt>
                <c:pt idx="148">
                  <c:v>45742</c:v>
                </c:pt>
                <c:pt idx="149">
                  <c:v>45741</c:v>
                </c:pt>
                <c:pt idx="150">
                  <c:v>45740</c:v>
                </c:pt>
                <c:pt idx="151">
                  <c:v>45737</c:v>
                </c:pt>
                <c:pt idx="152">
                  <c:v>45736</c:v>
                </c:pt>
                <c:pt idx="153">
                  <c:v>45735</c:v>
                </c:pt>
                <c:pt idx="154">
                  <c:v>45734</c:v>
                </c:pt>
                <c:pt idx="155">
                  <c:v>45733</c:v>
                </c:pt>
                <c:pt idx="156">
                  <c:v>45729</c:v>
                </c:pt>
                <c:pt idx="157">
                  <c:v>45728</c:v>
                </c:pt>
                <c:pt idx="158">
                  <c:v>45727</c:v>
                </c:pt>
                <c:pt idx="159">
                  <c:v>45726</c:v>
                </c:pt>
                <c:pt idx="160">
                  <c:v>45723</c:v>
                </c:pt>
                <c:pt idx="161">
                  <c:v>45722</c:v>
                </c:pt>
                <c:pt idx="162">
                  <c:v>45721</c:v>
                </c:pt>
                <c:pt idx="163">
                  <c:v>45720</c:v>
                </c:pt>
                <c:pt idx="164">
                  <c:v>45719</c:v>
                </c:pt>
                <c:pt idx="165">
                  <c:v>45716</c:v>
                </c:pt>
                <c:pt idx="166">
                  <c:v>45715</c:v>
                </c:pt>
                <c:pt idx="167">
                  <c:v>45713</c:v>
                </c:pt>
                <c:pt idx="168">
                  <c:v>45712</c:v>
                </c:pt>
                <c:pt idx="169">
                  <c:v>45709</c:v>
                </c:pt>
                <c:pt idx="170">
                  <c:v>45708</c:v>
                </c:pt>
                <c:pt idx="171">
                  <c:v>45707</c:v>
                </c:pt>
                <c:pt idx="172">
                  <c:v>45706</c:v>
                </c:pt>
                <c:pt idx="173">
                  <c:v>45705</c:v>
                </c:pt>
                <c:pt idx="174">
                  <c:v>45702</c:v>
                </c:pt>
                <c:pt idx="175">
                  <c:v>45701</c:v>
                </c:pt>
                <c:pt idx="176">
                  <c:v>45700</c:v>
                </c:pt>
                <c:pt idx="177">
                  <c:v>45699</c:v>
                </c:pt>
                <c:pt idx="178">
                  <c:v>45698</c:v>
                </c:pt>
                <c:pt idx="179">
                  <c:v>45695</c:v>
                </c:pt>
                <c:pt idx="180">
                  <c:v>45694</c:v>
                </c:pt>
                <c:pt idx="181">
                  <c:v>45693</c:v>
                </c:pt>
                <c:pt idx="182">
                  <c:v>45692</c:v>
                </c:pt>
                <c:pt idx="183">
                  <c:v>45691</c:v>
                </c:pt>
                <c:pt idx="184">
                  <c:v>45689</c:v>
                </c:pt>
                <c:pt idx="185">
                  <c:v>45688</c:v>
                </c:pt>
                <c:pt idx="186">
                  <c:v>45687</c:v>
                </c:pt>
                <c:pt idx="187">
                  <c:v>45686</c:v>
                </c:pt>
                <c:pt idx="188">
                  <c:v>45685</c:v>
                </c:pt>
                <c:pt idx="189">
                  <c:v>45684</c:v>
                </c:pt>
                <c:pt idx="190">
                  <c:v>45681</c:v>
                </c:pt>
                <c:pt idx="191">
                  <c:v>45680</c:v>
                </c:pt>
                <c:pt idx="192">
                  <c:v>45679</c:v>
                </c:pt>
                <c:pt idx="193">
                  <c:v>45678</c:v>
                </c:pt>
                <c:pt idx="194">
                  <c:v>45677</c:v>
                </c:pt>
                <c:pt idx="195">
                  <c:v>45674</c:v>
                </c:pt>
                <c:pt idx="196">
                  <c:v>45673</c:v>
                </c:pt>
                <c:pt idx="197">
                  <c:v>45672</c:v>
                </c:pt>
                <c:pt idx="198">
                  <c:v>45671</c:v>
                </c:pt>
                <c:pt idx="199">
                  <c:v>45670</c:v>
                </c:pt>
                <c:pt idx="200">
                  <c:v>45667</c:v>
                </c:pt>
                <c:pt idx="201">
                  <c:v>45666</c:v>
                </c:pt>
                <c:pt idx="202">
                  <c:v>45665</c:v>
                </c:pt>
                <c:pt idx="203">
                  <c:v>45664</c:v>
                </c:pt>
                <c:pt idx="204">
                  <c:v>45663</c:v>
                </c:pt>
                <c:pt idx="205">
                  <c:v>45660</c:v>
                </c:pt>
                <c:pt idx="206">
                  <c:v>45659</c:v>
                </c:pt>
                <c:pt idx="207">
                  <c:v>45658</c:v>
                </c:pt>
                <c:pt idx="208">
                  <c:v>45657</c:v>
                </c:pt>
                <c:pt idx="209">
                  <c:v>45656</c:v>
                </c:pt>
                <c:pt idx="210">
                  <c:v>45653</c:v>
                </c:pt>
                <c:pt idx="211">
                  <c:v>45652</c:v>
                </c:pt>
                <c:pt idx="212">
                  <c:v>45650</c:v>
                </c:pt>
                <c:pt idx="213">
                  <c:v>45649</c:v>
                </c:pt>
                <c:pt idx="214">
                  <c:v>45646</c:v>
                </c:pt>
                <c:pt idx="215">
                  <c:v>45645</c:v>
                </c:pt>
                <c:pt idx="216">
                  <c:v>45644</c:v>
                </c:pt>
                <c:pt idx="217">
                  <c:v>45643</c:v>
                </c:pt>
                <c:pt idx="218">
                  <c:v>45642</c:v>
                </c:pt>
                <c:pt idx="219">
                  <c:v>45639</c:v>
                </c:pt>
                <c:pt idx="220">
                  <c:v>45638</c:v>
                </c:pt>
                <c:pt idx="221">
                  <c:v>45637</c:v>
                </c:pt>
                <c:pt idx="222">
                  <c:v>45636</c:v>
                </c:pt>
                <c:pt idx="223">
                  <c:v>45635</c:v>
                </c:pt>
                <c:pt idx="224">
                  <c:v>45632</c:v>
                </c:pt>
                <c:pt idx="225">
                  <c:v>45631</c:v>
                </c:pt>
                <c:pt idx="226">
                  <c:v>45630</c:v>
                </c:pt>
                <c:pt idx="227">
                  <c:v>45629</c:v>
                </c:pt>
                <c:pt idx="228">
                  <c:v>45628</c:v>
                </c:pt>
                <c:pt idx="229">
                  <c:v>45625</c:v>
                </c:pt>
                <c:pt idx="230">
                  <c:v>45624</c:v>
                </c:pt>
                <c:pt idx="231">
                  <c:v>45623</c:v>
                </c:pt>
                <c:pt idx="232">
                  <c:v>45622</c:v>
                </c:pt>
                <c:pt idx="233">
                  <c:v>45621</c:v>
                </c:pt>
                <c:pt idx="234">
                  <c:v>45618</c:v>
                </c:pt>
                <c:pt idx="235">
                  <c:v>45617</c:v>
                </c:pt>
                <c:pt idx="236">
                  <c:v>45615</c:v>
                </c:pt>
                <c:pt idx="237">
                  <c:v>45614</c:v>
                </c:pt>
                <c:pt idx="238">
                  <c:v>45610</c:v>
                </c:pt>
                <c:pt idx="239">
                  <c:v>45609</c:v>
                </c:pt>
                <c:pt idx="240">
                  <c:v>45608</c:v>
                </c:pt>
                <c:pt idx="241">
                  <c:v>45607</c:v>
                </c:pt>
                <c:pt idx="242">
                  <c:v>45604</c:v>
                </c:pt>
                <c:pt idx="243">
                  <c:v>45603</c:v>
                </c:pt>
                <c:pt idx="244">
                  <c:v>45602</c:v>
                </c:pt>
                <c:pt idx="245">
                  <c:v>45601</c:v>
                </c:pt>
                <c:pt idx="246">
                  <c:v>45600</c:v>
                </c:pt>
                <c:pt idx="247">
                  <c:v>45597</c:v>
                </c:pt>
                <c:pt idx="248">
                  <c:v>45596</c:v>
                </c:pt>
                <c:pt idx="249">
                  <c:v>45595</c:v>
                </c:pt>
                <c:pt idx="250">
                  <c:v>45594</c:v>
                </c:pt>
                <c:pt idx="251">
                  <c:v>45593</c:v>
                </c:pt>
                <c:pt idx="252">
                  <c:v>45590</c:v>
                </c:pt>
                <c:pt idx="253">
                  <c:v>45589</c:v>
                </c:pt>
                <c:pt idx="254">
                  <c:v>45588</c:v>
                </c:pt>
                <c:pt idx="255">
                  <c:v>45587</c:v>
                </c:pt>
                <c:pt idx="256">
                  <c:v>45586</c:v>
                </c:pt>
                <c:pt idx="257">
                  <c:v>45583</c:v>
                </c:pt>
                <c:pt idx="258">
                  <c:v>45582</c:v>
                </c:pt>
                <c:pt idx="259">
                  <c:v>45581</c:v>
                </c:pt>
                <c:pt idx="260">
                  <c:v>45580</c:v>
                </c:pt>
                <c:pt idx="261">
                  <c:v>45579</c:v>
                </c:pt>
                <c:pt idx="262">
                  <c:v>45576</c:v>
                </c:pt>
                <c:pt idx="263">
                  <c:v>45575</c:v>
                </c:pt>
                <c:pt idx="264">
                  <c:v>45574</c:v>
                </c:pt>
                <c:pt idx="265">
                  <c:v>45573</c:v>
                </c:pt>
                <c:pt idx="266">
                  <c:v>45572</c:v>
                </c:pt>
                <c:pt idx="267">
                  <c:v>45569</c:v>
                </c:pt>
                <c:pt idx="268">
                  <c:v>45568</c:v>
                </c:pt>
                <c:pt idx="269">
                  <c:v>45566</c:v>
                </c:pt>
                <c:pt idx="270">
                  <c:v>45565</c:v>
                </c:pt>
                <c:pt idx="271">
                  <c:v>45562</c:v>
                </c:pt>
                <c:pt idx="272">
                  <c:v>45561</c:v>
                </c:pt>
                <c:pt idx="273">
                  <c:v>45560</c:v>
                </c:pt>
                <c:pt idx="274">
                  <c:v>45559</c:v>
                </c:pt>
                <c:pt idx="275">
                  <c:v>45558</c:v>
                </c:pt>
                <c:pt idx="276">
                  <c:v>45555</c:v>
                </c:pt>
                <c:pt idx="277">
                  <c:v>45554</c:v>
                </c:pt>
                <c:pt idx="278">
                  <c:v>45553</c:v>
                </c:pt>
                <c:pt idx="279">
                  <c:v>45552</c:v>
                </c:pt>
                <c:pt idx="280">
                  <c:v>45551</c:v>
                </c:pt>
                <c:pt idx="281">
                  <c:v>45548</c:v>
                </c:pt>
                <c:pt idx="282">
                  <c:v>45547</c:v>
                </c:pt>
                <c:pt idx="283">
                  <c:v>45546</c:v>
                </c:pt>
                <c:pt idx="284">
                  <c:v>45545</c:v>
                </c:pt>
                <c:pt idx="285">
                  <c:v>45544</c:v>
                </c:pt>
                <c:pt idx="286">
                  <c:v>45541</c:v>
                </c:pt>
                <c:pt idx="287">
                  <c:v>45540</c:v>
                </c:pt>
                <c:pt idx="288">
                  <c:v>45539</c:v>
                </c:pt>
                <c:pt idx="289">
                  <c:v>45538</c:v>
                </c:pt>
                <c:pt idx="290">
                  <c:v>45537</c:v>
                </c:pt>
                <c:pt idx="291">
                  <c:v>45534</c:v>
                </c:pt>
                <c:pt idx="292">
                  <c:v>45533</c:v>
                </c:pt>
                <c:pt idx="293">
                  <c:v>45532</c:v>
                </c:pt>
                <c:pt idx="294">
                  <c:v>45531</c:v>
                </c:pt>
                <c:pt idx="295">
                  <c:v>45530</c:v>
                </c:pt>
                <c:pt idx="296">
                  <c:v>45527</c:v>
                </c:pt>
                <c:pt idx="297">
                  <c:v>45526</c:v>
                </c:pt>
                <c:pt idx="298">
                  <c:v>45525</c:v>
                </c:pt>
                <c:pt idx="299">
                  <c:v>45524</c:v>
                </c:pt>
                <c:pt idx="300">
                  <c:v>45523</c:v>
                </c:pt>
                <c:pt idx="301">
                  <c:v>45520</c:v>
                </c:pt>
                <c:pt idx="302">
                  <c:v>45518</c:v>
                </c:pt>
                <c:pt idx="303">
                  <c:v>45517</c:v>
                </c:pt>
                <c:pt idx="304">
                  <c:v>45516</c:v>
                </c:pt>
                <c:pt idx="305">
                  <c:v>45513</c:v>
                </c:pt>
                <c:pt idx="306">
                  <c:v>45512</c:v>
                </c:pt>
                <c:pt idx="307">
                  <c:v>45511</c:v>
                </c:pt>
                <c:pt idx="308">
                  <c:v>45510</c:v>
                </c:pt>
                <c:pt idx="309">
                  <c:v>45509</c:v>
                </c:pt>
                <c:pt idx="310">
                  <c:v>45506</c:v>
                </c:pt>
                <c:pt idx="311">
                  <c:v>45505</c:v>
                </c:pt>
                <c:pt idx="312">
                  <c:v>45504</c:v>
                </c:pt>
                <c:pt idx="313">
                  <c:v>45503</c:v>
                </c:pt>
                <c:pt idx="314">
                  <c:v>45502</c:v>
                </c:pt>
                <c:pt idx="315">
                  <c:v>45499</c:v>
                </c:pt>
                <c:pt idx="316">
                  <c:v>45498</c:v>
                </c:pt>
                <c:pt idx="317">
                  <c:v>45497</c:v>
                </c:pt>
                <c:pt idx="318">
                  <c:v>45496</c:v>
                </c:pt>
                <c:pt idx="319">
                  <c:v>45495</c:v>
                </c:pt>
                <c:pt idx="320">
                  <c:v>45492</c:v>
                </c:pt>
                <c:pt idx="321">
                  <c:v>45491</c:v>
                </c:pt>
                <c:pt idx="322">
                  <c:v>45489</c:v>
                </c:pt>
                <c:pt idx="323">
                  <c:v>45488</c:v>
                </c:pt>
                <c:pt idx="324">
                  <c:v>45485</c:v>
                </c:pt>
                <c:pt idx="325">
                  <c:v>45484</c:v>
                </c:pt>
                <c:pt idx="326">
                  <c:v>45483</c:v>
                </c:pt>
                <c:pt idx="327">
                  <c:v>45482</c:v>
                </c:pt>
                <c:pt idx="328">
                  <c:v>45481</c:v>
                </c:pt>
                <c:pt idx="329">
                  <c:v>45478</c:v>
                </c:pt>
                <c:pt idx="330">
                  <c:v>45477</c:v>
                </c:pt>
                <c:pt idx="331">
                  <c:v>45476</c:v>
                </c:pt>
                <c:pt idx="332">
                  <c:v>45475</c:v>
                </c:pt>
                <c:pt idx="333">
                  <c:v>45474</c:v>
                </c:pt>
                <c:pt idx="334">
                  <c:v>45471</c:v>
                </c:pt>
                <c:pt idx="335">
                  <c:v>45470</c:v>
                </c:pt>
                <c:pt idx="336">
                  <c:v>45469</c:v>
                </c:pt>
                <c:pt idx="337">
                  <c:v>45468</c:v>
                </c:pt>
                <c:pt idx="338">
                  <c:v>45467</c:v>
                </c:pt>
                <c:pt idx="339">
                  <c:v>45464</c:v>
                </c:pt>
                <c:pt idx="340">
                  <c:v>45463</c:v>
                </c:pt>
                <c:pt idx="341">
                  <c:v>45462</c:v>
                </c:pt>
                <c:pt idx="342">
                  <c:v>45461</c:v>
                </c:pt>
                <c:pt idx="343">
                  <c:v>45457</c:v>
                </c:pt>
                <c:pt idx="344">
                  <c:v>45456</c:v>
                </c:pt>
                <c:pt idx="345">
                  <c:v>45455</c:v>
                </c:pt>
                <c:pt idx="346">
                  <c:v>45454</c:v>
                </c:pt>
                <c:pt idx="347">
                  <c:v>45453</c:v>
                </c:pt>
                <c:pt idx="348">
                  <c:v>45450</c:v>
                </c:pt>
                <c:pt idx="349">
                  <c:v>45449</c:v>
                </c:pt>
                <c:pt idx="350">
                  <c:v>45448</c:v>
                </c:pt>
                <c:pt idx="351">
                  <c:v>45447</c:v>
                </c:pt>
                <c:pt idx="352">
                  <c:v>45446</c:v>
                </c:pt>
                <c:pt idx="353">
                  <c:v>45443</c:v>
                </c:pt>
                <c:pt idx="354">
                  <c:v>45442</c:v>
                </c:pt>
                <c:pt idx="355">
                  <c:v>45441</c:v>
                </c:pt>
                <c:pt idx="356">
                  <c:v>45440</c:v>
                </c:pt>
                <c:pt idx="357">
                  <c:v>45439</c:v>
                </c:pt>
                <c:pt idx="358">
                  <c:v>45436</c:v>
                </c:pt>
                <c:pt idx="359">
                  <c:v>45435</c:v>
                </c:pt>
                <c:pt idx="360">
                  <c:v>45434</c:v>
                </c:pt>
                <c:pt idx="361">
                  <c:v>45433</c:v>
                </c:pt>
                <c:pt idx="362">
                  <c:v>45430</c:v>
                </c:pt>
                <c:pt idx="363">
                  <c:v>45429</c:v>
                </c:pt>
                <c:pt idx="364">
                  <c:v>45428</c:v>
                </c:pt>
                <c:pt idx="365">
                  <c:v>45427</c:v>
                </c:pt>
                <c:pt idx="366">
                  <c:v>45426</c:v>
                </c:pt>
                <c:pt idx="367">
                  <c:v>45425</c:v>
                </c:pt>
                <c:pt idx="368">
                  <c:v>45422</c:v>
                </c:pt>
                <c:pt idx="369">
                  <c:v>45421</c:v>
                </c:pt>
                <c:pt idx="370">
                  <c:v>45420</c:v>
                </c:pt>
                <c:pt idx="371">
                  <c:v>45419</c:v>
                </c:pt>
                <c:pt idx="372">
                  <c:v>45418</c:v>
                </c:pt>
                <c:pt idx="373">
                  <c:v>45415</c:v>
                </c:pt>
                <c:pt idx="374">
                  <c:v>45414</c:v>
                </c:pt>
                <c:pt idx="375">
                  <c:v>45412</c:v>
                </c:pt>
                <c:pt idx="376">
                  <c:v>45411</c:v>
                </c:pt>
                <c:pt idx="377">
                  <c:v>45408</c:v>
                </c:pt>
                <c:pt idx="378">
                  <c:v>45407</c:v>
                </c:pt>
                <c:pt idx="379">
                  <c:v>45406</c:v>
                </c:pt>
                <c:pt idx="380">
                  <c:v>45405</c:v>
                </c:pt>
                <c:pt idx="381">
                  <c:v>45404</c:v>
                </c:pt>
                <c:pt idx="382">
                  <c:v>45401</c:v>
                </c:pt>
                <c:pt idx="383">
                  <c:v>45400</c:v>
                </c:pt>
                <c:pt idx="384">
                  <c:v>45398</c:v>
                </c:pt>
                <c:pt idx="385">
                  <c:v>45397</c:v>
                </c:pt>
                <c:pt idx="386">
                  <c:v>45394</c:v>
                </c:pt>
                <c:pt idx="387">
                  <c:v>45392</c:v>
                </c:pt>
                <c:pt idx="388">
                  <c:v>45391</c:v>
                </c:pt>
                <c:pt idx="389">
                  <c:v>45390</c:v>
                </c:pt>
                <c:pt idx="390">
                  <c:v>45387</c:v>
                </c:pt>
                <c:pt idx="391">
                  <c:v>45386</c:v>
                </c:pt>
                <c:pt idx="392">
                  <c:v>45385</c:v>
                </c:pt>
                <c:pt idx="393">
                  <c:v>45384</c:v>
                </c:pt>
                <c:pt idx="394">
                  <c:v>45383</c:v>
                </c:pt>
                <c:pt idx="395">
                  <c:v>45379</c:v>
                </c:pt>
                <c:pt idx="396">
                  <c:v>45378</c:v>
                </c:pt>
                <c:pt idx="397">
                  <c:v>45377</c:v>
                </c:pt>
                <c:pt idx="398">
                  <c:v>45373</c:v>
                </c:pt>
                <c:pt idx="399">
                  <c:v>45372</c:v>
                </c:pt>
                <c:pt idx="400">
                  <c:v>45371</c:v>
                </c:pt>
                <c:pt idx="401">
                  <c:v>45370</c:v>
                </c:pt>
                <c:pt idx="402">
                  <c:v>45369</c:v>
                </c:pt>
                <c:pt idx="403">
                  <c:v>45366</c:v>
                </c:pt>
                <c:pt idx="404">
                  <c:v>45365</c:v>
                </c:pt>
                <c:pt idx="405">
                  <c:v>45364</c:v>
                </c:pt>
                <c:pt idx="406">
                  <c:v>45363</c:v>
                </c:pt>
                <c:pt idx="407">
                  <c:v>45362</c:v>
                </c:pt>
                <c:pt idx="408">
                  <c:v>45358</c:v>
                </c:pt>
                <c:pt idx="409">
                  <c:v>45357</c:v>
                </c:pt>
                <c:pt idx="410">
                  <c:v>45356</c:v>
                </c:pt>
                <c:pt idx="411">
                  <c:v>45355</c:v>
                </c:pt>
                <c:pt idx="412">
                  <c:v>45353</c:v>
                </c:pt>
                <c:pt idx="413">
                  <c:v>45352</c:v>
                </c:pt>
                <c:pt idx="414">
                  <c:v>45351</c:v>
                </c:pt>
                <c:pt idx="415">
                  <c:v>45350</c:v>
                </c:pt>
                <c:pt idx="416">
                  <c:v>45349</c:v>
                </c:pt>
                <c:pt idx="417">
                  <c:v>45348</c:v>
                </c:pt>
                <c:pt idx="418">
                  <c:v>45345</c:v>
                </c:pt>
                <c:pt idx="419">
                  <c:v>45344</c:v>
                </c:pt>
                <c:pt idx="420">
                  <c:v>45343</c:v>
                </c:pt>
                <c:pt idx="421">
                  <c:v>45342</c:v>
                </c:pt>
                <c:pt idx="422">
                  <c:v>45341</c:v>
                </c:pt>
                <c:pt idx="423">
                  <c:v>45338</c:v>
                </c:pt>
                <c:pt idx="424">
                  <c:v>45337</c:v>
                </c:pt>
                <c:pt idx="425">
                  <c:v>45336</c:v>
                </c:pt>
                <c:pt idx="426">
                  <c:v>45335</c:v>
                </c:pt>
                <c:pt idx="427">
                  <c:v>45334</c:v>
                </c:pt>
                <c:pt idx="428">
                  <c:v>45331</c:v>
                </c:pt>
                <c:pt idx="429">
                  <c:v>45330</c:v>
                </c:pt>
                <c:pt idx="430">
                  <c:v>45329</c:v>
                </c:pt>
                <c:pt idx="431">
                  <c:v>45328</c:v>
                </c:pt>
                <c:pt idx="432">
                  <c:v>45327</c:v>
                </c:pt>
                <c:pt idx="433">
                  <c:v>45324</c:v>
                </c:pt>
                <c:pt idx="434">
                  <c:v>45323</c:v>
                </c:pt>
                <c:pt idx="435">
                  <c:v>45322</c:v>
                </c:pt>
                <c:pt idx="436">
                  <c:v>45321</c:v>
                </c:pt>
                <c:pt idx="437">
                  <c:v>45320</c:v>
                </c:pt>
                <c:pt idx="438">
                  <c:v>45316</c:v>
                </c:pt>
                <c:pt idx="439">
                  <c:v>45315</c:v>
                </c:pt>
                <c:pt idx="440">
                  <c:v>45314</c:v>
                </c:pt>
                <c:pt idx="441">
                  <c:v>45311</c:v>
                </c:pt>
                <c:pt idx="442">
                  <c:v>45310</c:v>
                </c:pt>
                <c:pt idx="443">
                  <c:v>45309</c:v>
                </c:pt>
                <c:pt idx="444">
                  <c:v>45308</c:v>
                </c:pt>
                <c:pt idx="445">
                  <c:v>45307</c:v>
                </c:pt>
                <c:pt idx="446">
                  <c:v>45306</c:v>
                </c:pt>
                <c:pt idx="447">
                  <c:v>45303</c:v>
                </c:pt>
                <c:pt idx="448">
                  <c:v>45302</c:v>
                </c:pt>
                <c:pt idx="449">
                  <c:v>45301</c:v>
                </c:pt>
                <c:pt idx="450">
                  <c:v>45300</c:v>
                </c:pt>
                <c:pt idx="451">
                  <c:v>45299</c:v>
                </c:pt>
                <c:pt idx="452">
                  <c:v>45296</c:v>
                </c:pt>
                <c:pt idx="453">
                  <c:v>45295</c:v>
                </c:pt>
                <c:pt idx="454">
                  <c:v>45294</c:v>
                </c:pt>
                <c:pt idx="455">
                  <c:v>45293</c:v>
                </c:pt>
                <c:pt idx="456">
                  <c:v>45292</c:v>
                </c:pt>
                <c:pt idx="457">
                  <c:v>45289</c:v>
                </c:pt>
                <c:pt idx="458">
                  <c:v>45288</c:v>
                </c:pt>
                <c:pt idx="459">
                  <c:v>45287</c:v>
                </c:pt>
                <c:pt idx="460">
                  <c:v>45286</c:v>
                </c:pt>
                <c:pt idx="461">
                  <c:v>45282</c:v>
                </c:pt>
                <c:pt idx="462">
                  <c:v>45281</c:v>
                </c:pt>
                <c:pt idx="463">
                  <c:v>45280</c:v>
                </c:pt>
                <c:pt idx="464">
                  <c:v>45279</c:v>
                </c:pt>
                <c:pt idx="465">
                  <c:v>45278</c:v>
                </c:pt>
                <c:pt idx="466">
                  <c:v>45275</c:v>
                </c:pt>
                <c:pt idx="467">
                  <c:v>45274</c:v>
                </c:pt>
                <c:pt idx="468">
                  <c:v>45273</c:v>
                </c:pt>
                <c:pt idx="469">
                  <c:v>45272</c:v>
                </c:pt>
                <c:pt idx="470">
                  <c:v>45271</c:v>
                </c:pt>
                <c:pt idx="471">
                  <c:v>45268</c:v>
                </c:pt>
                <c:pt idx="472">
                  <c:v>45267</c:v>
                </c:pt>
                <c:pt idx="473">
                  <c:v>45266</c:v>
                </c:pt>
                <c:pt idx="474">
                  <c:v>45265</c:v>
                </c:pt>
                <c:pt idx="475">
                  <c:v>45264</c:v>
                </c:pt>
                <c:pt idx="476">
                  <c:v>45261</c:v>
                </c:pt>
                <c:pt idx="477">
                  <c:v>45260</c:v>
                </c:pt>
                <c:pt idx="478">
                  <c:v>45259</c:v>
                </c:pt>
                <c:pt idx="479">
                  <c:v>45258</c:v>
                </c:pt>
                <c:pt idx="480">
                  <c:v>45254</c:v>
                </c:pt>
                <c:pt idx="481">
                  <c:v>45253</c:v>
                </c:pt>
                <c:pt idx="482">
                  <c:v>45252</c:v>
                </c:pt>
                <c:pt idx="483">
                  <c:v>45251</c:v>
                </c:pt>
                <c:pt idx="484">
                  <c:v>45250</c:v>
                </c:pt>
                <c:pt idx="485">
                  <c:v>45247</c:v>
                </c:pt>
                <c:pt idx="486">
                  <c:v>45246</c:v>
                </c:pt>
                <c:pt idx="487">
                  <c:v>45245</c:v>
                </c:pt>
                <c:pt idx="488">
                  <c:v>45243</c:v>
                </c:pt>
                <c:pt idx="489">
                  <c:v>45242</c:v>
                </c:pt>
                <c:pt idx="490">
                  <c:v>45240</c:v>
                </c:pt>
                <c:pt idx="491">
                  <c:v>45239</c:v>
                </c:pt>
                <c:pt idx="492">
                  <c:v>45238</c:v>
                </c:pt>
                <c:pt idx="493">
                  <c:v>45237</c:v>
                </c:pt>
                <c:pt idx="494">
                  <c:v>45236</c:v>
                </c:pt>
                <c:pt idx="495">
                  <c:v>45233</c:v>
                </c:pt>
                <c:pt idx="496">
                  <c:v>45232</c:v>
                </c:pt>
                <c:pt idx="497">
                  <c:v>45231</c:v>
                </c:pt>
                <c:pt idx="498">
                  <c:v>45230</c:v>
                </c:pt>
                <c:pt idx="499">
                  <c:v>45229</c:v>
                </c:pt>
                <c:pt idx="500">
                  <c:v>45226</c:v>
                </c:pt>
                <c:pt idx="501">
                  <c:v>45225</c:v>
                </c:pt>
                <c:pt idx="502">
                  <c:v>45224</c:v>
                </c:pt>
                <c:pt idx="503">
                  <c:v>45222</c:v>
                </c:pt>
                <c:pt idx="504">
                  <c:v>45219</c:v>
                </c:pt>
                <c:pt idx="505">
                  <c:v>45218</c:v>
                </c:pt>
                <c:pt idx="506">
                  <c:v>45217</c:v>
                </c:pt>
                <c:pt idx="507">
                  <c:v>45216</c:v>
                </c:pt>
                <c:pt idx="508">
                  <c:v>45215</c:v>
                </c:pt>
                <c:pt idx="509">
                  <c:v>45212</c:v>
                </c:pt>
                <c:pt idx="510">
                  <c:v>45211</c:v>
                </c:pt>
                <c:pt idx="511">
                  <c:v>45210</c:v>
                </c:pt>
                <c:pt idx="512">
                  <c:v>45209</c:v>
                </c:pt>
                <c:pt idx="513">
                  <c:v>45208</c:v>
                </c:pt>
                <c:pt idx="514">
                  <c:v>45205</c:v>
                </c:pt>
                <c:pt idx="515">
                  <c:v>45204</c:v>
                </c:pt>
                <c:pt idx="516">
                  <c:v>45203</c:v>
                </c:pt>
                <c:pt idx="517">
                  <c:v>45202</c:v>
                </c:pt>
                <c:pt idx="518">
                  <c:v>45198</c:v>
                </c:pt>
                <c:pt idx="519">
                  <c:v>45197</c:v>
                </c:pt>
                <c:pt idx="520">
                  <c:v>45196</c:v>
                </c:pt>
                <c:pt idx="521">
                  <c:v>45195</c:v>
                </c:pt>
                <c:pt idx="522">
                  <c:v>45194</c:v>
                </c:pt>
                <c:pt idx="523">
                  <c:v>45191</c:v>
                </c:pt>
                <c:pt idx="524">
                  <c:v>45190</c:v>
                </c:pt>
                <c:pt idx="525">
                  <c:v>45189</c:v>
                </c:pt>
                <c:pt idx="526">
                  <c:v>45187</c:v>
                </c:pt>
                <c:pt idx="527">
                  <c:v>45184</c:v>
                </c:pt>
                <c:pt idx="528">
                  <c:v>45183</c:v>
                </c:pt>
                <c:pt idx="529">
                  <c:v>45182</c:v>
                </c:pt>
                <c:pt idx="530">
                  <c:v>45181</c:v>
                </c:pt>
                <c:pt idx="531">
                  <c:v>45180</c:v>
                </c:pt>
                <c:pt idx="532">
                  <c:v>45177</c:v>
                </c:pt>
                <c:pt idx="533">
                  <c:v>45176</c:v>
                </c:pt>
                <c:pt idx="534">
                  <c:v>45175</c:v>
                </c:pt>
                <c:pt idx="535">
                  <c:v>45174</c:v>
                </c:pt>
                <c:pt idx="536">
                  <c:v>45173</c:v>
                </c:pt>
                <c:pt idx="537">
                  <c:v>45170</c:v>
                </c:pt>
                <c:pt idx="538">
                  <c:v>45169</c:v>
                </c:pt>
                <c:pt idx="539">
                  <c:v>45168</c:v>
                </c:pt>
                <c:pt idx="540">
                  <c:v>45167</c:v>
                </c:pt>
                <c:pt idx="541">
                  <c:v>45166</c:v>
                </c:pt>
                <c:pt idx="542">
                  <c:v>45163</c:v>
                </c:pt>
                <c:pt idx="543">
                  <c:v>45162</c:v>
                </c:pt>
                <c:pt idx="544">
                  <c:v>45161</c:v>
                </c:pt>
                <c:pt idx="545">
                  <c:v>45160</c:v>
                </c:pt>
                <c:pt idx="546">
                  <c:v>45159</c:v>
                </c:pt>
                <c:pt idx="547">
                  <c:v>45156</c:v>
                </c:pt>
                <c:pt idx="548">
                  <c:v>45155</c:v>
                </c:pt>
                <c:pt idx="549">
                  <c:v>45154</c:v>
                </c:pt>
                <c:pt idx="550">
                  <c:v>45152</c:v>
                </c:pt>
                <c:pt idx="551">
                  <c:v>45149</c:v>
                </c:pt>
                <c:pt idx="552">
                  <c:v>45148</c:v>
                </c:pt>
                <c:pt idx="553">
                  <c:v>45147</c:v>
                </c:pt>
                <c:pt idx="554">
                  <c:v>45146</c:v>
                </c:pt>
                <c:pt idx="555">
                  <c:v>45145</c:v>
                </c:pt>
                <c:pt idx="556">
                  <c:v>45142</c:v>
                </c:pt>
                <c:pt idx="557">
                  <c:v>45141</c:v>
                </c:pt>
                <c:pt idx="558">
                  <c:v>45140</c:v>
                </c:pt>
                <c:pt idx="559">
                  <c:v>45139</c:v>
                </c:pt>
                <c:pt idx="560">
                  <c:v>45138</c:v>
                </c:pt>
                <c:pt idx="561">
                  <c:v>45135</c:v>
                </c:pt>
                <c:pt idx="562">
                  <c:v>45134</c:v>
                </c:pt>
                <c:pt idx="563">
                  <c:v>45133</c:v>
                </c:pt>
                <c:pt idx="564">
                  <c:v>45132</c:v>
                </c:pt>
                <c:pt idx="565">
                  <c:v>45131</c:v>
                </c:pt>
                <c:pt idx="566">
                  <c:v>45128</c:v>
                </c:pt>
                <c:pt idx="567">
                  <c:v>45127</c:v>
                </c:pt>
                <c:pt idx="568">
                  <c:v>45126</c:v>
                </c:pt>
                <c:pt idx="569">
                  <c:v>45125</c:v>
                </c:pt>
                <c:pt idx="570">
                  <c:v>45124</c:v>
                </c:pt>
                <c:pt idx="571">
                  <c:v>45121</c:v>
                </c:pt>
                <c:pt idx="572">
                  <c:v>45120</c:v>
                </c:pt>
                <c:pt idx="573">
                  <c:v>45119</c:v>
                </c:pt>
                <c:pt idx="574">
                  <c:v>45118</c:v>
                </c:pt>
                <c:pt idx="575">
                  <c:v>45117</c:v>
                </c:pt>
                <c:pt idx="576">
                  <c:v>45114</c:v>
                </c:pt>
                <c:pt idx="577">
                  <c:v>45113</c:v>
                </c:pt>
                <c:pt idx="578">
                  <c:v>45112</c:v>
                </c:pt>
                <c:pt idx="579">
                  <c:v>45111</c:v>
                </c:pt>
                <c:pt idx="580">
                  <c:v>45110</c:v>
                </c:pt>
                <c:pt idx="581">
                  <c:v>45107</c:v>
                </c:pt>
                <c:pt idx="582">
                  <c:v>45105</c:v>
                </c:pt>
                <c:pt idx="583">
                  <c:v>45104</c:v>
                </c:pt>
                <c:pt idx="584">
                  <c:v>45103</c:v>
                </c:pt>
                <c:pt idx="585">
                  <c:v>45100</c:v>
                </c:pt>
                <c:pt idx="586">
                  <c:v>45099</c:v>
                </c:pt>
                <c:pt idx="587">
                  <c:v>45098</c:v>
                </c:pt>
                <c:pt idx="588">
                  <c:v>45097</c:v>
                </c:pt>
                <c:pt idx="589">
                  <c:v>45096</c:v>
                </c:pt>
                <c:pt idx="590">
                  <c:v>45093</c:v>
                </c:pt>
                <c:pt idx="591">
                  <c:v>45092</c:v>
                </c:pt>
                <c:pt idx="592">
                  <c:v>45091</c:v>
                </c:pt>
                <c:pt idx="593">
                  <c:v>45090</c:v>
                </c:pt>
                <c:pt idx="594">
                  <c:v>45089</c:v>
                </c:pt>
                <c:pt idx="595">
                  <c:v>45086</c:v>
                </c:pt>
                <c:pt idx="596">
                  <c:v>45085</c:v>
                </c:pt>
                <c:pt idx="597">
                  <c:v>45084</c:v>
                </c:pt>
                <c:pt idx="598">
                  <c:v>45083</c:v>
                </c:pt>
                <c:pt idx="599">
                  <c:v>45082</c:v>
                </c:pt>
                <c:pt idx="600">
                  <c:v>45079</c:v>
                </c:pt>
                <c:pt idx="601">
                  <c:v>45078</c:v>
                </c:pt>
                <c:pt idx="602">
                  <c:v>45077</c:v>
                </c:pt>
                <c:pt idx="603">
                  <c:v>45076</c:v>
                </c:pt>
                <c:pt idx="604">
                  <c:v>45075</c:v>
                </c:pt>
                <c:pt idx="605">
                  <c:v>45072</c:v>
                </c:pt>
                <c:pt idx="606">
                  <c:v>45071</c:v>
                </c:pt>
                <c:pt idx="607">
                  <c:v>45070</c:v>
                </c:pt>
                <c:pt idx="608">
                  <c:v>45069</c:v>
                </c:pt>
                <c:pt idx="609">
                  <c:v>45068</c:v>
                </c:pt>
                <c:pt idx="610">
                  <c:v>45065</c:v>
                </c:pt>
                <c:pt idx="611">
                  <c:v>45064</c:v>
                </c:pt>
                <c:pt idx="612">
                  <c:v>45063</c:v>
                </c:pt>
                <c:pt idx="613">
                  <c:v>45062</c:v>
                </c:pt>
                <c:pt idx="614">
                  <c:v>45061</c:v>
                </c:pt>
                <c:pt idx="615">
                  <c:v>45058</c:v>
                </c:pt>
                <c:pt idx="616">
                  <c:v>45057</c:v>
                </c:pt>
                <c:pt idx="617">
                  <c:v>45056</c:v>
                </c:pt>
                <c:pt idx="618">
                  <c:v>45055</c:v>
                </c:pt>
                <c:pt idx="619">
                  <c:v>45054</c:v>
                </c:pt>
                <c:pt idx="620">
                  <c:v>45051</c:v>
                </c:pt>
                <c:pt idx="621">
                  <c:v>45050</c:v>
                </c:pt>
                <c:pt idx="622">
                  <c:v>45049</c:v>
                </c:pt>
                <c:pt idx="623">
                  <c:v>45048</c:v>
                </c:pt>
                <c:pt idx="624">
                  <c:v>45044</c:v>
                </c:pt>
                <c:pt idx="625">
                  <c:v>45043</c:v>
                </c:pt>
                <c:pt idx="626">
                  <c:v>45042</c:v>
                </c:pt>
                <c:pt idx="627">
                  <c:v>45041</c:v>
                </c:pt>
                <c:pt idx="628">
                  <c:v>45040</c:v>
                </c:pt>
                <c:pt idx="629">
                  <c:v>45037</c:v>
                </c:pt>
                <c:pt idx="630">
                  <c:v>45036</c:v>
                </c:pt>
                <c:pt idx="631">
                  <c:v>45035</c:v>
                </c:pt>
                <c:pt idx="632">
                  <c:v>45034</c:v>
                </c:pt>
                <c:pt idx="633">
                  <c:v>45033</c:v>
                </c:pt>
                <c:pt idx="634">
                  <c:v>45029</c:v>
                </c:pt>
                <c:pt idx="635">
                  <c:v>45028</c:v>
                </c:pt>
                <c:pt idx="636">
                  <c:v>45027</c:v>
                </c:pt>
                <c:pt idx="637">
                  <c:v>45026</c:v>
                </c:pt>
                <c:pt idx="638">
                  <c:v>45022</c:v>
                </c:pt>
                <c:pt idx="639">
                  <c:v>45021</c:v>
                </c:pt>
                <c:pt idx="640">
                  <c:v>45019</c:v>
                </c:pt>
                <c:pt idx="641">
                  <c:v>45016</c:v>
                </c:pt>
                <c:pt idx="642">
                  <c:v>45014</c:v>
                </c:pt>
                <c:pt idx="643">
                  <c:v>45013</c:v>
                </c:pt>
                <c:pt idx="644">
                  <c:v>45012</c:v>
                </c:pt>
                <c:pt idx="645">
                  <c:v>45009</c:v>
                </c:pt>
                <c:pt idx="646">
                  <c:v>45008</c:v>
                </c:pt>
                <c:pt idx="647">
                  <c:v>45007</c:v>
                </c:pt>
                <c:pt idx="648">
                  <c:v>45006</c:v>
                </c:pt>
                <c:pt idx="649">
                  <c:v>45005</c:v>
                </c:pt>
                <c:pt idx="650">
                  <c:v>45002</c:v>
                </c:pt>
                <c:pt idx="651">
                  <c:v>45001</c:v>
                </c:pt>
                <c:pt idx="652">
                  <c:v>45000</c:v>
                </c:pt>
                <c:pt idx="653">
                  <c:v>44999</c:v>
                </c:pt>
                <c:pt idx="654">
                  <c:v>44998</c:v>
                </c:pt>
                <c:pt idx="655">
                  <c:v>44995</c:v>
                </c:pt>
                <c:pt idx="656">
                  <c:v>44994</c:v>
                </c:pt>
                <c:pt idx="657">
                  <c:v>44993</c:v>
                </c:pt>
                <c:pt idx="658">
                  <c:v>44991</c:v>
                </c:pt>
                <c:pt idx="659">
                  <c:v>44988</c:v>
                </c:pt>
                <c:pt idx="660">
                  <c:v>44987</c:v>
                </c:pt>
                <c:pt idx="661">
                  <c:v>44986</c:v>
                </c:pt>
                <c:pt idx="662">
                  <c:v>44985</c:v>
                </c:pt>
                <c:pt idx="663">
                  <c:v>44984</c:v>
                </c:pt>
                <c:pt idx="664">
                  <c:v>44981</c:v>
                </c:pt>
                <c:pt idx="665">
                  <c:v>44980</c:v>
                </c:pt>
                <c:pt idx="666">
                  <c:v>44979</c:v>
                </c:pt>
                <c:pt idx="667">
                  <c:v>44978</c:v>
                </c:pt>
                <c:pt idx="668">
                  <c:v>44977</c:v>
                </c:pt>
                <c:pt idx="669">
                  <c:v>44974</c:v>
                </c:pt>
                <c:pt idx="670">
                  <c:v>44973</c:v>
                </c:pt>
                <c:pt idx="671">
                  <c:v>44972</c:v>
                </c:pt>
                <c:pt idx="672">
                  <c:v>44971</c:v>
                </c:pt>
                <c:pt idx="673">
                  <c:v>44970</c:v>
                </c:pt>
                <c:pt idx="674">
                  <c:v>44967</c:v>
                </c:pt>
                <c:pt idx="675">
                  <c:v>44966</c:v>
                </c:pt>
                <c:pt idx="676">
                  <c:v>44965</c:v>
                </c:pt>
                <c:pt idx="677">
                  <c:v>44964</c:v>
                </c:pt>
                <c:pt idx="678">
                  <c:v>44963</c:v>
                </c:pt>
                <c:pt idx="679">
                  <c:v>44960</c:v>
                </c:pt>
                <c:pt idx="680">
                  <c:v>44959</c:v>
                </c:pt>
                <c:pt idx="681">
                  <c:v>44958</c:v>
                </c:pt>
                <c:pt idx="682">
                  <c:v>44957</c:v>
                </c:pt>
                <c:pt idx="683">
                  <c:v>44956</c:v>
                </c:pt>
                <c:pt idx="684">
                  <c:v>44953</c:v>
                </c:pt>
                <c:pt idx="685">
                  <c:v>44951</c:v>
                </c:pt>
                <c:pt idx="686">
                  <c:v>44950</c:v>
                </c:pt>
                <c:pt idx="687">
                  <c:v>44949</c:v>
                </c:pt>
                <c:pt idx="688">
                  <c:v>44946</c:v>
                </c:pt>
                <c:pt idx="689">
                  <c:v>44945</c:v>
                </c:pt>
                <c:pt idx="690">
                  <c:v>44944</c:v>
                </c:pt>
                <c:pt idx="691">
                  <c:v>44943</c:v>
                </c:pt>
                <c:pt idx="692">
                  <c:v>44942</c:v>
                </c:pt>
                <c:pt idx="693">
                  <c:v>44939</c:v>
                </c:pt>
                <c:pt idx="694">
                  <c:v>44938</c:v>
                </c:pt>
                <c:pt idx="695">
                  <c:v>44937</c:v>
                </c:pt>
                <c:pt idx="696">
                  <c:v>44936</c:v>
                </c:pt>
                <c:pt idx="697">
                  <c:v>44935</c:v>
                </c:pt>
                <c:pt idx="698">
                  <c:v>44932</c:v>
                </c:pt>
                <c:pt idx="699">
                  <c:v>44931</c:v>
                </c:pt>
                <c:pt idx="700">
                  <c:v>44930</c:v>
                </c:pt>
                <c:pt idx="701">
                  <c:v>44929</c:v>
                </c:pt>
                <c:pt idx="702">
                  <c:v>44928</c:v>
                </c:pt>
                <c:pt idx="703">
                  <c:v>44925</c:v>
                </c:pt>
                <c:pt idx="704">
                  <c:v>44924</c:v>
                </c:pt>
                <c:pt idx="705">
                  <c:v>44923</c:v>
                </c:pt>
                <c:pt idx="706">
                  <c:v>44922</c:v>
                </c:pt>
                <c:pt idx="707">
                  <c:v>44921</c:v>
                </c:pt>
                <c:pt idx="708">
                  <c:v>44918</c:v>
                </c:pt>
                <c:pt idx="709">
                  <c:v>44917</c:v>
                </c:pt>
                <c:pt idx="710">
                  <c:v>44916</c:v>
                </c:pt>
                <c:pt idx="711">
                  <c:v>44915</c:v>
                </c:pt>
                <c:pt idx="712">
                  <c:v>44914</c:v>
                </c:pt>
                <c:pt idx="713">
                  <c:v>44911</c:v>
                </c:pt>
                <c:pt idx="714">
                  <c:v>44910</c:v>
                </c:pt>
                <c:pt idx="715">
                  <c:v>44909</c:v>
                </c:pt>
                <c:pt idx="716">
                  <c:v>44908</c:v>
                </c:pt>
                <c:pt idx="717">
                  <c:v>44907</c:v>
                </c:pt>
                <c:pt idx="718">
                  <c:v>44904</c:v>
                </c:pt>
                <c:pt idx="719">
                  <c:v>44903</c:v>
                </c:pt>
                <c:pt idx="720">
                  <c:v>44902</c:v>
                </c:pt>
                <c:pt idx="721">
                  <c:v>44901</c:v>
                </c:pt>
                <c:pt idx="722">
                  <c:v>44900</c:v>
                </c:pt>
                <c:pt idx="723">
                  <c:v>44897</c:v>
                </c:pt>
                <c:pt idx="724">
                  <c:v>44896</c:v>
                </c:pt>
                <c:pt idx="725">
                  <c:v>44895</c:v>
                </c:pt>
                <c:pt idx="726">
                  <c:v>44894</c:v>
                </c:pt>
                <c:pt idx="727">
                  <c:v>44893</c:v>
                </c:pt>
                <c:pt idx="728">
                  <c:v>44890</c:v>
                </c:pt>
                <c:pt idx="729">
                  <c:v>44889</c:v>
                </c:pt>
                <c:pt idx="730">
                  <c:v>44888</c:v>
                </c:pt>
                <c:pt idx="731">
                  <c:v>44887</c:v>
                </c:pt>
                <c:pt idx="732">
                  <c:v>44886</c:v>
                </c:pt>
                <c:pt idx="733">
                  <c:v>44883</c:v>
                </c:pt>
                <c:pt idx="734">
                  <c:v>44882</c:v>
                </c:pt>
                <c:pt idx="735">
                  <c:v>44881</c:v>
                </c:pt>
                <c:pt idx="736">
                  <c:v>44880</c:v>
                </c:pt>
                <c:pt idx="737">
                  <c:v>44879</c:v>
                </c:pt>
                <c:pt idx="738">
                  <c:v>44876</c:v>
                </c:pt>
                <c:pt idx="739">
                  <c:v>44875</c:v>
                </c:pt>
                <c:pt idx="740">
                  <c:v>44874</c:v>
                </c:pt>
                <c:pt idx="741">
                  <c:v>44872</c:v>
                </c:pt>
                <c:pt idx="742">
                  <c:v>44869</c:v>
                </c:pt>
                <c:pt idx="743">
                  <c:v>44868</c:v>
                </c:pt>
                <c:pt idx="744">
                  <c:v>44867</c:v>
                </c:pt>
                <c:pt idx="745">
                  <c:v>44866</c:v>
                </c:pt>
                <c:pt idx="746">
                  <c:v>44865</c:v>
                </c:pt>
                <c:pt idx="747">
                  <c:v>44862</c:v>
                </c:pt>
                <c:pt idx="748">
                  <c:v>44861</c:v>
                </c:pt>
                <c:pt idx="749">
                  <c:v>44859</c:v>
                </c:pt>
                <c:pt idx="750">
                  <c:v>44858</c:v>
                </c:pt>
                <c:pt idx="751">
                  <c:v>44855</c:v>
                </c:pt>
                <c:pt idx="752">
                  <c:v>44854</c:v>
                </c:pt>
                <c:pt idx="753">
                  <c:v>44853</c:v>
                </c:pt>
                <c:pt idx="754">
                  <c:v>44852</c:v>
                </c:pt>
                <c:pt idx="755">
                  <c:v>44851</c:v>
                </c:pt>
                <c:pt idx="756">
                  <c:v>44848</c:v>
                </c:pt>
                <c:pt idx="757">
                  <c:v>44847</c:v>
                </c:pt>
                <c:pt idx="758">
                  <c:v>44846</c:v>
                </c:pt>
                <c:pt idx="759">
                  <c:v>44845</c:v>
                </c:pt>
                <c:pt idx="760">
                  <c:v>44844</c:v>
                </c:pt>
                <c:pt idx="761">
                  <c:v>44841</c:v>
                </c:pt>
                <c:pt idx="762">
                  <c:v>44840</c:v>
                </c:pt>
                <c:pt idx="763">
                  <c:v>44838</c:v>
                </c:pt>
                <c:pt idx="764">
                  <c:v>44837</c:v>
                </c:pt>
                <c:pt idx="765">
                  <c:v>44834</c:v>
                </c:pt>
                <c:pt idx="766">
                  <c:v>44833</c:v>
                </c:pt>
                <c:pt idx="767">
                  <c:v>44832</c:v>
                </c:pt>
                <c:pt idx="768">
                  <c:v>44831</c:v>
                </c:pt>
                <c:pt idx="769">
                  <c:v>44830</c:v>
                </c:pt>
                <c:pt idx="770">
                  <c:v>44827</c:v>
                </c:pt>
                <c:pt idx="771">
                  <c:v>44826</c:v>
                </c:pt>
                <c:pt idx="772">
                  <c:v>44825</c:v>
                </c:pt>
                <c:pt idx="773">
                  <c:v>44824</c:v>
                </c:pt>
                <c:pt idx="774">
                  <c:v>44823</c:v>
                </c:pt>
                <c:pt idx="775">
                  <c:v>44820</c:v>
                </c:pt>
                <c:pt idx="776">
                  <c:v>44819</c:v>
                </c:pt>
                <c:pt idx="777">
                  <c:v>44818</c:v>
                </c:pt>
                <c:pt idx="778">
                  <c:v>44817</c:v>
                </c:pt>
                <c:pt idx="779">
                  <c:v>44816</c:v>
                </c:pt>
                <c:pt idx="780">
                  <c:v>44813</c:v>
                </c:pt>
                <c:pt idx="781">
                  <c:v>44812</c:v>
                </c:pt>
                <c:pt idx="782">
                  <c:v>44811</c:v>
                </c:pt>
                <c:pt idx="783">
                  <c:v>44810</c:v>
                </c:pt>
                <c:pt idx="784">
                  <c:v>44809</c:v>
                </c:pt>
                <c:pt idx="785">
                  <c:v>44806</c:v>
                </c:pt>
                <c:pt idx="786">
                  <c:v>44805</c:v>
                </c:pt>
                <c:pt idx="787">
                  <c:v>44803</c:v>
                </c:pt>
                <c:pt idx="788">
                  <c:v>44802</c:v>
                </c:pt>
                <c:pt idx="789">
                  <c:v>44799</c:v>
                </c:pt>
                <c:pt idx="790">
                  <c:v>44798</c:v>
                </c:pt>
                <c:pt idx="791">
                  <c:v>44797</c:v>
                </c:pt>
                <c:pt idx="792">
                  <c:v>44796</c:v>
                </c:pt>
                <c:pt idx="793">
                  <c:v>44795</c:v>
                </c:pt>
                <c:pt idx="794">
                  <c:v>44792</c:v>
                </c:pt>
                <c:pt idx="795">
                  <c:v>44791</c:v>
                </c:pt>
                <c:pt idx="796">
                  <c:v>44790</c:v>
                </c:pt>
                <c:pt idx="797">
                  <c:v>44789</c:v>
                </c:pt>
                <c:pt idx="798">
                  <c:v>44785</c:v>
                </c:pt>
                <c:pt idx="799">
                  <c:v>44784</c:v>
                </c:pt>
                <c:pt idx="800">
                  <c:v>44783</c:v>
                </c:pt>
                <c:pt idx="801">
                  <c:v>44781</c:v>
                </c:pt>
                <c:pt idx="802">
                  <c:v>44778</c:v>
                </c:pt>
                <c:pt idx="803">
                  <c:v>44777</c:v>
                </c:pt>
                <c:pt idx="804">
                  <c:v>44776</c:v>
                </c:pt>
                <c:pt idx="805">
                  <c:v>44775</c:v>
                </c:pt>
                <c:pt idx="806">
                  <c:v>44774</c:v>
                </c:pt>
                <c:pt idx="807">
                  <c:v>44771</c:v>
                </c:pt>
                <c:pt idx="808">
                  <c:v>44770</c:v>
                </c:pt>
                <c:pt idx="809">
                  <c:v>44769</c:v>
                </c:pt>
                <c:pt idx="810">
                  <c:v>44768</c:v>
                </c:pt>
                <c:pt idx="811">
                  <c:v>44767</c:v>
                </c:pt>
                <c:pt idx="812">
                  <c:v>44764</c:v>
                </c:pt>
                <c:pt idx="813">
                  <c:v>44763</c:v>
                </c:pt>
                <c:pt idx="814">
                  <c:v>44762</c:v>
                </c:pt>
                <c:pt idx="815">
                  <c:v>44761</c:v>
                </c:pt>
                <c:pt idx="816">
                  <c:v>44760</c:v>
                </c:pt>
                <c:pt idx="817">
                  <c:v>44757</c:v>
                </c:pt>
                <c:pt idx="818">
                  <c:v>44756</c:v>
                </c:pt>
                <c:pt idx="819">
                  <c:v>44755</c:v>
                </c:pt>
                <c:pt idx="820">
                  <c:v>44754</c:v>
                </c:pt>
                <c:pt idx="821">
                  <c:v>44753</c:v>
                </c:pt>
                <c:pt idx="822">
                  <c:v>44750</c:v>
                </c:pt>
                <c:pt idx="823">
                  <c:v>44749</c:v>
                </c:pt>
                <c:pt idx="824">
                  <c:v>44748</c:v>
                </c:pt>
                <c:pt idx="825">
                  <c:v>44747</c:v>
                </c:pt>
                <c:pt idx="826">
                  <c:v>44746</c:v>
                </c:pt>
                <c:pt idx="827">
                  <c:v>44743</c:v>
                </c:pt>
                <c:pt idx="828">
                  <c:v>44742</c:v>
                </c:pt>
                <c:pt idx="829">
                  <c:v>44741</c:v>
                </c:pt>
                <c:pt idx="830">
                  <c:v>44740</c:v>
                </c:pt>
                <c:pt idx="831">
                  <c:v>44739</c:v>
                </c:pt>
                <c:pt idx="832">
                  <c:v>44736</c:v>
                </c:pt>
                <c:pt idx="833">
                  <c:v>44735</c:v>
                </c:pt>
                <c:pt idx="834">
                  <c:v>44734</c:v>
                </c:pt>
                <c:pt idx="835">
                  <c:v>44733</c:v>
                </c:pt>
                <c:pt idx="836">
                  <c:v>44732</c:v>
                </c:pt>
                <c:pt idx="837">
                  <c:v>44729</c:v>
                </c:pt>
                <c:pt idx="838">
                  <c:v>44728</c:v>
                </c:pt>
                <c:pt idx="839">
                  <c:v>44727</c:v>
                </c:pt>
                <c:pt idx="840">
                  <c:v>44726</c:v>
                </c:pt>
                <c:pt idx="841">
                  <c:v>44725</c:v>
                </c:pt>
                <c:pt idx="842">
                  <c:v>44722</c:v>
                </c:pt>
                <c:pt idx="843">
                  <c:v>44721</c:v>
                </c:pt>
                <c:pt idx="844">
                  <c:v>44720</c:v>
                </c:pt>
                <c:pt idx="845">
                  <c:v>44719</c:v>
                </c:pt>
                <c:pt idx="846">
                  <c:v>44718</c:v>
                </c:pt>
                <c:pt idx="847">
                  <c:v>44715</c:v>
                </c:pt>
                <c:pt idx="848">
                  <c:v>44714</c:v>
                </c:pt>
                <c:pt idx="849">
                  <c:v>44713</c:v>
                </c:pt>
                <c:pt idx="850">
                  <c:v>44712</c:v>
                </c:pt>
                <c:pt idx="851">
                  <c:v>44711</c:v>
                </c:pt>
                <c:pt idx="852">
                  <c:v>44708</c:v>
                </c:pt>
                <c:pt idx="853">
                  <c:v>44707</c:v>
                </c:pt>
                <c:pt idx="854">
                  <c:v>44706</c:v>
                </c:pt>
                <c:pt idx="855">
                  <c:v>44705</c:v>
                </c:pt>
                <c:pt idx="856">
                  <c:v>44704</c:v>
                </c:pt>
                <c:pt idx="857">
                  <c:v>44701</c:v>
                </c:pt>
                <c:pt idx="858">
                  <c:v>44700</c:v>
                </c:pt>
                <c:pt idx="859">
                  <c:v>44699</c:v>
                </c:pt>
                <c:pt idx="860">
                  <c:v>44698</c:v>
                </c:pt>
                <c:pt idx="861">
                  <c:v>44697</c:v>
                </c:pt>
                <c:pt idx="862">
                  <c:v>44694</c:v>
                </c:pt>
                <c:pt idx="863">
                  <c:v>44693</c:v>
                </c:pt>
                <c:pt idx="864">
                  <c:v>44692</c:v>
                </c:pt>
                <c:pt idx="865">
                  <c:v>44691</c:v>
                </c:pt>
                <c:pt idx="866">
                  <c:v>44690</c:v>
                </c:pt>
                <c:pt idx="867">
                  <c:v>44687</c:v>
                </c:pt>
                <c:pt idx="868">
                  <c:v>44686</c:v>
                </c:pt>
                <c:pt idx="869">
                  <c:v>44685</c:v>
                </c:pt>
                <c:pt idx="870">
                  <c:v>44683</c:v>
                </c:pt>
                <c:pt idx="871">
                  <c:v>44680</c:v>
                </c:pt>
                <c:pt idx="872">
                  <c:v>44679</c:v>
                </c:pt>
                <c:pt idx="873">
                  <c:v>44678</c:v>
                </c:pt>
                <c:pt idx="874">
                  <c:v>44677</c:v>
                </c:pt>
                <c:pt idx="875">
                  <c:v>44676</c:v>
                </c:pt>
                <c:pt idx="876">
                  <c:v>44673</c:v>
                </c:pt>
                <c:pt idx="877">
                  <c:v>44672</c:v>
                </c:pt>
                <c:pt idx="878">
                  <c:v>44671</c:v>
                </c:pt>
                <c:pt idx="879">
                  <c:v>44670</c:v>
                </c:pt>
                <c:pt idx="880">
                  <c:v>44669</c:v>
                </c:pt>
                <c:pt idx="881">
                  <c:v>44664</c:v>
                </c:pt>
                <c:pt idx="882">
                  <c:v>44663</c:v>
                </c:pt>
                <c:pt idx="883">
                  <c:v>44662</c:v>
                </c:pt>
                <c:pt idx="884">
                  <c:v>44659</c:v>
                </c:pt>
                <c:pt idx="885">
                  <c:v>44658</c:v>
                </c:pt>
                <c:pt idx="886">
                  <c:v>44657</c:v>
                </c:pt>
                <c:pt idx="887">
                  <c:v>44656</c:v>
                </c:pt>
                <c:pt idx="888">
                  <c:v>44655</c:v>
                </c:pt>
                <c:pt idx="889">
                  <c:v>44652</c:v>
                </c:pt>
                <c:pt idx="890">
                  <c:v>44651</c:v>
                </c:pt>
                <c:pt idx="891">
                  <c:v>44650</c:v>
                </c:pt>
                <c:pt idx="892">
                  <c:v>44649</c:v>
                </c:pt>
                <c:pt idx="893">
                  <c:v>44648</c:v>
                </c:pt>
                <c:pt idx="894">
                  <c:v>44645</c:v>
                </c:pt>
                <c:pt idx="895">
                  <c:v>44644</c:v>
                </c:pt>
                <c:pt idx="896">
                  <c:v>44643</c:v>
                </c:pt>
                <c:pt idx="897">
                  <c:v>44642</c:v>
                </c:pt>
                <c:pt idx="898">
                  <c:v>44641</c:v>
                </c:pt>
                <c:pt idx="899">
                  <c:v>44637</c:v>
                </c:pt>
                <c:pt idx="900">
                  <c:v>44636</c:v>
                </c:pt>
                <c:pt idx="901">
                  <c:v>44635</c:v>
                </c:pt>
                <c:pt idx="902">
                  <c:v>44634</c:v>
                </c:pt>
                <c:pt idx="903">
                  <c:v>44631</c:v>
                </c:pt>
                <c:pt idx="904">
                  <c:v>44630</c:v>
                </c:pt>
                <c:pt idx="905">
                  <c:v>44629</c:v>
                </c:pt>
                <c:pt idx="906">
                  <c:v>44628</c:v>
                </c:pt>
                <c:pt idx="907">
                  <c:v>44627</c:v>
                </c:pt>
                <c:pt idx="908">
                  <c:v>44624</c:v>
                </c:pt>
                <c:pt idx="909">
                  <c:v>44623</c:v>
                </c:pt>
                <c:pt idx="910">
                  <c:v>44622</c:v>
                </c:pt>
                <c:pt idx="911">
                  <c:v>44620</c:v>
                </c:pt>
                <c:pt idx="912">
                  <c:v>44617</c:v>
                </c:pt>
                <c:pt idx="913">
                  <c:v>44616</c:v>
                </c:pt>
                <c:pt idx="914">
                  <c:v>44615</c:v>
                </c:pt>
                <c:pt idx="915">
                  <c:v>44614</c:v>
                </c:pt>
                <c:pt idx="916">
                  <c:v>44613</c:v>
                </c:pt>
                <c:pt idx="917">
                  <c:v>44610</c:v>
                </c:pt>
                <c:pt idx="918">
                  <c:v>44609</c:v>
                </c:pt>
                <c:pt idx="919">
                  <c:v>44608</c:v>
                </c:pt>
                <c:pt idx="920">
                  <c:v>44607</c:v>
                </c:pt>
                <c:pt idx="921">
                  <c:v>44606</c:v>
                </c:pt>
                <c:pt idx="922">
                  <c:v>44603</c:v>
                </c:pt>
                <c:pt idx="923">
                  <c:v>44602</c:v>
                </c:pt>
                <c:pt idx="924">
                  <c:v>44601</c:v>
                </c:pt>
                <c:pt idx="925">
                  <c:v>44600</c:v>
                </c:pt>
                <c:pt idx="926">
                  <c:v>44599</c:v>
                </c:pt>
                <c:pt idx="927">
                  <c:v>44596</c:v>
                </c:pt>
                <c:pt idx="928">
                  <c:v>44595</c:v>
                </c:pt>
                <c:pt idx="929">
                  <c:v>44594</c:v>
                </c:pt>
                <c:pt idx="930">
                  <c:v>44593</c:v>
                </c:pt>
                <c:pt idx="931">
                  <c:v>44592</c:v>
                </c:pt>
                <c:pt idx="932">
                  <c:v>44589</c:v>
                </c:pt>
                <c:pt idx="933">
                  <c:v>44588</c:v>
                </c:pt>
                <c:pt idx="934">
                  <c:v>44586</c:v>
                </c:pt>
                <c:pt idx="935">
                  <c:v>44585</c:v>
                </c:pt>
                <c:pt idx="936">
                  <c:v>44582</c:v>
                </c:pt>
                <c:pt idx="937">
                  <c:v>44581</c:v>
                </c:pt>
                <c:pt idx="938">
                  <c:v>44580</c:v>
                </c:pt>
                <c:pt idx="939">
                  <c:v>44579</c:v>
                </c:pt>
                <c:pt idx="940">
                  <c:v>44578</c:v>
                </c:pt>
                <c:pt idx="941">
                  <c:v>44575</c:v>
                </c:pt>
                <c:pt idx="942">
                  <c:v>44574</c:v>
                </c:pt>
                <c:pt idx="943">
                  <c:v>44573</c:v>
                </c:pt>
                <c:pt idx="944">
                  <c:v>44572</c:v>
                </c:pt>
                <c:pt idx="945">
                  <c:v>44571</c:v>
                </c:pt>
                <c:pt idx="946">
                  <c:v>44568</c:v>
                </c:pt>
                <c:pt idx="947">
                  <c:v>44567</c:v>
                </c:pt>
                <c:pt idx="948">
                  <c:v>44566</c:v>
                </c:pt>
                <c:pt idx="949">
                  <c:v>44565</c:v>
                </c:pt>
                <c:pt idx="950">
                  <c:v>44564</c:v>
                </c:pt>
                <c:pt idx="951">
                  <c:v>44561</c:v>
                </c:pt>
                <c:pt idx="952">
                  <c:v>44560</c:v>
                </c:pt>
                <c:pt idx="953">
                  <c:v>44559</c:v>
                </c:pt>
                <c:pt idx="954">
                  <c:v>44558</c:v>
                </c:pt>
                <c:pt idx="955">
                  <c:v>44557</c:v>
                </c:pt>
                <c:pt idx="956">
                  <c:v>44554</c:v>
                </c:pt>
                <c:pt idx="957">
                  <c:v>44553</c:v>
                </c:pt>
                <c:pt idx="958">
                  <c:v>44552</c:v>
                </c:pt>
                <c:pt idx="959">
                  <c:v>44551</c:v>
                </c:pt>
                <c:pt idx="960">
                  <c:v>44550</c:v>
                </c:pt>
                <c:pt idx="961">
                  <c:v>44547</c:v>
                </c:pt>
                <c:pt idx="962">
                  <c:v>44546</c:v>
                </c:pt>
                <c:pt idx="963">
                  <c:v>44545</c:v>
                </c:pt>
                <c:pt idx="964">
                  <c:v>44544</c:v>
                </c:pt>
                <c:pt idx="965">
                  <c:v>44543</c:v>
                </c:pt>
                <c:pt idx="966">
                  <c:v>44540</c:v>
                </c:pt>
                <c:pt idx="967">
                  <c:v>44539</c:v>
                </c:pt>
                <c:pt idx="968">
                  <c:v>44538</c:v>
                </c:pt>
                <c:pt idx="969">
                  <c:v>44537</c:v>
                </c:pt>
                <c:pt idx="970">
                  <c:v>44536</c:v>
                </c:pt>
                <c:pt idx="971">
                  <c:v>44533</c:v>
                </c:pt>
                <c:pt idx="972">
                  <c:v>44532</c:v>
                </c:pt>
                <c:pt idx="973">
                  <c:v>44531</c:v>
                </c:pt>
                <c:pt idx="974">
                  <c:v>44530</c:v>
                </c:pt>
                <c:pt idx="975">
                  <c:v>44529</c:v>
                </c:pt>
                <c:pt idx="976">
                  <c:v>44526</c:v>
                </c:pt>
                <c:pt idx="977">
                  <c:v>44525</c:v>
                </c:pt>
                <c:pt idx="978">
                  <c:v>44524</c:v>
                </c:pt>
                <c:pt idx="979">
                  <c:v>44523</c:v>
                </c:pt>
                <c:pt idx="980">
                  <c:v>44522</c:v>
                </c:pt>
                <c:pt idx="981">
                  <c:v>44518</c:v>
                </c:pt>
                <c:pt idx="982">
                  <c:v>44517</c:v>
                </c:pt>
                <c:pt idx="983">
                  <c:v>44516</c:v>
                </c:pt>
                <c:pt idx="984">
                  <c:v>44515</c:v>
                </c:pt>
                <c:pt idx="985">
                  <c:v>44512</c:v>
                </c:pt>
                <c:pt idx="986">
                  <c:v>44511</c:v>
                </c:pt>
                <c:pt idx="987">
                  <c:v>44510</c:v>
                </c:pt>
                <c:pt idx="988">
                  <c:v>44509</c:v>
                </c:pt>
                <c:pt idx="989">
                  <c:v>44508</c:v>
                </c:pt>
                <c:pt idx="990">
                  <c:v>44504</c:v>
                </c:pt>
                <c:pt idx="991">
                  <c:v>44503</c:v>
                </c:pt>
                <c:pt idx="992">
                  <c:v>44502</c:v>
                </c:pt>
                <c:pt idx="993">
                  <c:v>44501</c:v>
                </c:pt>
                <c:pt idx="994">
                  <c:v>44498</c:v>
                </c:pt>
                <c:pt idx="995">
                  <c:v>44497</c:v>
                </c:pt>
                <c:pt idx="996">
                  <c:v>44496</c:v>
                </c:pt>
                <c:pt idx="997">
                  <c:v>44495</c:v>
                </c:pt>
                <c:pt idx="998">
                  <c:v>44494</c:v>
                </c:pt>
                <c:pt idx="999">
                  <c:v>44491</c:v>
                </c:pt>
                <c:pt idx="1000">
                  <c:v>44490</c:v>
                </c:pt>
                <c:pt idx="1001">
                  <c:v>44489</c:v>
                </c:pt>
                <c:pt idx="1002">
                  <c:v>44488</c:v>
                </c:pt>
                <c:pt idx="1003">
                  <c:v>44487</c:v>
                </c:pt>
                <c:pt idx="1004">
                  <c:v>44483</c:v>
                </c:pt>
                <c:pt idx="1005">
                  <c:v>44482</c:v>
                </c:pt>
                <c:pt idx="1006">
                  <c:v>44481</c:v>
                </c:pt>
                <c:pt idx="1007">
                  <c:v>44480</c:v>
                </c:pt>
                <c:pt idx="1008">
                  <c:v>44477</c:v>
                </c:pt>
                <c:pt idx="1009">
                  <c:v>44476</c:v>
                </c:pt>
                <c:pt idx="1010">
                  <c:v>44475</c:v>
                </c:pt>
                <c:pt idx="1011">
                  <c:v>44474</c:v>
                </c:pt>
                <c:pt idx="1012">
                  <c:v>44473</c:v>
                </c:pt>
                <c:pt idx="1013">
                  <c:v>44470</c:v>
                </c:pt>
                <c:pt idx="1014">
                  <c:v>44469</c:v>
                </c:pt>
                <c:pt idx="1015">
                  <c:v>44468</c:v>
                </c:pt>
                <c:pt idx="1016">
                  <c:v>44467</c:v>
                </c:pt>
                <c:pt idx="1017">
                  <c:v>44466</c:v>
                </c:pt>
                <c:pt idx="1018">
                  <c:v>44463</c:v>
                </c:pt>
                <c:pt idx="1019">
                  <c:v>44462</c:v>
                </c:pt>
                <c:pt idx="1020">
                  <c:v>44461</c:v>
                </c:pt>
                <c:pt idx="1021">
                  <c:v>44460</c:v>
                </c:pt>
                <c:pt idx="1022">
                  <c:v>44459</c:v>
                </c:pt>
                <c:pt idx="1023">
                  <c:v>44456</c:v>
                </c:pt>
                <c:pt idx="1024">
                  <c:v>44455</c:v>
                </c:pt>
                <c:pt idx="1025">
                  <c:v>44454</c:v>
                </c:pt>
                <c:pt idx="1026">
                  <c:v>44453</c:v>
                </c:pt>
                <c:pt idx="1027">
                  <c:v>44452</c:v>
                </c:pt>
                <c:pt idx="1028">
                  <c:v>44448</c:v>
                </c:pt>
                <c:pt idx="1029">
                  <c:v>44447</c:v>
                </c:pt>
                <c:pt idx="1030">
                  <c:v>44446</c:v>
                </c:pt>
                <c:pt idx="1031">
                  <c:v>44445</c:v>
                </c:pt>
                <c:pt idx="1032">
                  <c:v>44442</c:v>
                </c:pt>
                <c:pt idx="1033">
                  <c:v>44441</c:v>
                </c:pt>
                <c:pt idx="1034">
                  <c:v>44440</c:v>
                </c:pt>
                <c:pt idx="1035">
                  <c:v>44439</c:v>
                </c:pt>
                <c:pt idx="1036">
                  <c:v>44438</c:v>
                </c:pt>
                <c:pt idx="1037">
                  <c:v>44435</c:v>
                </c:pt>
                <c:pt idx="1038">
                  <c:v>44434</c:v>
                </c:pt>
                <c:pt idx="1039">
                  <c:v>44433</c:v>
                </c:pt>
                <c:pt idx="1040">
                  <c:v>44432</c:v>
                </c:pt>
                <c:pt idx="1041">
                  <c:v>44431</c:v>
                </c:pt>
                <c:pt idx="1042">
                  <c:v>44428</c:v>
                </c:pt>
                <c:pt idx="1043">
                  <c:v>44426</c:v>
                </c:pt>
                <c:pt idx="1044">
                  <c:v>44425</c:v>
                </c:pt>
                <c:pt idx="1045">
                  <c:v>44424</c:v>
                </c:pt>
                <c:pt idx="1046">
                  <c:v>44421</c:v>
                </c:pt>
                <c:pt idx="1047">
                  <c:v>44420</c:v>
                </c:pt>
                <c:pt idx="1048">
                  <c:v>44419</c:v>
                </c:pt>
                <c:pt idx="1049">
                  <c:v>44418</c:v>
                </c:pt>
                <c:pt idx="1050">
                  <c:v>44417</c:v>
                </c:pt>
                <c:pt idx="1051">
                  <c:v>44414</c:v>
                </c:pt>
                <c:pt idx="1052">
                  <c:v>44413</c:v>
                </c:pt>
                <c:pt idx="1053">
                  <c:v>44412</c:v>
                </c:pt>
                <c:pt idx="1054">
                  <c:v>44411</c:v>
                </c:pt>
                <c:pt idx="1055">
                  <c:v>44410</c:v>
                </c:pt>
                <c:pt idx="1056">
                  <c:v>44407</c:v>
                </c:pt>
                <c:pt idx="1057">
                  <c:v>44406</c:v>
                </c:pt>
                <c:pt idx="1058">
                  <c:v>44405</c:v>
                </c:pt>
                <c:pt idx="1059">
                  <c:v>44404</c:v>
                </c:pt>
                <c:pt idx="1060">
                  <c:v>44403</c:v>
                </c:pt>
                <c:pt idx="1061">
                  <c:v>44400</c:v>
                </c:pt>
                <c:pt idx="1062">
                  <c:v>44399</c:v>
                </c:pt>
                <c:pt idx="1063">
                  <c:v>44397</c:v>
                </c:pt>
                <c:pt idx="1064">
                  <c:v>44396</c:v>
                </c:pt>
                <c:pt idx="1065">
                  <c:v>44393</c:v>
                </c:pt>
                <c:pt idx="1066">
                  <c:v>44392</c:v>
                </c:pt>
                <c:pt idx="1067">
                  <c:v>44391</c:v>
                </c:pt>
                <c:pt idx="1068">
                  <c:v>44390</c:v>
                </c:pt>
                <c:pt idx="1069">
                  <c:v>44389</c:v>
                </c:pt>
                <c:pt idx="1070">
                  <c:v>44386</c:v>
                </c:pt>
                <c:pt idx="1071">
                  <c:v>44385</c:v>
                </c:pt>
                <c:pt idx="1072">
                  <c:v>44384</c:v>
                </c:pt>
                <c:pt idx="1073">
                  <c:v>44383</c:v>
                </c:pt>
                <c:pt idx="1074">
                  <c:v>44382</c:v>
                </c:pt>
                <c:pt idx="1075">
                  <c:v>44379</c:v>
                </c:pt>
                <c:pt idx="1076">
                  <c:v>44378</c:v>
                </c:pt>
                <c:pt idx="1077">
                  <c:v>44377</c:v>
                </c:pt>
                <c:pt idx="1078">
                  <c:v>44376</c:v>
                </c:pt>
                <c:pt idx="1079">
                  <c:v>44375</c:v>
                </c:pt>
                <c:pt idx="1080">
                  <c:v>44372</c:v>
                </c:pt>
                <c:pt idx="1081">
                  <c:v>44371</c:v>
                </c:pt>
                <c:pt idx="1082">
                  <c:v>44370</c:v>
                </c:pt>
                <c:pt idx="1083">
                  <c:v>44369</c:v>
                </c:pt>
                <c:pt idx="1084">
                  <c:v>44368</c:v>
                </c:pt>
                <c:pt idx="1085">
                  <c:v>44365</c:v>
                </c:pt>
                <c:pt idx="1086">
                  <c:v>44364</c:v>
                </c:pt>
                <c:pt idx="1087">
                  <c:v>44363</c:v>
                </c:pt>
                <c:pt idx="1088">
                  <c:v>44362</c:v>
                </c:pt>
                <c:pt idx="1089">
                  <c:v>44361</c:v>
                </c:pt>
                <c:pt idx="1090">
                  <c:v>44358</c:v>
                </c:pt>
                <c:pt idx="1091">
                  <c:v>44357</c:v>
                </c:pt>
                <c:pt idx="1092">
                  <c:v>44356</c:v>
                </c:pt>
                <c:pt idx="1093">
                  <c:v>44355</c:v>
                </c:pt>
                <c:pt idx="1094">
                  <c:v>44354</c:v>
                </c:pt>
                <c:pt idx="1095">
                  <c:v>44351</c:v>
                </c:pt>
                <c:pt idx="1096">
                  <c:v>44350</c:v>
                </c:pt>
                <c:pt idx="1097">
                  <c:v>44349</c:v>
                </c:pt>
                <c:pt idx="1098">
                  <c:v>44348</c:v>
                </c:pt>
                <c:pt idx="1099">
                  <c:v>44347</c:v>
                </c:pt>
                <c:pt idx="1100">
                  <c:v>44344</c:v>
                </c:pt>
                <c:pt idx="1101">
                  <c:v>44343</c:v>
                </c:pt>
                <c:pt idx="1102">
                  <c:v>44342</c:v>
                </c:pt>
                <c:pt idx="1103">
                  <c:v>44341</c:v>
                </c:pt>
                <c:pt idx="1104">
                  <c:v>44340</c:v>
                </c:pt>
                <c:pt idx="1105">
                  <c:v>44337</c:v>
                </c:pt>
                <c:pt idx="1106">
                  <c:v>44336</c:v>
                </c:pt>
                <c:pt idx="1107">
                  <c:v>44335</c:v>
                </c:pt>
                <c:pt idx="1108">
                  <c:v>44334</c:v>
                </c:pt>
                <c:pt idx="1109">
                  <c:v>44333</c:v>
                </c:pt>
                <c:pt idx="1110">
                  <c:v>44330</c:v>
                </c:pt>
                <c:pt idx="1111">
                  <c:v>44328</c:v>
                </c:pt>
                <c:pt idx="1112">
                  <c:v>44327</c:v>
                </c:pt>
                <c:pt idx="1113">
                  <c:v>44326</c:v>
                </c:pt>
                <c:pt idx="1114">
                  <c:v>44323</c:v>
                </c:pt>
                <c:pt idx="1115">
                  <c:v>44322</c:v>
                </c:pt>
                <c:pt idx="1116">
                  <c:v>44321</c:v>
                </c:pt>
                <c:pt idx="1117">
                  <c:v>44320</c:v>
                </c:pt>
                <c:pt idx="1118">
                  <c:v>44319</c:v>
                </c:pt>
                <c:pt idx="1119">
                  <c:v>44316</c:v>
                </c:pt>
                <c:pt idx="1120">
                  <c:v>44315</c:v>
                </c:pt>
                <c:pt idx="1121">
                  <c:v>44314</c:v>
                </c:pt>
                <c:pt idx="1122">
                  <c:v>44313</c:v>
                </c:pt>
                <c:pt idx="1123">
                  <c:v>44312</c:v>
                </c:pt>
                <c:pt idx="1124">
                  <c:v>44309</c:v>
                </c:pt>
                <c:pt idx="1125">
                  <c:v>44308</c:v>
                </c:pt>
                <c:pt idx="1126">
                  <c:v>44306</c:v>
                </c:pt>
                <c:pt idx="1127">
                  <c:v>44305</c:v>
                </c:pt>
                <c:pt idx="1128">
                  <c:v>44302</c:v>
                </c:pt>
                <c:pt idx="1129">
                  <c:v>44301</c:v>
                </c:pt>
                <c:pt idx="1130">
                  <c:v>44299</c:v>
                </c:pt>
                <c:pt idx="1131">
                  <c:v>44298</c:v>
                </c:pt>
                <c:pt idx="1132">
                  <c:v>44295</c:v>
                </c:pt>
                <c:pt idx="1133">
                  <c:v>44294</c:v>
                </c:pt>
                <c:pt idx="1134">
                  <c:v>44293</c:v>
                </c:pt>
                <c:pt idx="1135">
                  <c:v>44292</c:v>
                </c:pt>
                <c:pt idx="1136">
                  <c:v>44291</c:v>
                </c:pt>
                <c:pt idx="1137">
                  <c:v>44287</c:v>
                </c:pt>
                <c:pt idx="1138">
                  <c:v>44286</c:v>
                </c:pt>
                <c:pt idx="1139">
                  <c:v>44285</c:v>
                </c:pt>
                <c:pt idx="1140">
                  <c:v>44281</c:v>
                </c:pt>
                <c:pt idx="1141">
                  <c:v>44280</c:v>
                </c:pt>
                <c:pt idx="1142">
                  <c:v>44279</c:v>
                </c:pt>
                <c:pt idx="1143">
                  <c:v>44278</c:v>
                </c:pt>
                <c:pt idx="1144">
                  <c:v>44277</c:v>
                </c:pt>
                <c:pt idx="1145">
                  <c:v>44274</c:v>
                </c:pt>
                <c:pt idx="1146">
                  <c:v>44273</c:v>
                </c:pt>
                <c:pt idx="1147">
                  <c:v>44272</c:v>
                </c:pt>
                <c:pt idx="1148">
                  <c:v>44271</c:v>
                </c:pt>
                <c:pt idx="1149">
                  <c:v>44270</c:v>
                </c:pt>
                <c:pt idx="1150">
                  <c:v>44267</c:v>
                </c:pt>
                <c:pt idx="1151">
                  <c:v>44265</c:v>
                </c:pt>
                <c:pt idx="1152">
                  <c:v>44264</c:v>
                </c:pt>
                <c:pt idx="1153">
                  <c:v>44263</c:v>
                </c:pt>
                <c:pt idx="1154">
                  <c:v>44260</c:v>
                </c:pt>
                <c:pt idx="1155">
                  <c:v>44259</c:v>
                </c:pt>
                <c:pt idx="1156">
                  <c:v>44258</c:v>
                </c:pt>
                <c:pt idx="1157">
                  <c:v>44257</c:v>
                </c:pt>
                <c:pt idx="1158">
                  <c:v>44256</c:v>
                </c:pt>
                <c:pt idx="1159">
                  <c:v>44253</c:v>
                </c:pt>
                <c:pt idx="1160">
                  <c:v>44252</c:v>
                </c:pt>
                <c:pt idx="1161">
                  <c:v>44251</c:v>
                </c:pt>
                <c:pt idx="1162">
                  <c:v>44250</c:v>
                </c:pt>
                <c:pt idx="1163">
                  <c:v>44249</c:v>
                </c:pt>
                <c:pt idx="1164">
                  <c:v>44246</c:v>
                </c:pt>
                <c:pt idx="1165">
                  <c:v>44245</c:v>
                </c:pt>
                <c:pt idx="1166">
                  <c:v>44244</c:v>
                </c:pt>
                <c:pt idx="1167">
                  <c:v>44243</c:v>
                </c:pt>
                <c:pt idx="1168">
                  <c:v>44242</c:v>
                </c:pt>
                <c:pt idx="1169">
                  <c:v>44239</c:v>
                </c:pt>
                <c:pt idx="1170">
                  <c:v>44238</c:v>
                </c:pt>
                <c:pt idx="1171">
                  <c:v>44237</c:v>
                </c:pt>
                <c:pt idx="1172">
                  <c:v>44236</c:v>
                </c:pt>
                <c:pt idx="1173">
                  <c:v>44235</c:v>
                </c:pt>
                <c:pt idx="1174">
                  <c:v>44232</c:v>
                </c:pt>
                <c:pt idx="1175">
                  <c:v>44231</c:v>
                </c:pt>
                <c:pt idx="1176">
                  <c:v>44230</c:v>
                </c:pt>
                <c:pt idx="1177">
                  <c:v>44229</c:v>
                </c:pt>
                <c:pt idx="1178">
                  <c:v>44228</c:v>
                </c:pt>
                <c:pt idx="1179">
                  <c:v>44225</c:v>
                </c:pt>
                <c:pt idx="1180">
                  <c:v>44224</c:v>
                </c:pt>
                <c:pt idx="1181">
                  <c:v>44223</c:v>
                </c:pt>
                <c:pt idx="1182">
                  <c:v>44221</c:v>
                </c:pt>
                <c:pt idx="1183">
                  <c:v>44218</c:v>
                </c:pt>
                <c:pt idx="1184">
                  <c:v>44217</c:v>
                </c:pt>
                <c:pt idx="1185">
                  <c:v>44216</c:v>
                </c:pt>
                <c:pt idx="1186">
                  <c:v>44215</c:v>
                </c:pt>
                <c:pt idx="1187">
                  <c:v>44214</c:v>
                </c:pt>
                <c:pt idx="1188">
                  <c:v>44211</c:v>
                </c:pt>
                <c:pt idx="1189">
                  <c:v>44210</c:v>
                </c:pt>
                <c:pt idx="1190">
                  <c:v>44209</c:v>
                </c:pt>
                <c:pt idx="1191">
                  <c:v>44208</c:v>
                </c:pt>
                <c:pt idx="1192">
                  <c:v>44207</c:v>
                </c:pt>
                <c:pt idx="1193">
                  <c:v>44204</c:v>
                </c:pt>
                <c:pt idx="1194">
                  <c:v>44203</c:v>
                </c:pt>
                <c:pt idx="1195">
                  <c:v>44202</c:v>
                </c:pt>
                <c:pt idx="1196">
                  <c:v>44201</c:v>
                </c:pt>
                <c:pt idx="1197">
                  <c:v>44200</c:v>
                </c:pt>
                <c:pt idx="1198">
                  <c:v>44197</c:v>
                </c:pt>
                <c:pt idx="1199">
                  <c:v>44196</c:v>
                </c:pt>
                <c:pt idx="1200">
                  <c:v>44195</c:v>
                </c:pt>
                <c:pt idx="1201">
                  <c:v>44194</c:v>
                </c:pt>
                <c:pt idx="1202">
                  <c:v>44193</c:v>
                </c:pt>
                <c:pt idx="1203">
                  <c:v>44189</c:v>
                </c:pt>
                <c:pt idx="1204">
                  <c:v>44188</c:v>
                </c:pt>
                <c:pt idx="1205">
                  <c:v>44187</c:v>
                </c:pt>
                <c:pt idx="1206">
                  <c:v>44186</c:v>
                </c:pt>
                <c:pt idx="1207">
                  <c:v>44183</c:v>
                </c:pt>
                <c:pt idx="1208">
                  <c:v>44182</c:v>
                </c:pt>
                <c:pt idx="1209">
                  <c:v>44181</c:v>
                </c:pt>
                <c:pt idx="1210">
                  <c:v>44180</c:v>
                </c:pt>
                <c:pt idx="1211">
                  <c:v>44179</c:v>
                </c:pt>
                <c:pt idx="1212">
                  <c:v>44176</c:v>
                </c:pt>
                <c:pt idx="1213">
                  <c:v>44175</c:v>
                </c:pt>
                <c:pt idx="1214">
                  <c:v>44174</c:v>
                </c:pt>
                <c:pt idx="1215">
                  <c:v>44173</c:v>
                </c:pt>
                <c:pt idx="1216">
                  <c:v>44172</c:v>
                </c:pt>
                <c:pt idx="1217">
                  <c:v>44169</c:v>
                </c:pt>
                <c:pt idx="1218">
                  <c:v>44168</c:v>
                </c:pt>
                <c:pt idx="1219">
                  <c:v>44167</c:v>
                </c:pt>
                <c:pt idx="1220">
                  <c:v>44166</c:v>
                </c:pt>
                <c:pt idx="1221">
                  <c:v>44162</c:v>
                </c:pt>
                <c:pt idx="1222">
                  <c:v>44161</c:v>
                </c:pt>
                <c:pt idx="1223">
                  <c:v>44160</c:v>
                </c:pt>
                <c:pt idx="1224">
                  <c:v>44159</c:v>
                </c:pt>
                <c:pt idx="1225">
                  <c:v>44158</c:v>
                </c:pt>
                <c:pt idx="1226">
                  <c:v>44155</c:v>
                </c:pt>
                <c:pt idx="1227">
                  <c:v>44154</c:v>
                </c:pt>
                <c:pt idx="1228">
                  <c:v>44153</c:v>
                </c:pt>
                <c:pt idx="1229">
                  <c:v>44152</c:v>
                </c:pt>
                <c:pt idx="1230">
                  <c:v>44149</c:v>
                </c:pt>
                <c:pt idx="1231">
                  <c:v>44148</c:v>
                </c:pt>
                <c:pt idx="1232">
                  <c:v>44147</c:v>
                </c:pt>
                <c:pt idx="1233">
                  <c:v>44146</c:v>
                </c:pt>
                <c:pt idx="1234">
                  <c:v>44145</c:v>
                </c:pt>
                <c:pt idx="1235">
                  <c:v>44144</c:v>
                </c:pt>
                <c:pt idx="1236">
                  <c:v>44141</c:v>
                </c:pt>
                <c:pt idx="1237">
                  <c:v>44140</c:v>
                </c:pt>
                <c:pt idx="1238">
                  <c:v>44139</c:v>
                </c:pt>
                <c:pt idx="1239">
                  <c:v>44138</c:v>
                </c:pt>
                <c:pt idx="1240">
                  <c:v>44137</c:v>
                </c:pt>
                <c:pt idx="1241">
                  <c:v>44134</c:v>
                </c:pt>
                <c:pt idx="1242">
                  <c:v>44133</c:v>
                </c:pt>
                <c:pt idx="1243">
                  <c:v>44132</c:v>
                </c:pt>
                <c:pt idx="1244">
                  <c:v>44131</c:v>
                </c:pt>
                <c:pt idx="1245">
                  <c:v>44130</c:v>
                </c:pt>
                <c:pt idx="1246">
                  <c:v>44127</c:v>
                </c:pt>
                <c:pt idx="1247">
                  <c:v>44126</c:v>
                </c:pt>
                <c:pt idx="1248">
                  <c:v>44125</c:v>
                </c:pt>
                <c:pt idx="1249">
                  <c:v>44124</c:v>
                </c:pt>
                <c:pt idx="1250">
                  <c:v>44123</c:v>
                </c:pt>
                <c:pt idx="1251">
                  <c:v>44120</c:v>
                </c:pt>
                <c:pt idx="1252">
                  <c:v>44119</c:v>
                </c:pt>
                <c:pt idx="1253">
                  <c:v>44118</c:v>
                </c:pt>
                <c:pt idx="1254">
                  <c:v>44117</c:v>
                </c:pt>
                <c:pt idx="1255">
                  <c:v>44116</c:v>
                </c:pt>
                <c:pt idx="1256">
                  <c:v>44113</c:v>
                </c:pt>
                <c:pt idx="1257">
                  <c:v>44112</c:v>
                </c:pt>
                <c:pt idx="1258">
                  <c:v>44111</c:v>
                </c:pt>
                <c:pt idx="1259">
                  <c:v>44110</c:v>
                </c:pt>
                <c:pt idx="1260">
                  <c:v>44109</c:v>
                </c:pt>
                <c:pt idx="1261">
                  <c:v>44105</c:v>
                </c:pt>
                <c:pt idx="1262">
                  <c:v>44104</c:v>
                </c:pt>
                <c:pt idx="1263">
                  <c:v>44103</c:v>
                </c:pt>
                <c:pt idx="1264">
                  <c:v>44102</c:v>
                </c:pt>
                <c:pt idx="1265">
                  <c:v>44099</c:v>
                </c:pt>
                <c:pt idx="1266">
                  <c:v>44098</c:v>
                </c:pt>
                <c:pt idx="1267">
                  <c:v>44097</c:v>
                </c:pt>
                <c:pt idx="1268">
                  <c:v>44096</c:v>
                </c:pt>
                <c:pt idx="1269">
                  <c:v>44095</c:v>
                </c:pt>
                <c:pt idx="1270">
                  <c:v>44092</c:v>
                </c:pt>
                <c:pt idx="1271">
                  <c:v>44091</c:v>
                </c:pt>
                <c:pt idx="1272">
                  <c:v>44090</c:v>
                </c:pt>
                <c:pt idx="1273">
                  <c:v>44089</c:v>
                </c:pt>
                <c:pt idx="1274">
                  <c:v>44088</c:v>
                </c:pt>
                <c:pt idx="1275">
                  <c:v>44085</c:v>
                </c:pt>
                <c:pt idx="1276">
                  <c:v>44084</c:v>
                </c:pt>
                <c:pt idx="1277">
                  <c:v>44083</c:v>
                </c:pt>
                <c:pt idx="1278">
                  <c:v>44082</c:v>
                </c:pt>
                <c:pt idx="1279">
                  <c:v>44081</c:v>
                </c:pt>
                <c:pt idx="1280">
                  <c:v>44078</c:v>
                </c:pt>
                <c:pt idx="1281">
                  <c:v>44077</c:v>
                </c:pt>
                <c:pt idx="1282">
                  <c:v>44076</c:v>
                </c:pt>
                <c:pt idx="1283">
                  <c:v>44075</c:v>
                </c:pt>
                <c:pt idx="1284">
                  <c:v>44074</c:v>
                </c:pt>
                <c:pt idx="1285">
                  <c:v>44071</c:v>
                </c:pt>
                <c:pt idx="1286">
                  <c:v>44070</c:v>
                </c:pt>
                <c:pt idx="1287">
                  <c:v>44069</c:v>
                </c:pt>
                <c:pt idx="1288">
                  <c:v>44068</c:v>
                </c:pt>
                <c:pt idx="1289">
                  <c:v>44067</c:v>
                </c:pt>
                <c:pt idx="1290">
                  <c:v>44064</c:v>
                </c:pt>
                <c:pt idx="1291">
                  <c:v>44063</c:v>
                </c:pt>
                <c:pt idx="1292">
                  <c:v>44062</c:v>
                </c:pt>
                <c:pt idx="1293">
                  <c:v>44061</c:v>
                </c:pt>
                <c:pt idx="1294">
                  <c:v>44060</c:v>
                </c:pt>
                <c:pt idx="1295">
                  <c:v>44057</c:v>
                </c:pt>
                <c:pt idx="1296">
                  <c:v>44056</c:v>
                </c:pt>
                <c:pt idx="1297">
                  <c:v>44055</c:v>
                </c:pt>
                <c:pt idx="1298">
                  <c:v>44054</c:v>
                </c:pt>
                <c:pt idx="1299">
                  <c:v>44053</c:v>
                </c:pt>
                <c:pt idx="1300">
                  <c:v>44050</c:v>
                </c:pt>
                <c:pt idx="1301">
                  <c:v>44049</c:v>
                </c:pt>
                <c:pt idx="1302">
                  <c:v>44048</c:v>
                </c:pt>
                <c:pt idx="1303">
                  <c:v>44047</c:v>
                </c:pt>
                <c:pt idx="1304">
                  <c:v>44046</c:v>
                </c:pt>
                <c:pt idx="1305">
                  <c:v>44043</c:v>
                </c:pt>
                <c:pt idx="1306">
                  <c:v>44042</c:v>
                </c:pt>
                <c:pt idx="1307">
                  <c:v>44041</c:v>
                </c:pt>
                <c:pt idx="1308">
                  <c:v>44040</c:v>
                </c:pt>
                <c:pt idx="1309">
                  <c:v>44039</c:v>
                </c:pt>
                <c:pt idx="1310">
                  <c:v>44036</c:v>
                </c:pt>
                <c:pt idx="1311">
                  <c:v>44035</c:v>
                </c:pt>
                <c:pt idx="1312">
                  <c:v>44034</c:v>
                </c:pt>
                <c:pt idx="1313">
                  <c:v>44033</c:v>
                </c:pt>
                <c:pt idx="1314">
                  <c:v>44032</c:v>
                </c:pt>
                <c:pt idx="1315">
                  <c:v>44029</c:v>
                </c:pt>
                <c:pt idx="1316">
                  <c:v>44028</c:v>
                </c:pt>
                <c:pt idx="1317">
                  <c:v>44027</c:v>
                </c:pt>
                <c:pt idx="1318">
                  <c:v>44026</c:v>
                </c:pt>
                <c:pt idx="1319">
                  <c:v>44025</c:v>
                </c:pt>
                <c:pt idx="1320">
                  <c:v>44022</c:v>
                </c:pt>
                <c:pt idx="1321">
                  <c:v>44021</c:v>
                </c:pt>
                <c:pt idx="1322">
                  <c:v>44020</c:v>
                </c:pt>
                <c:pt idx="1323">
                  <c:v>44019</c:v>
                </c:pt>
                <c:pt idx="1324">
                  <c:v>44018</c:v>
                </c:pt>
                <c:pt idx="1325">
                  <c:v>44015</c:v>
                </c:pt>
                <c:pt idx="1326">
                  <c:v>44014</c:v>
                </c:pt>
                <c:pt idx="1327">
                  <c:v>44013</c:v>
                </c:pt>
                <c:pt idx="1328">
                  <c:v>44012</c:v>
                </c:pt>
                <c:pt idx="1329">
                  <c:v>44011</c:v>
                </c:pt>
                <c:pt idx="1330">
                  <c:v>44008</c:v>
                </c:pt>
                <c:pt idx="1331">
                  <c:v>44007</c:v>
                </c:pt>
                <c:pt idx="1332">
                  <c:v>44006</c:v>
                </c:pt>
                <c:pt idx="1333">
                  <c:v>44005</c:v>
                </c:pt>
                <c:pt idx="1334">
                  <c:v>44004</c:v>
                </c:pt>
                <c:pt idx="1335">
                  <c:v>44001</c:v>
                </c:pt>
                <c:pt idx="1336">
                  <c:v>44000</c:v>
                </c:pt>
                <c:pt idx="1337">
                  <c:v>43999</c:v>
                </c:pt>
                <c:pt idx="1338">
                  <c:v>43998</c:v>
                </c:pt>
                <c:pt idx="1339">
                  <c:v>43997</c:v>
                </c:pt>
                <c:pt idx="1340">
                  <c:v>43994</c:v>
                </c:pt>
                <c:pt idx="1341">
                  <c:v>43993</c:v>
                </c:pt>
                <c:pt idx="1342">
                  <c:v>43992</c:v>
                </c:pt>
                <c:pt idx="1343">
                  <c:v>43991</c:v>
                </c:pt>
                <c:pt idx="1344">
                  <c:v>43990</c:v>
                </c:pt>
                <c:pt idx="1345">
                  <c:v>43987</c:v>
                </c:pt>
                <c:pt idx="1346">
                  <c:v>43986</c:v>
                </c:pt>
                <c:pt idx="1347">
                  <c:v>43985</c:v>
                </c:pt>
                <c:pt idx="1348">
                  <c:v>43984</c:v>
                </c:pt>
                <c:pt idx="1349">
                  <c:v>43983</c:v>
                </c:pt>
                <c:pt idx="1350">
                  <c:v>43980</c:v>
                </c:pt>
                <c:pt idx="1351">
                  <c:v>43979</c:v>
                </c:pt>
                <c:pt idx="1352">
                  <c:v>43978</c:v>
                </c:pt>
                <c:pt idx="1353">
                  <c:v>43977</c:v>
                </c:pt>
                <c:pt idx="1354">
                  <c:v>43973</c:v>
                </c:pt>
                <c:pt idx="1355">
                  <c:v>43972</c:v>
                </c:pt>
                <c:pt idx="1356">
                  <c:v>43971</c:v>
                </c:pt>
                <c:pt idx="1357">
                  <c:v>43970</c:v>
                </c:pt>
                <c:pt idx="1358">
                  <c:v>43969</c:v>
                </c:pt>
                <c:pt idx="1359">
                  <c:v>43966</c:v>
                </c:pt>
                <c:pt idx="1360">
                  <c:v>43965</c:v>
                </c:pt>
                <c:pt idx="1361">
                  <c:v>43964</c:v>
                </c:pt>
                <c:pt idx="1362">
                  <c:v>43963</c:v>
                </c:pt>
                <c:pt idx="1363">
                  <c:v>43962</c:v>
                </c:pt>
                <c:pt idx="1364">
                  <c:v>43959</c:v>
                </c:pt>
                <c:pt idx="1365">
                  <c:v>43958</c:v>
                </c:pt>
                <c:pt idx="1366">
                  <c:v>43957</c:v>
                </c:pt>
                <c:pt idx="1367">
                  <c:v>43956</c:v>
                </c:pt>
                <c:pt idx="1368">
                  <c:v>43955</c:v>
                </c:pt>
                <c:pt idx="1369">
                  <c:v>43951</c:v>
                </c:pt>
                <c:pt idx="1370">
                  <c:v>43950</c:v>
                </c:pt>
                <c:pt idx="1371">
                  <c:v>43949</c:v>
                </c:pt>
                <c:pt idx="1372">
                  <c:v>43948</c:v>
                </c:pt>
                <c:pt idx="1373">
                  <c:v>43945</c:v>
                </c:pt>
                <c:pt idx="1374">
                  <c:v>43944</c:v>
                </c:pt>
                <c:pt idx="1375">
                  <c:v>43943</c:v>
                </c:pt>
                <c:pt idx="1376">
                  <c:v>43942</c:v>
                </c:pt>
                <c:pt idx="1377">
                  <c:v>43941</c:v>
                </c:pt>
                <c:pt idx="1378">
                  <c:v>43938</c:v>
                </c:pt>
                <c:pt idx="1379">
                  <c:v>43937</c:v>
                </c:pt>
                <c:pt idx="1380">
                  <c:v>43936</c:v>
                </c:pt>
                <c:pt idx="1381">
                  <c:v>43934</c:v>
                </c:pt>
                <c:pt idx="1382">
                  <c:v>43930</c:v>
                </c:pt>
                <c:pt idx="1383">
                  <c:v>43929</c:v>
                </c:pt>
                <c:pt idx="1384">
                  <c:v>43928</c:v>
                </c:pt>
                <c:pt idx="1385">
                  <c:v>43924</c:v>
                </c:pt>
                <c:pt idx="1386">
                  <c:v>43922</c:v>
                </c:pt>
                <c:pt idx="1387">
                  <c:v>43921</c:v>
                </c:pt>
                <c:pt idx="1388">
                  <c:v>43920</c:v>
                </c:pt>
                <c:pt idx="1389">
                  <c:v>43917</c:v>
                </c:pt>
                <c:pt idx="1390">
                  <c:v>43916</c:v>
                </c:pt>
                <c:pt idx="1391">
                  <c:v>43915</c:v>
                </c:pt>
                <c:pt idx="1392">
                  <c:v>43914</c:v>
                </c:pt>
                <c:pt idx="1393">
                  <c:v>43913</c:v>
                </c:pt>
                <c:pt idx="1394">
                  <c:v>43910</c:v>
                </c:pt>
                <c:pt idx="1395">
                  <c:v>43909</c:v>
                </c:pt>
                <c:pt idx="1396">
                  <c:v>43908</c:v>
                </c:pt>
                <c:pt idx="1397">
                  <c:v>43907</c:v>
                </c:pt>
                <c:pt idx="1398">
                  <c:v>43906</c:v>
                </c:pt>
                <c:pt idx="1399">
                  <c:v>43903</c:v>
                </c:pt>
                <c:pt idx="1400">
                  <c:v>43902</c:v>
                </c:pt>
                <c:pt idx="1401">
                  <c:v>43901</c:v>
                </c:pt>
                <c:pt idx="1402">
                  <c:v>43899</c:v>
                </c:pt>
                <c:pt idx="1403">
                  <c:v>43896</c:v>
                </c:pt>
                <c:pt idx="1404">
                  <c:v>43895</c:v>
                </c:pt>
                <c:pt idx="1405">
                  <c:v>43894</c:v>
                </c:pt>
                <c:pt idx="1406">
                  <c:v>43893</c:v>
                </c:pt>
                <c:pt idx="1407">
                  <c:v>43892</c:v>
                </c:pt>
                <c:pt idx="1408">
                  <c:v>43889</c:v>
                </c:pt>
                <c:pt idx="1409">
                  <c:v>43888</c:v>
                </c:pt>
                <c:pt idx="1410">
                  <c:v>43887</c:v>
                </c:pt>
                <c:pt idx="1411">
                  <c:v>43886</c:v>
                </c:pt>
                <c:pt idx="1412">
                  <c:v>43885</c:v>
                </c:pt>
                <c:pt idx="1413">
                  <c:v>43881</c:v>
                </c:pt>
                <c:pt idx="1414">
                  <c:v>43880</c:v>
                </c:pt>
                <c:pt idx="1415">
                  <c:v>43879</c:v>
                </c:pt>
                <c:pt idx="1416">
                  <c:v>43878</c:v>
                </c:pt>
                <c:pt idx="1417">
                  <c:v>43875</c:v>
                </c:pt>
                <c:pt idx="1418">
                  <c:v>43874</c:v>
                </c:pt>
                <c:pt idx="1419">
                  <c:v>43873</c:v>
                </c:pt>
                <c:pt idx="1420">
                  <c:v>43872</c:v>
                </c:pt>
                <c:pt idx="1421">
                  <c:v>43871</c:v>
                </c:pt>
                <c:pt idx="1422">
                  <c:v>43868</c:v>
                </c:pt>
                <c:pt idx="1423">
                  <c:v>43867</c:v>
                </c:pt>
                <c:pt idx="1424">
                  <c:v>43866</c:v>
                </c:pt>
                <c:pt idx="1425">
                  <c:v>43865</c:v>
                </c:pt>
                <c:pt idx="1426">
                  <c:v>43864</c:v>
                </c:pt>
                <c:pt idx="1427">
                  <c:v>43862</c:v>
                </c:pt>
                <c:pt idx="1428">
                  <c:v>43861</c:v>
                </c:pt>
                <c:pt idx="1429">
                  <c:v>43860</c:v>
                </c:pt>
                <c:pt idx="1430">
                  <c:v>43859</c:v>
                </c:pt>
                <c:pt idx="1431">
                  <c:v>43858</c:v>
                </c:pt>
                <c:pt idx="1432">
                  <c:v>43857</c:v>
                </c:pt>
                <c:pt idx="1433">
                  <c:v>43854</c:v>
                </c:pt>
                <c:pt idx="1434">
                  <c:v>43853</c:v>
                </c:pt>
                <c:pt idx="1435">
                  <c:v>43852</c:v>
                </c:pt>
                <c:pt idx="1436">
                  <c:v>43851</c:v>
                </c:pt>
                <c:pt idx="1437">
                  <c:v>43850</c:v>
                </c:pt>
                <c:pt idx="1438">
                  <c:v>43847</c:v>
                </c:pt>
                <c:pt idx="1439">
                  <c:v>43846</c:v>
                </c:pt>
                <c:pt idx="1440">
                  <c:v>43845</c:v>
                </c:pt>
                <c:pt idx="1441">
                  <c:v>43844</c:v>
                </c:pt>
                <c:pt idx="1442">
                  <c:v>43843</c:v>
                </c:pt>
                <c:pt idx="1443">
                  <c:v>43840</c:v>
                </c:pt>
                <c:pt idx="1444">
                  <c:v>43839</c:v>
                </c:pt>
                <c:pt idx="1445">
                  <c:v>43838</c:v>
                </c:pt>
                <c:pt idx="1446">
                  <c:v>43837</c:v>
                </c:pt>
                <c:pt idx="1447">
                  <c:v>43836</c:v>
                </c:pt>
                <c:pt idx="1448">
                  <c:v>43833</c:v>
                </c:pt>
                <c:pt idx="1449">
                  <c:v>43832</c:v>
                </c:pt>
                <c:pt idx="1450">
                  <c:v>43831</c:v>
                </c:pt>
                <c:pt idx="1451">
                  <c:v>43830</c:v>
                </c:pt>
                <c:pt idx="1452">
                  <c:v>43829</c:v>
                </c:pt>
                <c:pt idx="1453">
                  <c:v>43826</c:v>
                </c:pt>
                <c:pt idx="1454">
                  <c:v>43825</c:v>
                </c:pt>
                <c:pt idx="1455">
                  <c:v>43823</c:v>
                </c:pt>
                <c:pt idx="1456">
                  <c:v>43822</c:v>
                </c:pt>
                <c:pt idx="1457">
                  <c:v>43819</c:v>
                </c:pt>
                <c:pt idx="1458">
                  <c:v>43818</c:v>
                </c:pt>
                <c:pt idx="1459">
                  <c:v>43817</c:v>
                </c:pt>
                <c:pt idx="1460">
                  <c:v>43816</c:v>
                </c:pt>
                <c:pt idx="1461">
                  <c:v>43815</c:v>
                </c:pt>
                <c:pt idx="1462">
                  <c:v>43812</c:v>
                </c:pt>
                <c:pt idx="1463">
                  <c:v>43811</c:v>
                </c:pt>
                <c:pt idx="1464">
                  <c:v>43810</c:v>
                </c:pt>
                <c:pt idx="1465">
                  <c:v>43809</c:v>
                </c:pt>
                <c:pt idx="1466">
                  <c:v>43808</c:v>
                </c:pt>
                <c:pt idx="1467">
                  <c:v>43805</c:v>
                </c:pt>
                <c:pt idx="1468">
                  <c:v>43804</c:v>
                </c:pt>
                <c:pt idx="1469">
                  <c:v>43803</c:v>
                </c:pt>
                <c:pt idx="1470">
                  <c:v>43802</c:v>
                </c:pt>
                <c:pt idx="1471">
                  <c:v>43801</c:v>
                </c:pt>
                <c:pt idx="1472">
                  <c:v>43798</c:v>
                </c:pt>
                <c:pt idx="1473">
                  <c:v>43797</c:v>
                </c:pt>
                <c:pt idx="1474">
                  <c:v>43796</c:v>
                </c:pt>
                <c:pt idx="1475">
                  <c:v>43795</c:v>
                </c:pt>
                <c:pt idx="1476">
                  <c:v>43794</c:v>
                </c:pt>
                <c:pt idx="1477">
                  <c:v>43791</c:v>
                </c:pt>
                <c:pt idx="1478">
                  <c:v>43790</c:v>
                </c:pt>
                <c:pt idx="1479">
                  <c:v>43789</c:v>
                </c:pt>
                <c:pt idx="1480">
                  <c:v>43788</c:v>
                </c:pt>
                <c:pt idx="1481">
                  <c:v>43787</c:v>
                </c:pt>
                <c:pt idx="1482">
                  <c:v>43784</c:v>
                </c:pt>
                <c:pt idx="1483">
                  <c:v>43783</c:v>
                </c:pt>
                <c:pt idx="1484">
                  <c:v>43782</c:v>
                </c:pt>
                <c:pt idx="1485">
                  <c:v>43780</c:v>
                </c:pt>
                <c:pt idx="1486">
                  <c:v>43777</c:v>
                </c:pt>
                <c:pt idx="1487">
                  <c:v>43776</c:v>
                </c:pt>
                <c:pt idx="1488">
                  <c:v>43775</c:v>
                </c:pt>
                <c:pt idx="1489">
                  <c:v>43774</c:v>
                </c:pt>
                <c:pt idx="1490">
                  <c:v>43773</c:v>
                </c:pt>
                <c:pt idx="1491">
                  <c:v>43770</c:v>
                </c:pt>
                <c:pt idx="1492">
                  <c:v>43769</c:v>
                </c:pt>
                <c:pt idx="1493">
                  <c:v>43768</c:v>
                </c:pt>
                <c:pt idx="1494">
                  <c:v>43767</c:v>
                </c:pt>
                <c:pt idx="1495">
                  <c:v>43765</c:v>
                </c:pt>
                <c:pt idx="1496">
                  <c:v>43763</c:v>
                </c:pt>
                <c:pt idx="1497">
                  <c:v>43762</c:v>
                </c:pt>
                <c:pt idx="1498">
                  <c:v>43761</c:v>
                </c:pt>
                <c:pt idx="1499">
                  <c:v>43760</c:v>
                </c:pt>
                <c:pt idx="1500">
                  <c:v>43756</c:v>
                </c:pt>
                <c:pt idx="1501">
                  <c:v>43755</c:v>
                </c:pt>
                <c:pt idx="1502">
                  <c:v>43754</c:v>
                </c:pt>
                <c:pt idx="1503">
                  <c:v>43753</c:v>
                </c:pt>
                <c:pt idx="1504">
                  <c:v>43752</c:v>
                </c:pt>
                <c:pt idx="1505">
                  <c:v>43749</c:v>
                </c:pt>
                <c:pt idx="1506">
                  <c:v>43748</c:v>
                </c:pt>
                <c:pt idx="1507">
                  <c:v>43747</c:v>
                </c:pt>
                <c:pt idx="1508">
                  <c:v>43745</c:v>
                </c:pt>
                <c:pt idx="1509">
                  <c:v>43742</c:v>
                </c:pt>
                <c:pt idx="1510">
                  <c:v>43741</c:v>
                </c:pt>
                <c:pt idx="1511">
                  <c:v>43739</c:v>
                </c:pt>
                <c:pt idx="1512">
                  <c:v>43738</c:v>
                </c:pt>
                <c:pt idx="1513">
                  <c:v>43735</c:v>
                </c:pt>
                <c:pt idx="1514">
                  <c:v>43734</c:v>
                </c:pt>
                <c:pt idx="1515">
                  <c:v>43733</c:v>
                </c:pt>
                <c:pt idx="1516">
                  <c:v>43732</c:v>
                </c:pt>
                <c:pt idx="1517">
                  <c:v>43731</c:v>
                </c:pt>
                <c:pt idx="1518">
                  <c:v>43728</c:v>
                </c:pt>
                <c:pt idx="1519">
                  <c:v>43727</c:v>
                </c:pt>
                <c:pt idx="1520">
                  <c:v>43726</c:v>
                </c:pt>
                <c:pt idx="1521">
                  <c:v>43725</c:v>
                </c:pt>
                <c:pt idx="1522">
                  <c:v>43724</c:v>
                </c:pt>
                <c:pt idx="1523">
                  <c:v>43721</c:v>
                </c:pt>
                <c:pt idx="1524">
                  <c:v>43720</c:v>
                </c:pt>
                <c:pt idx="1525">
                  <c:v>43719</c:v>
                </c:pt>
                <c:pt idx="1526">
                  <c:v>43717</c:v>
                </c:pt>
                <c:pt idx="1527">
                  <c:v>43714</c:v>
                </c:pt>
                <c:pt idx="1528">
                  <c:v>43713</c:v>
                </c:pt>
                <c:pt idx="1529">
                  <c:v>43712</c:v>
                </c:pt>
                <c:pt idx="1530">
                  <c:v>43711</c:v>
                </c:pt>
                <c:pt idx="1531">
                  <c:v>43707</c:v>
                </c:pt>
                <c:pt idx="1532">
                  <c:v>43706</c:v>
                </c:pt>
                <c:pt idx="1533">
                  <c:v>43705</c:v>
                </c:pt>
                <c:pt idx="1534">
                  <c:v>43704</c:v>
                </c:pt>
                <c:pt idx="1535">
                  <c:v>43703</c:v>
                </c:pt>
                <c:pt idx="1536">
                  <c:v>43700</c:v>
                </c:pt>
                <c:pt idx="1537">
                  <c:v>43699</c:v>
                </c:pt>
                <c:pt idx="1538">
                  <c:v>43698</c:v>
                </c:pt>
                <c:pt idx="1539">
                  <c:v>43697</c:v>
                </c:pt>
                <c:pt idx="1540">
                  <c:v>43696</c:v>
                </c:pt>
                <c:pt idx="1541">
                  <c:v>43693</c:v>
                </c:pt>
                <c:pt idx="1542">
                  <c:v>43691</c:v>
                </c:pt>
                <c:pt idx="1543">
                  <c:v>43690</c:v>
                </c:pt>
                <c:pt idx="1544">
                  <c:v>43686</c:v>
                </c:pt>
                <c:pt idx="1545">
                  <c:v>43685</c:v>
                </c:pt>
                <c:pt idx="1546">
                  <c:v>43684</c:v>
                </c:pt>
                <c:pt idx="1547">
                  <c:v>43683</c:v>
                </c:pt>
                <c:pt idx="1548">
                  <c:v>43682</c:v>
                </c:pt>
                <c:pt idx="1549">
                  <c:v>43679</c:v>
                </c:pt>
                <c:pt idx="1550">
                  <c:v>43678</c:v>
                </c:pt>
                <c:pt idx="1551">
                  <c:v>43677</c:v>
                </c:pt>
                <c:pt idx="1552">
                  <c:v>43676</c:v>
                </c:pt>
                <c:pt idx="1553">
                  <c:v>43675</c:v>
                </c:pt>
                <c:pt idx="1554">
                  <c:v>43672</c:v>
                </c:pt>
                <c:pt idx="1555">
                  <c:v>43671</c:v>
                </c:pt>
                <c:pt idx="1556">
                  <c:v>43670</c:v>
                </c:pt>
                <c:pt idx="1557">
                  <c:v>43669</c:v>
                </c:pt>
                <c:pt idx="1558">
                  <c:v>43668</c:v>
                </c:pt>
                <c:pt idx="1559">
                  <c:v>43665</c:v>
                </c:pt>
                <c:pt idx="1560">
                  <c:v>43664</c:v>
                </c:pt>
                <c:pt idx="1561">
                  <c:v>43663</c:v>
                </c:pt>
                <c:pt idx="1562">
                  <c:v>43662</c:v>
                </c:pt>
                <c:pt idx="1563">
                  <c:v>43661</c:v>
                </c:pt>
                <c:pt idx="1564">
                  <c:v>43658</c:v>
                </c:pt>
                <c:pt idx="1565">
                  <c:v>43657</c:v>
                </c:pt>
                <c:pt idx="1566">
                  <c:v>43656</c:v>
                </c:pt>
                <c:pt idx="1567">
                  <c:v>43655</c:v>
                </c:pt>
                <c:pt idx="1568">
                  <c:v>43654</c:v>
                </c:pt>
                <c:pt idx="1569">
                  <c:v>43651</c:v>
                </c:pt>
                <c:pt idx="1570">
                  <c:v>43650</c:v>
                </c:pt>
                <c:pt idx="1571">
                  <c:v>43649</c:v>
                </c:pt>
                <c:pt idx="1572">
                  <c:v>43648</c:v>
                </c:pt>
                <c:pt idx="1573">
                  <c:v>43647</c:v>
                </c:pt>
                <c:pt idx="1574">
                  <c:v>43644</c:v>
                </c:pt>
                <c:pt idx="1575">
                  <c:v>43643</c:v>
                </c:pt>
                <c:pt idx="1576">
                  <c:v>43642</c:v>
                </c:pt>
                <c:pt idx="1577">
                  <c:v>43641</c:v>
                </c:pt>
                <c:pt idx="1578">
                  <c:v>43640</c:v>
                </c:pt>
                <c:pt idx="1579">
                  <c:v>43637</c:v>
                </c:pt>
                <c:pt idx="1580">
                  <c:v>43636</c:v>
                </c:pt>
                <c:pt idx="1581">
                  <c:v>43635</c:v>
                </c:pt>
                <c:pt idx="1582">
                  <c:v>43634</c:v>
                </c:pt>
                <c:pt idx="1583">
                  <c:v>43633</c:v>
                </c:pt>
                <c:pt idx="1584">
                  <c:v>43630</c:v>
                </c:pt>
                <c:pt idx="1585">
                  <c:v>43629</c:v>
                </c:pt>
                <c:pt idx="1586">
                  <c:v>43628</c:v>
                </c:pt>
                <c:pt idx="1587">
                  <c:v>43627</c:v>
                </c:pt>
                <c:pt idx="1588">
                  <c:v>43626</c:v>
                </c:pt>
                <c:pt idx="1589">
                  <c:v>43623</c:v>
                </c:pt>
                <c:pt idx="1590">
                  <c:v>43622</c:v>
                </c:pt>
                <c:pt idx="1591">
                  <c:v>43620</c:v>
                </c:pt>
                <c:pt idx="1592">
                  <c:v>43619</c:v>
                </c:pt>
                <c:pt idx="1593">
                  <c:v>43616</c:v>
                </c:pt>
                <c:pt idx="1594">
                  <c:v>43615</c:v>
                </c:pt>
                <c:pt idx="1595">
                  <c:v>43614</c:v>
                </c:pt>
                <c:pt idx="1596">
                  <c:v>43613</c:v>
                </c:pt>
                <c:pt idx="1597">
                  <c:v>43612</c:v>
                </c:pt>
                <c:pt idx="1598">
                  <c:v>43609</c:v>
                </c:pt>
                <c:pt idx="1599">
                  <c:v>43608</c:v>
                </c:pt>
                <c:pt idx="1600">
                  <c:v>43607</c:v>
                </c:pt>
                <c:pt idx="1601">
                  <c:v>43606</c:v>
                </c:pt>
                <c:pt idx="1602">
                  <c:v>43605</c:v>
                </c:pt>
                <c:pt idx="1603">
                  <c:v>43602</c:v>
                </c:pt>
                <c:pt idx="1604">
                  <c:v>43601</c:v>
                </c:pt>
                <c:pt idx="1605">
                  <c:v>43600</c:v>
                </c:pt>
                <c:pt idx="1606">
                  <c:v>43599</c:v>
                </c:pt>
                <c:pt idx="1607">
                  <c:v>43598</c:v>
                </c:pt>
                <c:pt idx="1608">
                  <c:v>43595</c:v>
                </c:pt>
                <c:pt idx="1609">
                  <c:v>43594</c:v>
                </c:pt>
                <c:pt idx="1610">
                  <c:v>43593</c:v>
                </c:pt>
                <c:pt idx="1611">
                  <c:v>43592</c:v>
                </c:pt>
                <c:pt idx="1612">
                  <c:v>43591</c:v>
                </c:pt>
                <c:pt idx="1613">
                  <c:v>43588</c:v>
                </c:pt>
                <c:pt idx="1614">
                  <c:v>43587</c:v>
                </c:pt>
                <c:pt idx="1615">
                  <c:v>43585</c:v>
                </c:pt>
                <c:pt idx="1616">
                  <c:v>43581</c:v>
                </c:pt>
                <c:pt idx="1617">
                  <c:v>43580</c:v>
                </c:pt>
                <c:pt idx="1618">
                  <c:v>43579</c:v>
                </c:pt>
                <c:pt idx="1619">
                  <c:v>43578</c:v>
                </c:pt>
                <c:pt idx="1620">
                  <c:v>43577</c:v>
                </c:pt>
                <c:pt idx="1621">
                  <c:v>43573</c:v>
                </c:pt>
                <c:pt idx="1622">
                  <c:v>43571</c:v>
                </c:pt>
                <c:pt idx="1623">
                  <c:v>43570</c:v>
                </c:pt>
                <c:pt idx="1624">
                  <c:v>43567</c:v>
                </c:pt>
                <c:pt idx="1625">
                  <c:v>43566</c:v>
                </c:pt>
                <c:pt idx="1626">
                  <c:v>43565</c:v>
                </c:pt>
                <c:pt idx="1627">
                  <c:v>43564</c:v>
                </c:pt>
                <c:pt idx="1628">
                  <c:v>43563</c:v>
                </c:pt>
                <c:pt idx="1629">
                  <c:v>43560</c:v>
                </c:pt>
                <c:pt idx="1630">
                  <c:v>43559</c:v>
                </c:pt>
                <c:pt idx="1631">
                  <c:v>43558</c:v>
                </c:pt>
                <c:pt idx="1632">
                  <c:v>43557</c:v>
                </c:pt>
                <c:pt idx="1633">
                  <c:v>43556</c:v>
                </c:pt>
              </c:numCache>
            </c:numRef>
          </c:cat>
          <c:val>
            <c:numRef>
              <c:f>Sheet1!$C$2:$C$1635</c:f>
              <c:numCache>
                <c:formatCode>_ * #,##0_ ;_ * \-#,##0_ ;_ * "-"??_ ;_ @_ </c:formatCode>
                <c:ptCount val="1634"/>
                <c:pt idx="0">
                  <c:v>281.46395472104018</c:v>
                </c:pt>
                <c:pt idx="1">
                  <c:v>281.14534767686433</c:v>
                </c:pt>
                <c:pt idx="2">
                  <c:v>282.03928714903174</c:v>
                </c:pt>
                <c:pt idx="3">
                  <c:v>280.18593038558589</c:v>
                </c:pt>
                <c:pt idx="4">
                  <c:v>280.94413466132607</c:v>
                </c:pt>
                <c:pt idx="5">
                  <c:v>281.56901714412413</c:v>
                </c:pt>
                <c:pt idx="6">
                  <c:v>282.90570398024784</c:v>
                </c:pt>
                <c:pt idx="7">
                  <c:v>283.65381555310586</c:v>
                </c:pt>
                <c:pt idx="8">
                  <c:v>282.45497667897433</c:v>
                </c:pt>
                <c:pt idx="9">
                  <c:v>281.01569600049328</c:v>
                </c:pt>
                <c:pt idx="10">
                  <c:v>279.90358328740098</c:v>
                </c:pt>
                <c:pt idx="11">
                  <c:v>279.12407254741953</c:v>
                </c:pt>
                <c:pt idx="12">
                  <c:v>278.75147526312008</c:v>
                </c:pt>
                <c:pt idx="13">
                  <c:v>281.03508452087561</c:v>
                </c:pt>
                <c:pt idx="14">
                  <c:v>281.85794792564712</c:v>
                </c:pt>
                <c:pt idx="15">
                  <c:v>278.52190165595204</c:v>
                </c:pt>
                <c:pt idx="16">
                  <c:v>275.87886278619936</c:v>
                </c:pt>
                <c:pt idx="17">
                  <c:v>277.73757937876076</c:v>
                </c:pt>
                <c:pt idx="18">
                  <c:v>276.82961737713276</c:v>
                </c:pt>
                <c:pt idx="19">
                  <c:v>276.16571160290573</c:v>
                </c:pt>
                <c:pt idx="20">
                  <c:v>275.76357319889064</c:v>
                </c:pt>
                <c:pt idx="21">
                  <c:v>272.19602610885522</c:v>
                </c:pt>
                <c:pt idx="22">
                  <c:v>272.3395599613936</c:v>
                </c:pt>
                <c:pt idx="23">
                  <c:v>271.97133427232296</c:v>
                </c:pt>
                <c:pt idx="24">
                  <c:v>278.44921277286221</c:v>
                </c:pt>
                <c:pt idx="25">
                  <c:v>280.87569961625007</c:v>
                </c:pt>
                <c:pt idx="26">
                  <c:v>282.4735327792763</c:v>
                </c:pt>
                <c:pt idx="27">
                  <c:v>283.5921756213786</c:v>
                </c:pt>
                <c:pt idx="28">
                  <c:v>287.11145791284866</c:v>
                </c:pt>
                <c:pt idx="29">
                  <c:v>285.89482490705444</c:v>
                </c:pt>
                <c:pt idx="30">
                  <c:v>283.2419606497993</c:v>
                </c:pt>
                <c:pt idx="31">
                  <c:v>283.13139235646776</c:v>
                </c:pt>
                <c:pt idx="32">
                  <c:v>282.63059186741629</c:v>
                </c:pt>
                <c:pt idx="33">
                  <c:v>283.69648413040971</c:v>
                </c:pt>
                <c:pt idx="34">
                  <c:v>283.00214008035829</c:v>
                </c:pt>
                <c:pt idx="35">
                  <c:v>281.85281274723559</c:v>
                </c:pt>
                <c:pt idx="36">
                  <c:v>281.0645692696807</c:v>
                </c:pt>
                <c:pt idx="37">
                  <c:v>279.27563550910531</c:v>
                </c:pt>
                <c:pt idx="38">
                  <c:v>279.40177735533922</c:v>
                </c:pt>
                <c:pt idx="39">
                  <c:v>279.56851760606907</c:v>
                </c:pt>
                <c:pt idx="40">
                  <c:v>279.77158613370523</c:v>
                </c:pt>
                <c:pt idx="41">
                  <c:v>276.42634886702064</c:v>
                </c:pt>
                <c:pt idx="42">
                  <c:v>276.55993777097279</c:v>
                </c:pt>
                <c:pt idx="43">
                  <c:v>276.34402882096987</c:v>
                </c:pt>
                <c:pt idx="44">
                  <c:v>276.41993328497159</c:v>
                </c:pt>
                <c:pt idx="45">
                  <c:v>279.07641466321468</c:v>
                </c:pt>
                <c:pt idx="46">
                  <c:v>284.15685617388294</c:v>
                </c:pt>
                <c:pt idx="47">
                  <c:v>283.4657087900008</c:v>
                </c:pt>
                <c:pt idx="48">
                  <c:v>282.64009665003107</c:v>
                </c:pt>
                <c:pt idx="49">
                  <c:v>280.82064539570257</c:v>
                </c:pt>
                <c:pt idx="50">
                  <c:v>281.67801842487569</c:v>
                </c:pt>
                <c:pt idx="51">
                  <c:v>281.48840728864582</c:v>
                </c:pt>
                <c:pt idx="52">
                  <c:v>281.27548169131325</c:v>
                </c:pt>
                <c:pt idx="53">
                  <c:v>280.86644520509708</c:v>
                </c:pt>
                <c:pt idx="54">
                  <c:v>276.66597896998081</c:v>
                </c:pt>
                <c:pt idx="55">
                  <c:v>275.76636230213171</c:v>
                </c:pt>
                <c:pt idx="56">
                  <c:v>273.4459092162939</c:v>
                </c:pt>
                <c:pt idx="57">
                  <c:v>276.56132725792219</c:v>
                </c:pt>
                <c:pt idx="58">
                  <c:v>274.89030633546906</c:v>
                </c:pt>
                <c:pt idx="59">
                  <c:v>280.86681804951741</c:v>
                </c:pt>
                <c:pt idx="60">
                  <c:v>282.96937914880135</c:v>
                </c:pt>
                <c:pt idx="61">
                  <c:v>281.59182078192066</c:v>
                </c:pt>
                <c:pt idx="62">
                  <c:v>290.41037334812978</c:v>
                </c:pt>
                <c:pt idx="63">
                  <c:v>294.4199731551883</c:v>
                </c:pt>
                <c:pt idx="64">
                  <c:v>293.60799767358696</c:v>
                </c:pt>
                <c:pt idx="65">
                  <c:v>289.5224063698227</c:v>
                </c:pt>
                <c:pt idx="66">
                  <c:v>289.58481750440717</c:v>
                </c:pt>
                <c:pt idx="67">
                  <c:v>289.22285065389985</c:v>
                </c:pt>
                <c:pt idx="68">
                  <c:v>288.48468515209476</c:v>
                </c:pt>
                <c:pt idx="69">
                  <c:v>287.48480974605246</c:v>
                </c:pt>
                <c:pt idx="70">
                  <c:v>289.97543197703095</c:v>
                </c:pt>
                <c:pt idx="71">
                  <c:v>290.77603658422095</c:v>
                </c:pt>
                <c:pt idx="72">
                  <c:v>292.21722783079559</c:v>
                </c:pt>
                <c:pt idx="73">
                  <c:v>290.78902870668338</c:v>
                </c:pt>
                <c:pt idx="74">
                  <c:v>291.40244534655534</c:v>
                </c:pt>
                <c:pt idx="75">
                  <c:v>288.30060866149688</c:v>
                </c:pt>
                <c:pt idx="76">
                  <c:v>284.92852380580678</c:v>
                </c:pt>
                <c:pt idx="77">
                  <c:v>283.23447928811919</c:v>
                </c:pt>
                <c:pt idx="78">
                  <c:v>284.60751883077688</c:v>
                </c:pt>
                <c:pt idx="79">
                  <c:v>283.55807403220291</c:v>
                </c:pt>
                <c:pt idx="80">
                  <c:v>285.96255893533015</c:v>
                </c:pt>
                <c:pt idx="81">
                  <c:v>286.49417686789582</c:v>
                </c:pt>
                <c:pt idx="82">
                  <c:v>284.56559670206667</c:v>
                </c:pt>
                <c:pt idx="83">
                  <c:v>283.21733934166383</c:v>
                </c:pt>
                <c:pt idx="84">
                  <c:v>282.7433414091646</c:v>
                </c:pt>
                <c:pt idx="85">
                  <c:v>283.79555050366088</c:v>
                </c:pt>
                <c:pt idx="86">
                  <c:v>281.64466152246979</c:v>
                </c:pt>
                <c:pt idx="87">
                  <c:v>279.29433236742568</c:v>
                </c:pt>
                <c:pt idx="88">
                  <c:v>279.13859111823911</c:v>
                </c:pt>
                <c:pt idx="89">
                  <c:v>276.96221359198546</c:v>
                </c:pt>
                <c:pt idx="90">
                  <c:v>275.68047852003866</c:v>
                </c:pt>
                <c:pt idx="91">
                  <c:v>275.82283731635772</c:v>
                </c:pt>
                <c:pt idx="92">
                  <c:v>274.65480424550731</c:v>
                </c:pt>
                <c:pt idx="93">
                  <c:v>277.61111887273915</c:v>
                </c:pt>
                <c:pt idx="94">
                  <c:v>278.40112056749558</c:v>
                </c:pt>
                <c:pt idx="95">
                  <c:v>283.36803174530934</c:v>
                </c:pt>
                <c:pt idx="96">
                  <c:v>282.75874158204925</c:v>
                </c:pt>
                <c:pt idx="97">
                  <c:v>283.38504717803687</c:v>
                </c:pt>
                <c:pt idx="98">
                  <c:v>283.68895181195415</c:v>
                </c:pt>
                <c:pt idx="99">
                  <c:v>281.34695892316296</c:v>
                </c:pt>
                <c:pt idx="100">
                  <c:v>279.81653197728269</c:v>
                </c:pt>
                <c:pt idx="101">
                  <c:v>278.24337585520232</c:v>
                </c:pt>
                <c:pt idx="102">
                  <c:v>278.3079192946139</c:v>
                </c:pt>
                <c:pt idx="103">
                  <c:v>275.42284652499046</c:v>
                </c:pt>
                <c:pt idx="104">
                  <c:v>274.72152808058951</c:v>
                </c:pt>
                <c:pt idx="105">
                  <c:v>275.34916995172591</c:v>
                </c:pt>
                <c:pt idx="106">
                  <c:v>275.77066434240112</c:v>
                </c:pt>
                <c:pt idx="107">
                  <c:v>276.3930825625738</c:v>
                </c:pt>
                <c:pt idx="108">
                  <c:v>274.50707545597652</c:v>
                </c:pt>
                <c:pt idx="109">
                  <c:v>274.9537813568997</c:v>
                </c:pt>
                <c:pt idx="110">
                  <c:v>272.524930634079</c:v>
                </c:pt>
                <c:pt idx="111">
                  <c:v>271.12629049160063</c:v>
                </c:pt>
                <c:pt idx="112">
                  <c:v>271.88998628729922</c:v>
                </c:pt>
                <c:pt idx="113">
                  <c:v>273.28851516003579</c:v>
                </c:pt>
                <c:pt idx="114">
                  <c:v>269.71539986455855</c:v>
                </c:pt>
                <c:pt idx="115">
                  <c:v>272.83988915968132</c:v>
                </c:pt>
                <c:pt idx="116">
                  <c:v>270.66040669104058</c:v>
                </c:pt>
                <c:pt idx="117">
                  <c:v>271.04226714915205</c:v>
                </c:pt>
                <c:pt idx="118">
                  <c:v>269.2662251883973</c:v>
                </c:pt>
                <c:pt idx="119">
                  <c:v>267.35552837954003</c:v>
                </c:pt>
                <c:pt idx="120">
                  <c:v>263.72922994595751</c:v>
                </c:pt>
                <c:pt idx="121">
                  <c:v>262.96927900761528</c:v>
                </c:pt>
                <c:pt idx="122">
                  <c:v>263.551923410369</c:v>
                </c:pt>
                <c:pt idx="123">
                  <c:v>267.16758841717143</c:v>
                </c:pt>
                <c:pt idx="124">
                  <c:v>267.19653589636454</c:v>
                </c:pt>
                <c:pt idx="125">
                  <c:v>270.79844214889687</c:v>
                </c:pt>
                <c:pt idx="126">
                  <c:v>268.67123098384576</c:v>
                </c:pt>
                <c:pt idx="127">
                  <c:v>270.46676003940047</c:v>
                </c:pt>
                <c:pt idx="128">
                  <c:v>270.06748579073081</c:v>
                </c:pt>
                <c:pt idx="129">
                  <c:v>272.13668715709571</c:v>
                </c:pt>
                <c:pt idx="130">
                  <c:v>267.85560670880977</c:v>
                </c:pt>
                <c:pt idx="131">
                  <c:v>274.58699111156028</c:v>
                </c:pt>
                <c:pt idx="132">
                  <c:v>272.25433761334637</c:v>
                </c:pt>
                <c:pt idx="133">
                  <c:v>268.96867202075777</c:v>
                </c:pt>
                <c:pt idx="134">
                  <c:v>268.00926710746796</c:v>
                </c:pt>
                <c:pt idx="135">
                  <c:v>266.17241534652067</c:v>
                </c:pt>
                <c:pt idx="136">
                  <c:v>263.51454834979126</c:v>
                </c:pt>
                <c:pt idx="137">
                  <c:v>263.68506074583019</c:v>
                </c:pt>
                <c:pt idx="138">
                  <c:v>256.99408313693596</c:v>
                </c:pt>
                <c:pt idx="139">
                  <c:v>250.0302568260349</c:v>
                </c:pt>
                <c:pt idx="140">
                  <c:v>255.62432054388461</c:v>
                </c:pt>
                <c:pt idx="141">
                  <c:v>250.55688862573948</c:v>
                </c:pt>
                <c:pt idx="142">
                  <c:v>258.81904502705606</c:v>
                </c:pt>
                <c:pt idx="143">
                  <c:v>269.06631227008029</c:v>
                </c:pt>
                <c:pt idx="144">
                  <c:v>263.82822299375766</c:v>
                </c:pt>
                <c:pt idx="145">
                  <c:v>262.44396694706921</c:v>
                </c:pt>
                <c:pt idx="146">
                  <c:v>266.7354270845812</c:v>
                </c:pt>
                <c:pt idx="147">
                  <c:v>267.3042954753659</c:v>
                </c:pt>
                <c:pt idx="148">
                  <c:v>267.42119102440847</c:v>
                </c:pt>
                <c:pt idx="149">
                  <c:v>269.96782368106278</c:v>
                </c:pt>
                <c:pt idx="150">
                  <c:v>272.69974732560257</c:v>
                </c:pt>
                <c:pt idx="151">
                  <c:v>271.40210116172011</c:v>
                </c:pt>
                <c:pt idx="152">
                  <c:v>267.24146606858454</c:v>
                </c:pt>
                <c:pt idx="153">
                  <c:v>264.17880690503137</c:v>
                </c:pt>
                <c:pt idx="154">
                  <c:v>262.05060120018987</c:v>
                </c:pt>
                <c:pt idx="155">
                  <c:v>257.36309904300379</c:v>
                </c:pt>
                <c:pt idx="156">
                  <c:v>254.71757836614469</c:v>
                </c:pt>
                <c:pt idx="157">
                  <c:v>255.3458502888993</c:v>
                </c:pt>
                <c:pt idx="158">
                  <c:v>254.98246407718958</c:v>
                </c:pt>
                <c:pt idx="159">
                  <c:v>254.30709886956635</c:v>
                </c:pt>
                <c:pt idx="160">
                  <c:v>256.58787258478185</c:v>
                </c:pt>
                <c:pt idx="161">
                  <c:v>256.5507550602245</c:v>
                </c:pt>
                <c:pt idx="162">
                  <c:v>253.17067587622483</c:v>
                </c:pt>
                <c:pt idx="163">
                  <c:v>249.14082229704098</c:v>
                </c:pt>
                <c:pt idx="164">
                  <c:v>247.86174404974113</c:v>
                </c:pt>
                <c:pt idx="165">
                  <c:v>247.16617022862928</c:v>
                </c:pt>
                <c:pt idx="166">
                  <c:v>252.27991203593709</c:v>
                </c:pt>
                <c:pt idx="167">
                  <c:v>254.07210112532832</c:v>
                </c:pt>
                <c:pt idx="168">
                  <c:v>255.35761410128893</c:v>
                </c:pt>
                <c:pt idx="169">
                  <c:v>255.54664906022199</c:v>
                </c:pt>
                <c:pt idx="170">
                  <c:v>260.43036470802662</c:v>
                </c:pt>
                <c:pt idx="171">
                  <c:v>259.72861290925806</c:v>
                </c:pt>
                <c:pt idx="172">
                  <c:v>260.42629556293394</c:v>
                </c:pt>
                <c:pt idx="173">
                  <c:v>261.3607586064424</c:v>
                </c:pt>
                <c:pt idx="174">
                  <c:v>257.68419423161015</c:v>
                </c:pt>
                <c:pt idx="175">
                  <c:v>265.94968735773233</c:v>
                </c:pt>
                <c:pt idx="176">
                  <c:v>263.98307659199776</c:v>
                </c:pt>
                <c:pt idx="177">
                  <c:v>265.59613494498376</c:v>
                </c:pt>
                <c:pt idx="178">
                  <c:v>272.41315751953277</c:v>
                </c:pt>
                <c:pt idx="179">
                  <c:v>277.8938889410187</c:v>
                </c:pt>
                <c:pt idx="180">
                  <c:v>277.87385380348962</c:v>
                </c:pt>
                <c:pt idx="181">
                  <c:v>275.33555409576098</c:v>
                </c:pt>
                <c:pt idx="182">
                  <c:v>272.88787224796067</c:v>
                </c:pt>
                <c:pt idx="183">
                  <c:v>269.1942214597259</c:v>
                </c:pt>
                <c:pt idx="184">
                  <c:v>268.58421414601355</c:v>
                </c:pt>
                <c:pt idx="185">
                  <c:v>268.92977635811934</c:v>
                </c:pt>
                <c:pt idx="186">
                  <c:v>268.17208960961602</c:v>
                </c:pt>
                <c:pt idx="187">
                  <c:v>265.64037560692515</c:v>
                </c:pt>
                <c:pt idx="188">
                  <c:v>260.13738023445472</c:v>
                </c:pt>
                <c:pt idx="189">
                  <c:v>266.0802072459814</c:v>
                </c:pt>
                <c:pt idx="190">
                  <c:v>273.29465487555683</c:v>
                </c:pt>
                <c:pt idx="191">
                  <c:v>279.32431451633624</c:v>
                </c:pt>
                <c:pt idx="192">
                  <c:v>275.29033144399699</c:v>
                </c:pt>
                <c:pt idx="193">
                  <c:v>274.84813003993924</c:v>
                </c:pt>
                <c:pt idx="194">
                  <c:v>278.81245862538378</c:v>
                </c:pt>
                <c:pt idx="195">
                  <c:v>276.82690924557886</c:v>
                </c:pt>
                <c:pt idx="196">
                  <c:v>275.10949296073005</c:v>
                </c:pt>
                <c:pt idx="197">
                  <c:v>275.21680860727236</c:v>
                </c:pt>
                <c:pt idx="198">
                  <c:v>278.27191277971889</c:v>
                </c:pt>
                <c:pt idx="199">
                  <c:v>274.23199203050234</c:v>
                </c:pt>
                <c:pt idx="200">
                  <c:v>280.66695684968568</c:v>
                </c:pt>
                <c:pt idx="201">
                  <c:v>287.28940383350965</c:v>
                </c:pt>
                <c:pt idx="202">
                  <c:v>289.31337690584053</c:v>
                </c:pt>
                <c:pt idx="203">
                  <c:v>291.83154528376286</c:v>
                </c:pt>
                <c:pt idx="204">
                  <c:v>288.96881370899951</c:v>
                </c:pt>
                <c:pt idx="205">
                  <c:v>292.07911193310537</c:v>
                </c:pt>
                <c:pt idx="206">
                  <c:v>294.75947242343017</c:v>
                </c:pt>
                <c:pt idx="207">
                  <c:v>293.72520462393493</c:v>
                </c:pt>
                <c:pt idx="208">
                  <c:v>292.94222400176534</c:v>
                </c:pt>
                <c:pt idx="209">
                  <c:v>291.07081477428505</c:v>
                </c:pt>
                <c:pt idx="210">
                  <c:v>288.66502720072083</c:v>
                </c:pt>
                <c:pt idx="211">
                  <c:v>285.60786122827881</c:v>
                </c:pt>
                <c:pt idx="212">
                  <c:v>284.14154736599363</c:v>
                </c:pt>
                <c:pt idx="213">
                  <c:v>283.81802593399703</c:v>
                </c:pt>
                <c:pt idx="214">
                  <c:v>282.97711078602924</c:v>
                </c:pt>
                <c:pt idx="215">
                  <c:v>286.50737039770553</c:v>
                </c:pt>
                <c:pt idx="216">
                  <c:v>283.28810735190763</c:v>
                </c:pt>
                <c:pt idx="217">
                  <c:v>280.56488261992939</c:v>
                </c:pt>
                <c:pt idx="218">
                  <c:v>282.51616540617556</c:v>
                </c:pt>
                <c:pt idx="219">
                  <c:v>281.37686015818974</c:v>
                </c:pt>
                <c:pt idx="220">
                  <c:v>282.45189546481049</c:v>
                </c:pt>
                <c:pt idx="221">
                  <c:v>284.67545186265596</c:v>
                </c:pt>
                <c:pt idx="222">
                  <c:v>284.024530751366</c:v>
                </c:pt>
                <c:pt idx="223">
                  <c:v>284.09885995203388</c:v>
                </c:pt>
                <c:pt idx="224">
                  <c:v>285.83942984944719</c:v>
                </c:pt>
                <c:pt idx="225">
                  <c:v>287.60053008790584</c:v>
                </c:pt>
                <c:pt idx="226">
                  <c:v>287.34625919502076</c:v>
                </c:pt>
                <c:pt idx="227">
                  <c:v>287.43806208076296</c:v>
                </c:pt>
                <c:pt idx="228">
                  <c:v>287.6294469894338</c:v>
                </c:pt>
                <c:pt idx="229">
                  <c:v>284.82938471650999</c:v>
                </c:pt>
                <c:pt idx="230">
                  <c:v>278.39856251317951</c:v>
                </c:pt>
                <c:pt idx="231">
                  <c:v>279.34944556959681</c:v>
                </c:pt>
                <c:pt idx="232">
                  <c:v>280.29371184395546</c:v>
                </c:pt>
                <c:pt idx="233">
                  <c:v>281.73431418410837</c:v>
                </c:pt>
                <c:pt idx="234">
                  <c:v>278.79887719700741</c:v>
                </c:pt>
                <c:pt idx="235">
                  <c:v>275.87557171071035</c:v>
                </c:pt>
                <c:pt idx="236">
                  <c:v>276.25552055592402</c:v>
                </c:pt>
                <c:pt idx="237">
                  <c:v>274.05140288776454</c:v>
                </c:pt>
                <c:pt idx="238">
                  <c:v>276.66564262240587</c:v>
                </c:pt>
                <c:pt idx="239">
                  <c:v>276.42170109203283</c:v>
                </c:pt>
                <c:pt idx="240">
                  <c:v>281.0316846812575</c:v>
                </c:pt>
                <c:pt idx="241">
                  <c:v>283.08316538341535</c:v>
                </c:pt>
                <c:pt idx="242">
                  <c:v>285.72096160875367</c:v>
                </c:pt>
                <c:pt idx="243">
                  <c:v>286.68552279775196</c:v>
                </c:pt>
                <c:pt idx="244">
                  <c:v>291.01089156615342</c:v>
                </c:pt>
                <c:pt idx="245">
                  <c:v>287.60188891917676</c:v>
                </c:pt>
                <c:pt idx="246">
                  <c:v>287.17372883932757</c:v>
                </c:pt>
                <c:pt idx="247">
                  <c:v>289.43748950261659</c:v>
                </c:pt>
                <c:pt idx="248">
                  <c:v>287.85052216700859</c:v>
                </c:pt>
                <c:pt idx="249">
                  <c:v>283.38066725775764</c:v>
                </c:pt>
                <c:pt idx="250">
                  <c:v>284.10358863748814</c:v>
                </c:pt>
                <c:pt idx="251">
                  <c:v>285.79573236586884</c:v>
                </c:pt>
                <c:pt idx="252">
                  <c:v>282.63579502373517</c:v>
                </c:pt>
                <c:pt idx="253">
                  <c:v>283.9212314368815</c:v>
                </c:pt>
                <c:pt idx="254">
                  <c:v>282.4093732854559</c:v>
                </c:pt>
                <c:pt idx="255">
                  <c:v>285.28189905948773</c:v>
                </c:pt>
                <c:pt idx="256">
                  <c:v>290.45074158341725</c:v>
                </c:pt>
                <c:pt idx="257">
                  <c:v>293.33449540781208</c:v>
                </c:pt>
                <c:pt idx="258">
                  <c:v>292.58245182031141</c:v>
                </c:pt>
                <c:pt idx="259">
                  <c:v>295.809526903782</c:v>
                </c:pt>
                <c:pt idx="260">
                  <c:v>296.40865649700862</c:v>
                </c:pt>
                <c:pt idx="261">
                  <c:v>296.54885710496239</c:v>
                </c:pt>
                <c:pt idx="262">
                  <c:v>295.94796434945033</c:v>
                </c:pt>
                <c:pt idx="263">
                  <c:v>292.40529104297917</c:v>
                </c:pt>
                <c:pt idx="264">
                  <c:v>297.26356955594343</c:v>
                </c:pt>
                <c:pt idx="265">
                  <c:v>291.78688227970162</c:v>
                </c:pt>
                <c:pt idx="266">
                  <c:v>286.75746401007717</c:v>
                </c:pt>
                <c:pt idx="267">
                  <c:v>289.90542637328195</c:v>
                </c:pt>
                <c:pt idx="268">
                  <c:v>290.29857946050515</c:v>
                </c:pt>
                <c:pt idx="269">
                  <c:v>292.6050248233127</c:v>
                </c:pt>
                <c:pt idx="270">
                  <c:v>291.92885161058638</c:v>
                </c:pt>
                <c:pt idx="271">
                  <c:v>293.95387509584543</c:v>
                </c:pt>
                <c:pt idx="272">
                  <c:v>291.38838075248168</c:v>
                </c:pt>
                <c:pt idx="273">
                  <c:v>291.98850706568095</c:v>
                </c:pt>
                <c:pt idx="274">
                  <c:v>291.63088063400625</c:v>
                </c:pt>
                <c:pt idx="275">
                  <c:v>290.95785793888848</c:v>
                </c:pt>
                <c:pt idx="276">
                  <c:v>289.93458397868017</c:v>
                </c:pt>
                <c:pt idx="277">
                  <c:v>287.89491251732102</c:v>
                </c:pt>
                <c:pt idx="278">
                  <c:v>289.43344959064342</c:v>
                </c:pt>
                <c:pt idx="279">
                  <c:v>293.67548029472277</c:v>
                </c:pt>
                <c:pt idx="280">
                  <c:v>294.69845925753549</c:v>
                </c:pt>
                <c:pt idx="281">
                  <c:v>295.10146385216484</c:v>
                </c:pt>
                <c:pt idx="282">
                  <c:v>294.81634112511063</c:v>
                </c:pt>
                <c:pt idx="283">
                  <c:v>292.75930679824188</c:v>
                </c:pt>
                <c:pt idx="284">
                  <c:v>292.92253394201413</c:v>
                </c:pt>
                <c:pt idx="285">
                  <c:v>289.56832113896587</c:v>
                </c:pt>
                <c:pt idx="286">
                  <c:v>289.65338780058028</c:v>
                </c:pt>
                <c:pt idx="287">
                  <c:v>290.68034211290427</c:v>
                </c:pt>
                <c:pt idx="288">
                  <c:v>289.89373617294586</c:v>
                </c:pt>
                <c:pt idx="289">
                  <c:v>286.5741677508239</c:v>
                </c:pt>
                <c:pt idx="290">
                  <c:v>286.08171449379563</c:v>
                </c:pt>
                <c:pt idx="291">
                  <c:v>288.14571139272255</c:v>
                </c:pt>
                <c:pt idx="292">
                  <c:v>284.08571240519535</c:v>
                </c:pt>
                <c:pt idx="293">
                  <c:v>285.28077345102787</c:v>
                </c:pt>
                <c:pt idx="294">
                  <c:v>282.55853264192893</c:v>
                </c:pt>
                <c:pt idx="295">
                  <c:v>280.85548993776638</c:v>
                </c:pt>
                <c:pt idx="296">
                  <c:v>281.09864153979674</c:v>
                </c:pt>
                <c:pt idx="297">
                  <c:v>281.00606684997825</c:v>
                </c:pt>
                <c:pt idx="298">
                  <c:v>280.88531244083453</c:v>
                </c:pt>
                <c:pt idx="299">
                  <c:v>278.27965738594617</c:v>
                </c:pt>
                <c:pt idx="300">
                  <c:v>276.83364900413824</c:v>
                </c:pt>
                <c:pt idx="301">
                  <c:v>274.99661344304741</c:v>
                </c:pt>
                <c:pt idx="302">
                  <c:v>272.73553870648772</c:v>
                </c:pt>
                <c:pt idx="303">
                  <c:v>274.41185268848614</c:v>
                </c:pt>
                <c:pt idx="304">
                  <c:v>275.25527298466034</c:v>
                </c:pt>
                <c:pt idx="305">
                  <c:v>275.06688416047717</c:v>
                </c:pt>
                <c:pt idx="306">
                  <c:v>274.08747101012892</c:v>
                </c:pt>
                <c:pt idx="307">
                  <c:v>273.32864792009462</c:v>
                </c:pt>
                <c:pt idx="308">
                  <c:v>267.00405478030211</c:v>
                </c:pt>
                <c:pt idx="309">
                  <c:v>266.98892116794127</c:v>
                </c:pt>
                <c:pt idx="310">
                  <c:v>271.41732721701976</c:v>
                </c:pt>
                <c:pt idx="311">
                  <c:v>269.73608171696986</c:v>
                </c:pt>
                <c:pt idx="312">
                  <c:v>269.24074226312234</c:v>
                </c:pt>
                <c:pt idx="313">
                  <c:v>265.87266286516962</c:v>
                </c:pt>
                <c:pt idx="314">
                  <c:v>266.69033600573232</c:v>
                </c:pt>
                <c:pt idx="315">
                  <c:v>265.50262259672485</c:v>
                </c:pt>
                <c:pt idx="316">
                  <c:v>260.93838339896462</c:v>
                </c:pt>
                <c:pt idx="317">
                  <c:v>258.4960910791325</c:v>
                </c:pt>
                <c:pt idx="318">
                  <c:v>255.65773123299888</c:v>
                </c:pt>
                <c:pt idx="319">
                  <c:v>253.71270100924494</c:v>
                </c:pt>
                <c:pt idx="320">
                  <c:v>251.24490245292392</c:v>
                </c:pt>
                <c:pt idx="321">
                  <c:v>255.64611359107431</c:v>
                </c:pt>
                <c:pt idx="322">
                  <c:v>255.45271044371353</c:v>
                </c:pt>
                <c:pt idx="323">
                  <c:v>255.49074703331743</c:v>
                </c:pt>
                <c:pt idx="324">
                  <c:v>253.1278114046398</c:v>
                </c:pt>
                <c:pt idx="325">
                  <c:v>253.29767274978704</c:v>
                </c:pt>
                <c:pt idx="326">
                  <c:v>254.47787860571839</c:v>
                </c:pt>
                <c:pt idx="327">
                  <c:v>253.5159472064675</c:v>
                </c:pt>
                <c:pt idx="328">
                  <c:v>250.24565871284892</c:v>
                </c:pt>
                <c:pt idx="329">
                  <c:v>251.91657370178953</c:v>
                </c:pt>
                <c:pt idx="330">
                  <c:v>249.24968596696411</c:v>
                </c:pt>
                <c:pt idx="331">
                  <c:v>245.85736030299185</c:v>
                </c:pt>
                <c:pt idx="332">
                  <c:v>244.27405548033451</c:v>
                </c:pt>
                <c:pt idx="333">
                  <c:v>243.83626706995591</c:v>
                </c:pt>
                <c:pt idx="334">
                  <c:v>242.83199045780714</c:v>
                </c:pt>
                <c:pt idx="335">
                  <c:v>240.85020188596937</c:v>
                </c:pt>
                <c:pt idx="336">
                  <c:v>241.3023829897042</c:v>
                </c:pt>
                <c:pt idx="337">
                  <c:v>240.90029169594629</c:v>
                </c:pt>
                <c:pt idx="338">
                  <c:v>240.72608422159479</c:v>
                </c:pt>
                <c:pt idx="339">
                  <c:v>240.54483658787291</c:v>
                </c:pt>
                <c:pt idx="340">
                  <c:v>241.01158879436457</c:v>
                </c:pt>
                <c:pt idx="341">
                  <c:v>241.96014212464303</c:v>
                </c:pt>
                <c:pt idx="342">
                  <c:v>243.98085789842847</c:v>
                </c:pt>
                <c:pt idx="343">
                  <c:v>244.52846206616942</c:v>
                </c:pt>
                <c:pt idx="344">
                  <c:v>243.64950308505084</c:v>
                </c:pt>
                <c:pt idx="345">
                  <c:v>243.62866690738076</c:v>
                </c:pt>
                <c:pt idx="346">
                  <c:v>243.01903249566101</c:v>
                </c:pt>
                <c:pt idx="347">
                  <c:v>243.7302872728709</c:v>
                </c:pt>
                <c:pt idx="348">
                  <c:v>240.85506691630886</c:v>
                </c:pt>
                <c:pt idx="349">
                  <c:v>236.72524149803974</c:v>
                </c:pt>
                <c:pt idx="350">
                  <c:v>236.46425245413803</c:v>
                </c:pt>
                <c:pt idx="351">
                  <c:v>228.12705605598237</c:v>
                </c:pt>
                <c:pt idx="352">
                  <c:v>232.25326509883035</c:v>
                </c:pt>
                <c:pt idx="353">
                  <c:v>231.82398743370149</c:v>
                </c:pt>
                <c:pt idx="354">
                  <c:v>233.41798719872958</c:v>
                </c:pt>
                <c:pt idx="355">
                  <c:v>237.2010117356123</c:v>
                </c:pt>
                <c:pt idx="356">
                  <c:v>235.93279225465415</c:v>
                </c:pt>
                <c:pt idx="357">
                  <c:v>234.95922762931423</c:v>
                </c:pt>
                <c:pt idx="358">
                  <c:v>235.15653442883431</c:v>
                </c:pt>
                <c:pt idx="359">
                  <c:v>236.46747713551602</c:v>
                </c:pt>
                <c:pt idx="360">
                  <c:v>237.04725660038449</c:v>
                </c:pt>
                <c:pt idx="361">
                  <c:v>236.14135139411826</c:v>
                </c:pt>
                <c:pt idx="362">
                  <c:v>236.10788173257166</c:v>
                </c:pt>
                <c:pt idx="363">
                  <c:v>234.24478507574415</c:v>
                </c:pt>
                <c:pt idx="364">
                  <c:v>233.30468252006142</c:v>
                </c:pt>
                <c:pt idx="365">
                  <c:v>232.19082252035921</c:v>
                </c:pt>
                <c:pt idx="366">
                  <c:v>232.15945299157511</c:v>
                </c:pt>
                <c:pt idx="367">
                  <c:v>232.01570088235471</c:v>
                </c:pt>
                <c:pt idx="368">
                  <c:v>229.29698200064564</c:v>
                </c:pt>
                <c:pt idx="369">
                  <c:v>226.92450433572719</c:v>
                </c:pt>
                <c:pt idx="370">
                  <c:v>231.68952110146651</c:v>
                </c:pt>
                <c:pt idx="371">
                  <c:v>231.3482478536545</c:v>
                </c:pt>
                <c:pt idx="372">
                  <c:v>235.67239271569122</c:v>
                </c:pt>
                <c:pt idx="373">
                  <c:v>235.08413337398434</c:v>
                </c:pt>
                <c:pt idx="374">
                  <c:v>235.01744547950568</c:v>
                </c:pt>
                <c:pt idx="375">
                  <c:v>233.47371459287328</c:v>
                </c:pt>
                <c:pt idx="376">
                  <c:v>234.82079047532235</c:v>
                </c:pt>
                <c:pt idx="377">
                  <c:v>233.72512865625328</c:v>
                </c:pt>
                <c:pt idx="378">
                  <c:v>232.4328584387662</c:v>
                </c:pt>
                <c:pt idx="379">
                  <c:v>229.72164717120012</c:v>
                </c:pt>
                <c:pt idx="380">
                  <c:v>228.66109828867974</c:v>
                </c:pt>
                <c:pt idx="381">
                  <c:v>229.99571870124203</c:v>
                </c:pt>
                <c:pt idx="382">
                  <c:v>227.10905175253839</c:v>
                </c:pt>
                <c:pt idx="383">
                  <c:v>228.68204668396481</c:v>
                </c:pt>
                <c:pt idx="384">
                  <c:v>229.69511064447215</c:v>
                </c:pt>
                <c:pt idx="385">
                  <c:v>228.7466712979774</c:v>
                </c:pt>
                <c:pt idx="386">
                  <c:v>230.98198400395168</c:v>
                </c:pt>
                <c:pt idx="387">
                  <c:v>234.6093570412641</c:v>
                </c:pt>
                <c:pt idx="388">
                  <c:v>235.12442013042917</c:v>
                </c:pt>
                <c:pt idx="389">
                  <c:v>235.3922821539704</c:v>
                </c:pt>
                <c:pt idx="390">
                  <c:v>235.07848796068163</c:v>
                </c:pt>
                <c:pt idx="391">
                  <c:v>234.17865312899875</c:v>
                </c:pt>
                <c:pt idx="392">
                  <c:v>234.56097021333613</c:v>
                </c:pt>
                <c:pt idx="393">
                  <c:v>234.98858185415543</c:v>
                </c:pt>
                <c:pt idx="394">
                  <c:v>234.85435010603038</c:v>
                </c:pt>
                <c:pt idx="395">
                  <c:v>232.13937291863874</c:v>
                </c:pt>
                <c:pt idx="396">
                  <c:v>229.59470872450723</c:v>
                </c:pt>
                <c:pt idx="397">
                  <c:v>229.17320939818802</c:v>
                </c:pt>
                <c:pt idx="398">
                  <c:v>228.98894926058006</c:v>
                </c:pt>
                <c:pt idx="399">
                  <c:v>226.31965210258181</c:v>
                </c:pt>
                <c:pt idx="400">
                  <c:v>223.74226069678079</c:v>
                </c:pt>
                <c:pt idx="401">
                  <c:v>223.9350621053604</c:v>
                </c:pt>
                <c:pt idx="402">
                  <c:v>228.1535096782238</c:v>
                </c:pt>
                <c:pt idx="403">
                  <c:v>226.7588434572142</c:v>
                </c:pt>
                <c:pt idx="404">
                  <c:v>228.4185263248884</c:v>
                </c:pt>
                <c:pt idx="405">
                  <c:v>224.84917851993501</c:v>
                </c:pt>
                <c:pt idx="406">
                  <c:v>229.87268749423234</c:v>
                </c:pt>
                <c:pt idx="407">
                  <c:v>232.51295434800323</c:v>
                </c:pt>
                <c:pt idx="408">
                  <c:v>233.1620004191123</c:v>
                </c:pt>
                <c:pt idx="409">
                  <c:v>232.27665120234846</c:v>
                </c:pt>
                <c:pt idx="410">
                  <c:v>231.83557813993778</c:v>
                </c:pt>
                <c:pt idx="411">
                  <c:v>231.5959952717069</c:v>
                </c:pt>
                <c:pt idx="412">
                  <c:v>231.59087873367073</c:v>
                </c:pt>
                <c:pt idx="413">
                  <c:v>230.73741028563117</c:v>
                </c:pt>
                <c:pt idx="414">
                  <c:v>231.8955742584146</c:v>
                </c:pt>
                <c:pt idx="415">
                  <c:v>230.59921891905827</c:v>
                </c:pt>
                <c:pt idx="416">
                  <c:v>232.80832932596272</c:v>
                </c:pt>
                <c:pt idx="417">
                  <c:v>231.89333952777983</c:v>
                </c:pt>
                <c:pt idx="418">
                  <c:v>233.10796319570414</c:v>
                </c:pt>
                <c:pt idx="419">
                  <c:v>232.55531740711331</c:v>
                </c:pt>
                <c:pt idx="420">
                  <c:v>232.21505417055778</c:v>
                </c:pt>
                <c:pt idx="421">
                  <c:v>232.97009743683165</c:v>
                </c:pt>
                <c:pt idx="422">
                  <c:v>233.49953816737775</c:v>
                </c:pt>
                <c:pt idx="423">
                  <c:v>231.87898866889745</c:v>
                </c:pt>
                <c:pt idx="424">
                  <c:v>228.53898821674716</c:v>
                </c:pt>
                <c:pt idx="425">
                  <c:v>228.20978055335445</c:v>
                </c:pt>
                <c:pt idx="426">
                  <c:v>229.37038868721024</c:v>
                </c:pt>
                <c:pt idx="427">
                  <c:v>228.60291674066326</c:v>
                </c:pt>
                <c:pt idx="428">
                  <c:v>228.71649218905191</c:v>
                </c:pt>
                <c:pt idx="429">
                  <c:v>228.54717794765079</c:v>
                </c:pt>
                <c:pt idx="430">
                  <c:v>228.47439413527715</c:v>
                </c:pt>
                <c:pt idx="431">
                  <c:v>227.51092159536753</c:v>
                </c:pt>
                <c:pt idx="432">
                  <c:v>224.49518666244271</c:v>
                </c:pt>
                <c:pt idx="433">
                  <c:v>221.11529687555415</c:v>
                </c:pt>
                <c:pt idx="434">
                  <c:v>219.64664460841342</c:v>
                </c:pt>
                <c:pt idx="435">
                  <c:v>220.84106287039751</c:v>
                </c:pt>
                <c:pt idx="436">
                  <c:v>216.07162459705657</c:v>
                </c:pt>
                <c:pt idx="437">
                  <c:v>217.46410692401417</c:v>
                </c:pt>
                <c:pt idx="438">
                  <c:v>215.96950586893098</c:v>
                </c:pt>
                <c:pt idx="439">
                  <c:v>218.40156041416628</c:v>
                </c:pt>
                <c:pt idx="440">
                  <c:v>216.1983466707392</c:v>
                </c:pt>
                <c:pt idx="441">
                  <c:v>214.59812323375041</c:v>
                </c:pt>
                <c:pt idx="442">
                  <c:v>215.8658196256178</c:v>
                </c:pt>
                <c:pt idx="443">
                  <c:v>214.9139836370953</c:v>
                </c:pt>
                <c:pt idx="444">
                  <c:v>213.58190080354598</c:v>
                </c:pt>
                <c:pt idx="445">
                  <c:v>215.50613284682566</c:v>
                </c:pt>
                <c:pt idx="446">
                  <c:v>217.37544975694772</c:v>
                </c:pt>
                <c:pt idx="447">
                  <c:v>215.88332219266752</c:v>
                </c:pt>
                <c:pt idx="448">
                  <c:v>216.11764957519009</c:v>
                </c:pt>
                <c:pt idx="449">
                  <c:v>215.15930310785589</c:v>
                </c:pt>
                <c:pt idx="450">
                  <c:v>214.01196737270104</c:v>
                </c:pt>
                <c:pt idx="451">
                  <c:v>212.11185622637575</c:v>
                </c:pt>
                <c:pt idx="452">
                  <c:v>214.3827280268101</c:v>
                </c:pt>
                <c:pt idx="453">
                  <c:v>214.77336684011431</c:v>
                </c:pt>
                <c:pt idx="454">
                  <c:v>214.53156815242491</c:v>
                </c:pt>
                <c:pt idx="455">
                  <c:v>212.42031694772447</c:v>
                </c:pt>
                <c:pt idx="456">
                  <c:v>206.95282226862946</c:v>
                </c:pt>
                <c:pt idx="457">
                  <c:v>206.19430907357386</c:v>
                </c:pt>
                <c:pt idx="458">
                  <c:v>205.8634039635368</c:v>
                </c:pt>
                <c:pt idx="459">
                  <c:v>204.40872694223233</c:v>
                </c:pt>
                <c:pt idx="460">
                  <c:v>203.10033570584176</c:v>
                </c:pt>
                <c:pt idx="461">
                  <c:v>201.35315504990584</c:v>
                </c:pt>
                <c:pt idx="462">
                  <c:v>198.24338610016943</c:v>
                </c:pt>
                <c:pt idx="463">
                  <c:v>196.24180344315332</c:v>
                </c:pt>
                <c:pt idx="464">
                  <c:v>200.08370544656535</c:v>
                </c:pt>
                <c:pt idx="465">
                  <c:v>199.47250903999242</c:v>
                </c:pt>
                <c:pt idx="466">
                  <c:v>197.37301670830658</c:v>
                </c:pt>
                <c:pt idx="467">
                  <c:v>196.84127336084646</c:v>
                </c:pt>
                <c:pt idx="468">
                  <c:v>196.58236677952169</c:v>
                </c:pt>
                <c:pt idx="469">
                  <c:v>194.62289074113377</c:v>
                </c:pt>
                <c:pt idx="470">
                  <c:v>195.97419532991779</c:v>
                </c:pt>
                <c:pt idx="471">
                  <c:v>196.85079263122975</c:v>
                </c:pt>
                <c:pt idx="472">
                  <c:v>198.70615463106975</c:v>
                </c:pt>
                <c:pt idx="473">
                  <c:v>197.16984106312506</c:v>
                </c:pt>
                <c:pt idx="474">
                  <c:v>197.87220250366045</c:v>
                </c:pt>
                <c:pt idx="475">
                  <c:v>197.9315633113587</c:v>
                </c:pt>
                <c:pt idx="476">
                  <c:v>198.08540800585752</c:v>
                </c:pt>
                <c:pt idx="477">
                  <c:v>197.64731380306239</c:v>
                </c:pt>
                <c:pt idx="478">
                  <c:v>194.85521356508804</c:v>
                </c:pt>
                <c:pt idx="479">
                  <c:v>193.87410833351765</c:v>
                </c:pt>
                <c:pt idx="480">
                  <c:v>194.49564597337667</c:v>
                </c:pt>
                <c:pt idx="481">
                  <c:v>193.51027634492485</c:v>
                </c:pt>
                <c:pt idx="482">
                  <c:v>195.31508693099943</c:v>
                </c:pt>
                <c:pt idx="483">
                  <c:v>194.51403383268826</c:v>
                </c:pt>
                <c:pt idx="484">
                  <c:v>193.30874467851987</c:v>
                </c:pt>
                <c:pt idx="485">
                  <c:v>192.55180984872189</c:v>
                </c:pt>
                <c:pt idx="486">
                  <c:v>190.76063024125469</c:v>
                </c:pt>
                <c:pt idx="487">
                  <c:v>189.46551250926385</c:v>
                </c:pt>
                <c:pt idx="488">
                  <c:v>188.80899739410012</c:v>
                </c:pt>
                <c:pt idx="489">
                  <c:v>189.77497984047747</c:v>
                </c:pt>
                <c:pt idx="490">
                  <c:v>188.84451149124098</c:v>
                </c:pt>
                <c:pt idx="491">
                  <c:v>188.40910765464162</c:v>
                </c:pt>
                <c:pt idx="492">
                  <c:v>188.11278906808442</c:v>
                </c:pt>
                <c:pt idx="493">
                  <c:v>185.17792709410938</c:v>
                </c:pt>
                <c:pt idx="494">
                  <c:v>182.6180708196423</c:v>
                </c:pt>
                <c:pt idx="495">
                  <c:v>180.60470725937577</c:v>
                </c:pt>
                <c:pt idx="496">
                  <c:v>179.95676150045173</c:v>
                </c:pt>
                <c:pt idx="497">
                  <c:v>178.58981487822857</c:v>
                </c:pt>
                <c:pt idx="498">
                  <c:v>177.95906319500574</c:v>
                </c:pt>
                <c:pt idx="499">
                  <c:v>178.87975214822828</c:v>
                </c:pt>
                <c:pt idx="500">
                  <c:v>178.51952322325775</c:v>
                </c:pt>
                <c:pt idx="501">
                  <c:v>176.50170935514592</c:v>
                </c:pt>
                <c:pt idx="502">
                  <c:v>178.25633634327414</c:v>
                </c:pt>
                <c:pt idx="503">
                  <c:v>179.13619825791898</c:v>
                </c:pt>
                <c:pt idx="504">
                  <c:v>182.47162850243251</c:v>
                </c:pt>
                <c:pt idx="505">
                  <c:v>184.18079643806098</c:v>
                </c:pt>
                <c:pt idx="506">
                  <c:v>184.93539359763699</c:v>
                </c:pt>
                <c:pt idx="507">
                  <c:v>184.50863484068518</c:v>
                </c:pt>
                <c:pt idx="508">
                  <c:v>184.12195649709335</c:v>
                </c:pt>
                <c:pt idx="509">
                  <c:v>184.75408336882543</c:v>
                </c:pt>
                <c:pt idx="510">
                  <c:v>184.20452578710513</c:v>
                </c:pt>
                <c:pt idx="511">
                  <c:v>183.93426787622658</c:v>
                </c:pt>
                <c:pt idx="512">
                  <c:v>183.32901134649234</c:v>
                </c:pt>
                <c:pt idx="513">
                  <c:v>183.04768957566867</c:v>
                </c:pt>
                <c:pt idx="514">
                  <c:v>183.9886255502507</c:v>
                </c:pt>
                <c:pt idx="515">
                  <c:v>182.65817535666113</c:v>
                </c:pt>
                <c:pt idx="516">
                  <c:v>183.27063046942538</c:v>
                </c:pt>
                <c:pt idx="517">
                  <c:v>185.58629143713748</c:v>
                </c:pt>
                <c:pt idx="518">
                  <c:v>186.65021272641428</c:v>
                </c:pt>
                <c:pt idx="519">
                  <c:v>181.95719445019967</c:v>
                </c:pt>
                <c:pt idx="520">
                  <c:v>182.9096529759405</c:v>
                </c:pt>
                <c:pt idx="521">
                  <c:v>181.00251514236081</c:v>
                </c:pt>
                <c:pt idx="522">
                  <c:v>181.48068593493645</c:v>
                </c:pt>
                <c:pt idx="523">
                  <c:v>181.73436682002358</c:v>
                </c:pt>
                <c:pt idx="524">
                  <c:v>183.99730082576383</c:v>
                </c:pt>
                <c:pt idx="525">
                  <c:v>185.66744257314986</c:v>
                </c:pt>
                <c:pt idx="526">
                  <c:v>186.44087107579259</c:v>
                </c:pt>
                <c:pt idx="527">
                  <c:v>187.58132565592183</c:v>
                </c:pt>
                <c:pt idx="528">
                  <c:v>186.6536609266154</c:v>
                </c:pt>
                <c:pt idx="529">
                  <c:v>186.52234377415803</c:v>
                </c:pt>
                <c:pt idx="530">
                  <c:v>184.53504518040964</c:v>
                </c:pt>
                <c:pt idx="531">
                  <c:v>184.89123540255005</c:v>
                </c:pt>
                <c:pt idx="532">
                  <c:v>184.35022380056498</c:v>
                </c:pt>
                <c:pt idx="533">
                  <c:v>185.08003682029369</c:v>
                </c:pt>
                <c:pt idx="534">
                  <c:v>185.63435999761475</c:v>
                </c:pt>
                <c:pt idx="535">
                  <c:v>183.86370441262079</c:v>
                </c:pt>
                <c:pt idx="536">
                  <c:v>181.59384924275633</c:v>
                </c:pt>
                <c:pt idx="537">
                  <c:v>181.00214728029974</c:v>
                </c:pt>
                <c:pt idx="538">
                  <c:v>182.27980659609227</c:v>
                </c:pt>
                <c:pt idx="539">
                  <c:v>182.54186967162141</c:v>
                </c:pt>
                <c:pt idx="540">
                  <c:v>182.3515035473601</c:v>
                </c:pt>
                <c:pt idx="541">
                  <c:v>182.6033087252606</c:v>
                </c:pt>
                <c:pt idx="542">
                  <c:v>181.22515728753456</c:v>
                </c:pt>
                <c:pt idx="543">
                  <c:v>183.15013761236111</c:v>
                </c:pt>
                <c:pt idx="544">
                  <c:v>184.20473869787958</c:v>
                </c:pt>
                <c:pt idx="545">
                  <c:v>184.51400996591869</c:v>
                </c:pt>
                <c:pt idx="546">
                  <c:v>184.67481385640625</c:v>
                </c:pt>
                <c:pt idx="547">
                  <c:v>183.93278938020441</c:v>
                </c:pt>
                <c:pt idx="548">
                  <c:v>184.59576989787686</c:v>
                </c:pt>
                <c:pt idx="549">
                  <c:v>185.17759204713872</c:v>
                </c:pt>
                <c:pt idx="550">
                  <c:v>184.0339744812008</c:v>
                </c:pt>
                <c:pt idx="551">
                  <c:v>184.72281681464378</c:v>
                </c:pt>
                <c:pt idx="552">
                  <c:v>187.32184767286083</c:v>
                </c:pt>
                <c:pt idx="553">
                  <c:v>187.8934412815706</c:v>
                </c:pt>
                <c:pt idx="554">
                  <c:v>186.64240662510835</c:v>
                </c:pt>
                <c:pt idx="555">
                  <c:v>186.00875291119345</c:v>
                </c:pt>
                <c:pt idx="556">
                  <c:v>184.04289518809205</c:v>
                </c:pt>
                <c:pt idx="557">
                  <c:v>182.71413771337981</c:v>
                </c:pt>
                <c:pt idx="558">
                  <c:v>179.95277843033489</c:v>
                </c:pt>
                <c:pt idx="559">
                  <c:v>181.03624569393185</c:v>
                </c:pt>
                <c:pt idx="560">
                  <c:v>180.81627831661461</c:v>
                </c:pt>
                <c:pt idx="561">
                  <c:v>180.81722204273066</c:v>
                </c:pt>
                <c:pt idx="562">
                  <c:v>180.31251982771448</c:v>
                </c:pt>
                <c:pt idx="563">
                  <c:v>175.56730564030008</c:v>
                </c:pt>
                <c:pt idx="564">
                  <c:v>175.20883685841906</c:v>
                </c:pt>
                <c:pt idx="565">
                  <c:v>174.37514607036681</c:v>
                </c:pt>
                <c:pt idx="566">
                  <c:v>173.98362731175678</c:v>
                </c:pt>
                <c:pt idx="567">
                  <c:v>174.14235002673985</c:v>
                </c:pt>
                <c:pt idx="568">
                  <c:v>172.05575427329657</c:v>
                </c:pt>
                <c:pt idx="569">
                  <c:v>171.12337157546764</c:v>
                </c:pt>
                <c:pt idx="570">
                  <c:v>171.48183769336782</c:v>
                </c:pt>
                <c:pt idx="571">
                  <c:v>170.13881750630799</c:v>
                </c:pt>
                <c:pt idx="572">
                  <c:v>169.10429091563321</c:v>
                </c:pt>
                <c:pt idx="573">
                  <c:v>170.30384292191894</c:v>
                </c:pt>
                <c:pt idx="574">
                  <c:v>168.73681860553845</c:v>
                </c:pt>
                <c:pt idx="575">
                  <c:v>167.06006637449727</c:v>
                </c:pt>
                <c:pt idx="576">
                  <c:v>167.27476807694984</c:v>
                </c:pt>
                <c:pt idx="577">
                  <c:v>168.27913747589585</c:v>
                </c:pt>
                <c:pt idx="578">
                  <c:v>167.2088478031379</c:v>
                </c:pt>
                <c:pt idx="579">
                  <c:v>165.99241143914287</c:v>
                </c:pt>
                <c:pt idx="580">
                  <c:v>165.78109447351002</c:v>
                </c:pt>
                <c:pt idx="581">
                  <c:v>167.14662840192912</c:v>
                </c:pt>
                <c:pt idx="582">
                  <c:v>165.7209383405694</c:v>
                </c:pt>
                <c:pt idx="583">
                  <c:v>163.48042771424898</c:v>
                </c:pt>
                <c:pt idx="584">
                  <c:v>162.95291502056213</c:v>
                </c:pt>
                <c:pt idx="585">
                  <c:v>160.8471516097247</c:v>
                </c:pt>
                <c:pt idx="586">
                  <c:v>160.93588299553107</c:v>
                </c:pt>
                <c:pt idx="587">
                  <c:v>161.93314036975701</c:v>
                </c:pt>
                <c:pt idx="588">
                  <c:v>162.17939163794318</c:v>
                </c:pt>
                <c:pt idx="589">
                  <c:v>162.07700627784959</c:v>
                </c:pt>
                <c:pt idx="590">
                  <c:v>161.13774479604135</c:v>
                </c:pt>
                <c:pt idx="591">
                  <c:v>160.10003471135883</c:v>
                </c:pt>
                <c:pt idx="592">
                  <c:v>158.41772641143191</c:v>
                </c:pt>
                <c:pt idx="593">
                  <c:v>157.74576113404498</c:v>
                </c:pt>
                <c:pt idx="594">
                  <c:v>156.10023929031917</c:v>
                </c:pt>
                <c:pt idx="595">
                  <c:v>156.03134748825337</c:v>
                </c:pt>
                <c:pt idx="596">
                  <c:v>156.30319960596265</c:v>
                </c:pt>
                <c:pt idx="597">
                  <c:v>157.79639236588059</c:v>
                </c:pt>
                <c:pt idx="598">
                  <c:v>157.18117102718148</c:v>
                </c:pt>
                <c:pt idx="599">
                  <c:v>155.90155385976212</c:v>
                </c:pt>
                <c:pt idx="600">
                  <c:v>155.58595168675294</c:v>
                </c:pt>
                <c:pt idx="601">
                  <c:v>154.28829947267693</c:v>
                </c:pt>
                <c:pt idx="602">
                  <c:v>152.99867867506083</c:v>
                </c:pt>
                <c:pt idx="603">
                  <c:v>151.87483565151905</c:v>
                </c:pt>
                <c:pt idx="604">
                  <c:v>152.05720492300497</c:v>
                </c:pt>
                <c:pt idx="605">
                  <c:v>151.63904208990778</c:v>
                </c:pt>
                <c:pt idx="606">
                  <c:v>150.13612172507197</c:v>
                </c:pt>
                <c:pt idx="607">
                  <c:v>149.6375691775483</c:v>
                </c:pt>
                <c:pt idx="608">
                  <c:v>148.6620659247761</c:v>
                </c:pt>
                <c:pt idx="609">
                  <c:v>147.98486654488659</c:v>
                </c:pt>
                <c:pt idx="610">
                  <c:v>146.90757507925116</c:v>
                </c:pt>
                <c:pt idx="611">
                  <c:v>148.28257992546469</c:v>
                </c:pt>
                <c:pt idx="612">
                  <c:v>149.77930564676856</c:v>
                </c:pt>
                <c:pt idx="613">
                  <c:v>150.16723254823435</c:v>
                </c:pt>
                <c:pt idx="614">
                  <c:v>150.85902771180128</c:v>
                </c:pt>
                <c:pt idx="615">
                  <c:v>150.7648134612931</c:v>
                </c:pt>
                <c:pt idx="616">
                  <c:v>151.35730791670636</c:v>
                </c:pt>
                <c:pt idx="617">
                  <c:v>152.32939750082124</c:v>
                </c:pt>
                <c:pt idx="618">
                  <c:v>152.41578143694286</c:v>
                </c:pt>
                <c:pt idx="619">
                  <c:v>152.12699145411054</c:v>
                </c:pt>
                <c:pt idx="620">
                  <c:v>151.28328832543573</c:v>
                </c:pt>
                <c:pt idx="621">
                  <c:v>151.70797593758971</c:v>
                </c:pt>
                <c:pt idx="622">
                  <c:v>151.0009830599831</c:v>
                </c:pt>
                <c:pt idx="623">
                  <c:v>151.16062164920325</c:v>
                </c:pt>
                <c:pt idx="624">
                  <c:v>151.38489043216137</c:v>
                </c:pt>
                <c:pt idx="625">
                  <c:v>150.208806233399</c:v>
                </c:pt>
                <c:pt idx="626">
                  <c:v>149.46249394011966</c:v>
                </c:pt>
                <c:pt idx="627">
                  <c:v>149.48032246120044</c:v>
                </c:pt>
                <c:pt idx="628">
                  <c:v>149.44278535152139</c:v>
                </c:pt>
                <c:pt idx="629">
                  <c:v>150.24890266415954</c:v>
                </c:pt>
                <c:pt idx="630">
                  <c:v>149.54169630867335</c:v>
                </c:pt>
                <c:pt idx="631">
                  <c:v>150.91989073043305</c:v>
                </c:pt>
                <c:pt idx="632">
                  <c:v>150.50760722598417</c:v>
                </c:pt>
                <c:pt idx="633">
                  <c:v>148.3282991467205</c:v>
                </c:pt>
                <c:pt idx="634">
                  <c:v>148.937635351013</c:v>
                </c:pt>
                <c:pt idx="635">
                  <c:v>149.75329648134547</c:v>
                </c:pt>
                <c:pt idx="636">
                  <c:v>146.99996692487667</c:v>
                </c:pt>
                <c:pt idx="637">
                  <c:v>147.00636784716781</c:v>
                </c:pt>
                <c:pt idx="638">
                  <c:v>146.71708745008343</c:v>
                </c:pt>
                <c:pt idx="639">
                  <c:v>145.52052359147365</c:v>
                </c:pt>
                <c:pt idx="640">
                  <c:v>143.9560674789619</c:v>
                </c:pt>
                <c:pt idx="641">
                  <c:v>143.28947157824689</c:v>
                </c:pt>
                <c:pt idx="642">
                  <c:v>142.3032044757922</c:v>
                </c:pt>
                <c:pt idx="643">
                  <c:v>141.47817985121611</c:v>
                </c:pt>
                <c:pt idx="644">
                  <c:v>141.64162822255489</c:v>
                </c:pt>
                <c:pt idx="645">
                  <c:v>140.62566494829503</c:v>
                </c:pt>
                <c:pt idx="646">
                  <c:v>141.35619807995087</c:v>
                </c:pt>
                <c:pt idx="647">
                  <c:v>140.89447689320878</c:v>
                </c:pt>
                <c:pt idx="648">
                  <c:v>139.62937918696255</c:v>
                </c:pt>
                <c:pt idx="649">
                  <c:v>139.7295674669333</c:v>
                </c:pt>
                <c:pt idx="650">
                  <c:v>139.76351355030476</c:v>
                </c:pt>
                <c:pt idx="651">
                  <c:v>140.52945261015239</c:v>
                </c:pt>
                <c:pt idx="652">
                  <c:v>139.48800398795609</c:v>
                </c:pt>
                <c:pt idx="653">
                  <c:v>139.22988656957492</c:v>
                </c:pt>
                <c:pt idx="654">
                  <c:v>139.32084497716346</c:v>
                </c:pt>
                <c:pt idx="655">
                  <c:v>140.59292557338912</c:v>
                </c:pt>
                <c:pt idx="656">
                  <c:v>140.83065556535962</c:v>
                </c:pt>
                <c:pt idx="657">
                  <c:v>141.31553336254851</c:v>
                </c:pt>
                <c:pt idx="658">
                  <c:v>141.85751883905152</c:v>
                </c:pt>
                <c:pt idx="659">
                  <c:v>141.42747499678524</c:v>
                </c:pt>
                <c:pt idx="660">
                  <c:v>141.25692255092056</c:v>
                </c:pt>
                <c:pt idx="661">
                  <c:v>141.42852818720871</c:v>
                </c:pt>
                <c:pt idx="662">
                  <c:v>141.01396587069607</c:v>
                </c:pt>
                <c:pt idx="663">
                  <c:v>142.25088291486946</c:v>
                </c:pt>
                <c:pt idx="664">
                  <c:v>143.20713731761433</c:v>
                </c:pt>
                <c:pt idx="665">
                  <c:v>143.07798131550138</c:v>
                </c:pt>
                <c:pt idx="666">
                  <c:v>143.18470026749745</c:v>
                </c:pt>
                <c:pt idx="667">
                  <c:v>143.62776844135158</c:v>
                </c:pt>
                <c:pt idx="668">
                  <c:v>143.86773879893229</c:v>
                </c:pt>
                <c:pt idx="669">
                  <c:v>144.60924911536279</c:v>
                </c:pt>
                <c:pt idx="670">
                  <c:v>146.10077985592363</c:v>
                </c:pt>
                <c:pt idx="671">
                  <c:v>145.1077881650294</c:v>
                </c:pt>
                <c:pt idx="672">
                  <c:v>145.2331384579802</c:v>
                </c:pt>
                <c:pt idx="673">
                  <c:v>145.67519136993653</c:v>
                </c:pt>
                <c:pt idx="674">
                  <c:v>146.22948540526508</c:v>
                </c:pt>
                <c:pt idx="675">
                  <c:v>146.06435389878388</c:v>
                </c:pt>
                <c:pt idx="676">
                  <c:v>146.86050369703838</c:v>
                </c:pt>
                <c:pt idx="677">
                  <c:v>144.95412746731827</c:v>
                </c:pt>
                <c:pt idx="678">
                  <c:v>145.03120819200842</c:v>
                </c:pt>
                <c:pt idx="679">
                  <c:v>144.72445558001593</c:v>
                </c:pt>
                <c:pt idx="680">
                  <c:v>145.84221450042051</c:v>
                </c:pt>
                <c:pt idx="681">
                  <c:v>146.40072594470041</c:v>
                </c:pt>
                <c:pt idx="682">
                  <c:v>146.82471234596821</c:v>
                </c:pt>
                <c:pt idx="683">
                  <c:v>147.75435329050447</c:v>
                </c:pt>
                <c:pt idx="684">
                  <c:v>148.09147752698013</c:v>
                </c:pt>
                <c:pt idx="685">
                  <c:v>147.85746195900563</c:v>
                </c:pt>
                <c:pt idx="686">
                  <c:v>149.55624670776166</c:v>
                </c:pt>
                <c:pt idx="687">
                  <c:v>151.07338325677242</c:v>
                </c:pt>
                <c:pt idx="688">
                  <c:v>149.88811599828446</c:v>
                </c:pt>
                <c:pt idx="689">
                  <c:v>151.05948643702968</c:v>
                </c:pt>
                <c:pt idx="690">
                  <c:v>151.52898510749537</c:v>
                </c:pt>
                <c:pt idx="691">
                  <c:v>150.50142038594512</c:v>
                </c:pt>
                <c:pt idx="692">
                  <c:v>150.81105770131188</c:v>
                </c:pt>
                <c:pt idx="693">
                  <c:v>150.98187402584747</c:v>
                </c:pt>
                <c:pt idx="694">
                  <c:v>151.13595564218932</c:v>
                </c:pt>
                <c:pt idx="695">
                  <c:v>151.36948543793289</c:v>
                </c:pt>
                <c:pt idx="696">
                  <c:v>151.98360865367525</c:v>
                </c:pt>
                <c:pt idx="697">
                  <c:v>151.80022206761183</c:v>
                </c:pt>
                <c:pt idx="698">
                  <c:v>150.69439880320888</c:v>
                </c:pt>
                <c:pt idx="699">
                  <c:v>151.73855877184167</c:v>
                </c:pt>
                <c:pt idx="700">
                  <c:v>150.53310612276394</c:v>
                </c:pt>
                <c:pt idx="701">
                  <c:v>150.80402080995958</c:v>
                </c:pt>
                <c:pt idx="702">
                  <c:v>149.7805414343548</c:v>
                </c:pt>
                <c:pt idx="703">
                  <c:v>150.03981801659225</c:v>
                </c:pt>
                <c:pt idx="704">
                  <c:v>150.40516329286044</c:v>
                </c:pt>
                <c:pt idx="705">
                  <c:v>150.19433762191591</c:v>
                </c:pt>
                <c:pt idx="706">
                  <c:v>150.91517819927299</c:v>
                </c:pt>
                <c:pt idx="707">
                  <c:v>150.66543107818671</c:v>
                </c:pt>
                <c:pt idx="708">
                  <c:v>151.51762138271957</c:v>
                </c:pt>
                <c:pt idx="709">
                  <c:v>152.97070453048536</c:v>
                </c:pt>
                <c:pt idx="710">
                  <c:v>153.1895080720702</c:v>
                </c:pt>
                <c:pt idx="711">
                  <c:v>150.19041032553901</c:v>
                </c:pt>
                <c:pt idx="712">
                  <c:v>150.60495372811664</c:v>
                </c:pt>
                <c:pt idx="713">
                  <c:v>150.78880916501649</c:v>
                </c:pt>
                <c:pt idx="714">
                  <c:v>152.436455185006</c:v>
                </c:pt>
                <c:pt idx="715">
                  <c:v>153.10616792248396</c:v>
                </c:pt>
                <c:pt idx="716">
                  <c:v>152.27396273495404</c:v>
                </c:pt>
                <c:pt idx="717">
                  <c:v>151.94673597082186</c:v>
                </c:pt>
                <c:pt idx="718">
                  <c:v>152.09211422983475</c:v>
                </c:pt>
                <c:pt idx="719">
                  <c:v>151.84668567749583</c:v>
                </c:pt>
                <c:pt idx="720">
                  <c:v>153.15641770763466</c:v>
                </c:pt>
                <c:pt idx="721">
                  <c:v>154.12193339555176</c:v>
                </c:pt>
                <c:pt idx="722">
                  <c:v>155.13840309319275</c:v>
                </c:pt>
                <c:pt idx="723">
                  <c:v>155.43337011402815</c:v>
                </c:pt>
                <c:pt idx="724">
                  <c:v>155.85498727053266</c:v>
                </c:pt>
                <c:pt idx="725">
                  <c:v>155.90869382356524</c:v>
                </c:pt>
                <c:pt idx="726">
                  <c:v>155.42388964404029</c:v>
                </c:pt>
                <c:pt idx="727">
                  <c:v>154.38731873542062</c:v>
                </c:pt>
                <c:pt idx="728">
                  <c:v>154.03521027033901</c:v>
                </c:pt>
                <c:pt idx="729">
                  <c:v>153.10587132303772</c:v>
                </c:pt>
                <c:pt idx="730">
                  <c:v>152.97757061853179</c:v>
                </c:pt>
                <c:pt idx="731">
                  <c:v>152.41921908293077</c:v>
                </c:pt>
                <c:pt idx="732">
                  <c:v>152.27929392430983</c:v>
                </c:pt>
                <c:pt idx="733">
                  <c:v>153.11609253051395</c:v>
                </c:pt>
                <c:pt idx="734">
                  <c:v>153.74889272396996</c:v>
                </c:pt>
                <c:pt idx="735">
                  <c:v>154.39278552903872</c:v>
                </c:pt>
                <c:pt idx="736">
                  <c:v>155.00353565851057</c:v>
                </c:pt>
                <c:pt idx="737">
                  <c:v>154.90676987461245</c:v>
                </c:pt>
                <c:pt idx="738">
                  <c:v>154.65549637734119</c:v>
                </c:pt>
                <c:pt idx="739">
                  <c:v>154.18798790092106</c:v>
                </c:pt>
                <c:pt idx="740">
                  <c:v>155.68678368913092</c:v>
                </c:pt>
                <c:pt idx="741">
                  <c:v>157.56401076624414</c:v>
                </c:pt>
                <c:pt idx="742">
                  <c:v>159.47542313963049</c:v>
                </c:pt>
                <c:pt idx="743">
                  <c:v>160.94914536985252</c:v>
                </c:pt>
                <c:pt idx="744">
                  <c:v>160.61622335031888</c:v>
                </c:pt>
                <c:pt idx="745">
                  <c:v>159.50951156966158</c:v>
                </c:pt>
                <c:pt idx="746">
                  <c:v>156.64774379222436</c:v>
                </c:pt>
                <c:pt idx="747">
                  <c:v>154.59226878323778</c:v>
                </c:pt>
                <c:pt idx="748">
                  <c:v>156.20311877701062</c:v>
                </c:pt>
                <c:pt idx="749">
                  <c:v>155.0212662177905</c:v>
                </c:pt>
                <c:pt idx="750">
                  <c:v>154.36952808064342</c:v>
                </c:pt>
                <c:pt idx="751">
                  <c:v>153.58803070025576</c:v>
                </c:pt>
                <c:pt idx="752">
                  <c:v>154.6202175831871</c:v>
                </c:pt>
                <c:pt idx="753">
                  <c:v>154.1938343751716</c:v>
                </c:pt>
                <c:pt idx="754">
                  <c:v>153.98162491841933</c:v>
                </c:pt>
                <c:pt idx="755">
                  <c:v>153.72696062531153</c:v>
                </c:pt>
                <c:pt idx="756">
                  <c:v>153.53955515089839</c:v>
                </c:pt>
                <c:pt idx="757">
                  <c:v>152.81995550599757</c:v>
                </c:pt>
                <c:pt idx="758">
                  <c:v>152.76650769692347</c:v>
                </c:pt>
                <c:pt idx="759">
                  <c:v>152.67239731895472</c:v>
                </c:pt>
                <c:pt idx="760">
                  <c:v>154.72579008617791</c:v>
                </c:pt>
                <c:pt idx="761">
                  <c:v>155.84082822176001</c:v>
                </c:pt>
                <c:pt idx="762">
                  <c:v>156.53097668229617</c:v>
                </c:pt>
                <c:pt idx="763">
                  <c:v>156.8085730728051</c:v>
                </c:pt>
                <c:pt idx="764">
                  <c:v>155.44666638299543</c:v>
                </c:pt>
                <c:pt idx="765">
                  <c:v>153.95936427556188</c:v>
                </c:pt>
                <c:pt idx="766">
                  <c:v>152.70210896440651</c:v>
                </c:pt>
                <c:pt idx="767">
                  <c:v>150.33470155049579</c:v>
                </c:pt>
                <c:pt idx="768">
                  <c:v>149.42859235041195</c:v>
                </c:pt>
                <c:pt idx="769">
                  <c:v>148.46823470343313</c:v>
                </c:pt>
                <c:pt idx="770">
                  <c:v>150.31627327516534</c:v>
                </c:pt>
                <c:pt idx="771">
                  <c:v>150.73204691310252</c:v>
                </c:pt>
                <c:pt idx="772">
                  <c:v>150.30985804601931</c:v>
                </c:pt>
                <c:pt idx="773">
                  <c:v>152.08965540915403</c:v>
                </c:pt>
                <c:pt idx="774">
                  <c:v>148.26336333918303</c:v>
                </c:pt>
                <c:pt idx="775">
                  <c:v>148.29411425137434</c:v>
                </c:pt>
                <c:pt idx="776">
                  <c:v>150.4329807118275</c:v>
                </c:pt>
                <c:pt idx="777">
                  <c:v>152.09576158117068</c:v>
                </c:pt>
                <c:pt idx="778">
                  <c:v>152.84553016100162</c:v>
                </c:pt>
                <c:pt idx="779">
                  <c:v>152.38086640268287</c:v>
                </c:pt>
                <c:pt idx="780">
                  <c:v>152.09520878316511</c:v>
                </c:pt>
                <c:pt idx="781">
                  <c:v>152.30257220148914</c:v>
                </c:pt>
                <c:pt idx="782">
                  <c:v>152.33630385719775</c:v>
                </c:pt>
                <c:pt idx="783">
                  <c:v>151.03451824049827</c:v>
                </c:pt>
                <c:pt idx="784">
                  <c:v>150.88422800054471</c:v>
                </c:pt>
                <c:pt idx="785">
                  <c:v>150.33437961613626</c:v>
                </c:pt>
                <c:pt idx="786">
                  <c:v>150.95043441210123</c:v>
                </c:pt>
                <c:pt idx="787">
                  <c:v>152.23417534856466</c:v>
                </c:pt>
                <c:pt idx="788">
                  <c:v>150.63381673355315</c:v>
                </c:pt>
                <c:pt idx="789">
                  <c:v>151.00601535670597</c:v>
                </c:pt>
                <c:pt idx="790">
                  <c:v>151.11952302878635</c:v>
                </c:pt>
                <c:pt idx="791">
                  <c:v>151.68798858941673</c:v>
                </c:pt>
                <c:pt idx="792">
                  <c:v>151.58215623681019</c:v>
                </c:pt>
                <c:pt idx="793">
                  <c:v>150.78069916883558</c:v>
                </c:pt>
                <c:pt idx="794">
                  <c:v>153.10413473152752</c:v>
                </c:pt>
                <c:pt idx="795">
                  <c:v>154.54494806244466</c:v>
                </c:pt>
                <c:pt idx="796">
                  <c:v>154.93188796334209</c:v>
                </c:pt>
                <c:pt idx="797">
                  <c:v>154.44753952372375</c:v>
                </c:pt>
                <c:pt idx="798">
                  <c:v>153.58515588881886</c:v>
                </c:pt>
                <c:pt idx="799">
                  <c:v>154.87608838341293</c:v>
                </c:pt>
                <c:pt idx="800">
                  <c:v>154.30895015806411</c:v>
                </c:pt>
                <c:pt idx="801">
                  <c:v>154.76164391446724</c:v>
                </c:pt>
                <c:pt idx="802">
                  <c:v>154.60727282907794</c:v>
                </c:pt>
                <c:pt idx="803">
                  <c:v>155.13036748078517</c:v>
                </c:pt>
                <c:pt idx="804">
                  <c:v>152.1487043915659</c:v>
                </c:pt>
                <c:pt idx="805">
                  <c:v>153.44415945087334</c:v>
                </c:pt>
                <c:pt idx="806">
                  <c:v>153.35863691645795</c:v>
                </c:pt>
                <c:pt idx="807">
                  <c:v>153.29148410779425</c:v>
                </c:pt>
                <c:pt idx="808">
                  <c:v>151.61135424949401</c:v>
                </c:pt>
                <c:pt idx="809">
                  <c:v>151.45017194210541</c:v>
                </c:pt>
                <c:pt idx="810">
                  <c:v>148.7943546999449</c:v>
                </c:pt>
                <c:pt idx="811">
                  <c:v>150.40096686492575</c:v>
                </c:pt>
                <c:pt idx="812">
                  <c:v>151.7490281060947</c:v>
                </c:pt>
                <c:pt idx="813">
                  <c:v>152.18333213594184</c:v>
                </c:pt>
                <c:pt idx="814">
                  <c:v>152.72744915071689</c:v>
                </c:pt>
                <c:pt idx="815">
                  <c:v>152.57138371817081</c:v>
                </c:pt>
                <c:pt idx="816">
                  <c:v>152.73535212894939</c:v>
                </c:pt>
                <c:pt idx="817">
                  <c:v>152.53954097764532</c:v>
                </c:pt>
                <c:pt idx="818">
                  <c:v>152.14939388576798</c:v>
                </c:pt>
                <c:pt idx="819">
                  <c:v>151.17552434718158</c:v>
                </c:pt>
                <c:pt idx="820">
                  <c:v>149.37977381906646</c:v>
                </c:pt>
                <c:pt idx="821">
                  <c:v>150.54790147245765</c:v>
                </c:pt>
                <c:pt idx="822">
                  <c:v>149.47981843711969</c:v>
                </c:pt>
                <c:pt idx="823">
                  <c:v>148.90866087565797</c:v>
                </c:pt>
                <c:pt idx="824">
                  <c:v>147.98696866607051</c:v>
                </c:pt>
                <c:pt idx="825">
                  <c:v>146.97855070136643</c:v>
                </c:pt>
                <c:pt idx="826">
                  <c:v>146.87392283843795</c:v>
                </c:pt>
                <c:pt idx="827">
                  <c:v>147.1780096057077</c:v>
                </c:pt>
                <c:pt idx="828">
                  <c:v>146.24059968761654</c:v>
                </c:pt>
                <c:pt idx="829">
                  <c:v>146.57573705468815</c:v>
                </c:pt>
                <c:pt idx="830">
                  <c:v>146.61540358496958</c:v>
                </c:pt>
                <c:pt idx="831">
                  <c:v>146.88417469627723</c:v>
                </c:pt>
                <c:pt idx="832">
                  <c:v>146.33091131873263</c:v>
                </c:pt>
                <c:pt idx="833">
                  <c:v>145.48925077386551</c:v>
                </c:pt>
                <c:pt idx="834">
                  <c:v>143.578330895455</c:v>
                </c:pt>
                <c:pt idx="835">
                  <c:v>145.24711667463157</c:v>
                </c:pt>
                <c:pt idx="836">
                  <c:v>142.16567800845962</c:v>
                </c:pt>
                <c:pt idx="837">
                  <c:v>142.02326999608431</c:v>
                </c:pt>
                <c:pt idx="838">
                  <c:v>144.66520720998713</c:v>
                </c:pt>
                <c:pt idx="839">
                  <c:v>147.05715618400393</c:v>
                </c:pt>
                <c:pt idx="840">
                  <c:v>146.54643262099788</c:v>
                </c:pt>
                <c:pt idx="841">
                  <c:v>146.38551174805929</c:v>
                </c:pt>
                <c:pt idx="842">
                  <c:v>149.09980682493367</c:v>
                </c:pt>
                <c:pt idx="843">
                  <c:v>149.66542066309682</c:v>
                </c:pt>
                <c:pt idx="844">
                  <c:v>148.13329251364087</c:v>
                </c:pt>
                <c:pt idx="845">
                  <c:v>147.64534058015525</c:v>
                </c:pt>
                <c:pt idx="846">
                  <c:v>148.94525588371744</c:v>
                </c:pt>
                <c:pt idx="847">
                  <c:v>149.05859782094251</c:v>
                </c:pt>
                <c:pt idx="848">
                  <c:v>150.13209499974656</c:v>
                </c:pt>
                <c:pt idx="849">
                  <c:v>149.4862768042658</c:v>
                </c:pt>
                <c:pt idx="850">
                  <c:v>151.04341869575802</c:v>
                </c:pt>
                <c:pt idx="851">
                  <c:v>151.93437063525477</c:v>
                </c:pt>
                <c:pt idx="852">
                  <c:v>151.66141636004915</c:v>
                </c:pt>
                <c:pt idx="853">
                  <c:v>150.232478175034</c:v>
                </c:pt>
                <c:pt idx="854">
                  <c:v>149.76744491735712</c:v>
                </c:pt>
                <c:pt idx="855">
                  <c:v>151.72452098140366</c:v>
                </c:pt>
                <c:pt idx="856">
                  <c:v>154.06984940359757</c:v>
                </c:pt>
                <c:pt idx="857">
                  <c:v>155.84339902449469</c:v>
                </c:pt>
                <c:pt idx="858">
                  <c:v>151.2442629297822</c:v>
                </c:pt>
                <c:pt idx="859">
                  <c:v>154.41895156080707</c:v>
                </c:pt>
                <c:pt idx="860">
                  <c:v>152.94835949810656</c:v>
                </c:pt>
                <c:pt idx="861">
                  <c:v>151.00160183386868</c:v>
                </c:pt>
                <c:pt idx="862">
                  <c:v>150.93018405917095</c:v>
                </c:pt>
                <c:pt idx="863">
                  <c:v>148.52797074303487</c:v>
                </c:pt>
                <c:pt idx="864">
                  <c:v>150.10937007001328</c:v>
                </c:pt>
                <c:pt idx="865">
                  <c:v>151.08991385681381</c:v>
                </c:pt>
                <c:pt idx="866">
                  <c:v>153.62238621442444</c:v>
                </c:pt>
                <c:pt idx="867">
                  <c:v>154.35590702838664</c:v>
                </c:pt>
                <c:pt idx="868">
                  <c:v>156.66689539261156</c:v>
                </c:pt>
                <c:pt idx="869">
                  <c:v>157.53596360779707</c:v>
                </c:pt>
                <c:pt idx="870">
                  <c:v>161.63764448851254</c:v>
                </c:pt>
                <c:pt idx="871">
                  <c:v>161.92031716102747</c:v>
                </c:pt>
                <c:pt idx="872">
                  <c:v>162.24283507685064</c:v>
                </c:pt>
                <c:pt idx="873">
                  <c:v>160.8515842185156</c:v>
                </c:pt>
                <c:pt idx="874">
                  <c:v>161.96743550864403</c:v>
                </c:pt>
                <c:pt idx="875">
                  <c:v>160.4479864054791</c:v>
                </c:pt>
                <c:pt idx="876">
                  <c:v>163.21868460493877</c:v>
                </c:pt>
                <c:pt idx="877">
                  <c:v>165.66084169754527</c:v>
                </c:pt>
                <c:pt idx="878">
                  <c:v>163.72941707962258</c:v>
                </c:pt>
                <c:pt idx="879">
                  <c:v>162.10201157304056</c:v>
                </c:pt>
                <c:pt idx="880">
                  <c:v>164.3803446117912</c:v>
                </c:pt>
                <c:pt idx="881">
                  <c:v>165.29068645144685</c:v>
                </c:pt>
                <c:pt idx="882">
                  <c:v>164.90077560915668</c:v>
                </c:pt>
                <c:pt idx="883">
                  <c:v>166.44495413506542</c:v>
                </c:pt>
                <c:pt idx="884">
                  <c:v>166.2266985195246</c:v>
                </c:pt>
                <c:pt idx="885">
                  <c:v>165.77737901921921</c:v>
                </c:pt>
                <c:pt idx="886">
                  <c:v>165.23085695819506</c:v>
                </c:pt>
                <c:pt idx="887">
                  <c:v>165.69570556172664</c:v>
                </c:pt>
                <c:pt idx="888">
                  <c:v>165.06750769271883</c:v>
                </c:pt>
                <c:pt idx="889">
                  <c:v>162.59996308673647</c:v>
                </c:pt>
                <c:pt idx="890">
                  <c:v>162.25197931624712</c:v>
                </c:pt>
                <c:pt idx="891">
                  <c:v>163.66192706201247</c:v>
                </c:pt>
                <c:pt idx="892">
                  <c:v>163.97226682407421</c:v>
                </c:pt>
                <c:pt idx="893">
                  <c:v>161.44711896072607</c:v>
                </c:pt>
                <c:pt idx="894">
                  <c:v>161.90241442233227</c:v>
                </c:pt>
                <c:pt idx="895">
                  <c:v>163.45442743777841</c:v>
                </c:pt>
                <c:pt idx="896">
                  <c:v>162.30893146595812</c:v>
                </c:pt>
                <c:pt idx="897">
                  <c:v>161.38578561463996</c:v>
                </c:pt>
                <c:pt idx="898">
                  <c:v>162.00086263516309</c:v>
                </c:pt>
                <c:pt idx="899">
                  <c:v>161.90671753337543</c:v>
                </c:pt>
                <c:pt idx="900">
                  <c:v>159.91514228816197</c:v>
                </c:pt>
                <c:pt idx="901">
                  <c:v>159.17113820114216</c:v>
                </c:pt>
                <c:pt idx="902">
                  <c:v>159.5114271704802</c:v>
                </c:pt>
                <c:pt idx="903">
                  <c:v>160.20181225192346</c:v>
                </c:pt>
                <c:pt idx="904">
                  <c:v>157.13988978514953</c:v>
                </c:pt>
                <c:pt idx="905">
                  <c:v>156.66989961940916</c:v>
                </c:pt>
                <c:pt idx="906">
                  <c:v>153.95120444849999</c:v>
                </c:pt>
                <c:pt idx="907">
                  <c:v>150.99705978026779</c:v>
                </c:pt>
                <c:pt idx="908">
                  <c:v>151.83100978795065</c:v>
                </c:pt>
                <c:pt idx="909">
                  <c:v>152.90020358533295</c:v>
                </c:pt>
                <c:pt idx="910">
                  <c:v>153.13943058135783</c:v>
                </c:pt>
                <c:pt idx="911">
                  <c:v>155.206691894762</c:v>
                </c:pt>
                <c:pt idx="912">
                  <c:v>155.02234402708694</c:v>
                </c:pt>
                <c:pt idx="913">
                  <c:v>150.60116786471923</c:v>
                </c:pt>
                <c:pt idx="914">
                  <c:v>156.61668797700614</c:v>
                </c:pt>
                <c:pt idx="915">
                  <c:v>155.84951582058673</c:v>
                </c:pt>
                <c:pt idx="916">
                  <c:v>156.98168357076673</c:v>
                </c:pt>
                <c:pt idx="917">
                  <c:v>159.22859390030285</c:v>
                </c:pt>
                <c:pt idx="918">
                  <c:v>160.79157348509861</c:v>
                </c:pt>
                <c:pt idx="919">
                  <c:v>162.07149373438943</c:v>
                </c:pt>
                <c:pt idx="920">
                  <c:v>161.229326943497</c:v>
                </c:pt>
                <c:pt idx="921">
                  <c:v>159.89122788377409</c:v>
                </c:pt>
                <c:pt idx="922">
                  <c:v>163.12098089573203</c:v>
                </c:pt>
                <c:pt idx="923">
                  <c:v>164.40355336054841</c:v>
                </c:pt>
                <c:pt idx="924">
                  <c:v>164.21643072014811</c:v>
                </c:pt>
                <c:pt idx="925">
                  <c:v>162.99581116130065</c:v>
                </c:pt>
                <c:pt idx="926">
                  <c:v>162.5788297603022</c:v>
                </c:pt>
                <c:pt idx="927">
                  <c:v>164.74977711433314</c:v>
                </c:pt>
                <c:pt idx="928">
                  <c:v>165.22427929281235</c:v>
                </c:pt>
                <c:pt idx="929">
                  <c:v>165.68293868565988</c:v>
                </c:pt>
                <c:pt idx="930">
                  <c:v>163.65880562790588</c:v>
                </c:pt>
                <c:pt idx="931">
                  <c:v>160.60407898403395</c:v>
                </c:pt>
                <c:pt idx="932">
                  <c:v>158.54205386533917</c:v>
                </c:pt>
                <c:pt idx="933">
                  <c:v>157.36311069048952</c:v>
                </c:pt>
                <c:pt idx="934">
                  <c:v>160.51673219817502</c:v>
                </c:pt>
                <c:pt idx="935">
                  <c:v>159.43569487115852</c:v>
                </c:pt>
                <c:pt idx="936">
                  <c:v>163.13663542217074</c:v>
                </c:pt>
                <c:pt idx="937">
                  <c:v>165.41000899687918</c:v>
                </c:pt>
                <c:pt idx="938">
                  <c:v>167.5206704478116</c:v>
                </c:pt>
                <c:pt idx="939">
                  <c:v>167.7866193872276</c:v>
                </c:pt>
                <c:pt idx="940">
                  <c:v>169.87366453516174</c:v>
                </c:pt>
                <c:pt idx="941">
                  <c:v>171.04544794479588</c:v>
                </c:pt>
                <c:pt idx="942">
                  <c:v>172.01215786236872</c:v>
                </c:pt>
                <c:pt idx="943">
                  <c:v>169.66549426751973</c:v>
                </c:pt>
                <c:pt idx="944">
                  <c:v>169.72725459905368</c:v>
                </c:pt>
                <c:pt idx="945">
                  <c:v>169.84449859298172</c:v>
                </c:pt>
                <c:pt idx="946">
                  <c:v>169.6161248993146</c:v>
                </c:pt>
                <c:pt idx="947">
                  <c:v>170.21641920567549</c:v>
                </c:pt>
                <c:pt idx="948">
                  <c:v>171.08947773994541</c:v>
                </c:pt>
                <c:pt idx="949">
                  <c:v>171.50403560080039</c:v>
                </c:pt>
                <c:pt idx="950">
                  <c:v>172.75724116726605</c:v>
                </c:pt>
                <c:pt idx="951">
                  <c:v>173.38094067224532</c:v>
                </c:pt>
                <c:pt idx="952">
                  <c:v>172.11179965960844</c:v>
                </c:pt>
                <c:pt idx="953">
                  <c:v>171.24780263249664</c:v>
                </c:pt>
                <c:pt idx="954">
                  <c:v>168.52309072719777</c:v>
                </c:pt>
                <c:pt idx="955">
                  <c:v>166.90940683839409</c:v>
                </c:pt>
                <c:pt idx="956">
                  <c:v>164.85423786102746</c:v>
                </c:pt>
                <c:pt idx="957">
                  <c:v>166.77264117990308</c:v>
                </c:pt>
                <c:pt idx="958">
                  <c:v>165.40238907421121</c:v>
                </c:pt>
                <c:pt idx="959">
                  <c:v>162.41202184667995</c:v>
                </c:pt>
                <c:pt idx="960">
                  <c:v>161.18428789614563</c:v>
                </c:pt>
                <c:pt idx="961">
                  <c:v>162.44038332834873</c:v>
                </c:pt>
                <c:pt idx="962">
                  <c:v>164.37237419902468</c:v>
                </c:pt>
                <c:pt idx="963">
                  <c:v>165.80338165152534</c:v>
                </c:pt>
                <c:pt idx="964">
                  <c:v>166.60843520390395</c:v>
                </c:pt>
                <c:pt idx="965">
                  <c:v>165.35342339537422</c:v>
                </c:pt>
                <c:pt idx="966">
                  <c:v>165.53940343173602</c:v>
                </c:pt>
                <c:pt idx="967">
                  <c:v>165.3965372497421</c:v>
                </c:pt>
                <c:pt idx="968">
                  <c:v>165.15670644285225</c:v>
                </c:pt>
                <c:pt idx="969">
                  <c:v>162.71386474286922</c:v>
                </c:pt>
                <c:pt idx="970">
                  <c:v>161.88453770935624</c:v>
                </c:pt>
                <c:pt idx="971">
                  <c:v>164.65998293676935</c:v>
                </c:pt>
                <c:pt idx="972">
                  <c:v>165.40519071825619</c:v>
                </c:pt>
                <c:pt idx="973">
                  <c:v>164.04334998943986</c:v>
                </c:pt>
                <c:pt idx="974">
                  <c:v>166.14526706931852</c:v>
                </c:pt>
                <c:pt idx="975">
                  <c:v>165.93035226938167</c:v>
                </c:pt>
                <c:pt idx="976">
                  <c:v>167.74340343527913</c:v>
                </c:pt>
                <c:pt idx="977">
                  <c:v>165.84674059760729</c:v>
                </c:pt>
                <c:pt idx="978">
                  <c:v>163.70028547327993</c:v>
                </c:pt>
                <c:pt idx="979">
                  <c:v>164.8137334470693</c:v>
                </c:pt>
                <c:pt idx="980">
                  <c:v>162.36639644111438</c:v>
                </c:pt>
                <c:pt idx="981">
                  <c:v>165.34800771321338</c:v>
                </c:pt>
                <c:pt idx="982">
                  <c:v>167.26077773239993</c:v>
                </c:pt>
                <c:pt idx="983">
                  <c:v>168.85738865030817</c:v>
                </c:pt>
                <c:pt idx="984">
                  <c:v>170.52299552976928</c:v>
                </c:pt>
                <c:pt idx="985">
                  <c:v>168.25915008787285</c:v>
                </c:pt>
                <c:pt idx="986">
                  <c:v>167.72600726226892</c:v>
                </c:pt>
                <c:pt idx="987">
                  <c:v>169.86493053789312</c:v>
                </c:pt>
                <c:pt idx="988">
                  <c:v>169.59789678453279</c:v>
                </c:pt>
                <c:pt idx="989">
                  <c:v>169.52631395542781</c:v>
                </c:pt>
                <c:pt idx="990">
                  <c:v>170.39327002205738</c:v>
                </c:pt>
                <c:pt idx="991">
                  <c:v>169.45082493398115</c:v>
                </c:pt>
                <c:pt idx="992">
                  <c:v>170.8056860340244</c:v>
                </c:pt>
                <c:pt idx="993">
                  <c:v>171.39299619234495</c:v>
                </c:pt>
                <c:pt idx="994">
                  <c:v>169.36550169741938</c:v>
                </c:pt>
                <c:pt idx="995">
                  <c:v>168.26723211790059</c:v>
                </c:pt>
                <c:pt idx="996">
                  <c:v>171.41465599320381</c:v>
                </c:pt>
                <c:pt idx="997">
                  <c:v>170.194220221633</c:v>
                </c:pt>
                <c:pt idx="998">
                  <c:v>170.08936951501718</c:v>
                </c:pt>
                <c:pt idx="999">
                  <c:v>170.70121556710427</c:v>
                </c:pt>
                <c:pt idx="1000">
                  <c:v>173.16547348711353</c:v>
                </c:pt>
                <c:pt idx="1001">
                  <c:v>173.12556195314551</c:v>
                </c:pt>
                <c:pt idx="1002">
                  <c:v>175.58402036205121</c:v>
                </c:pt>
                <c:pt idx="1003">
                  <c:v>178.21081204486558</c:v>
                </c:pt>
                <c:pt idx="1004">
                  <c:v>179.50551906384356</c:v>
                </c:pt>
                <c:pt idx="1005">
                  <c:v>179.17778901817363</c:v>
                </c:pt>
                <c:pt idx="1006">
                  <c:v>178.60849617501097</c:v>
                </c:pt>
                <c:pt idx="1007">
                  <c:v>178.73046449220055</c:v>
                </c:pt>
                <c:pt idx="1008">
                  <c:v>177.65172325745661</c:v>
                </c:pt>
                <c:pt idx="1009">
                  <c:v>177.96254565446648</c:v>
                </c:pt>
                <c:pt idx="1010">
                  <c:v>176.84036943076183</c:v>
                </c:pt>
                <c:pt idx="1011">
                  <c:v>180.09051618198941</c:v>
                </c:pt>
                <c:pt idx="1012">
                  <c:v>180.4811347004736</c:v>
                </c:pt>
                <c:pt idx="1013">
                  <c:v>177.54301807907871</c:v>
                </c:pt>
                <c:pt idx="1014">
                  <c:v>176.15811934431437</c:v>
                </c:pt>
                <c:pt idx="1015">
                  <c:v>175.53822322926962</c:v>
                </c:pt>
                <c:pt idx="1016">
                  <c:v>173.85764378963691</c:v>
                </c:pt>
                <c:pt idx="1017">
                  <c:v>174.51326066564778</c:v>
                </c:pt>
                <c:pt idx="1018">
                  <c:v>175.96711460431206</c:v>
                </c:pt>
                <c:pt idx="1019">
                  <c:v>177.51804731532511</c:v>
                </c:pt>
                <c:pt idx="1020">
                  <c:v>176.79157508154049</c:v>
                </c:pt>
                <c:pt idx="1021">
                  <c:v>175.56420305939739</c:v>
                </c:pt>
                <c:pt idx="1022">
                  <c:v>174.31142519386981</c:v>
                </c:pt>
                <c:pt idx="1023">
                  <c:v>177.18132536370294</c:v>
                </c:pt>
                <c:pt idx="1024">
                  <c:v>179.50368166938151</c:v>
                </c:pt>
                <c:pt idx="1025">
                  <c:v>179.56975046806591</c:v>
                </c:pt>
                <c:pt idx="1026">
                  <c:v>178.34561187313011</c:v>
                </c:pt>
                <c:pt idx="1027">
                  <c:v>177.62170668939186</c:v>
                </c:pt>
                <c:pt idx="1028">
                  <c:v>176.93325589570279</c:v>
                </c:pt>
                <c:pt idx="1029">
                  <c:v>176.81067924223223</c:v>
                </c:pt>
                <c:pt idx="1030">
                  <c:v>177.13616810599626</c:v>
                </c:pt>
                <c:pt idx="1031">
                  <c:v>178.11479287726431</c:v>
                </c:pt>
                <c:pt idx="1032">
                  <c:v>178.21906014782343</c:v>
                </c:pt>
                <c:pt idx="1033">
                  <c:v>177.90047257004423</c:v>
                </c:pt>
                <c:pt idx="1034">
                  <c:v>176.91258348238534</c:v>
                </c:pt>
                <c:pt idx="1035">
                  <c:v>176.87630835324043</c:v>
                </c:pt>
                <c:pt idx="1036">
                  <c:v>175.51572797497457</c:v>
                </c:pt>
                <c:pt idx="1037">
                  <c:v>173.15586689192554</c:v>
                </c:pt>
                <c:pt idx="1038">
                  <c:v>171.71054983118967</c:v>
                </c:pt>
                <c:pt idx="1039">
                  <c:v>172.21911973020337</c:v>
                </c:pt>
                <c:pt idx="1040">
                  <c:v>172.3032701564826</c:v>
                </c:pt>
                <c:pt idx="1041">
                  <c:v>170.9018268924726</c:v>
                </c:pt>
                <c:pt idx="1042">
                  <c:v>172.17800865436001</c:v>
                </c:pt>
                <c:pt idx="1043">
                  <c:v>175.78727792393374</c:v>
                </c:pt>
                <c:pt idx="1044">
                  <c:v>175.67120476874169</c:v>
                </c:pt>
                <c:pt idx="1045">
                  <c:v>175.26995581104617</c:v>
                </c:pt>
                <c:pt idx="1046">
                  <c:v>176.78310797847587</c:v>
                </c:pt>
                <c:pt idx="1047">
                  <c:v>177.51876482333213</c:v>
                </c:pt>
                <c:pt idx="1048">
                  <c:v>177.71702092227136</c:v>
                </c:pt>
                <c:pt idx="1049">
                  <c:v>180.20019858270493</c:v>
                </c:pt>
                <c:pt idx="1050">
                  <c:v>179.90848509004809</c:v>
                </c:pt>
                <c:pt idx="1051">
                  <c:v>179.61315369908411</c:v>
                </c:pt>
                <c:pt idx="1052">
                  <c:v>180.12281996559997</c:v>
                </c:pt>
                <c:pt idx="1053">
                  <c:v>179.88355800044687</c:v>
                </c:pt>
                <c:pt idx="1054">
                  <c:v>181.23938762642987</c:v>
                </c:pt>
                <c:pt idx="1055">
                  <c:v>179.77901260803122</c:v>
                </c:pt>
                <c:pt idx="1056">
                  <c:v>178.92842031801734</c:v>
                </c:pt>
                <c:pt idx="1057">
                  <c:v>174.40529044292833</c:v>
                </c:pt>
                <c:pt idx="1058">
                  <c:v>174.50685074430385</c:v>
                </c:pt>
                <c:pt idx="1059">
                  <c:v>174.99822430043724</c:v>
                </c:pt>
                <c:pt idx="1060">
                  <c:v>180.4214461078825</c:v>
                </c:pt>
                <c:pt idx="1061">
                  <c:v>179.91400105316123</c:v>
                </c:pt>
                <c:pt idx="1062">
                  <c:v>179.87305378008594</c:v>
                </c:pt>
                <c:pt idx="1063">
                  <c:v>178.07814358485103</c:v>
                </c:pt>
                <c:pt idx="1064">
                  <c:v>180.2213797662676</c:v>
                </c:pt>
                <c:pt idx="1065">
                  <c:v>180.27243769072865</c:v>
                </c:pt>
                <c:pt idx="1066">
                  <c:v>177.67208097597467</c:v>
                </c:pt>
                <c:pt idx="1067">
                  <c:v>178.0255371950438</c:v>
                </c:pt>
                <c:pt idx="1068">
                  <c:v>177.36827773292623</c:v>
                </c:pt>
                <c:pt idx="1069">
                  <c:v>176.36524697827963</c:v>
                </c:pt>
                <c:pt idx="1070">
                  <c:v>176.19896313706519</c:v>
                </c:pt>
                <c:pt idx="1071">
                  <c:v>175.23089438865949</c:v>
                </c:pt>
                <c:pt idx="1072">
                  <c:v>176.55029202247448</c:v>
                </c:pt>
                <c:pt idx="1073">
                  <c:v>175.99256630240799</c:v>
                </c:pt>
                <c:pt idx="1074">
                  <c:v>177.30367522523989</c:v>
                </c:pt>
                <c:pt idx="1075">
                  <c:v>177.00589221922431</c:v>
                </c:pt>
                <c:pt idx="1076">
                  <c:v>175.63646985343519</c:v>
                </c:pt>
                <c:pt idx="1077">
                  <c:v>175.03982262376203</c:v>
                </c:pt>
                <c:pt idx="1078">
                  <c:v>174.8778619299782</c:v>
                </c:pt>
                <c:pt idx="1079">
                  <c:v>173.96516119850742</c:v>
                </c:pt>
                <c:pt idx="1080">
                  <c:v>171.80901931263136</c:v>
                </c:pt>
                <c:pt idx="1081">
                  <c:v>170.71172472882563</c:v>
                </c:pt>
                <c:pt idx="1082">
                  <c:v>171.29161671385839</c:v>
                </c:pt>
                <c:pt idx="1083">
                  <c:v>172.29049732115425</c:v>
                </c:pt>
                <c:pt idx="1084">
                  <c:v>172.06215707212303</c:v>
                </c:pt>
                <c:pt idx="1085">
                  <c:v>170.98177761601863</c:v>
                </c:pt>
                <c:pt idx="1086">
                  <c:v>172.01169180107522</c:v>
                </c:pt>
                <c:pt idx="1087">
                  <c:v>173.56236932721123</c:v>
                </c:pt>
                <c:pt idx="1088">
                  <c:v>174.75570420362268</c:v>
                </c:pt>
                <c:pt idx="1089">
                  <c:v>175.7902971230468</c:v>
                </c:pt>
                <c:pt idx="1090">
                  <c:v>175.59632244470262</c:v>
                </c:pt>
                <c:pt idx="1091">
                  <c:v>174.07723625255647</c:v>
                </c:pt>
                <c:pt idx="1092">
                  <c:v>171.95177333954663</c:v>
                </c:pt>
                <c:pt idx="1093">
                  <c:v>173.05175176834751</c:v>
                </c:pt>
                <c:pt idx="1094">
                  <c:v>171.3015409597391</c:v>
                </c:pt>
                <c:pt idx="1095">
                  <c:v>171.44713827297392</c:v>
                </c:pt>
                <c:pt idx="1096">
                  <c:v>171.58789749448326</c:v>
                </c:pt>
                <c:pt idx="1097">
                  <c:v>171.61266873439899</c:v>
                </c:pt>
                <c:pt idx="1098">
                  <c:v>170.10237861499598</c:v>
                </c:pt>
                <c:pt idx="1099">
                  <c:v>170.44494239667702</c:v>
                </c:pt>
                <c:pt idx="1100">
                  <c:v>170.05602450166339</c:v>
                </c:pt>
                <c:pt idx="1101">
                  <c:v>171.9632147641465</c:v>
                </c:pt>
                <c:pt idx="1102">
                  <c:v>172.3776285404372</c:v>
                </c:pt>
                <c:pt idx="1103">
                  <c:v>171.61122508472954</c:v>
                </c:pt>
                <c:pt idx="1104">
                  <c:v>171.08529438664246</c:v>
                </c:pt>
                <c:pt idx="1105">
                  <c:v>170.24693485019961</c:v>
                </c:pt>
                <c:pt idx="1106">
                  <c:v>169.70228128163899</c:v>
                </c:pt>
                <c:pt idx="1107">
                  <c:v>170.71915290788507</c:v>
                </c:pt>
                <c:pt idx="1108">
                  <c:v>168.53932626041549</c:v>
                </c:pt>
                <c:pt idx="1109">
                  <c:v>167.92817327633452</c:v>
                </c:pt>
                <c:pt idx="1110">
                  <c:v>167.94970211186879</c:v>
                </c:pt>
                <c:pt idx="1111">
                  <c:v>169.98556391440056</c:v>
                </c:pt>
                <c:pt idx="1112">
                  <c:v>170.54491234075238</c:v>
                </c:pt>
                <c:pt idx="1113">
                  <c:v>170.6272704218301</c:v>
                </c:pt>
                <c:pt idx="1114">
                  <c:v>166.49931900900305</c:v>
                </c:pt>
                <c:pt idx="1115">
                  <c:v>166.36297891222014</c:v>
                </c:pt>
                <c:pt idx="1116">
                  <c:v>166.30174506524088</c:v>
                </c:pt>
                <c:pt idx="1117">
                  <c:v>161.3377661306148</c:v>
                </c:pt>
                <c:pt idx="1118">
                  <c:v>163.47015188707093</c:v>
                </c:pt>
                <c:pt idx="1119">
                  <c:v>162.71211780489304</c:v>
                </c:pt>
                <c:pt idx="1120">
                  <c:v>161.36171677012695</c:v>
                </c:pt>
                <c:pt idx="1121">
                  <c:v>161.50261337899175</c:v>
                </c:pt>
                <c:pt idx="1122">
                  <c:v>161.96446704600001</c:v>
                </c:pt>
                <c:pt idx="1123">
                  <c:v>160.92265255242728</c:v>
                </c:pt>
                <c:pt idx="1124">
                  <c:v>161.5517916744526</c:v>
                </c:pt>
                <c:pt idx="1125">
                  <c:v>161.94149394017475</c:v>
                </c:pt>
                <c:pt idx="1126">
                  <c:v>161.62718604233032</c:v>
                </c:pt>
                <c:pt idx="1127">
                  <c:v>160.05708941787387</c:v>
                </c:pt>
                <c:pt idx="1128">
                  <c:v>159.83498637881678</c:v>
                </c:pt>
                <c:pt idx="1129">
                  <c:v>156.85972765592297</c:v>
                </c:pt>
                <c:pt idx="1130">
                  <c:v>155.82865677104218</c:v>
                </c:pt>
                <c:pt idx="1131">
                  <c:v>156.14286888142794</c:v>
                </c:pt>
                <c:pt idx="1132">
                  <c:v>157.91278958240488</c:v>
                </c:pt>
                <c:pt idx="1133">
                  <c:v>153.94011613108799</c:v>
                </c:pt>
                <c:pt idx="1134">
                  <c:v>153.83817205925618</c:v>
                </c:pt>
                <c:pt idx="1135">
                  <c:v>152.92073784729664</c:v>
                </c:pt>
                <c:pt idx="1136">
                  <c:v>150.84241347673927</c:v>
                </c:pt>
                <c:pt idx="1137">
                  <c:v>151.44285420446826</c:v>
                </c:pt>
                <c:pt idx="1138">
                  <c:v>149.89106459754612</c:v>
                </c:pt>
                <c:pt idx="1139">
                  <c:v>149.23573187690516</c:v>
                </c:pt>
                <c:pt idx="1140">
                  <c:v>145.67975551963619</c:v>
                </c:pt>
                <c:pt idx="1141">
                  <c:v>144.80919158464297</c:v>
                </c:pt>
                <c:pt idx="1142">
                  <c:v>146.05398368246244</c:v>
                </c:pt>
                <c:pt idx="1143">
                  <c:v>146.21349867103768</c:v>
                </c:pt>
                <c:pt idx="1144">
                  <c:v>145.26659874656272</c:v>
                </c:pt>
                <c:pt idx="1145">
                  <c:v>143.99937262208948</c:v>
                </c:pt>
                <c:pt idx="1146">
                  <c:v>142.21004758263254</c:v>
                </c:pt>
                <c:pt idx="1147">
                  <c:v>145.08155407474081</c:v>
                </c:pt>
                <c:pt idx="1148">
                  <c:v>147.77041359333421</c:v>
                </c:pt>
                <c:pt idx="1149">
                  <c:v>147.52013419031337</c:v>
                </c:pt>
                <c:pt idx="1150">
                  <c:v>149.0772231786984</c:v>
                </c:pt>
                <c:pt idx="1151">
                  <c:v>149.95611673823709</c:v>
                </c:pt>
                <c:pt idx="1152">
                  <c:v>148.49689629859725</c:v>
                </c:pt>
                <c:pt idx="1153">
                  <c:v>149.37157111385136</c:v>
                </c:pt>
                <c:pt idx="1154">
                  <c:v>148.78567685695396</c:v>
                </c:pt>
                <c:pt idx="1155">
                  <c:v>150.72524329507766</c:v>
                </c:pt>
                <c:pt idx="1156">
                  <c:v>150.28349619252089</c:v>
                </c:pt>
                <c:pt idx="1157">
                  <c:v>148.77346170347965</c:v>
                </c:pt>
                <c:pt idx="1158">
                  <c:v>147.19007802088075</c:v>
                </c:pt>
                <c:pt idx="1159">
                  <c:v>145.44543531921155</c:v>
                </c:pt>
                <c:pt idx="1160">
                  <c:v>147.15455865998939</c:v>
                </c:pt>
                <c:pt idx="1161">
                  <c:v>146.22330966809011</c:v>
                </c:pt>
                <c:pt idx="1162">
                  <c:v>145.7313838683072</c:v>
                </c:pt>
                <c:pt idx="1163">
                  <c:v>145.97469303064966</c:v>
                </c:pt>
                <c:pt idx="1164">
                  <c:v>148.92868379444838</c:v>
                </c:pt>
                <c:pt idx="1165">
                  <c:v>150.86709423003444</c:v>
                </c:pt>
                <c:pt idx="1166">
                  <c:v>151.3868035951067</c:v>
                </c:pt>
                <c:pt idx="1167">
                  <c:v>153.04718063682435</c:v>
                </c:pt>
                <c:pt idx="1168">
                  <c:v>152.30171062520151</c:v>
                </c:pt>
                <c:pt idx="1169">
                  <c:v>152.39093314923852</c:v>
                </c:pt>
                <c:pt idx="1170">
                  <c:v>153.79409425795882</c:v>
                </c:pt>
                <c:pt idx="1171">
                  <c:v>153.3675058766847</c:v>
                </c:pt>
                <c:pt idx="1172">
                  <c:v>152.71684596165014</c:v>
                </c:pt>
                <c:pt idx="1173">
                  <c:v>154.20107191853583</c:v>
                </c:pt>
                <c:pt idx="1174">
                  <c:v>153.69885148228613</c:v>
                </c:pt>
                <c:pt idx="1175">
                  <c:v>152.19361737308506</c:v>
                </c:pt>
                <c:pt idx="1176">
                  <c:v>152.06900137941082</c:v>
                </c:pt>
                <c:pt idx="1177">
                  <c:v>148.39165280551791</c:v>
                </c:pt>
                <c:pt idx="1178">
                  <c:v>146.16405780885663</c:v>
                </c:pt>
                <c:pt idx="1179">
                  <c:v>146.27974980873614</c:v>
                </c:pt>
                <c:pt idx="1180">
                  <c:v>148.43629522638847</c:v>
                </c:pt>
                <c:pt idx="1181">
                  <c:v>149.51778567171525</c:v>
                </c:pt>
                <c:pt idx="1182">
                  <c:v>151.92115939123647</c:v>
                </c:pt>
                <c:pt idx="1183">
                  <c:v>150.77598653156127</c:v>
                </c:pt>
                <c:pt idx="1184">
                  <c:v>152.58730550398553</c:v>
                </c:pt>
                <c:pt idx="1185">
                  <c:v>154.76592044630885</c:v>
                </c:pt>
                <c:pt idx="1186">
                  <c:v>154.76978500553105</c:v>
                </c:pt>
                <c:pt idx="1187">
                  <c:v>152.69957414449595</c:v>
                </c:pt>
                <c:pt idx="1188">
                  <c:v>156.45844800932574</c:v>
                </c:pt>
                <c:pt idx="1189">
                  <c:v>158.28153153843095</c:v>
                </c:pt>
                <c:pt idx="1190">
                  <c:v>156.55989100957942</c:v>
                </c:pt>
                <c:pt idx="1191">
                  <c:v>157.90981242801905</c:v>
                </c:pt>
                <c:pt idx="1192">
                  <c:v>159.20105046195337</c:v>
                </c:pt>
                <c:pt idx="1193">
                  <c:v>158.55343674362564</c:v>
                </c:pt>
                <c:pt idx="1194">
                  <c:v>156.88138138971689</c:v>
                </c:pt>
                <c:pt idx="1195">
                  <c:v>157.35183420990418</c:v>
                </c:pt>
                <c:pt idx="1196">
                  <c:v>158.17935473352148</c:v>
                </c:pt>
                <c:pt idx="1197">
                  <c:v>158.00332471734916</c:v>
                </c:pt>
                <c:pt idx="1198">
                  <c:v>156.39111081313726</c:v>
                </c:pt>
                <c:pt idx="1199">
                  <c:v>155.40677619477864</c:v>
                </c:pt>
                <c:pt idx="1200">
                  <c:v>154.50409969862019</c:v>
                </c:pt>
                <c:pt idx="1201">
                  <c:v>154.56330656644272</c:v>
                </c:pt>
                <c:pt idx="1202">
                  <c:v>155.20636450283152</c:v>
                </c:pt>
                <c:pt idx="1203">
                  <c:v>155.16817468776745</c:v>
                </c:pt>
                <c:pt idx="1204">
                  <c:v>153.26878621120969</c:v>
                </c:pt>
                <c:pt idx="1205">
                  <c:v>150.9019953460008</c:v>
                </c:pt>
                <c:pt idx="1206">
                  <c:v>148.43708086024432</c:v>
                </c:pt>
                <c:pt idx="1207">
                  <c:v>153.83967493082343</c:v>
                </c:pt>
                <c:pt idx="1208">
                  <c:v>152.69403238841721</c:v>
                </c:pt>
                <c:pt idx="1209">
                  <c:v>152.5069078166747</c:v>
                </c:pt>
                <c:pt idx="1210">
                  <c:v>151.36280314889061</c:v>
                </c:pt>
                <c:pt idx="1211">
                  <c:v>151.6454709830021</c:v>
                </c:pt>
                <c:pt idx="1212">
                  <c:v>150.67043366594547</c:v>
                </c:pt>
                <c:pt idx="1213">
                  <c:v>151.0700516129711</c:v>
                </c:pt>
                <c:pt idx="1214">
                  <c:v>151.42628441249633</c:v>
                </c:pt>
                <c:pt idx="1215">
                  <c:v>151.25912367685385</c:v>
                </c:pt>
                <c:pt idx="1216">
                  <c:v>152.35999355913395</c:v>
                </c:pt>
                <c:pt idx="1217">
                  <c:v>149.54588192073956</c:v>
                </c:pt>
                <c:pt idx="1218">
                  <c:v>148.04823225214963</c:v>
                </c:pt>
                <c:pt idx="1219">
                  <c:v>146.91129386843633</c:v>
                </c:pt>
                <c:pt idx="1220">
                  <c:v>146.44843185205633</c:v>
                </c:pt>
                <c:pt idx="1221">
                  <c:v>144.54345608040163</c:v>
                </c:pt>
                <c:pt idx="1222">
                  <c:v>143.03504687870119</c:v>
                </c:pt>
                <c:pt idx="1223">
                  <c:v>141.43831464166655</c:v>
                </c:pt>
                <c:pt idx="1224">
                  <c:v>143.81063054633046</c:v>
                </c:pt>
                <c:pt idx="1225">
                  <c:v>142.52816433343986</c:v>
                </c:pt>
                <c:pt idx="1226">
                  <c:v>140.31294624965381</c:v>
                </c:pt>
                <c:pt idx="1227">
                  <c:v>139.95082384644181</c:v>
                </c:pt>
                <c:pt idx="1228">
                  <c:v>140.13587810390996</c:v>
                </c:pt>
                <c:pt idx="1229">
                  <c:v>140.94850622365527</c:v>
                </c:pt>
                <c:pt idx="1230">
                  <c:v>142.00958944291128</c:v>
                </c:pt>
                <c:pt idx="1231">
                  <c:v>141.13084194850128</c:v>
                </c:pt>
                <c:pt idx="1232">
                  <c:v>139.77995750785615</c:v>
                </c:pt>
                <c:pt idx="1233">
                  <c:v>138.85854548207195</c:v>
                </c:pt>
                <c:pt idx="1234">
                  <c:v>135.36683685508376</c:v>
                </c:pt>
                <c:pt idx="1235">
                  <c:v>140.31051152628424</c:v>
                </c:pt>
                <c:pt idx="1236">
                  <c:v>140.36166729788138</c:v>
                </c:pt>
                <c:pt idx="1237">
                  <c:v>141.17555989816739</c:v>
                </c:pt>
                <c:pt idx="1238">
                  <c:v>140.11269884143539</c:v>
                </c:pt>
                <c:pt idx="1239">
                  <c:v>138.14214369497097</c:v>
                </c:pt>
                <c:pt idx="1240">
                  <c:v>136.20925788679145</c:v>
                </c:pt>
                <c:pt idx="1241">
                  <c:v>137.1855859323492</c:v>
                </c:pt>
                <c:pt idx="1242">
                  <c:v>137.23409492162938</c:v>
                </c:pt>
                <c:pt idx="1243">
                  <c:v>138.42738858015912</c:v>
                </c:pt>
                <c:pt idx="1244">
                  <c:v>140.14784107069858</c:v>
                </c:pt>
                <c:pt idx="1245">
                  <c:v>138.35928858259862</c:v>
                </c:pt>
                <c:pt idx="1246">
                  <c:v>140.24870202780886</c:v>
                </c:pt>
                <c:pt idx="1247">
                  <c:v>140.65762071107181</c:v>
                </c:pt>
                <c:pt idx="1248">
                  <c:v>141.2276522913242</c:v>
                </c:pt>
                <c:pt idx="1249">
                  <c:v>141.27329705891759</c:v>
                </c:pt>
                <c:pt idx="1250">
                  <c:v>140.92913863708665</c:v>
                </c:pt>
                <c:pt idx="1251">
                  <c:v>142.44923072297675</c:v>
                </c:pt>
                <c:pt idx="1252">
                  <c:v>140.600955572087</c:v>
                </c:pt>
                <c:pt idx="1253">
                  <c:v>142.97820281215957</c:v>
                </c:pt>
                <c:pt idx="1254">
                  <c:v>143.82150482426155</c:v>
                </c:pt>
                <c:pt idx="1255">
                  <c:v>145.76599860473908</c:v>
                </c:pt>
                <c:pt idx="1256">
                  <c:v>145.27428124476114</c:v>
                </c:pt>
                <c:pt idx="1257">
                  <c:v>146.86374211384634</c:v>
                </c:pt>
                <c:pt idx="1258">
                  <c:v>144.5720232824026</c:v>
                </c:pt>
                <c:pt idx="1259">
                  <c:v>145.26047023136957</c:v>
                </c:pt>
                <c:pt idx="1260">
                  <c:v>145.13065499288905</c:v>
                </c:pt>
                <c:pt idx="1261">
                  <c:v>143.21986365328786</c:v>
                </c:pt>
                <c:pt idx="1262">
                  <c:v>142.39147607773762</c:v>
                </c:pt>
                <c:pt idx="1263">
                  <c:v>141.97901443825927</c:v>
                </c:pt>
                <c:pt idx="1264">
                  <c:v>142.96311977769844</c:v>
                </c:pt>
                <c:pt idx="1265">
                  <c:v>139.8833712184007</c:v>
                </c:pt>
                <c:pt idx="1266">
                  <c:v>136.85565667363667</c:v>
                </c:pt>
                <c:pt idx="1267">
                  <c:v>140.21556968115016</c:v>
                </c:pt>
                <c:pt idx="1268">
                  <c:v>141.9151036485832</c:v>
                </c:pt>
                <c:pt idx="1269">
                  <c:v>141.98592910698108</c:v>
                </c:pt>
                <c:pt idx="1270">
                  <c:v>147.58068719321511</c:v>
                </c:pt>
                <c:pt idx="1271">
                  <c:v>142.99999960466067</c:v>
                </c:pt>
                <c:pt idx="1272">
                  <c:v>142.91603564221137</c:v>
                </c:pt>
                <c:pt idx="1273">
                  <c:v>141.04594012096646</c:v>
                </c:pt>
                <c:pt idx="1274">
                  <c:v>138.32020356861042</c:v>
                </c:pt>
                <c:pt idx="1275">
                  <c:v>137.43811882134383</c:v>
                </c:pt>
                <c:pt idx="1276">
                  <c:v>137.08808424492784</c:v>
                </c:pt>
                <c:pt idx="1277">
                  <c:v>136.76022742213667</c:v>
                </c:pt>
                <c:pt idx="1278">
                  <c:v>135.13031641986549</c:v>
                </c:pt>
                <c:pt idx="1279">
                  <c:v>136.90486836083033</c:v>
                </c:pt>
                <c:pt idx="1280">
                  <c:v>136.5966868225959</c:v>
                </c:pt>
                <c:pt idx="1281">
                  <c:v>138.44375819892667</c:v>
                </c:pt>
                <c:pt idx="1282">
                  <c:v>137.22247726098021</c:v>
                </c:pt>
                <c:pt idx="1283">
                  <c:v>136.00613283701276</c:v>
                </c:pt>
                <c:pt idx="1284">
                  <c:v>133.64122485785109</c:v>
                </c:pt>
                <c:pt idx="1285">
                  <c:v>139.91725635929825</c:v>
                </c:pt>
                <c:pt idx="1286">
                  <c:v>140.02008581020308</c:v>
                </c:pt>
                <c:pt idx="1287">
                  <c:v>139.10692479737796</c:v>
                </c:pt>
                <c:pt idx="1288">
                  <c:v>139.30979639467466</c:v>
                </c:pt>
                <c:pt idx="1289">
                  <c:v>139.91468046173208</c:v>
                </c:pt>
                <c:pt idx="1290">
                  <c:v>139.65198544581747</c:v>
                </c:pt>
                <c:pt idx="1291">
                  <c:v>138.45348782454687</c:v>
                </c:pt>
                <c:pt idx="1292">
                  <c:v>138.28147705290741</c:v>
                </c:pt>
                <c:pt idx="1293">
                  <c:v>138.45687294747751</c:v>
                </c:pt>
                <c:pt idx="1294">
                  <c:v>138.50492494291311</c:v>
                </c:pt>
                <c:pt idx="1295">
                  <c:v>138.81506745709154</c:v>
                </c:pt>
                <c:pt idx="1296">
                  <c:v>137.62440370445708</c:v>
                </c:pt>
                <c:pt idx="1297">
                  <c:v>138.48337354454443</c:v>
                </c:pt>
                <c:pt idx="1298">
                  <c:v>140.44486074395917</c:v>
                </c:pt>
                <c:pt idx="1299">
                  <c:v>142.4330374051751</c:v>
                </c:pt>
                <c:pt idx="1300">
                  <c:v>136.13761659986929</c:v>
                </c:pt>
                <c:pt idx="1301">
                  <c:v>136.61049628630485</c:v>
                </c:pt>
                <c:pt idx="1302">
                  <c:v>135.06847395000258</c:v>
                </c:pt>
                <c:pt idx="1303">
                  <c:v>135.34692210204079</c:v>
                </c:pt>
                <c:pt idx="1304">
                  <c:v>133.44639756853059</c:v>
                </c:pt>
                <c:pt idx="1305">
                  <c:v>131.91348063813061</c:v>
                </c:pt>
                <c:pt idx="1306">
                  <c:v>127.09240853839103</c:v>
                </c:pt>
                <c:pt idx="1307">
                  <c:v>124.51526949879414</c:v>
                </c:pt>
                <c:pt idx="1308">
                  <c:v>121.77280811773623</c:v>
                </c:pt>
                <c:pt idx="1309">
                  <c:v>121.33389793162836</c:v>
                </c:pt>
                <c:pt idx="1310">
                  <c:v>123.25374003003114</c:v>
                </c:pt>
                <c:pt idx="1311">
                  <c:v>123.71511189429772</c:v>
                </c:pt>
                <c:pt idx="1312">
                  <c:v>121.83283602642484</c:v>
                </c:pt>
                <c:pt idx="1313">
                  <c:v>121.70002123360844</c:v>
                </c:pt>
                <c:pt idx="1314">
                  <c:v>123.24792591188708</c:v>
                </c:pt>
                <c:pt idx="1315">
                  <c:v>124.33951451630348</c:v>
                </c:pt>
                <c:pt idx="1316">
                  <c:v>123.0772710860802</c:v>
                </c:pt>
                <c:pt idx="1317">
                  <c:v>121.39573961153111</c:v>
                </c:pt>
                <c:pt idx="1318">
                  <c:v>121.00613984251851</c:v>
                </c:pt>
                <c:pt idx="1319">
                  <c:v>120.806395380014</c:v>
                </c:pt>
                <c:pt idx="1320">
                  <c:v>120.46884631675086</c:v>
                </c:pt>
                <c:pt idx="1321">
                  <c:v>119.569912951379</c:v>
                </c:pt>
                <c:pt idx="1322">
                  <c:v>118.9594871134483</c:v>
                </c:pt>
                <c:pt idx="1323">
                  <c:v>118.51633055128625</c:v>
                </c:pt>
                <c:pt idx="1324">
                  <c:v>118.7587185526351</c:v>
                </c:pt>
                <c:pt idx="1325">
                  <c:v>119.05942250182667</c:v>
                </c:pt>
                <c:pt idx="1326">
                  <c:v>118.64433147049412</c:v>
                </c:pt>
                <c:pt idx="1327">
                  <c:v>117.9749904715887</c:v>
                </c:pt>
                <c:pt idx="1328">
                  <c:v>118.70601027875375</c:v>
                </c:pt>
                <c:pt idx="1329">
                  <c:v>120.23961941836167</c:v>
                </c:pt>
                <c:pt idx="1330">
                  <c:v>120.56446784984631</c:v>
                </c:pt>
                <c:pt idx="1331">
                  <c:v>121.19833496189524</c:v>
                </c:pt>
                <c:pt idx="1332">
                  <c:v>120.25574132981207</c:v>
                </c:pt>
                <c:pt idx="1333">
                  <c:v>123.15454524631497</c:v>
                </c:pt>
                <c:pt idx="1334">
                  <c:v>121.45318098653919</c:v>
                </c:pt>
                <c:pt idx="1335">
                  <c:v>118.89836560507545</c:v>
                </c:pt>
                <c:pt idx="1336">
                  <c:v>118.95792640162591</c:v>
                </c:pt>
                <c:pt idx="1337">
                  <c:v>119.13761809200686</c:v>
                </c:pt>
                <c:pt idx="1338">
                  <c:v>118.73057319803193</c:v>
                </c:pt>
                <c:pt idx="1339">
                  <c:v>119.08669182840542</c:v>
                </c:pt>
                <c:pt idx="1340">
                  <c:v>118.52521174835148</c:v>
                </c:pt>
                <c:pt idx="1341">
                  <c:v>118.06163203992018</c:v>
                </c:pt>
                <c:pt idx="1342">
                  <c:v>120.16686502087315</c:v>
                </c:pt>
                <c:pt idx="1343">
                  <c:v>118.94528585595614</c:v>
                </c:pt>
                <c:pt idx="1344">
                  <c:v>117.60764319247994</c:v>
                </c:pt>
                <c:pt idx="1345">
                  <c:v>118.67468185101299</c:v>
                </c:pt>
                <c:pt idx="1346">
                  <c:v>118.45775316584387</c:v>
                </c:pt>
                <c:pt idx="1347">
                  <c:v>116.3935242653576</c:v>
                </c:pt>
                <c:pt idx="1348">
                  <c:v>116.03024993769922</c:v>
                </c:pt>
                <c:pt idx="1349">
                  <c:v>115.26677087907126</c:v>
                </c:pt>
                <c:pt idx="1350">
                  <c:v>115.0741085152664</c:v>
                </c:pt>
                <c:pt idx="1351">
                  <c:v>112.77019547320482</c:v>
                </c:pt>
                <c:pt idx="1352">
                  <c:v>112.70973934185236</c:v>
                </c:pt>
                <c:pt idx="1353">
                  <c:v>114.40310763241048</c:v>
                </c:pt>
                <c:pt idx="1354">
                  <c:v>115.19987124865779</c:v>
                </c:pt>
                <c:pt idx="1355">
                  <c:v>114.90549768303526</c:v>
                </c:pt>
                <c:pt idx="1356">
                  <c:v>113.78117800715519</c:v>
                </c:pt>
                <c:pt idx="1357">
                  <c:v>110.43480537419305</c:v>
                </c:pt>
                <c:pt idx="1358">
                  <c:v>110.61527247850951</c:v>
                </c:pt>
                <c:pt idx="1359">
                  <c:v>111.63148023042075</c:v>
                </c:pt>
                <c:pt idx="1360">
                  <c:v>112.50511703408489</c:v>
                </c:pt>
                <c:pt idx="1361">
                  <c:v>111.5784153896879</c:v>
                </c:pt>
                <c:pt idx="1362">
                  <c:v>112.61303385112231</c:v>
                </c:pt>
                <c:pt idx="1363">
                  <c:v>113.13593272656652</c:v>
                </c:pt>
                <c:pt idx="1364">
                  <c:v>113.23173599207648</c:v>
                </c:pt>
                <c:pt idx="1365">
                  <c:v>111.76733928780641</c:v>
                </c:pt>
                <c:pt idx="1366">
                  <c:v>112.49801168258657</c:v>
                </c:pt>
                <c:pt idx="1367">
                  <c:v>112.39455592934159</c:v>
                </c:pt>
                <c:pt idx="1368">
                  <c:v>114.09044939748772</c:v>
                </c:pt>
                <c:pt idx="1369">
                  <c:v>113.05057395526835</c:v>
                </c:pt>
                <c:pt idx="1370">
                  <c:v>114.14875508529761</c:v>
                </c:pt>
                <c:pt idx="1371">
                  <c:v>113.83702162725673</c:v>
                </c:pt>
                <c:pt idx="1372">
                  <c:v>116.14527564782672</c:v>
                </c:pt>
                <c:pt idx="1373">
                  <c:v>114.38348563614736</c:v>
                </c:pt>
                <c:pt idx="1374">
                  <c:v>112.20933926135538</c:v>
                </c:pt>
                <c:pt idx="1375">
                  <c:v>111.79078988269866</c:v>
                </c:pt>
                <c:pt idx="1376">
                  <c:v>111.87868517828538</c:v>
                </c:pt>
                <c:pt idx="1377">
                  <c:v>110.039806616772</c:v>
                </c:pt>
                <c:pt idx="1378">
                  <c:v>109.81456604540965</c:v>
                </c:pt>
                <c:pt idx="1379">
                  <c:v>110.83440874420833</c:v>
                </c:pt>
                <c:pt idx="1380">
                  <c:v>109.04451727221348</c:v>
                </c:pt>
                <c:pt idx="1381">
                  <c:v>109.5591236958074</c:v>
                </c:pt>
                <c:pt idx="1382">
                  <c:v>108.11058312580427</c:v>
                </c:pt>
                <c:pt idx="1383">
                  <c:v>104.06838611252078</c:v>
                </c:pt>
                <c:pt idx="1384">
                  <c:v>99.71146551819119</c:v>
                </c:pt>
                <c:pt idx="1385">
                  <c:v>91.072835502184731</c:v>
                </c:pt>
                <c:pt idx="1386">
                  <c:v>87.856339971222198</c:v>
                </c:pt>
                <c:pt idx="1387">
                  <c:v>89.040334617464524</c:v>
                </c:pt>
                <c:pt idx="1388">
                  <c:v>86.19699673805853</c:v>
                </c:pt>
                <c:pt idx="1389">
                  <c:v>84.967631926092849</c:v>
                </c:pt>
                <c:pt idx="1390">
                  <c:v>84.867262960141232</c:v>
                </c:pt>
                <c:pt idx="1391">
                  <c:v>84.218310179170729</c:v>
                </c:pt>
                <c:pt idx="1392">
                  <c:v>83.237176535215127</c:v>
                </c:pt>
                <c:pt idx="1393">
                  <c:v>81.311881554883598</c:v>
                </c:pt>
                <c:pt idx="1394">
                  <c:v>88.238432571152515</c:v>
                </c:pt>
                <c:pt idx="1395">
                  <c:v>83.711950640143641</c:v>
                </c:pt>
                <c:pt idx="1396">
                  <c:v>85.097184229734609</c:v>
                </c:pt>
                <c:pt idx="1397">
                  <c:v>88.773405341840487</c:v>
                </c:pt>
                <c:pt idx="1398">
                  <c:v>88.697700638268216</c:v>
                </c:pt>
                <c:pt idx="1399">
                  <c:v>91.683109000644492</c:v>
                </c:pt>
                <c:pt idx="1400">
                  <c:v>88.228865354632987</c:v>
                </c:pt>
                <c:pt idx="1401">
                  <c:v>95.916116295340572</c:v>
                </c:pt>
                <c:pt idx="1402">
                  <c:v>96.948342784802193</c:v>
                </c:pt>
                <c:pt idx="1403">
                  <c:v>100.02923029487032</c:v>
                </c:pt>
                <c:pt idx="1404">
                  <c:v>100.56847290344743</c:v>
                </c:pt>
                <c:pt idx="1405">
                  <c:v>99.810184023252148</c:v>
                </c:pt>
                <c:pt idx="1406">
                  <c:v>98.935179356649058</c:v>
                </c:pt>
                <c:pt idx="1407">
                  <c:v>95.579438390258957</c:v>
                </c:pt>
                <c:pt idx="1408">
                  <c:v>96.300358280456862</c:v>
                </c:pt>
                <c:pt idx="1409">
                  <c:v>98.987185552268656</c:v>
                </c:pt>
                <c:pt idx="1410">
                  <c:v>98.788228055502444</c:v>
                </c:pt>
                <c:pt idx="1411">
                  <c:v>99.578416329934214</c:v>
                </c:pt>
                <c:pt idx="1412">
                  <c:v>100.39113235485055</c:v>
                </c:pt>
                <c:pt idx="1413">
                  <c:v>102.74144324403029</c:v>
                </c:pt>
                <c:pt idx="1414">
                  <c:v>102.47265511312258</c:v>
                </c:pt>
                <c:pt idx="1415">
                  <c:v>100.2430167357283</c:v>
                </c:pt>
                <c:pt idx="1416">
                  <c:v>100.13641229671369</c:v>
                </c:pt>
                <c:pt idx="1417">
                  <c:v>101.91597461562904</c:v>
                </c:pt>
                <c:pt idx="1418">
                  <c:v>102.29446250858534</c:v>
                </c:pt>
                <c:pt idx="1419">
                  <c:v>101.25583891910284</c:v>
                </c:pt>
                <c:pt idx="1420">
                  <c:v>101.37080265128446</c:v>
                </c:pt>
                <c:pt idx="1421">
                  <c:v>100.94480685397009</c:v>
                </c:pt>
                <c:pt idx="1422">
                  <c:v>100.81866982362327</c:v>
                </c:pt>
                <c:pt idx="1423">
                  <c:v>98.966667282769308</c:v>
                </c:pt>
                <c:pt idx="1424">
                  <c:v>98.314049650802119</c:v>
                </c:pt>
                <c:pt idx="1425">
                  <c:v>97.764033888347186</c:v>
                </c:pt>
                <c:pt idx="1426">
                  <c:v>97.183147770514125</c:v>
                </c:pt>
                <c:pt idx="1427">
                  <c:v>96.860194693527106</c:v>
                </c:pt>
                <c:pt idx="1428">
                  <c:v>98.254996388856128</c:v>
                </c:pt>
                <c:pt idx="1429">
                  <c:v>98.966646642973743</c:v>
                </c:pt>
                <c:pt idx="1430">
                  <c:v>100.0693475659086</c:v>
                </c:pt>
                <c:pt idx="1431">
                  <c:v>100.01323179771374</c:v>
                </c:pt>
                <c:pt idx="1432">
                  <c:v>100.20230285380293</c:v>
                </c:pt>
                <c:pt idx="1433">
                  <c:v>99.006535891828108</c:v>
                </c:pt>
                <c:pt idx="1434">
                  <c:v>98.812262085427193</c:v>
                </c:pt>
                <c:pt idx="1435">
                  <c:v>98.510076550552569</c:v>
                </c:pt>
                <c:pt idx="1436">
                  <c:v>98.657270861989019</c:v>
                </c:pt>
                <c:pt idx="1437">
                  <c:v>99.257578845784636</c:v>
                </c:pt>
                <c:pt idx="1438">
                  <c:v>99.49983166225536</c:v>
                </c:pt>
                <c:pt idx="1439">
                  <c:v>98.557904549130058</c:v>
                </c:pt>
                <c:pt idx="1440">
                  <c:v>98.087670664269297</c:v>
                </c:pt>
                <c:pt idx="1441">
                  <c:v>97.704112312579454</c:v>
                </c:pt>
                <c:pt idx="1442">
                  <c:v>97.242512391860998</c:v>
                </c:pt>
                <c:pt idx="1443">
                  <c:v>96.786725953956307</c:v>
                </c:pt>
                <c:pt idx="1444">
                  <c:v>96.326724067983108</c:v>
                </c:pt>
                <c:pt idx="1445">
                  <c:v>95.8089565337105</c:v>
                </c:pt>
                <c:pt idx="1446">
                  <c:v>95.923034039676352</c:v>
                </c:pt>
                <c:pt idx="1447">
                  <c:v>95.446831546817549</c:v>
                </c:pt>
                <c:pt idx="1448">
                  <c:v>96.912356375289605</c:v>
                </c:pt>
                <c:pt idx="1449">
                  <c:v>96.377367755081323</c:v>
                </c:pt>
                <c:pt idx="1450">
                  <c:v>96.019320630143127</c:v>
                </c:pt>
                <c:pt idx="1451">
                  <c:v>95.729465045675141</c:v>
                </c:pt>
                <c:pt idx="1452">
                  <c:v>95.874201242586551</c:v>
                </c:pt>
                <c:pt idx="1453">
                  <c:v>95.497262746744809</c:v>
                </c:pt>
                <c:pt idx="1454">
                  <c:v>94.833251969975151</c:v>
                </c:pt>
                <c:pt idx="1455">
                  <c:v>95.40926059451823</c:v>
                </c:pt>
                <c:pt idx="1456">
                  <c:v>95.438967730014895</c:v>
                </c:pt>
                <c:pt idx="1457">
                  <c:v>95.661659927357292</c:v>
                </c:pt>
                <c:pt idx="1458">
                  <c:v>96.018555227578588</c:v>
                </c:pt>
                <c:pt idx="1459">
                  <c:v>96.039849059272726</c:v>
                </c:pt>
                <c:pt idx="1460">
                  <c:v>95.427366294958446</c:v>
                </c:pt>
                <c:pt idx="1461">
                  <c:v>95.800661033205671</c:v>
                </c:pt>
                <c:pt idx="1462">
                  <c:v>95.673758064325398</c:v>
                </c:pt>
                <c:pt idx="1463">
                  <c:v>95.368561606535678</c:v>
                </c:pt>
                <c:pt idx="1464">
                  <c:v>94.709879969815773</c:v>
                </c:pt>
                <c:pt idx="1465">
                  <c:v>94.315864010578935</c:v>
                </c:pt>
                <c:pt idx="1466">
                  <c:v>94.797204330178701</c:v>
                </c:pt>
                <c:pt idx="1467">
                  <c:v>94.712962308325814</c:v>
                </c:pt>
                <c:pt idx="1468">
                  <c:v>95.42149081286199</c:v>
                </c:pt>
                <c:pt idx="1469">
                  <c:v>96.213692292478044</c:v>
                </c:pt>
                <c:pt idx="1470">
                  <c:v>95.436394764538946</c:v>
                </c:pt>
                <c:pt idx="1471">
                  <c:v>95.617907687758148</c:v>
                </c:pt>
                <c:pt idx="1472">
                  <c:v>96.146007671569464</c:v>
                </c:pt>
                <c:pt idx="1473">
                  <c:v>96.681055764825558</c:v>
                </c:pt>
                <c:pt idx="1474">
                  <c:v>96.357626024124727</c:v>
                </c:pt>
                <c:pt idx="1475">
                  <c:v>95.480813781769797</c:v>
                </c:pt>
                <c:pt idx="1476">
                  <c:v>95.657550536450287</c:v>
                </c:pt>
                <c:pt idx="1477">
                  <c:v>94.311209718606321</c:v>
                </c:pt>
                <c:pt idx="1478">
                  <c:v>94.55139082225476</c:v>
                </c:pt>
                <c:pt idx="1479">
                  <c:v>95.004339801885678</c:v>
                </c:pt>
                <c:pt idx="1480">
                  <c:v>93.122985618906185</c:v>
                </c:pt>
                <c:pt idx="1481">
                  <c:v>92.916148676636823</c:v>
                </c:pt>
                <c:pt idx="1482">
                  <c:v>91.480519743627781</c:v>
                </c:pt>
                <c:pt idx="1483">
                  <c:v>90.554645919658299</c:v>
                </c:pt>
                <c:pt idx="1484">
                  <c:v>90.807841188643351</c:v>
                </c:pt>
                <c:pt idx="1485">
                  <c:v>92.045825026737035</c:v>
                </c:pt>
                <c:pt idx="1486">
                  <c:v>91.995417643897383</c:v>
                </c:pt>
                <c:pt idx="1487">
                  <c:v>93.441432533450666</c:v>
                </c:pt>
                <c:pt idx="1488">
                  <c:v>93.104389454147821</c:v>
                </c:pt>
                <c:pt idx="1489">
                  <c:v>92.998061914160175</c:v>
                </c:pt>
                <c:pt idx="1490">
                  <c:v>94.016270579121581</c:v>
                </c:pt>
                <c:pt idx="1491">
                  <c:v>93.702789911365898</c:v>
                </c:pt>
                <c:pt idx="1492">
                  <c:v>93.295961747667661</c:v>
                </c:pt>
                <c:pt idx="1493">
                  <c:v>92.378187036548169</c:v>
                </c:pt>
                <c:pt idx="1494">
                  <c:v>92.37147549530404</c:v>
                </c:pt>
                <c:pt idx="1495">
                  <c:v>91.301574204579424</c:v>
                </c:pt>
                <c:pt idx="1496">
                  <c:v>90.670621074585227</c:v>
                </c:pt>
                <c:pt idx="1497">
                  <c:v>89.999495928635071</c:v>
                </c:pt>
                <c:pt idx="1498">
                  <c:v>89.87111923650086</c:v>
                </c:pt>
                <c:pt idx="1499">
                  <c:v>89.657071406899135</c:v>
                </c:pt>
                <c:pt idx="1500">
                  <c:v>88.785426176621897</c:v>
                </c:pt>
                <c:pt idx="1501">
                  <c:v>88.251185170708268</c:v>
                </c:pt>
                <c:pt idx="1502">
                  <c:v>87.682313398455733</c:v>
                </c:pt>
                <c:pt idx="1503">
                  <c:v>87.362516621307023</c:v>
                </c:pt>
                <c:pt idx="1504">
                  <c:v>86.862399642412214</c:v>
                </c:pt>
                <c:pt idx="1505">
                  <c:v>85.872174569222324</c:v>
                </c:pt>
                <c:pt idx="1506">
                  <c:v>85.516386254475393</c:v>
                </c:pt>
                <c:pt idx="1507">
                  <c:v>85.427691707492031</c:v>
                </c:pt>
                <c:pt idx="1508">
                  <c:v>84.250201394350881</c:v>
                </c:pt>
                <c:pt idx="1509">
                  <c:v>86.24619823751793</c:v>
                </c:pt>
                <c:pt idx="1510">
                  <c:v>86.786165860289117</c:v>
                </c:pt>
                <c:pt idx="1511">
                  <c:v>86.680736563253518</c:v>
                </c:pt>
                <c:pt idx="1512">
                  <c:v>87.666592342953052</c:v>
                </c:pt>
                <c:pt idx="1513">
                  <c:v>88.788197984176321</c:v>
                </c:pt>
                <c:pt idx="1514">
                  <c:v>89.850363838102282</c:v>
                </c:pt>
                <c:pt idx="1515">
                  <c:v>89.39645098857855</c:v>
                </c:pt>
                <c:pt idx="1516">
                  <c:v>90.622599327773742</c:v>
                </c:pt>
                <c:pt idx="1517">
                  <c:v>90.313573251030391</c:v>
                </c:pt>
                <c:pt idx="1518">
                  <c:v>90.590297930717114</c:v>
                </c:pt>
                <c:pt idx="1519">
                  <c:v>88.839133739124549</c:v>
                </c:pt>
                <c:pt idx="1520">
                  <c:v>89.907869020266304</c:v>
                </c:pt>
                <c:pt idx="1521">
                  <c:v>89.486668586976123</c:v>
                </c:pt>
                <c:pt idx="1522">
                  <c:v>90.987960023027256</c:v>
                </c:pt>
                <c:pt idx="1523">
                  <c:v>90.497584518779874</c:v>
                </c:pt>
                <c:pt idx="1524">
                  <c:v>90.572182584739252</c:v>
                </c:pt>
                <c:pt idx="1525">
                  <c:v>90.268207796449275</c:v>
                </c:pt>
                <c:pt idx="1526">
                  <c:v>90.176279946545108</c:v>
                </c:pt>
                <c:pt idx="1527">
                  <c:v>89.740042013540361</c:v>
                </c:pt>
                <c:pt idx="1528">
                  <c:v>89.262719929238031</c:v>
                </c:pt>
                <c:pt idx="1529">
                  <c:v>88.226743533355275</c:v>
                </c:pt>
                <c:pt idx="1530">
                  <c:v>88.294172193215658</c:v>
                </c:pt>
                <c:pt idx="1531">
                  <c:v>88.666951752654043</c:v>
                </c:pt>
                <c:pt idx="1532">
                  <c:v>87.125506566390456</c:v>
                </c:pt>
                <c:pt idx="1533">
                  <c:v>85.986550618892949</c:v>
                </c:pt>
                <c:pt idx="1534">
                  <c:v>86.501594705508182</c:v>
                </c:pt>
                <c:pt idx="1535">
                  <c:v>86.669485695600372</c:v>
                </c:pt>
                <c:pt idx="1536">
                  <c:v>86.449342909637309</c:v>
                </c:pt>
                <c:pt idx="1537">
                  <c:v>85.68404230805217</c:v>
                </c:pt>
                <c:pt idx="1538">
                  <c:v>85.837137061946166</c:v>
                </c:pt>
                <c:pt idx="1539">
                  <c:v>86.650179967009194</c:v>
                </c:pt>
                <c:pt idx="1540">
                  <c:v>86.799470012375622</c:v>
                </c:pt>
                <c:pt idx="1541">
                  <c:v>86.391065128087845</c:v>
                </c:pt>
                <c:pt idx="1542">
                  <c:v>87.107036796601392</c:v>
                </c:pt>
                <c:pt idx="1543">
                  <c:v>88.064509521260163</c:v>
                </c:pt>
                <c:pt idx="1544">
                  <c:v>88.645447325611684</c:v>
                </c:pt>
                <c:pt idx="1545">
                  <c:v>88.840259158694678</c:v>
                </c:pt>
                <c:pt idx="1546">
                  <c:v>87.960953148707929</c:v>
                </c:pt>
                <c:pt idx="1547">
                  <c:v>87.215080038143014</c:v>
                </c:pt>
                <c:pt idx="1548">
                  <c:v>86.873478132580061</c:v>
                </c:pt>
                <c:pt idx="1549">
                  <c:v>87.58284999390591</c:v>
                </c:pt>
                <c:pt idx="1550">
                  <c:v>87.65617103766769</c:v>
                </c:pt>
                <c:pt idx="1551">
                  <c:v>88.303581553578383</c:v>
                </c:pt>
                <c:pt idx="1552">
                  <c:v>87.465081750556465</c:v>
                </c:pt>
                <c:pt idx="1553">
                  <c:v>88.955737935098455</c:v>
                </c:pt>
                <c:pt idx="1554">
                  <c:v>90.154926345997808</c:v>
                </c:pt>
                <c:pt idx="1555">
                  <c:v>89.428486557433118</c:v>
                </c:pt>
                <c:pt idx="1556">
                  <c:v>87.968458192124018</c:v>
                </c:pt>
                <c:pt idx="1557">
                  <c:v>88.544024367456785</c:v>
                </c:pt>
                <c:pt idx="1558">
                  <c:v>88.770326687136077</c:v>
                </c:pt>
                <c:pt idx="1559">
                  <c:v>88.240313103225816</c:v>
                </c:pt>
                <c:pt idx="1560">
                  <c:v>89.651774778807564</c:v>
                </c:pt>
                <c:pt idx="1561">
                  <c:v>90.59153264608949</c:v>
                </c:pt>
                <c:pt idx="1562">
                  <c:v>90.901159002277126</c:v>
                </c:pt>
                <c:pt idx="1563">
                  <c:v>89.537963009258519</c:v>
                </c:pt>
                <c:pt idx="1564">
                  <c:v>89.195654091302913</c:v>
                </c:pt>
                <c:pt idx="1565">
                  <c:v>88.751988009058707</c:v>
                </c:pt>
                <c:pt idx="1566">
                  <c:v>88.104302507820051</c:v>
                </c:pt>
                <c:pt idx="1567">
                  <c:v>88.070177117338247</c:v>
                </c:pt>
                <c:pt idx="1568">
                  <c:v>86.530943951229816</c:v>
                </c:pt>
                <c:pt idx="1569">
                  <c:v>87.587139064695918</c:v>
                </c:pt>
                <c:pt idx="1570">
                  <c:v>89.05931079095285</c:v>
                </c:pt>
                <c:pt idx="1571">
                  <c:v>89.083620267985339</c:v>
                </c:pt>
                <c:pt idx="1572">
                  <c:v>89.345304145590205</c:v>
                </c:pt>
                <c:pt idx="1573">
                  <c:v>89.811468114817501</c:v>
                </c:pt>
                <c:pt idx="1574">
                  <c:v>89.089500661782466</c:v>
                </c:pt>
                <c:pt idx="1575">
                  <c:v>89.046538172097527</c:v>
                </c:pt>
                <c:pt idx="1576">
                  <c:v>89.14361409682914</c:v>
                </c:pt>
                <c:pt idx="1577">
                  <c:v>87.844039334875362</c:v>
                </c:pt>
                <c:pt idx="1578">
                  <c:v>87.402044583380388</c:v>
                </c:pt>
                <c:pt idx="1579">
                  <c:v>87.512016626182827</c:v>
                </c:pt>
                <c:pt idx="1580">
                  <c:v>88.247835138805399</c:v>
                </c:pt>
                <c:pt idx="1581">
                  <c:v>86.648085161870014</c:v>
                </c:pt>
                <c:pt idx="1582">
                  <c:v>87.375588490566116</c:v>
                </c:pt>
                <c:pt idx="1583">
                  <c:v>87.689814978761433</c:v>
                </c:pt>
                <c:pt idx="1584">
                  <c:v>88.626781497263124</c:v>
                </c:pt>
                <c:pt idx="1585">
                  <c:v>89.460005417090301</c:v>
                </c:pt>
                <c:pt idx="1586">
                  <c:v>89.484724770977394</c:v>
                </c:pt>
                <c:pt idx="1587">
                  <c:v>90.073146236107021</c:v>
                </c:pt>
                <c:pt idx="1588">
                  <c:v>89.969765490143388</c:v>
                </c:pt>
                <c:pt idx="1589">
                  <c:v>89.567186683700399</c:v>
                </c:pt>
                <c:pt idx="1590">
                  <c:v>90.177871886368237</c:v>
                </c:pt>
                <c:pt idx="1591">
                  <c:v>91.248047890869572</c:v>
                </c:pt>
                <c:pt idx="1592">
                  <c:v>92.064292624591857</c:v>
                </c:pt>
                <c:pt idx="1593">
                  <c:v>91.535901669122438</c:v>
                </c:pt>
                <c:pt idx="1594">
                  <c:v>91.884646694530431</c:v>
                </c:pt>
                <c:pt idx="1595">
                  <c:v>92.033157484415156</c:v>
                </c:pt>
                <c:pt idx="1596">
                  <c:v>92.109773445167647</c:v>
                </c:pt>
                <c:pt idx="1597">
                  <c:v>92.141627595925996</c:v>
                </c:pt>
                <c:pt idx="1598">
                  <c:v>92.540375853197844</c:v>
                </c:pt>
                <c:pt idx="1599">
                  <c:v>91.476581404313194</c:v>
                </c:pt>
                <c:pt idx="1600">
                  <c:v>91.960976070294734</c:v>
                </c:pt>
                <c:pt idx="1601">
                  <c:v>91.581445046350495</c:v>
                </c:pt>
                <c:pt idx="1602">
                  <c:v>92.01063504463562</c:v>
                </c:pt>
                <c:pt idx="1603">
                  <c:v>91.460823208592188</c:v>
                </c:pt>
                <c:pt idx="1604">
                  <c:v>92.595425319143018</c:v>
                </c:pt>
                <c:pt idx="1605">
                  <c:v>92.490843541572914</c:v>
                </c:pt>
                <c:pt idx="1606">
                  <c:v>93.181706593459495</c:v>
                </c:pt>
                <c:pt idx="1607">
                  <c:v>92.236445576481756</c:v>
                </c:pt>
                <c:pt idx="1608">
                  <c:v>95.636593922872336</c:v>
                </c:pt>
                <c:pt idx="1609">
                  <c:v>95.809067639061652</c:v>
                </c:pt>
                <c:pt idx="1610">
                  <c:v>96.010960971737376</c:v>
                </c:pt>
                <c:pt idx="1611">
                  <c:v>97.274089488080534</c:v>
                </c:pt>
                <c:pt idx="1612">
                  <c:v>97.830477462602317</c:v>
                </c:pt>
                <c:pt idx="1613">
                  <c:v>98.067496952854</c:v>
                </c:pt>
                <c:pt idx="1614">
                  <c:v>98.758113949843121</c:v>
                </c:pt>
                <c:pt idx="1615">
                  <c:v>99.83246390405904</c:v>
                </c:pt>
                <c:pt idx="1616">
                  <c:v>100.34688418424089</c:v>
                </c:pt>
                <c:pt idx="1617">
                  <c:v>99.646522329389924</c:v>
                </c:pt>
                <c:pt idx="1618">
                  <c:v>100.09720528869271</c:v>
                </c:pt>
                <c:pt idx="1619">
                  <c:v>99.788903565099289</c:v>
                </c:pt>
                <c:pt idx="1620">
                  <c:v>99.030064922548306</c:v>
                </c:pt>
                <c:pt idx="1621">
                  <c:v>99.989010899169813</c:v>
                </c:pt>
                <c:pt idx="1622">
                  <c:v>100.18907643860547</c:v>
                </c:pt>
                <c:pt idx="1623">
                  <c:v>100.11127776477844</c:v>
                </c:pt>
                <c:pt idx="1624">
                  <c:v>100.08452337317864</c:v>
                </c:pt>
                <c:pt idx="1625">
                  <c:v>99.81793369865629</c:v>
                </c:pt>
                <c:pt idx="1626">
                  <c:v>99.952079176081995</c:v>
                </c:pt>
                <c:pt idx="1627">
                  <c:v>99.545266489376999</c:v>
                </c:pt>
                <c:pt idx="1628">
                  <c:v>98.688318167946306</c:v>
                </c:pt>
                <c:pt idx="1629">
                  <c:v>99.199038563130102</c:v>
                </c:pt>
                <c:pt idx="1630">
                  <c:v>99.16479521716775</c:v>
                </c:pt>
                <c:pt idx="1631">
                  <c:v>98.50579487537226</c:v>
                </c:pt>
                <c:pt idx="1632">
                  <c:v>99.441201830946753</c:v>
                </c:pt>
                <c:pt idx="1633">
                  <c:v>100</c:v>
                </c:pt>
              </c:numCache>
            </c:numRef>
          </c:val>
          <c:smooth val="0"/>
          <c:extLst>
            <c:ext xmlns:c16="http://schemas.microsoft.com/office/drawing/2014/chart" uri="{C3380CC4-5D6E-409C-BE32-E72D297353CC}">
              <c16:uniqueId val="{00000001-A988-4359-AE19-57C4916E4C7F}"/>
            </c:ext>
          </c:extLst>
        </c:ser>
        <c:ser>
          <c:idx val="2"/>
          <c:order val="2"/>
          <c:tx>
            <c:strRef>
              <c:f>Sheet1!$D$1</c:f>
              <c:strCache>
                <c:ptCount val="1"/>
                <c:pt idx="0">
                  <c:v>Hospitals</c:v>
                </c:pt>
              </c:strCache>
            </c:strRef>
          </c:tx>
          <c:spPr>
            <a:ln w="25400" cap="rnd">
              <a:solidFill>
                <a:srgbClr val="00B050"/>
              </a:solidFill>
              <a:round/>
            </a:ln>
            <a:effectLst/>
          </c:spPr>
          <c:marker>
            <c:symbol val="none"/>
          </c:marker>
          <c:cat>
            <c:numRef>
              <c:f>Sheet1!$A$2:$A$1635</c:f>
              <c:numCache>
                <c:formatCode>m/d/yyyy</c:formatCode>
                <c:ptCount val="1634"/>
                <c:pt idx="0">
                  <c:v>45961</c:v>
                </c:pt>
                <c:pt idx="1">
                  <c:v>45960</c:v>
                </c:pt>
                <c:pt idx="2">
                  <c:v>45959</c:v>
                </c:pt>
                <c:pt idx="3">
                  <c:v>45958</c:v>
                </c:pt>
                <c:pt idx="4">
                  <c:v>45957</c:v>
                </c:pt>
                <c:pt idx="5">
                  <c:v>45954</c:v>
                </c:pt>
                <c:pt idx="6">
                  <c:v>45953</c:v>
                </c:pt>
                <c:pt idx="7">
                  <c:v>45951</c:v>
                </c:pt>
                <c:pt idx="8">
                  <c:v>45950</c:v>
                </c:pt>
                <c:pt idx="9">
                  <c:v>45947</c:v>
                </c:pt>
                <c:pt idx="10">
                  <c:v>45946</c:v>
                </c:pt>
                <c:pt idx="11">
                  <c:v>45945</c:v>
                </c:pt>
                <c:pt idx="12">
                  <c:v>45944</c:v>
                </c:pt>
                <c:pt idx="13">
                  <c:v>45943</c:v>
                </c:pt>
                <c:pt idx="14">
                  <c:v>45940</c:v>
                </c:pt>
                <c:pt idx="15">
                  <c:v>45939</c:v>
                </c:pt>
                <c:pt idx="16">
                  <c:v>45938</c:v>
                </c:pt>
                <c:pt idx="17">
                  <c:v>45937</c:v>
                </c:pt>
                <c:pt idx="18">
                  <c:v>45936</c:v>
                </c:pt>
                <c:pt idx="19">
                  <c:v>45933</c:v>
                </c:pt>
                <c:pt idx="20">
                  <c:v>45931</c:v>
                </c:pt>
                <c:pt idx="21">
                  <c:v>45930</c:v>
                </c:pt>
                <c:pt idx="22">
                  <c:v>45929</c:v>
                </c:pt>
                <c:pt idx="23">
                  <c:v>45926</c:v>
                </c:pt>
                <c:pt idx="24">
                  <c:v>45925</c:v>
                </c:pt>
                <c:pt idx="25">
                  <c:v>45924</c:v>
                </c:pt>
                <c:pt idx="26">
                  <c:v>45923</c:v>
                </c:pt>
                <c:pt idx="27">
                  <c:v>45922</c:v>
                </c:pt>
                <c:pt idx="28">
                  <c:v>45919</c:v>
                </c:pt>
                <c:pt idx="29">
                  <c:v>45918</c:v>
                </c:pt>
                <c:pt idx="30">
                  <c:v>45917</c:v>
                </c:pt>
                <c:pt idx="31">
                  <c:v>45916</c:v>
                </c:pt>
                <c:pt idx="32">
                  <c:v>45915</c:v>
                </c:pt>
                <c:pt idx="33">
                  <c:v>45912</c:v>
                </c:pt>
                <c:pt idx="34">
                  <c:v>45911</c:v>
                </c:pt>
                <c:pt idx="35">
                  <c:v>45910</c:v>
                </c:pt>
                <c:pt idx="36">
                  <c:v>45909</c:v>
                </c:pt>
                <c:pt idx="37">
                  <c:v>45908</c:v>
                </c:pt>
                <c:pt idx="38">
                  <c:v>45905</c:v>
                </c:pt>
                <c:pt idx="39">
                  <c:v>45904</c:v>
                </c:pt>
                <c:pt idx="40">
                  <c:v>45903</c:v>
                </c:pt>
                <c:pt idx="41">
                  <c:v>45902</c:v>
                </c:pt>
                <c:pt idx="42">
                  <c:v>45901</c:v>
                </c:pt>
                <c:pt idx="43">
                  <c:v>45898</c:v>
                </c:pt>
                <c:pt idx="44">
                  <c:v>45897</c:v>
                </c:pt>
                <c:pt idx="45">
                  <c:v>45895</c:v>
                </c:pt>
                <c:pt idx="46">
                  <c:v>45894</c:v>
                </c:pt>
                <c:pt idx="47">
                  <c:v>45891</c:v>
                </c:pt>
                <c:pt idx="48">
                  <c:v>45890</c:v>
                </c:pt>
                <c:pt idx="49">
                  <c:v>45889</c:v>
                </c:pt>
                <c:pt idx="50">
                  <c:v>45888</c:v>
                </c:pt>
                <c:pt idx="51">
                  <c:v>45887</c:v>
                </c:pt>
                <c:pt idx="52">
                  <c:v>45883</c:v>
                </c:pt>
                <c:pt idx="53">
                  <c:v>45882</c:v>
                </c:pt>
                <c:pt idx="54">
                  <c:v>45881</c:v>
                </c:pt>
                <c:pt idx="55">
                  <c:v>45880</c:v>
                </c:pt>
                <c:pt idx="56">
                  <c:v>45877</c:v>
                </c:pt>
                <c:pt idx="57">
                  <c:v>45876</c:v>
                </c:pt>
                <c:pt idx="58">
                  <c:v>45875</c:v>
                </c:pt>
                <c:pt idx="59">
                  <c:v>45874</c:v>
                </c:pt>
                <c:pt idx="60">
                  <c:v>45873</c:v>
                </c:pt>
                <c:pt idx="61">
                  <c:v>45870</c:v>
                </c:pt>
                <c:pt idx="62">
                  <c:v>45869</c:v>
                </c:pt>
                <c:pt idx="63">
                  <c:v>45868</c:v>
                </c:pt>
                <c:pt idx="64">
                  <c:v>45867</c:v>
                </c:pt>
                <c:pt idx="65">
                  <c:v>45866</c:v>
                </c:pt>
                <c:pt idx="66">
                  <c:v>45863</c:v>
                </c:pt>
                <c:pt idx="67">
                  <c:v>45862</c:v>
                </c:pt>
                <c:pt idx="68">
                  <c:v>45861</c:v>
                </c:pt>
                <c:pt idx="69">
                  <c:v>45860</c:v>
                </c:pt>
                <c:pt idx="70">
                  <c:v>45859</c:v>
                </c:pt>
                <c:pt idx="71">
                  <c:v>45856</c:v>
                </c:pt>
                <c:pt idx="72">
                  <c:v>45855</c:v>
                </c:pt>
                <c:pt idx="73">
                  <c:v>45854</c:v>
                </c:pt>
                <c:pt idx="74">
                  <c:v>45853</c:v>
                </c:pt>
                <c:pt idx="75">
                  <c:v>45852</c:v>
                </c:pt>
                <c:pt idx="76">
                  <c:v>45849</c:v>
                </c:pt>
                <c:pt idx="77">
                  <c:v>45848</c:v>
                </c:pt>
                <c:pt idx="78">
                  <c:v>45847</c:v>
                </c:pt>
                <c:pt idx="79">
                  <c:v>45846</c:v>
                </c:pt>
                <c:pt idx="80">
                  <c:v>45845</c:v>
                </c:pt>
                <c:pt idx="81">
                  <c:v>45842</c:v>
                </c:pt>
                <c:pt idx="82">
                  <c:v>45841</c:v>
                </c:pt>
                <c:pt idx="83">
                  <c:v>45840</c:v>
                </c:pt>
                <c:pt idx="84">
                  <c:v>45839</c:v>
                </c:pt>
                <c:pt idx="85">
                  <c:v>45838</c:v>
                </c:pt>
                <c:pt idx="86">
                  <c:v>45835</c:v>
                </c:pt>
                <c:pt idx="87">
                  <c:v>45834</c:v>
                </c:pt>
                <c:pt idx="88">
                  <c:v>45833</c:v>
                </c:pt>
                <c:pt idx="89">
                  <c:v>45832</c:v>
                </c:pt>
                <c:pt idx="90">
                  <c:v>45831</c:v>
                </c:pt>
                <c:pt idx="91">
                  <c:v>45828</c:v>
                </c:pt>
                <c:pt idx="92">
                  <c:v>45827</c:v>
                </c:pt>
                <c:pt idx="93">
                  <c:v>45826</c:v>
                </c:pt>
                <c:pt idx="94">
                  <c:v>45825</c:v>
                </c:pt>
                <c:pt idx="95">
                  <c:v>45824</c:v>
                </c:pt>
                <c:pt idx="96">
                  <c:v>45821</c:v>
                </c:pt>
                <c:pt idx="97">
                  <c:v>45820</c:v>
                </c:pt>
                <c:pt idx="98">
                  <c:v>45819</c:v>
                </c:pt>
                <c:pt idx="99">
                  <c:v>45818</c:v>
                </c:pt>
                <c:pt idx="100">
                  <c:v>45817</c:v>
                </c:pt>
                <c:pt idx="101">
                  <c:v>45814</c:v>
                </c:pt>
                <c:pt idx="102">
                  <c:v>45813</c:v>
                </c:pt>
                <c:pt idx="103">
                  <c:v>45812</c:v>
                </c:pt>
                <c:pt idx="104">
                  <c:v>45811</c:v>
                </c:pt>
                <c:pt idx="105">
                  <c:v>45810</c:v>
                </c:pt>
                <c:pt idx="106">
                  <c:v>45807</c:v>
                </c:pt>
                <c:pt idx="107">
                  <c:v>45806</c:v>
                </c:pt>
                <c:pt idx="108">
                  <c:v>45805</c:v>
                </c:pt>
                <c:pt idx="109">
                  <c:v>45804</c:v>
                </c:pt>
                <c:pt idx="110">
                  <c:v>45803</c:v>
                </c:pt>
                <c:pt idx="111">
                  <c:v>45800</c:v>
                </c:pt>
                <c:pt idx="112">
                  <c:v>45799</c:v>
                </c:pt>
                <c:pt idx="113">
                  <c:v>45798</c:v>
                </c:pt>
                <c:pt idx="114">
                  <c:v>45797</c:v>
                </c:pt>
                <c:pt idx="115">
                  <c:v>45796</c:v>
                </c:pt>
                <c:pt idx="116">
                  <c:v>45793</c:v>
                </c:pt>
                <c:pt idx="117">
                  <c:v>45792</c:v>
                </c:pt>
                <c:pt idx="118">
                  <c:v>45791</c:v>
                </c:pt>
                <c:pt idx="119">
                  <c:v>45790</c:v>
                </c:pt>
                <c:pt idx="120">
                  <c:v>45789</c:v>
                </c:pt>
                <c:pt idx="121">
                  <c:v>45786</c:v>
                </c:pt>
                <c:pt idx="122">
                  <c:v>45785</c:v>
                </c:pt>
                <c:pt idx="123">
                  <c:v>45784</c:v>
                </c:pt>
                <c:pt idx="124">
                  <c:v>45783</c:v>
                </c:pt>
                <c:pt idx="125">
                  <c:v>45782</c:v>
                </c:pt>
                <c:pt idx="126">
                  <c:v>45779</c:v>
                </c:pt>
                <c:pt idx="127">
                  <c:v>45777</c:v>
                </c:pt>
                <c:pt idx="128">
                  <c:v>45776</c:v>
                </c:pt>
                <c:pt idx="129">
                  <c:v>45775</c:v>
                </c:pt>
                <c:pt idx="130">
                  <c:v>45772</c:v>
                </c:pt>
                <c:pt idx="131">
                  <c:v>45771</c:v>
                </c:pt>
                <c:pt idx="132">
                  <c:v>45770</c:v>
                </c:pt>
                <c:pt idx="133">
                  <c:v>45769</c:v>
                </c:pt>
                <c:pt idx="134">
                  <c:v>45768</c:v>
                </c:pt>
                <c:pt idx="135">
                  <c:v>45764</c:v>
                </c:pt>
                <c:pt idx="136">
                  <c:v>45763</c:v>
                </c:pt>
                <c:pt idx="137">
                  <c:v>45762</c:v>
                </c:pt>
                <c:pt idx="138">
                  <c:v>45758</c:v>
                </c:pt>
                <c:pt idx="139">
                  <c:v>45756</c:v>
                </c:pt>
                <c:pt idx="140">
                  <c:v>45755</c:v>
                </c:pt>
                <c:pt idx="141">
                  <c:v>45754</c:v>
                </c:pt>
                <c:pt idx="142">
                  <c:v>45751</c:v>
                </c:pt>
                <c:pt idx="143">
                  <c:v>45750</c:v>
                </c:pt>
                <c:pt idx="144">
                  <c:v>45749</c:v>
                </c:pt>
                <c:pt idx="145">
                  <c:v>45748</c:v>
                </c:pt>
                <c:pt idx="146">
                  <c:v>45744</c:v>
                </c:pt>
                <c:pt idx="147">
                  <c:v>45743</c:v>
                </c:pt>
                <c:pt idx="148">
                  <c:v>45742</c:v>
                </c:pt>
                <c:pt idx="149">
                  <c:v>45741</c:v>
                </c:pt>
                <c:pt idx="150">
                  <c:v>45740</c:v>
                </c:pt>
                <c:pt idx="151">
                  <c:v>45737</c:v>
                </c:pt>
                <c:pt idx="152">
                  <c:v>45736</c:v>
                </c:pt>
                <c:pt idx="153">
                  <c:v>45735</c:v>
                </c:pt>
                <c:pt idx="154">
                  <c:v>45734</c:v>
                </c:pt>
                <c:pt idx="155">
                  <c:v>45733</c:v>
                </c:pt>
                <c:pt idx="156">
                  <c:v>45729</c:v>
                </c:pt>
                <c:pt idx="157">
                  <c:v>45728</c:v>
                </c:pt>
                <c:pt idx="158">
                  <c:v>45727</c:v>
                </c:pt>
                <c:pt idx="159">
                  <c:v>45726</c:v>
                </c:pt>
                <c:pt idx="160">
                  <c:v>45723</c:v>
                </c:pt>
                <c:pt idx="161">
                  <c:v>45722</c:v>
                </c:pt>
                <c:pt idx="162">
                  <c:v>45721</c:v>
                </c:pt>
                <c:pt idx="163">
                  <c:v>45720</c:v>
                </c:pt>
                <c:pt idx="164">
                  <c:v>45719</c:v>
                </c:pt>
                <c:pt idx="165">
                  <c:v>45716</c:v>
                </c:pt>
                <c:pt idx="166">
                  <c:v>45715</c:v>
                </c:pt>
                <c:pt idx="167">
                  <c:v>45713</c:v>
                </c:pt>
                <c:pt idx="168">
                  <c:v>45712</c:v>
                </c:pt>
                <c:pt idx="169">
                  <c:v>45709</c:v>
                </c:pt>
                <c:pt idx="170">
                  <c:v>45708</c:v>
                </c:pt>
                <c:pt idx="171">
                  <c:v>45707</c:v>
                </c:pt>
                <c:pt idx="172">
                  <c:v>45706</c:v>
                </c:pt>
                <c:pt idx="173">
                  <c:v>45705</c:v>
                </c:pt>
                <c:pt idx="174">
                  <c:v>45702</c:v>
                </c:pt>
                <c:pt idx="175">
                  <c:v>45701</c:v>
                </c:pt>
                <c:pt idx="176">
                  <c:v>45700</c:v>
                </c:pt>
                <c:pt idx="177">
                  <c:v>45699</c:v>
                </c:pt>
                <c:pt idx="178">
                  <c:v>45698</c:v>
                </c:pt>
                <c:pt idx="179">
                  <c:v>45695</c:v>
                </c:pt>
                <c:pt idx="180">
                  <c:v>45694</c:v>
                </c:pt>
                <c:pt idx="181">
                  <c:v>45693</c:v>
                </c:pt>
                <c:pt idx="182">
                  <c:v>45692</c:v>
                </c:pt>
                <c:pt idx="183">
                  <c:v>45691</c:v>
                </c:pt>
                <c:pt idx="184">
                  <c:v>45689</c:v>
                </c:pt>
                <c:pt idx="185">
                  <c:v>45688</c:v>
                </c:pt>
                <c:pt idx="186">
                  <c:v>45687</c:v>
                </c:pt>
                <c:pt idx="187">
                  <c:v>45686</c:v>
                </c:pt>
                <c:pt idx="188">
                  <c:v>45685</c:v>
                </c:pt>
                <c:pt idx="189">
                  <c:v>45684</c:v>
                </c:pt>
                <c:pt idx="190">
                  <c:v>45681</c:v>
                </c:pt>
                <c:pt idx="191">
                  <c:v>45680</c:v>
                </c:pt>
                <c:pt idx="192">
                  <c:v>45679</c:v>
                </c:pt>
                <c:pt idx="193">
                  <c:v>45678</c:v>
                </c:pt>
                <c:pt idx="194">
                  <c:v>45677</c:v>
                </c:pt>
                <c:pt idx="195">
                  <c:v>45674</c:v>
                </c:pt>
                <c:pt idx="196">
                  <c:v>45673</c:v>
                </c:pt>
                <c:pt idx="197">
                  <c:v>45672</c:v>
                </c:pt>
                <c:pt idx="198">
                  <c:v>45671</c:v>
                </c:pt>
                <c:pt idx="199">
                  <c:v>45670</c:v>
                </c:pt>
                <c:pt idx="200">
                  <c:v>45667</c:v>
                </c:pt>
                <c:pt idx="201">
                  <c:v>45666</c:v>
                </c:pt>
                <c:pt idx="202">
                  <c:v>45665</c:v>
                </c:pt>
                <c:pt idx="203">
                  <c:v>45664</c:v>
                </c:pt>
                <c:pt idx="204">
                  <c:v>45663</c:v>
                </c:pt>
                <c:pt idx="205">
                  <c:v>45660</c:v>
                </c:pt>
                <c:pt idx="206">
                  <c:v>45659</c:v>
                </c:pt>
                <c:pt idx="207">
                  <c:v>45658</c:v>
                </c:pt>
                <c:pt idx="208">
                  <c:v>45657</c:v>
                </c:pt>
                <c:pt idx="209">
                  <c:v>45656</c:v>
                </c:pt>
                <c:pt idx="210">
                  <c:v>45653</c:v>
                </c:pt>
                <c:pt idx="211">
                  <c:v>45652</c:v>
                </c:pt>
                <c:pt idx="212">
                  <c:v>45650</c:v>
                </c:pt>
                <c:pt idx="213">
                  <c:v>45649</c:v>
                </c:pt>
                <c:pt idx="214">
                  <c:v>45646</c:v>
                </c:pt>
                <c:pt idx="215">
                  <c:v>45645</c:v>
                </c:pt>
                <c:pt idx="216">
                  <c:v>45644</c:v>
                </c:pt>
                <c:pt idx="217">
                  <c:v>45643</c:v>
                </c:pt>
                <c:pt idx="218">
                  <c:v>45642</c:v>
                </c:pt>
                <c:pt idx="219">
                  <c:v>45639</c:v>
                </c:pt>
                <c:pt idx="220">
                  <c:v>45638</c:v>
                </c:pt>
                <c:pt idx="221">
                  <c:v>45637</c:v>
                </c:pt>
                <c:pt idx="222">
                  <c:v>45636</c:v>
                </c:pt>
                <c:pt idx="223">
                  <c:v>45635</c:v>
                </c:pt>
                <c:pt idx="224">
                  <c:v>45632</c:v>
                </c:pt>
                <c:pt idx="225">
                  <c:v>45631</c:v>
                </c:pt>
                <c:pt idx="226">
                  <c:v>45630</c:v>
                </c:pt>
                <c:pt idx="227">
                  <c:v>45629</c:v>
                </c:pt>
                <c:pt idx="228">
                  <c:v>45628</c:v>
                </c:pt>
                <c:pt idx="229">
                  <c:v>45625</c:v>
                </c:pt>
                <c:pt idx="230">
                  <c:v>45624</c:v>
                </c:pt>
                <c:pt idx="231">
                  <c:v>45623</c:v>
                </c:pt>
                <c:pt idx="232">
                  <c:v>45622</c:v>
                </c:pt>
                <c:pt idx="233">
                  <c:v>45621</c:v>
                </c:pt>
                <c:pt idx="234">
                  <c:v>45618</c:v>
                </c:pt>
                <c:pt idx="235">
                  <c:v>45617</c:v>
                </c:pt>
                <c:pt idx="236">
                  <c:v>45615</c:v>
                </c:pt>
                <c:pt idx="237">
                  <c:v>45614</c:v>
                </c:pt>
                <c:pt idx="238">
                  <c:v>45610</c:v>
                </c:pt>
                <c:pt idx="239">
                  <c:v>45609</c:v>
                </c:pt>
                <c:pt idx="240">
                  <c:v>45608</c:v>
                </c:pt>
                <c:pt idx="241">
                  <c:v>45607</c:v>
                </c:pt>
                <c:pt idx="242">
                  <c:v>45604</c:v>
                </c:pt>
                <c:pt idx="243">
                  <c:v>45603</c:v>
                </c:pt>
                <c:pt idx="244">
                  <c:v>45602</c:v>
                </c:pt>
                <c:pt idx="245">
                  <c:v>45601</c:v>
                </c:pt>
                <c:pt idx="246">
                  <c:v>45600</c:v>
                </c:pt>
                <c:pt idx="247">
                  <c:v>45597</c:v>
                </c:pt>
                <c:pt idx="248">
                  <c:v>45596</c:v>
                </c:pt>
                <c:pt idx="249">
                  <c:v>45595</c:v>
                </c:pt>
                <c:pt idx="250">
                  <c:v>45594</c:v>
                </c:pt>
                <c:pt idx="251">
                  <c:v>45593</c:v>
                </c:pt>
                <c:pt idx="252">
                  <c:v>45590</c:v>
                </c:pt>
                <c:pt idx="253">
                  <c:v>45589</c:v>
                </c:pt>
                <c:pt idx="254">
                  <c:v>45588</c:v>
                </c:pt>
                <c:pt idx="255">
                  <c:v>45587</c:v>
                </c:pt>
                <c:pt idx="256">
                  <c:v>45586</c:v>
                </c:pt>
                <c:pt idx="257">
                  <c:v>45583</c:v>
                </c:pt>
                <c:pt idx="258">
                  <c:v>45582</c:v>
                </c:pt>
                <c:pt idx="259">
                  <c:v>45581</c:v>
                </c:pt>
                <c:pt idx="260">
                  <c:v>45580</c:v>
                </c:pt>
                <c:pt idx="261">
                  <c:v>45579</c:v>
                </c:pt>
                <c:pt idx="262">
                  <c:v>45576</c:v>
                </c:pt>
                <c:pt idx="263">
                  <c:v>45575</c:v>
                </c:pt>
                <c:pt idx="264">
                  <c:v>45574</c:v>
                </c:pt>
                <c:pt idx="265">
                  <c:v>45573</c:v>
                </c:pt>
                <c:pt idx="266">
                  <c:v>45572</c:v>
                </c:pt>
                <c:pt idx="267">
                  <c:v>45569</c:v>
                </c:pt>
                <c:pt idx="268">
                  <c:v>45568</c:v>
                </c:pt>
                <c:pt idx="269">
                  <c:v>45566</c:v>
                </c:pt>
                <c:pt idx="270">
                  <c:v>45565</c:v>
                </c:pt>
                <c:pt idx="271">
                  <c:v>45562</c:v>
                </c:pt>
                <c:pt idx="272">
                  <c:v>45561</c:v>
                </c:pt>
                <c:pt idx="273">
                  <c:v>45560</c:v>
                </c:pt>
                <c:pt idx="274">
                  <c:v>45559</c:v>
                </c:pt>
                <c:pt idx="275">
                  <c:v>45558</c:v>
                </c:pt>
                <c:pt idx="276">
                  <c:v>45555</c:v>
                </c:pt>
                <c:pt idx="277">
                  <c:v>45554</c:v>
                </c:pt>
                <c:pt idx="278">
                  <c:v>45553</c:v>
                </c:pt>
                <c:pt idx="279">
                  <c:v>45552</c:v>
                </c:pt>
                <c:pt idx="280">
                  <c:v>45551</c:v>
                </c:pt>
                <c:pt idx="281">
                  <c:v>45548</c:v>
                </c:pt>
                <c:pt idx="282">
                  <c:v>45547</c:v>
                </c:pt>
                <c:pt idx="283">
                  <c:v>45546</c:v>
                </c:pt>
                <c:pt idx="284">
                  <c:v>45545</c:v>
                </c:pt>
                <c:pt idx="285">
                  <c:v>45544</c:v>
                </c:pt>
                <c:pt idx="286">
                  <c:v>45541</c:v>
                </c:pt>
                <c:pt idx="287">
                  <c:v>45540</c:v>
                </c:pt>
                <c:pt idx="288">
                  <c:v>45539</c:v>
                </c:pt>
                <c:pt idx="289">
                  <c:v>45538</c:v>
                </c:pt>
                <c:pt idx="290">
                  <c:v>45537</c:v>
                </c:pt>
                <c:pt idx="291">
                  <c:v>45534</c:v>
                </c:pt>
                <c:pt idx="292">
                  <c:v>45533</c:v>
                </c:pt>
                <c:pt idx="293">
                  <c:v>45532</c:v>
                </c:pt>
                <c:pt idx="294">
                  <c:v>45531</c:v>
                </c:pt>
                <c:pt idx="295">
                  <c:v>45530</c:v>
                </c:pt>
                <c:pt idx="296">
                  <c:v>45527</c:v>
                </c:pt>
                <c:pt idx="297">
                  <c:v>45526</c:v>
                </c:pt>
                <c:pt idx="298">
                  <c:v>45525</c:v>
                </c:pt>
                <c:pt idx="299">
                  <c:v>45524</c:v>
                </c:pt>
                <c:pt idx="300">
                  <c:v>45523</c:v>
                </c:pt>
                <c:pt idx="301">
                  <c:v>45520</c:v>
                </c:pt>
                <c:pt idx="302">
                  <c:v>45518</c:v>
                </c:pt>
                <c:pt idx="303">
                  <c:v>45517</c:v>
                </c:pt>
                <c:pt idx="304">
                  <c:v>45516</c:v>
                </c:pt>
                <c:pt idx="305">
                  <c:v>45513</c:v>
                </c:pt>
                <c:pt idx="306">
                  <c:v>45512</c:v>
                </c:pt>
                <c:pt idx="307">
                  <c:v>45511</c:v>
                </c:pt>
                <c:pt idx="308">
                  <c:v>45510</c:v>
                </c:pt>
                <c:pt idx="309">
                  <c:v>45509</c:v>
                </c:pt>
                <c:pt idx="310">
                  <c:v>45506</c:v>
                </c:pt>
                <c:pt idx="311">
                  <c:v>45505</c:v>
                </c:pt>
                <c:pt idx="312">
                  <c:v>45504</c:v>
                </c:pt>
                <c:pt idx="313">
                  <c:v>45503</c:v>
                </c:pt>
                <c:pt idx="314">
                  <c:v>45502</c:v>
                </c:pt>
                <c:pt idx="315">
                  <c:v>45499</c:v>
                </c:pt>
                <c:pt idx="316">
                  <c:v>45498</c:v>
                </c:pt>
                <c:pt idx="317">
                  <c:v>45497</c:v>
                </c:pt>
                <c:pt idx="318">
                  <c:v>45496</c:v>
                </c:pt>
                <c:pt idx="319">
                  <c:v>45495</c:v>
                </c:pt>
                <c:pt idx="320">
                  <c:v>45492</c:v>
                </c:pt>
                <c:pt idx="321">
                  <c:v>45491</c:v>
                </c:pt>
                <c:pt idx="322">
                  <c:v>45489</c:v>
                </c:pt>
                <c:pt idx="323">
                  <c:v>45488</c:v>
                </c:pt>
                <c:pt idx="324">
                  <c:v>45485</c:v>
                </c:pt>
                <c:pt idx="325">
                  <c:v>45484</c:v>
                </c:pt>
                <c:pt idx="326">
                  <c:v>45483</c:v>
                </c:pt>
                <c:pt idx="327">
                  <c:v>45482</c:v>
                </c:pt>
                <c:pt idx="328">
                  <c:v>45481</c:v>
                </c:pt>
                <c:pt idx="329">
                  <c:v>45478</c:v>
                </c:pt>
                <c:pt idx="330">
                  <c:v>45477</c:v>
                </c:pt>
                <c:pt idx="331">
                  <c:v>45476</c:v>
                </c:pt>
                <c:pt idx="332">
                  <c:v>45475</c:v>
                </c:pt>
                <c:pt idx="333">
                  <c:v>45474</c:v>
                </c:pt>
                <c:pt idx="334">
                  <c:v>45471</c:v>
                </c:pt>
                <c:pt idx="335">
                  <c:v>45470</c:v>
                </c:pt>
                <c:pt idx="336">
                  <c:v>45469</c:v>
                </c:pt>
                <c:pt idx="337">
                  <c:v>45468</c:v>
                </c:pt>
                <c:pt idx="338">
                  <c:v>45467</c:v>
                </c:pt>
                <c:pt idx="339">
                  <c:v>45464</c:v>
                </c:pt>
                <c:pt idx="340">
                  <c:v>45463</c:v>
                </c:pt>
                <c:pt idx="341">
                  <c:v>45462</c:v>
                </c:pt>
                <c:pt idx="342">
                  <c:v>45461</c:v>
                </c:pt>
                <c:pt idx="343">
                  <c:v>45457</c:v>
                </c:pt>
                <c:pt idx="344">
                  <c:v>45456</c:v>
                </c:pt>
                <c:pt idx="345">
                  <c:v>45455</c:v>
                </c:pt>
                <c:pt idx="346">
                  <c:v>45454</c:v>
                </c:pt>
                <c:pt idx="347">
                  <c:v>45453</c:v>
                </c:pt>
                <c:pt idx="348">
                  <c:v>45450</c:v>
                </c:pt>
                <c:pt idx="349">
                  <c:v>45449</c:v>
                </c:pt>
                <c:pt idx="350">
                  <c:v>45448</c:v>
                </c:pt>
                <c:pt idx="351">
                  <c:v>45447</c:v>
                </c:pt>
                <c:pt idx="352">
                  <c:v>45446</c:v>
                </c:pt>
                <c:pt idx="353">
                  <c:v>45443</c:v>
                </c:pt>
                <c:pt idx="354">
                  <c:v>45442</c:v>
                </c:pt>
                <c:pt idx="355">
                  <c:v>45441</c:v>
                </c:pt>
                <c:pt idx="356">
                  <c:v>45440</c:v>
                </c:pt>
                <c:pt idx="357">
                  <c:v>45439</c:v>
                </c:pt>
                <c:pt idx="358">
                  <c:v>45436</c:v>
                </c:pt>
                <c:pt idx="359">
                  <c:v>45435</c:v>
                </c:pt>
                <c:pt idx="360">
                  <c:v>45434</c:v>
                </c:pt>
                <c:pt idx="361">
                  <c:v>45433</c:v>
                </c:pt>
                <c:pt idx="362">
                  <c:v>45430</c:v>
                </c:pt>
                <c:pt idx="363">
                  <c:v>45429</c:v>
                </c:pt>
                <c:pt idx="364">
                  <c:v>45428</c:v>
                </c:pt>
                <c:pt idx="365">
                  <c:v>45427</c:v>
                </c:pt>
                <c:pt idx="366">
                  <c:v>45426</c:v>
                </c:pt>
                <c:pt idx="367">
                  <c:v>45425</c:v>
                </c:pt>
                <c:pt idx="368">
                  <c:v>45422</c:v>
                </c:pt>
                <c:pt idx="369">
                  <c:v>45421</c:v>
                </c:pt>
                <c:pt idx="370">
                  <c:v>45420</c:v>
                </c:pt>
                <c:pt idx="371">
                  <c:v>45419</c:v>
                </c:pt>
                <c:pt idx="372">
                  <c:v>45418</c:v>
                </c:pt>
                <c:pt idx="373">
                  <c:v>45415</c:v>
                </c:pt>
                <c:pt idx="374">
                  <c:v>45414</c:v>
                </c:pt>
                <c:pt idx="375">
                  <c:v>45412</c:v>
                </c:pt>
                <c:pt idx="376">
                  <c:v>45411</c:v>
                </c:pt>
                <c:pt idx="377">
                  <c:v>45408</c:v>
                </c:pt>
                <c:pt idx="378">
                  <c:v>45407</c:v>
                </c:pt>
                <c:pt idx="379">
                  <c:v>45406</c:v>
                </c:pt>
                <c:pt idx="380">
                  <c:v>45405</c:v>
                </c:pt>
                <c:pt idx="381">
                  <c:v>45404</c:v>
                </c:pt>
                <c:pt idx="382">
                  <c:v>45401</c:v>
                </c:pt>
                <c:pt idx="383">
                  <c:v>45400</c:v>
                </c:pt>
                <c:pt idx="384">
                  <c:v>45398</c:v>
                </c:pt>
                <c:pt idx="385">
                  <c:v>45397</c:v>
                </c:pt>
                <c:pt idx="386">
                  <c:v>45394</c:v>
                </c:pt>
                <c:pt idx="387">
                  <c:v>45392</c:v>
                </c:pt>
                <c:pt idx="388">
                  <c:v>45391</c:v>
                </c:pt>
                <c:pt idx="389">
                  <c:v>45390</c:v>
                </c:pt>
                <c:pt idx="390">
                  <c:v>45387</c:v>
                </c:pt>
                <c:pt idx="391">
                  <c:v>45386</c:v>
                </c:pt>
                <c:pt idx="392">
                  <c:v>45385</c:v>
                </c:pt>
                <c:pt idx="393">
                  <c:v>45384</c:v>
                </c:pt>
                <c:pt idx="394">
                  <c:v>45383</c:v>
                </c:pt>
                <c:pt idx="395">
                  <c:v>45379</c:v>
                </c:pt>
                <c:pt idx="396">
                  <c:v>45378</c:v>
                </c:pt>
                <c:pt idx="397">
                  <c:v>45377</c:v>
                </c:pt>
                <c:pt idx="398">
                  <c:v>45373</c:v>
                </c:pt>
                <c:pt idx="399">
                  <c:v>45372</c:v>
                </c:pt>
                <c:pt idx="400">
                  <c:v>45371</c:v>
                </c:pt>
                <c:pt idx="401">
                  <c:v>45370</c:v>
                </c:pt>
                <c:pt idx="402">
                  <c:v>45369</c:v>
                </c:pt>
                <c:pt idx="403">
                  <c:v>45366</c:v>
                </c:pt>
                <c:pt idx="404">
                  <c:v>45365</c:v>
                </c:pt>
                <c:pt idx="405">
                  <c:v>45364</c:v>
                </c:pt>
                <c:pt idx="406">
                  <c:v>45363</c:v>
                </c:pt>
                <c:pt idx="407">
                  <c:v>45362</c:v>
                </c:pt>
                <c:pt idx="408">
                  <c:v>45358</c:v>
                </c:pt>
                <c:pt idx="409">
                  <c:v>45357</c:v>
                </c:pt>
                <c:pt idx="410">
                  <c:v>45356</c:v>
                </c:pt>
                <c:pt idx="411">
                  <c:v>45355</c:v>
                </c:pt>
                <c:pt idx="412">
                  <c:v>45353</c:v>
                </c:pt>
                <c:pt idx="413">
                  <c:v>45352</c:v>
                </c:pt>
                <c:pt idx="414">
                  <c:v>45351</c:v>
                </c:pt>
                <c:pt idx="415">
                  <c:v>45350</c:v>
                </c:pt>
                <c:pt idx="416">
                  <c:v>45349</c:v>
                </c:pt>
                <c:pt idx="417">
                  <c:v>45348</c:v>
                </c:pt>
                <c:pt idx="418">
                  <c:v>45345</c:v>
                </c:pt>
                <c:pt idx="419">
                  <c:v>45344</c:v>
                </c:pt>
                <c:pt idx="420">
                  <c:v>45343</c:v>
                </c:pt>
                <c:pt idx="421">
                  <c:v>45342</c:v>
                </c:pt>
                <c:pt idx="422">
                  <c:v>45341</c:v>
                </c:pt>
                <c:pt idx="423">
                  <c:v>45338</c:v>
                </c:pt>
                <c:pt idx="424">
                  <c:v>45337</c:v>
                </c:pt>
                <c:pt idx="425">
                  <c:v>45336</c:v>
                </c:pt>
                <c:pt idx="426">
                  <c:v>45335</c:v>
                </c:pt>
                <c:pt idx="427">
                  <c:v>45334</c:v>
                </c:pt>
                <c:pt idx="428">
                  <c:v>45331</c:v>
                </c:pt>
                <c:pt idx="429">
                  <c:v>45330</c:v>
                </c:pt>
                <c:pt idx="430">
                  <c:v>45329</c:v>
                </c:pt>
                <c:pt idx="431">
                  <c:v>45328</c:v>
                </c:pt>
                <c:pt idx="432">
                  <c:v>45327</c:v>
                </c:pt>
                <c:pt idx="433">
                  <c:v>45324</c:v>
                </c:pt>
                <c:pt idx="434">
                  <c:v>45323</c:v>
                </c:pt>
                <c:pt idx="435">
                  <c:v>45322</c:v>
                </c:pt>
                <c:pt idx="436">
                  <c:v>45321</c:v>
                </c:pt>
                <c:pt idx="437">
                  <c:v>45320</c:v>
                </c:pt>
                <c:pt idx="438">
                  <c:v>45316</c:v>
                </c:pt>
                <c:pt idx="439">
                  <c:v>45315</c:v>
                </c:pt>
                <c:pt idx="440">
                  <c:v>45314</c:v>
                </c:pt>
                <c:pt idx="441">
                  <c:v>45311</c:v>
                </c:pt>
                <c:pt idx="442">
                  <c:v>45310</c:v>
                </c:pt>
                <c:pt idx="443">
                  <c:v>45309</c:v>
                </c:pt>
                <c:pt idx="444">
                  <c:v>45308</c:v>
                </c:pt>
                <c:pt idx="445">
                  <c:v>45307</c:v>
                </c:pt>
                <c:pt idx="446">
                  <c:v>45306</c:v>
                </c:pt>
                <c:pt idx="447">
                  <c:v>45303</c:v>
                </c:pt>
                <c:pt idx="448">
                  <c:v>45302</c:v>
                </c:pt>
                <c:pt idx="449">
                  <c:v>45301</c:v>
                </c:pt>
                <c:pt idx="450">
                  <c:v>45300</c:v>
                </c:pt>
                <c:pt idx="451">
                  <c:v>45299</c:v>
                </c:pt>
                <c:pt idx="452">
                  <c:v>45296</c:v>
                </c:pt>
                <c:pt idx="453">
                  <c:v>45295</c:v>
                </c:pt>
                <c:pt idx="454">
                  <c:v>45294</c:v>
                </c:pt>
                <c:pt idx="455">
                  <c:v>45293</c:v>
                </c:pt>
                <c:pt idx="456">
                  <c:v>45292</c:v>
                </c:pt>
                <c:pt idx="457">
                  <c:v>45289</c:v>
                </c:pt>
                <c:pt idx="458">
                  <c:v>45288</c:v>
                </c:pt>
                <c:pt idx="459">
                  <c:v>45287</c:v>
                </c:pt>
                <c:pt idx="460">
                  <c:v>45286</c:v>
                </c:pt>
                <c:pt idx="461">
                  <c:v>45282</c:v>
                </c:pt>
                <c:pt idx="462">
                  <c:v>45281</c:v>
                </c:pt>
                <c:pt idx="463">
                  <c:v>45280</c:v>
                </c:pt>
                <c:pt idx="464">
                  <c:v>45279</c:v>
                </c:pt>
                <c:pt idx="465">
                  <c:v>45278</c:v>
                </c:pt>
                <c:pt idx="466">
                  <c:v>45275</c:v>
                </c:pt>
                <c:pt idx="467">
                  <c:v>45274</c:v>
                </c:pt>
                <c:pt idx="468">
                  <c:v>45273</c:v>
                </c:pt>
                <c:pt idx="469">
                  <c:v>45272</c:v>
                </c:pt>
                <c:pt idx="470">
                  <c:v>45271</c:v>
                </c:pt>
                <c:pt idx="471">
                  <c:v>45268</c:v>
                </c:pt>
                <c:pt idx="472">
                  <c:v>45267</c:v>
                </c:pt>
                <c:pt idx="473">
                  <c:v>45266</c:v>
                </c:pt>
                <c:pt idx="474">
                  <c:v>45265</c:v>
                </c:pt>
                <c:pt idx="475">
                  <c:v>45264</c:v>
                </c:pt>
                <c:pt idx="476">
                  <c:v>45261</c:v>
                </c:pt>
                <c:pt idx="477">
                  <c:v>45260</c:v>
                </c:pt>
                <c:pt idx="478">
                  <c:v>45259</c:v>
                </c:pt>
                <c:pt idx="479">
                  <c:v>45258</c:v>
                </c:pt>
                <c:pt idx="480">
                  <c:v>45254</c:v>
                </c:pt>
                <c:pt idx="481">
                  <c:v>45253</c:v>
                </c:pt>
                <c:pt idx="482">
                  <c:v>45252</c:v>
                </c:pt>
                <c:pt idx="483">
                  <c:v>45251</c:v>
                </c:pt>
                <c:pt idx="484">
                  <c:v>45250</c:v>
                </c:pt>
                <c:pt idx="485">
                  <c:v>45247</c:v>
                </c:pt>
                <c:pt idx="486">
                  <c:v>45246</c:v>
                </c:pt>
                <c:pt idx="487">
                  <c:v>45245</c:v>
                </c:pt>
                <c:pt idx="488">
                  <c:v>45243</c:v>
                </c:pt>
                <c:pt idx="489">
                  <c:v>45242</c:v>
                </c:pt>
                <c:pt idx="490">
                  <c:v>45240</c:v>
                </c:pt>
                <c:pt idx="491">
                  <c:v>45239</c:v>
                </c:pt>
                <c:pt idx="492">
                  <c:v>45238</c:v>
                </c:pt>
                <c:pt idx="493">
                  <c:v>45237</c:v>
                </c:pt>
                <c:pt idx="494">
                  <c:v>45236</c:v>
                </c:pt>
                <c:pt idx="495">
                  <c:v>45233</c:v>
                </c:pt>
                <c:pt idx="496">
                  <c:v>45232</c:v>
                </c:pt>
                <c:pt idx="497">
                  <c:v>45231</c:v>
                </c:pt>
                <c:pt idx="498">
                  <c:v>45230</c:v>
                </c:pt>
                <c:pt idx="499">
                  <c:v>45229</c:v>
                </c:pt>
                <c:pt idx="500">
                  <c:v>45226</c:v>
                </c:pt>
                <c:pt idx="501">
                  <c:v>45225</c:v>
                </c:pt>
                <c:pt idx="502">
                  <c:v>45224</c:v>
                </c:pt>
                <c:pt idx="503">
                  <c:v>45222</c:v>
                </c:pt>
                <c:pt idx="504">
                  <c:v>45219</c:v>
                </c:pt>
                <c:pt idx="505">
                  <c:v>45218</c:v>
                </c:pt>
                <c:pt idx="506">
                  <c:v>45217</c:v>
                </c:pt>
                <c:pt idx="507">
                  <c:v>45216</c:v>
                </c:pt>
                <c:pt idx="508">
                  <c:v>45215</c:v>
                </c:pt>
                <c:pt idx="509">
                  <c:v>45212</c:v>
                </c:pt>
                <c:pt idx="510">
                  <c:v>45211</c:v>
                </c:pt>
                <c:pt idx="511">
                  <c:v>45210</c:v>
                </c:pt>
                <c:pt idx="512">
                  <c:v>45209</c:v>
                </c:pt>
                <c:pt idx="513">
                  <c:v>45208</c:v>
                </c:pt>
                <c:pt idx="514">
                  <c:v>45205</c:v>
                </c:pt>
                <c:pt idx="515">
                  <c:v>45204</c:v>
                </c:pt>
                <c:pt idx="516">
                  <c:v>45203</c:v>
                </c:pt>
                <c:pt idx="517">
                  <c:v>45202</c:v>
                </c:pt>
                <c:pt idx="518">
                  <c:v>45198</c:v>
                </c:pt>
                <c:pt idx="519">
                  <c:v>45197</c:v>
                </c:pt>
                <c:pt idx="520">
                  <c:v>45196</c:v>
                </c:pt>
                <c:pt idx="521">
                  <c:v>45195</c:v>
                </c:pt>
                <c:pt idx="522">
                  <c:v>45194</c:v>
                </c:pt>
                <c:pt idx="523">
                  <c:v>45191</c:v>
                </c:pt>
                <c:pt idx="524">
                  <c:v>45190</c:v>
                </c:pt>
                <c:pt idx="525">
                  <c:v>45189</c:v>
                </c:pt>
                <c:pt idx="526">
                  <c:v>45187</c:v>
                </c:pt>
                <c:pt idx="527">
                  <c:v>45184</c:v>
                </c:pt>
                <c:pt idx="528">
                  <c:v>45183</c:v>
                </c:pt>
                <c:pt idx="529">
                  <c:v>45182</c:v>
                </c:pt>
                <c:pt idx="530">
                  <c:v>45181</c:v>
                </c:pt>
                <c:pt idx="531">
                  <c:v>45180</c:v>
                </c:pt>
                <c:pt idx="532">
                  <c:v>45177</c:v>
                </c:pt>
                <c:pt idx="533">
                  <c:v>45176</c:v>
                </c:pt>
                <c:pt idx="534">
                  <c:v>45175</c:v>
                </c:pt>
                <c:pt idx="535">
                  <c:v>45174</c:v>
                </c:pt>
                <c:pt idx="536">
                  <c:v>45173</c:v>
                </c:pt>
                <c:pt idx="537">
                  <c:v>45170</c:v>
                </c:pt>
                <c:pt idx="538">
                  <c:v>45169</c:v>
                </c:pt>
                <c:pt idx="539">
                  <c:v>45168</c:v>
                </c:pt>
                <c:pt idx="540">
                  <c:v>45167</c:v>
                </c:pt>
                <c:pt idx="541">
                  <c:v>45166</c:v>
                </c:pt>
                <c:pt idx="542">
                  <c:v>45163</c:v>
                </c:pt>
                <c:pt idx="543">
                  <c:v>45162</c:v>
                </c:pt>
                <c:pt idx="544">
                  <c:v>45161</c:v>
                </c:pt>
                <c:pt idx="545">
                  <c:v>45160</c:v>
                </c:pt>
                <c:pt idx="546">
                  <c:v>45159</c:v>
                </c:pt>
                <c:pt idx="547">
                  <c:v>45156</c:v>
                </c:pt>
                <c:pt idx="548">
                  <c:v>45155</c:v>
                </c:pt>
                <c:pt idx="549">
                  <c:v>45154</c:v>
                </c:pt>
                <c:pt idx="550">
                  <c:v>45152</c:v>
                </c:pt>
                <c:pt idx="551">
                  <c:v>45149</c:v>
                </c:pt>
                <c:pt idx="552">
                  <c:v>45148</c:v>
                </c:pt>
                <c:pt idx="553">
                  <c:v>45147</c:v>
                </c:pt>
                <c:pt idx="554">
                  <c:v>45146</c:v>
                </c:pt>
                <c:pt idx="555">
                  <c:v>45145</c:v>
                </c:pt>
                <c:pt idx="556">
                  <c:v>45142</c:v>
                </c:pt>
                <c:pt idx="557">
                  <c:v>45141</c:v>
                </c:pt>
                <c:pt idx="558">
                  <c:v>45140</c:v>
                </c:pt>
                <c:pt idx="559">
                  <c:v>45139</c:v>
                </c:pt>
                <c:pt idx="560">
                  <c:v>45138</c:v>
                </c:pt>
                <c:pt idx="561">
                  <c:v>45135</c:v>
                </c:pt>
                <c:pt idx="562">
                  <c:v>45134</c:v>
                </c:pt>
                <c:pt idx="563">
                  <c:v>45133</c:v>
                </c:pt>
                <c:pt idx="564">
                  <c:v>45132</c:v>
                </c:pt>
                <c:pt idx="565">
                  <c:v>45131</c:v>
                </c:pt>
                <c:pt idx="566">
                  <c:v>45128</c:v>
                </c:pt>
                <c:pt idx="567">
                  <c:v>45127</c:v>
                </c:pt>
                <c:pt idx="568">
                  <c:v>45126</c:v>
                </c:pt>
                <c:pt idx="569">
                  <c:v>45125</c:v>
                </c:pt>
                <c:pt idx="570">
                  <c:v>45124</c:v>
                </c:pt>
                <c:pt idx="571">
                  <c:v>45121</c:v>
                </c:pt>
                <c:pt idx="572">
                  <c:v>45120</c:v>
                </c:pt>
                <c:pt idx="573">
                  <c:v>45119</c:v>
                </c:pt>
                <c:pt idx="574">
                  <c:v>45118</c:v>
                </c:pt>
                <c:pt idx="575">
                  <c:v>45117</c:v>
                </c:pt>
                <c:pt idx="576">
                  <c:v>45114</c:v>
                </c:pt>
                <c:pt idx="577">
                  <c:v>45113</c:v>
                </c:pt>
                <c:pt idx="578">
                  <c:v>45112</c:v>
                </c:pt>
                <c:pt idx="579">
                  <c:v>45111</c:v>
                </c:pt>
                <c:pt idx="580">
                  <c:v>45110</c:v>
                </c:pt>
                <c:pt idx="581">
                  <c:v>45107</c:v>
                </c:pt>
                <c:pt idx="582">
                  <c:v>45105</c:v>
                </c:pt>
                <c:pt idx="583">
                  <c:v>45104</c:v>
                </c:pt>
                <c:pt idx="584">
                  <c:v>45103</c:v>
                </c:pt>
                <c:pt idx="585">
                  <c:v>45100</c:v>
                </c:pt>
                <c:pt idx="586">
                  <c:v>45099</c:v>
                </c:pt>
                <c:pt idx="587">
                  <c:v>45098</c:v>
                </c:pt>
                <c:pt idx="588">
                  <c:v>45097</c:v>
                </c:pt>
                <c:pt idx="589">
                  <c:v>45096</c:v>
                </c:pt>
                <c:pt idx="590">
                  <c:v>45093</c:v>
                </c:pt>
                <c:pt idx="591">
                  <c:v>45092</c:v>
                </c:pt>
                <c:pt idx="592">
                  <c:v>45091</c:v>
                </c:pt>
                <c:pt idx="593">
                  <c:v>45090</c:v>
                </c:pt>
                <c:pt idx="594">
                  <c:v>45089</c:v>
                </c:pt>
                <c:pt idx="595">
                  <c:v>45086</c:v>
                </c:pt>
                <c:pt idx="596">
                  <c:v>45085</c:v>
                </c:pt>
                <c:pt idx="597">
                  <c:v>45084</c:v>
                </c:pt>
                <c:pt idx="598">
                  <c:v>45083</c:v>
                </c:pt>
                <c:pt idx="599">
                  <c:v>45082</c:v>
                </c:pt>
                <c:pt idx="600">
                  <c:v>45079</c:v>
                </c:pt>
                <c:pt idx="601">
                  <c:v>45078</c:v>
                </c:pt>
                <c:pt idx="602">
                  <c:v>45077</c:v>
                </c:pt>
                <c:pt idx="603">
                  <c:v>45076</c:v>
                </c:pt>
                <c:pt idx="604">
                  <c:v>45075</c:v>
                </c:pt>
                <c:pt idx="605">
                  <c:v>45072</c:v>
                </c:pt>
                <c:pt idx="606">
                  <c:v>45071</c:v>
                </c:pt>
                <c:pt idx="607">
                  <c:v>45070</c:v>
                </c:pt>
                <c:pt idx="608">
                  <c:v>45069</c:v>
                </c:pt>
                <c:pt idx="609">
                  <c:v>45068</c:v>
                </c:pt>
                <c:pt idx="610">
                  <c:v>45065</c:v>
                </c:pt>
                <c:pt idx="611">
                  <c:v>45064</c:v>
                </c:pt>
                <c:pt idx="612">
                  <c:v>45063</c:v>
                </c:pt>
                <c:pt idx="613">
                  <c:v>45062</c:v>
                </c:pt>
                <c:pt idx="614">
                  <c:v>45061</c:v>
                </c:pt>
                <c:pt idx="615">
                  <c:v>45058</c:v>
                </c:pt>
                <c:pt idx="616">
                  <c:v>45057</c:v>
                </c:pt>
                <c:pt idx="617">
                  <c:v>45056</c:v>
                </c:pt>
                <c:pt idx="618">
                  <c:v>45055</c:v>
                </c:pt>
                <c:pt idx="619">
                  <c:v>45054</c:v>
                </c:pt>
                <c:pt idx="620">
                  <c:v>45051</c:v>
                </c:pt>
                <c:pt idx="621">
                  <c:v>45050</c:v>
                </c:pt>
                <c:pt idx="622">
                  <c:v>45049</c:v>
                </c:pt>
                <c:pt idx="623">
                  <c:v>45048</c:v>
                </c:pt>
                <c:pt idx="624">
                  <c:v>45044</c:v>
                </c:pt>
                <c:pt idx="625">
                  <c:v>45043</c:v>
                </c:pt>
                <c:pt idx="626">
                  <c:v>45042</c:v>
                </c:pt>
                <c:pt idx="627">
                  <c:v>45041</c:v>
                </c:pt>
                <c:pt idx="628">
                  <c:v>45040</c:v>
                </c:pt>
                <c:pt idx="629">
                  <c:v>45037</c:v>
                </c:pt>
                <c:pt idx="630">
                  <c:v>45036</c:v>
                </c:pt>
                <c:pt idx="631">
                  <c:v>45035</c:v>
                </c:pt>
                <c:pt idx="632">
                  <c:v>45034</c:v>
                </c:pt>
                <c:pt idx="633">
                  <c:v>45033</c:v>
                </c:pt>
                <c:pt idx="634">
                  <c:v>45029</c:v>
                </c:pt>
                <c:pt idx="635">
                  <c:v>45028</c:v>
                </c:pt>
                <c:pt idx="636">
                  <c:v>45027</c:v>
                </c:pt>
                <c:pt idx="637">
                  <c:v>45026</c:v>
                </c:pt>
                <c:pt idx="638">
                  <c:v>45022</c:v>
                </c:pt>
                <c:pt idx="639">
                  <c:v>45021</c:v>
                </c:pt>
                <c:pt idx="640">
                  <c:v>45019</c:v>
                </c:pt>
                <c:pt idx="641">
                  <c:v>45016</c:v>
                </c:pt>
                <c:pt idx="642">
                  <c:v>45014</c:v>
                </c:pt>
                <c:pt idx="643">
                  <c:v>45013</c:v>
                </c:pt>
                <c:pt idx="644">
                  <c:v>45012</c:v>
                </c:pt>
                <c:pt idx="645">
                  <c:v>45009</c:v>
                </c:pt>
                <c:pt idx="646">
                  <c:v>45008</c:v>
                </c:pt>
                <c:pt idx="647">
                  <c:v>45007</c:v>
                </c:pt>
                <c:pt idx="648">
                  <c:v>45006</c:v>
                </c:pt>
                <c:pt idx="649">
                  <c:v>45005</c:v>
                </c:pt>
                <c:pt idx="650">
                  <c:v>45002</c:v>
                </c:pt>
                <c:pt idx="651">
                  <c:v>45001</c:v>
                </c:pt>
                <c:pt idx="652">
                  <c:v>45000</c:v>
                </c:pt>
                <c:pt idx="653">
                  <c:v>44999</c:v>
                </c:pt>
                <c:pt idx="654">
                  <c:v>44998</c:v>
                </c:pt>
                <c:pt idx="655">
                  <c:v>44995</c:v>
                </c:pt>
                <c:pt idx="656">
                  <c:v>44994</c:v>
                </c:pt>
                <c:pt idx="657">
                  <c:v>44993</c:v>
                </c:pt>
                <c:pt idx="658">
                  <c:v>44991</c:v>
                </c:pt>
                <c:pt idx="659">
                  <c:v>44988</c:v>
                </c:pt>
                <c:pt idx="660">
                  <c:v>44987</c:v>
                </c:pt>
                <c:pt idx="661">
                  <c:v>44986</c:v>
                </c:pt>
                <c:pt idx="662">
                  <c:v>44985</c:v>
                </c:pt>
                <c:pt idx="663">
                  <c:v>44984</c:v>
                </c:pt>
                <c:pt idx="664">
                  <c:v>44981</c:v>
                </c:pt>
                <c:pt idx="665">
                  <c:v>44980</c:v>
                </c:pt>
                <c:pt idx="666">
                  <c:v>44979</c:v>
                </c:pt>
                <c:pt idx="667">
                  <c:v>44978</c:v>
                </c:pt>
                <c:pt idx="668">
                  <c:v>44977</c:v>
                </c:pt>
                <c:pt idx="669">
                  <c:v>44974</c:v>
                </c:pt>
                <c:pt idx="670">
                  <c:v>44973</c:v>
                </c:pt>
                <c:pt idx="671">
                  <c:v>44972</c:v>
                </c:pt>
                <c:pt idx="672">
                  <c:v>44971</c:v>
                </c:pt>
                <c:pt idx="673">
                  <c:v>44970</c:v>
                </c:pt>
                <c:pt idx="674">
                  <c:v>44967</c:v>
                </c:pt>
                <c:pt idx="675">
                  <c:v>44966</c:v>
                </c:pt>
                <c:pt idx="676">
                  <c:v>44965</c:v>
                </c:pt>
                <c:pt idx="677">
                  <c:v>44964</c:v>
                </c:pt>
                <c:pt idx="678">
                  <c:v>44963</c:v>
                </c:pt>
                <c:pt idx="679">
                  <c:v>44960</c:v>
                </c:pt>
                <c:pt idx="680">
                  <c:v>44959</c:v>
                </c:pt>
                <c:pt idx="681">
                  <c:v>44958</c:v>
                </c:pt>
                <c:pt idx="682">
                  <c:v>44957</c:v>
                </c:pt>
                <c:pt idx="683">
                  <c:v>44956</c:v>
                </c:pt>
                <c:pt idx="684">
                  <c:v>44953</c:v>
                </c:pt>
                <c:pt idx="685">
                  <c:v>44951</c:v>
                </c:pt>
                <c:pt idx="686">
                  <c:v>44950</c:v>
                </c:pt>
                <c:pt idx="687">
                  <c:v>44949</c:v>
                </c:pt>
                <c:pt idx="688">
                  <c:v>44946</c:v>
                </c:pt>
                <c:pt idx="689">
                  <c:v>44945</c:v>
                </c:pt>
                <c:pt idx="690">
                  <c:v>44944</c:v>
                </c:pt>
                <c:pt idx="691">
                  <c:v>44943</c:v>
                </c:pt>
                <c:pt idx="692">
                  <c:v>44942</c:v>
                </c:pt>
                <c:pt idx="693">
                  <c:v>44939</c:v>
                </c:pt>
                <c:pt idx="694">
                  <c:v>44938</c:v>
                </c:pt>
                <c:pt idx="695">
                  <c:v>44937</c:v>
                </c:pt>
                <c:pt idx="696">
                  <c:v>44936</c:v>
                </c:pt>
                <c:pt idx="697">
                  <c:v>44935</c:v>
                </c:pt>
                <c:pt idx="698">
                  <c:v>44932</c:v>
                </c:pt>
                <c:pt idx="699">
                  <c:v>44931</c:v>
                </c:pt>
                <c:pt idx="700">
                  <c:v>44930</c:v>
                </c:pt>
                <c:pt idx="701">
                  <c:v>44929</c:v>
                </c:pt>
                <c:pt idx="702">
                  <c:v>44928</c:v>
                </c:pt>
                <c:pt idx="703">
                  <c:v>44925</c:v>
                </c:pt>
                <c:pt idx="704">
                  <c:v>44924</c:v>
                </c:pt>
                <c:pt idx="705">
                  <c:v>44923</c:v>
                </c:pt>
                <c:pt idx="706">
                  <c:v>44922</c:v>
                </c:pt>
                <c:pt idx="707">
                  <c:v>44921</c:v>
                </c:pt>
                <c:pt idx="708">
                  <c:v>44918</c:v>
                </c:pt>
                <c:pt idx="709">
                  <c:v>44917</c:v>
                </c:pt>
                <c:pt idx="710">
                  <c:v>44916</c:v>
                </c:pt>
                <c:pt idx="711">
                  <c:v>44915</c:v>
                </c:pt>
                <c:pt idx="712">
                  <c:v>44914</c:v>
                </c:pt>
                <c:pt idx="713">
                  <c:v>44911</c:v>
                </c:pt>
                <c:pt idx="714">
                  <c:v>44910</c:v>
                </c:pt>
                <c:pt idx="715">
                  <c:v>44909</c:v>
                </c:pt>
                <c:pt idx="716">
                  <c:v>44908</c:v>
                </c:pt>
                <c:pt idx="717">
                  <c:v>44907</c:v>
                </c:pt>
                <c:pt idx="718">
                  <c:v>44904</c:v>
                </c:pt>
                <c:pt idx="719">
                  <c:v>44903</c:v>
                </c:pt>
                <c:pt idx="720">
                  <c:v>44902</c:v>
                </c:pt>
                <c:pt idx="721">
                  <c:v>44901</c:v>
                </c:pt>
                <c:pt idx="722">
                  <c:v>44900</c:v>
                </c:pt>
                <c:pt idx="723">
                  <c:v>44897</c:v>
                </c:pt>
                <c:pt idx="724">
                  <c:v>44896</c:v>
                </c:pt>
                <c:pt idx="725">
                  <c:v>44895</c:v>
                </c:pt>
                <c:pt idx="726">
                  <c:v>44894</c:v>
                </c:pt>
                <c:pt idx="727">
                  <c:v>44893</c:v>
                </c:pt>
                <c:pt idx="728">
                  <c:v>44890</c:v>
                </c:pt>
                <c:pt idx="729">
                  <c:v>44889</c:v>
                </c:pt>
                <c:pt idx="730">
                  <c:v>44888</c:v>
                </c:pt>
                <c:pt idx="731">
                  <c:v>44887</c:v>
                </c:pt>
                <c:pt idx="732">
                  <c:v>44886</c:v>
                </c:pt>
                <c:pt idx="733">
                  <c:v>44883</c:v>
                </c:pt>
                <c:pt idx="734">
                  <c:v>44882</c:v>
                </c:pt>
                <c:pt idx="735">
                  <c:v>44881</c:v>
                </c:pt>
                <c:pt idx="736">
                  <c:v>44880</c:v>
                </c:pt>
                <c:pt idx="737">
                  <c:v>44879</c:v>
                </c:pt>
                <c:pt idx="738">
                  <c:v>44876</c:v>
                </c:pt>
                <c:pt idx="739">
                  <c:v>44875</c:v>
                </c:pt>
                <c:pt idx="740">
                  <c:v>44874</c:v>
                </c:pt>
                <c:pt idx="741">
                  <c:v>44872</c:v>
                </c:pt>
                <c:pt idx="742">
                  <c:v>44869</c:v>
                </c:pt>
                <c:pt idx="743">
                  <c:v>44868</c:v>
                </c:pt>
                <c:pt idx="744">
                  <c:v>44867</c:v>
                </c:pt>
                <c:pt idx="745">
                  <c:v>44866</c:v>
                </c:pt>
                <c:pt idx="746">
                  <c:v>44865</c:v>
                </c:pt>
                <c:pt idx="747">
                  <c:v>44862</c:v>
                </c:pt>
                <c:pt idx="748">
                  <c:v>44861</c:v>
                </c:pt>
                <c:pt idx="749">
                  <c:v>44859</c:v>
                </c:pt>
                <c:pt idx="750">
                  <c:v>44858</c:v>
                </c:pt>
                <c:pt idx="751">
                  <c:v>44855</c:v>
                </c:pt>
                <c:pt idx="752">
                  <c:v>44854</c:v>
                </c:pt>
                <c:pt idx="753">
                  <c:v>44853</c:v>
                </c:pt>
                <c:pt idx="754">
                  <c:v>44852</c:v>
                </c:pt>
                <c:pt idx="755">
                  <c:v>44851</c:v>
                </c:pt>
                <c:pt idx="756">
                  <c:v>44848</c:v>
                </c:pt>
                <c:pt idx="757">
                  <c:v>44847</c:v>
                </c:pt>
                <c:pt idx="758">
                  <c:v>44846</c:v>
                </c:pt>
                <c:pt idx="759">
                  <c:v>44845</c:v>
                </c:pt>
                <c:pt idx="760">
                  <c:v>44844</c:v>
                </c:pt>
                <c:pt idx="761">
                  <c:v>44841</c:v>
                </c:pt>
                <c:pt idx="762">
                  <c:v>44840</c:v>
                </c:pt>
                <c:pt idx="763">
                  <c:v>44838</c:v>
                </c:pt>
                <c:pt idx="764">
                  <c:v>44837</c:v>
                </c:pt>
                <c:pt idx="765">
                  <c:v>44834</c:v>
                </c:pt>
                <c:pt idx="766">
                  <c:v>44833</c:v>
                </c:pt>
                <c:pt idx="767">
                  <c:v>44832</c:v>
                </c:pt>
                <c:pt idx="768">
                  <c:v>44831</c:v>
                </c:pt>
                <c:pt idx="769">
                  <c:v>44830</c:v>
                </c:pt>
                <c:pt idx="770">
                  <c:v>44827</c:v>
                </c:pt>
                <c:pt idx="771">
                  <c:v>44826</c:v>
                </c:pt>
                <c:pt idx="772">
                  <c:v>44825</c:v>
                </c:pt>
                <c:pt idx="773">
                  <c:v>44824</c:v>
                </c:pt>
                <c:pt idx="774">
                  <c:v>44823</c:v>
                </c:pt>
                <c:pt idx="775">
                  <c:v>44820</c:v>
                </c:pt>
                <c:pt idx="776">
                  <c:v>44819</c:v>
                </c:pt>
                <c:pt idx="777">
                  <c:v>44818</c:v>
                </c:pt>
                <c:pt idx="778">
                  <c:v>44817</c:v>
                </c:pt>
                <c:pt idx="779">
                  <c:v>44816</c:v>
                </c:pt>
                <c:pt idx="780">
                  <c:v>44813</c:v>
                </c:pt>
                <c:pt idx="781">
                  <c:v>44812</c:v>
                </c:pt>
                <c:pt idx="782">
                  <c:v>44811</c:v>
                </c:pt>
                <c:pt idx="783">
                  <c:v>44810</c:v>
                </c:pt>
                <c:pt idx="784">
                  <c:v>44809</c:v>
                </c:pt>
                <c:pt idx="785">
                  <c:v>44806</c:v>
                </c:pt>
                <c:pt idx="786">
                  <c:v>44805</c:v>
                </c:pt>
                <c:pt idx="787">
                  <c:v>44803</c:v>
                </c:pt>
                <c:pt idx="788">
                  <c:v>44802</c:v>
                </c:pt>
                <c:pt idx="789">
                  <c:v>44799</c:v>
                </c:pt>
                <c:pt idx="790">
                  <c:v>44798</c:v>
                </c:pt>
                <c:pt idx="791">
                  <c:v>44797</c:v>
                </c:pt>
                <c:pt idx="792">
                  <c:v>44796</c:v>
                </c:pt>
                <c:pt idx="793">
                  <c:v>44795</c:v>
                </c:pt>
                <c:pt idx="794">
                  <c:v>44792</c:v>
                </c:pt>
                <c:pt idx="795">
                  <c:v>44791</c:v>
                </c:pt>
                <c:pt idx="796">
                  <c:v>44790</c:v>
                </c:pt>
                <c:pt idx="797">
                  <c:v>44789</c:v>
                </c:pt>
                <c:pt idx="798">
                  <c:v>44785</c:v>
                </c:pt>
                <c:pt idx="799">
                  <c:v>44784</c:v>
                </c:pt>
                <c:pt idx="800">
                  <c:v>44783</c:v>
                </c:pt>
                <c:pt idx="801">
                  <c:v>44781</c:v>
                </c:pt>
                <c:pt idx="802">
                  <c:v>44778</c:v>
                </c:pt>
                <c:pt idx="803">
                  <c:v>44777</c:v>
                </c:pt>
                <c:pt idx="804">
                  <c:v>44776</c:v>
                </c:pt>
                <c:pt idx="805">
                  <c:v>44775</c:v>
                </c:pt>
                <c:pt idx="806">
                  <c:v>44774</c:v>
                </c:pt>
                <c:pt idx="807">
                  <c:v>44771</c:v>
                </c:pt>
                <c:pt idx="808">
                  <c:v>44770</c:v>
                </c:pt>
                <c:pt idx="809">
                  <c:v>44769</c:v>
                </c:pt>
                <c:pt idx="810">
                  <c:v>44768</c:v>
                </c:pt>
                <c:pt idx="811">
                  <c:v>44767</c:v>
                </c:pt>
                <c:pt idx="812">
                  <c:v>44764</c:v>
                </c:pt>
                <c:pt idx="813">
                  <c:v>44763</c:v>
                </c:pt>
                <c:pt idx="814">
                  <c:v>44762</c:v>
                </c:pt>
                <c:pt idx="815">
                  <c:v>44761</c:v>
                </c:pt>
                <c:pt idx="816">
                  <c:v>44760</c:v>
                </c:pt>
                <c:pt idx="817">
                  <c:v>44757</c:v>
                </c:pt>
                <c:pt idx="818">
                  <c:v>44756</c:v>
                </c:pt>
                <c:pt idx="819">
                  <c:v>44755</c:v>
                </c:pt>
                <c:pt idx="820">
                  <c:v>44754</c:v>
                </c:pt>
                <c:pt idx="821">
                  <c:v>44753</c:v>
                </c:pt>
                <c:pt idx="822">
                  <c:v>44750</c:v>
                </c:pt>
                <c:pt idx="823">
                  <c:v>44749</c:v>
                </c:pt>
                <c:pt idx="824">
                  <c:v>44748</c:v>
                </c:pt>
                <c:pt idx="825">
                  <c:v>44747</c:v>
                </c:pt>
                <c:pt idx="826">
                  <c:v>44746</c:v>
                </c:pt>
                <c:pt idx="827">
                  <c:v>44743</c:v>
                </c:pt>
                <c:pt idx="828">
                  <c:v>44742</c:v>
                </c:pt>
                <c:pt idx="829">
                  <c:v>44741</c:v>
                </c:pt>
                <c:pt idx="830">
                  <c:v>44740</c:v>
                </c:pt>
                <c:pt idx="831">
                  <c:v>44739</c:v>
                </c:pt>
                <c:pt idx="832">
                  <c:v>44736</c:v>
                </c:pt>
                <c:pt idx="833">
                  <c:v>44735</c:v>
                </c:pt>
                <c:pt idx="834">
                  <c:v>44734</c:v>
                </c:pt>
                <c:pt idx="835">
                  <c:v>44733</c:v>
                </c:pt>
                <c:pt idx="836">
                  <c:v>44732</c:v>
                </c:pt>
                <c:pt idx="837">
                  <c:v>44729</c:v>
                </c:pt>
                <c:pt idx="838">
                  <c:v>44728</c:v>
                </c:pt>
                <c:pt idx="839">
                  <c:v>44727</c:v>
                </c:pt>
                <c:pt idx="840">
                  <c:v>44726</c:v>
                </c:pt>
                <c:pt idx="841">
                  <c:v>44725</c:v>
                </c:pt>
                <c:pt idx="842">
                  <c:v>44722</c:v>
                </c:pt>
                <c:pt idx="843">
                  <c:v>44721</c:v>
                </c:pt>
                <c:pt idx="844">
                  <c:v>44720</c:v>
                </c:pt>
                <c:pt idx="845">
                  <c:v>44719</c:v>
                </c:pt>
                <c:pt idx="846">
                  <c:v>44718</c:v>
                </c:pt>
                <c:pt idx="847">
                  <c:v>44715</c:v>
                </c:pt>
                <c:pt idx="848">
                  <c:v>44714</c:v>
                </c:pt>
                <c:pt idx="849">
                  <c:v>44713</c:v>
                </c:pt>
                <c:pt idx="850">
                  <c:v>44712</c:v>
                </c:pt>
                <c:pt idx="851">
                  <c:v>44711</c:v>
                </c:pt>
                <c:pt idx="852">
                  <c:v>44708</c:v>
                </c:pt>
                <c:pt idx="853">
                  <c:v>44707</c:v>
                </c:pt>
                <c:pt idx="854">
                  <c:v>44706</c:v>
                </c:pt>
                <c:pt idx="855">
                  <c:v>44705</c:v>
                </c:pt>
                <c:pt idx="856">
                  <c:v>44704</c:v>
                </c:pt>
                <c:pt idx="857">
                  <c:v>44701</c:v>
                </c:pt>
                <c:pt idx="858">
                  <c:v>44700</c:v>
                </c:pt>
                <c:pt idx="859">
                  <c:v>44699</c:v>
                </c:pt>
                <c:pt idx="860">
                  <c:v>44698</c:v>
                </c:pt>
                <c:pt idx="861">
                  <c:v>44697</c:v>
                </c:pt>
                <c:pt idx="862">
                  <c:v>44694</c:v>
                </c:pt>
                <c:pt idx="863">
                  <c:v>44693</c:v>
                </c:pt>
                <c:pt idx="864">
                  <c:v>44692</c:v>
                </c:pt>
                <c:pt idx="865">
                  <c:v>44691</c:v>
                </c:pt>
                <c:pt idx="866">
                  <c:v>44690</c:v>
                </c:pt>
                <c:pt idx="867">
                  <c:v>44687</c:v>
                </c:pt>
                <c:pt idx="868">
                  <c:v>44686</c:v>
                </c:pt>
                <c:pt idx="869">
                  <c:v>44685</c:v>
                </c:pt>
                <c:pt idx="870">
                  <c:v>44683</c:v>
                </c:pt>
                <c:pt idx="871">
                  <c:v>44680</c:v>
                </c:pt>
                <c:pt idx="872">
                  <c:v>44679</c:v>
                </c:pt>
                <c:pt idx="873">
                  <c:v>44678</c:v>
                </c:pt>
                <c:pt idx="874">
                  <c:v>44677</c:v>
                </c:pt>
                <c:pt idx="875">
                  <c:v>44676</c:v>
                </c:pt>
                <c:pt idx="876">
                  <c:v>44673</c:v>
                </c:pt>
                <c:pt idx="877">
                  <c:v>44672</c:v>
                </c:pt>
                <c:pt idx="878">
                  <c:v>44671</c:v>
                </c:pt>
                <c:pt idx="879">
                  <c:v>44670</c:v>
                </c:pt>
                <c:pt idx="880">
                  <c:v>44669</c:v>
                </c:pt>
                <c:pt idx="881">
                  <c:v>44664</c:v>
                </c:pt>
                <c:pt idx="882">
                  <c:v>44663</c:v>
                </c:pt>
                <c:pt idx="883">
                  <c:v>44662</c:v>
                </c:pt>
                <c:pt idx="884">
                  <c:v>44659</c:v>
                </c:pt>
                <c:pt idx="885">
                  <c:v>44658</c:v>
                </c:pt>
                <c:pt idx="886">
                  <c:v>44657</c:v>
                </c:pt>
                <c:pt idx="887">
                  <c:v>44656</c:v>
                </c:pt>
                <c:pt idx="888">
                  <c:v>44655</c:v>
                </c:pt>
                <c:pt idx="889">
                  <c:v>44652</c:v>
                </c:pt>
                <c:pt idx="890">
                  <c:v>44651</c:v>
                </c:pt>
                <c:pt idx="891">
                  <c:v>44650</c:v>
                </c:pt>
                <c:pt idx="892">
                  <c:v>44649</c:v>
                </c:pt>
                <c:pt idx="893">
                  <c:v>44648</c:v>
                </c:pt>
                <c:pt idx="894">
                  <c:v>44645</c:v>
                </c:pt>
                <c:pt idx="895">
                  <c:v>44644</c:v>
                </c:pt>
                <c:pt idx="896">
                  <c:v>44643</c:v>
                </c:pt>
                <c:pt idx="897">
                  <c:v>44642</c:v>
                </c:pt>
                <c:pt idx="898">
                  <c:v>44641</c:v>
                </c:pt>
                <c:pt idx="899">
                  <c:v>44637</c:v>
                </c:pt>
                <c:pt idx="900">
                  <c:v>44636</c:v>
                </c:pt>
                <c:pt idx="901">
                  <c:v>44635</c:v>
                </c:pt>
                <c:pt idx="902">
                  <c:v>44634</c:v>
                </c:pt>
                <c:pt idx="903">
                  <c:v>44631</c:v>
                </c:pt>
                <c:pt idx="904">
                  <c:v>44630</c:v>
                </c:pt>
                <c:pt idx="905">
                  <c:v>44629</c:v>
                </c:pt>
                <c:pt idx="906">
                  <c:v>44628</c:v>
                </c:pt>
                <c:pt idx="907">
                  <c:v>44627</c:v>
                </c:pt>
                <c:pt idx="908">
                  <c:v>44624</c:v>
                </c:pt>
                <c:pt idx="909">
                  <c:v>44623</c:v>
                </c:pt>
                <c:pt idx="910">
                  <c:v>44622</c:v>
                </c:pt>
                <c:pt idx="911">
                  <c:v>44620</c:v>
                </c:pt>
                <c:pt idx="912">
                  <c:v>44617</c:v>
                </c:pt>
                <c:pt idx="913">
                  <c:v>44616</c:v>
                </c:pt>
                <c:pt idx="914">
                  <c:v>44615</c:v>
                </c:pt>
                <c:pt idx="915">
                  <c:v>44614</c:v>
                </c:pt>
                <c:pt idx="916">
                  <c:v>44613</c:v>
                </c:pt>
                <c:pt idx="917">
                  <c:v>44610</c:v>
                </c:pt>
                <c:pt idx="918">
                  <c:v>44609</c:v>
                </c:pt>
                <c:pt idx="919">
                  <c:v>44608</c:v>
                </c:pt>
                <c:pt idx="920">
                  <c:v>44607</c:v>
                </c:pt>
                <c:pt idx="921">
                  <c:v>44606</c:v>
                </c:pt>
                <c:pt idx="922">
                  <c:v>44603</c:v>
                </c:pt>
                <c:pt idx="923">
                  <c:v>44602</c:v>
                </c:pt>
                <c:pt idx="924">
                  <c:v>44601</c:v>
                </c:pt>
                <c:pt idx="925">
                  <c:v>44600</c:v>
                </c:pt>
                <c:pt idx="926">
                  <c:v>44599</c:v>
                </c:pt>
                <c:pt idx="927">
                  <c:v>44596</c:v>
                </c:pt>
                <c:pt idx="928">
                  <c:v>44595</c:v>
                </c:pt>
                <c:pt idx="929">
                  <c:v>44594</c:v>
                </c:pt>
                <c:pt idx="930">
                  <c:v>44593</c:v>
                </c:pt>
                <c:pt idx="931">
                  <c:v>44592</c:v>
                </c:pt>
                <c:pt idx="932">
                  <c:v>44589</c:v>
                </c:pt>
                <c:pt idx="933">
                  <c:v>44588</c:v>
                </c:pt>
                <c:pt idx="934">
                  <c:v>44586</c:v>
                </c:pt>
                <c:pt idx="935">
                  <c:v>44585</c:v>
                </c:pt>
                <c:pt idx="936">
                  <c:v>44582</c:v>
                </c:pt>
                <c:pt idx="937">
                  <c:v>44581</c:v>
                </c:pt>
                <c:pt idx="938">
                  <c:v>44580</c:v>
                </c:pt>
                <c:pt idx="939">
                  <c:v>44579</c:v>
                </c:pt>
                <c:pt idx="940">
                  <c:v>44578</c:v>
                </c:pt>
                <c:pt idx="941">
                  <c:v>44575</c:v>
                </c:pt>
                <c:pt idx="942">
                  <c:v>44574</c:v>
                </c:pt>
                <c:pt idx="943">
                  <c:v>44573</c:v>
                </c:pt>
                <c:pt idx="944">
                  <c:v>44572</c:v>
                </c:pt>
                <c:pt idx="945">
                  <c:v>44571</c:v>
                </c:pt>
                <c:pt idx="946">
                  <c:v>44568</c:v>
                </c:pt>
                <c:pt idx="947">
                  <c:v>44567</c:v>
                </c:pt>
                <c:pt idx="948">
                  <c:v>44566</c:v>
                </c:pt>
                <c:pt idx="949">
                  <c:v>44565</c:v>
                </c:pt>
                <c:pt idx="950">
                  <c:v>44564</c:v>
                </c:pt>
                <c:pt idx="951">
                  <c:v>44561</c:v>
                </c:pt>
                <c:pt idx="952">
                  <c:v>44560</c:v>
                </c:pt>
                <c:pt idx="953">
                  <c:v>44559</c:v>
                </c:pt>
                <c:pt idx="954">
                  <c:v>44558</c:v>
                </c:pt>
                <c:pt idx="955">
                  <c:v>44557</c:v>
                </c:pt>
                <c:pt idx="956">
                  <c:v>44554</c:v>
                </c:pt>
                <c:pt idx="957">
                  <c:v>44553</c:v>
                </c:pt>
                <c:pt idx="958">
                  <c:v>44552</c:v>
                </c:pt>
                <c:pt idx="959">
                  <c:v>44551</c:v>
                </c:pt>
                <c:pt idx="960">
                  <c:v>44550</c:v>
                </c:pt>
                <c:pt idx="961">
                  <c:v>44547</c:v>
                </c:pt>
                <c:pt idx="962">
                  <c:v>44546</c:v>
                </c:pt>
                <c:pt idx="963">
                  <c:v>44545</c:v>
                </c:pt>
                <c:pt idx="964">
                  <c:v>44544</c:v>
                </c:pt>
                <c:pt idx="965">
                  <c:v>44543</c:v>
                </c:pt>
                <c:pt idx="966">
                  <c:v>44540</c:v>
                </c:pt>
                <c:pt idx="967">
                  <c:v>44539</c:v>
                </c:pt>
                <c:pt idx="968">
                  <c:v>44538</c:v>
                </c:pt>
                <c:pt idx="969">
                  <c:v>44537</c:v>
                </c:pt>
                <c:pt idx="970">
                  <c:v>44536</c:v>
                </c:pt>
                <c:pt idx="971">
                  <c:v>44533</c:v>
                </c:pt>
                <c:pt idx="972">
                  <c:v>44532</c:v>
                </c:pt>
                <c:pt idx="973">
                  <c:v>44531</c:v>
                </c:pt>
                <c:pt idx="974">
                  <c:v>44530</c:v>
                </c:pt>
                <c:pt idx="975">
                  <c:v>44529</c:v>
                </c:pt>
                <c:pt idx="976">
                  <c:v>44526</c:v>
                </c:pt>
                <c:pt idx="977">
                  <c:v>44525</c:v>
                </c:pt>
                <c:pt idx="978">
                  <c:v>44524</c:v>
                </c:pt>
                <c:pt idx="979">
                  <c:v>44523</c:v>
                </c:pt>
                <c:pt idx="980">
                  <c:v>44522</c:v>
                </c:pt>
                <c:pt idx="981">
                  <c:v>44518</c:v>
                </c:pt>
                <c:pt idx="982">
                  <c:v>44517</c:v>
                </c:pt>
                <c:pt idx="983">
                  <c:v>44516</c:v>
                </c:pt>
                <c:pt idx="984">
                  <c:v>44515</c:v>
                </c:pt>
                <c:pt idx="985">
                  <c:v>44512</c:v>
                </c:pt>
                <c:pt idx="986">
                  <c:v>44511</c:v>
                </c:pt>
                <c:pt idx="987">
                  <c:v>44510</c:v>
                </c:pt>
                <c:pt idx="988">
                  <c:v>44509</c:v>
                </c:pt>
                <c:pt idx="989">
                  <c:v>44508</c:v>
                </c:pt>
                <c:pt idx="990">
                  <c:v>44504</c:v>
                </c:pt>
                <c:pt idx="991">
                  <c:v>44503</c:v>
                </c:pt>
                <c:pt idx="992">
                  <c:v>44502</c:v>
                </c:pt>
                <c:pt idx="993">
                  <c:v>44501</c:v>
                </c:pt>
                <c:pt idx="994">
                  <c:v>44498</c:v>
                </c:pt>
                <c:pt idx="995">
                  <c:v>44497</c:v>
                </c:pt>
                <c:pt idx="996">
                  <c:v>44496</c:v>
                </c:pt>
                <c:pt idx="997">
                  <c:v>44495</c:v>
                </c:pt>
                <c:pt idx="998">
                  <c:v>44494</c:v>
                </c:pt>
                <c:pt idx="999">
                  <c:v>44491</c:v>
                </c:pt>
                <c:pt idx="1000">
                  <c:v>44490</c:v>
                </c:pt>
                <c:pt idx="1001">
                  <c:v>44489</c:v>
                </c:pt>
                <c:pt idx="1002">
                  <c:v>44488</c:v>
                </c:pt>
                <c:pt idx="1003">
                  <c:v>44487</c:v>
                </c:pt>
                <c:pt idx="1004">
                  <c:v>44483</c:v>
                </c:pt>
                <c:pt idx="1005">
                  <c:v>44482</c:v>
                </c:pt>
                <c:pt idx="1006">
                  <c:v>44481</c:v>
                </c:pt>
                <c:pt idx="1007">
                  <c:v>44480</c:v>
                </c:pt>
                <c:pt idx="1008">
                  <c:v>44477</c:v>
                </c:pt>
                <c:pt idx="1009">
                  <c:v>44476</c:v>
                </c:pt>
                <c:pt idx="1010">
                  <c:v>44475</c:v>
                </c:pt>
                <c:pt idx="1011">
                  <c:v>44474</c:v>
                </c:pt>
                <c:pt idx="1012">
                  <c:v>44473</c:v>
                </c:pt>
                <c:pt idx="1013">
                  <c:v>44470</c:v>
                </c:pt>
                <c:pt idx="1014">
                  <c:v>44469</c:v>
                </c:pt>
                <c:pt idx="1015">
                  <c:v>44468</c:v>
                </c:pt>
                <c:pt idx="1016">
                  <c:v>44467</c:v>
                </c:pt>
                <c:pt idx="1017">
                  <c:v>44466</c:v>
                </c:pt>
                <c:pt idx="1018">
                  <c:v>44463</c:v>
                </c:pt>
                <c:pt idx="1019">
                  <c:v>44462</c:v>
                </c:pt>
                <c:pt idx="1020">
                  <c:v>44461</c:v>
                </c:pt>
                <c:pt idx="1021">
                  <c:v>44460</c:v>
                </c:pt>
                <c:pt idx="1022">
                  <c:v>44459</c:v>
                </c:pt>
                <c:pt idx="1023">
                  <c:v>44456</c:v>
                </c:pt>
                <c:pt idx="1024">
                  <c:v>44455</c:v>
                </c:pt>
                <c:pt idx="1025">
                  <c:v>44454</c:v>
                </c:pt>
                <c:pt idx="1026">
                  <c:v>44453</c:v>
                </c:pt>
                <c:pt idx="1027">
                  <c:v>44452</c:v>
                </c:pt>
                <c:pt idx="1028">
                  <c:v>44448</c:v>
                </c:pt>
                <c:pt idx="1029">
                  <c:v>44447</c:v>
                </c:pt>
                <c:pt idx="1030">
                  <c:v>44446</c:v>
                </c:pt>
                <c:pt idx="1031">
                  <c:v>44445</c:v>
                </c:pt>
                <c:pt idx="1032">
                  <c:v>44442</c:v>
                </c:pt>
                <c:pt idx="1033">
                  <c:v>44441</c:v>
                </c:pt>
                <c:pt idx="1034">
                  <c:v>44440</c:v>
                </c:pt>
                <c:pt idx="1035">
                  <c:v>44439</c:v>
                </c:pt>
                <c:pt idx="1036">
                  <c:v>44438</c:v>
                </c:pt>
                <c:pt idx="1037">
                  <c:v>44435</c:v>
                </c:pt>
                <c:pt idx="1038">
                  <c:v>44434</c:v>
                </c:pt>
                <c:pt idx="1039">
                  <c:v>44433</c:v>
                </c:pt>
                <c:pt idx="1040">
                  <c:v>44432</c:v>
                </c:pt>
                <c:pt idx="1041">
                  <c:v>44431</c:v>
                </c:pt>
                <c:pt idx="1042">
                  <c:v>44428</c:v>
                </c:pt>
                <c:pt idx="1043">
                  <c:v>44426</c:v>
                </c:pt>
                <c:pt idx="1044">
                  <c:v>44425</c:v>
                </c:pt>
                <c:pt idx="1045">
                  <c:v>44424</c:v>
                </c:pt>
                <c:pt idx="1046">
                  <c:v>44421</c:v>
                </c:pt>
                <c:pt idx="1047">
                  <c:v>44420</c:v>
                </c:pt>
                <c:pt idx="1048">
                  <c:v>44419</c:v>
                </c:pt>
                <c:pt idx="1049">
                  <c:v>44418</c:v>
                </c:pt>
                <c:pt idx="1050">
                  <c:v>44417</c:v>
                </c:pt>
                <c:pt idx="1051">
                  <c:v>44414</c:v>
                </c:pt>
                <c:pt idx="1052">
                  <c:v>44413</c:v>
                </c:pt>
                <c:pt idx="1053">
                  <c:v>44412</c:v>
                </c:pt>
                <c:pt idx="1054">
                  <c:v>44411</c:v>
                </c:pt>
                <c:pt idx="1055">
                  <c:v>44410</c:v>
                </c:pt>
                <c:pt idx="1056">
                  <c:v>44407</c:v>
                </c:pt>
                <c:pt idx="1057">
                  <c:v>44406</c:v>
                </c:pt>
                <c:pt idx="1058">
                  <c:v>44405</c:v>
                </c:pt>
                <c:pt idx="1059">
                  <c:v>44404</c:v>
                </c:pt>
                <c:pt idx="1060">
                  <c:v>44403</c:v>
                </c:pt>
                <c:pt idx="1061">
                  <c:v>44400</c:v>
                </c:pt>
                <c:pt idx="1062">
                  <c:v>44399</c:v>
                </c:pt>
                <c:pt idx="1063">
                  <c:v>44397</c:v>
                </c:pt>
                <c:pt idx="1064">
                  <c:v>44396</c:v>
                </c:pt>
                <c:pt idx="1065">
                  <c:v>44393</c:v>
                </c:pt>
                <c:pt idx="1066">
                  <c:v>44392</c:v>
                </c:pt>
                <c:pt idx="1067">
                  <c:v>44391</c:v>
                </c:pt>
                <c:pt idx="1068">
                  <c:v>44390</c:v>
                </c:pt>
                <c:pt idx="1069">
                  <c:v>44389</c:v>
                </c:pt>
                <c:pt idx="1070">
                  <c:v>44386</c:v>
                </c:pt>
                <c:pt idx="1071">
                  <c:v>44385</c:v>
                </c:pt>
                <c:pt idx="1072">
                  <c:v>44384</c:v>
                </c:pt>
                <c:pt idx="1073">
                  <c:v>44383</c:v>
                </c:pt>
                <c:pt idx="1074">
                  <c:v>44382</c:v>
                </c:pt>
                <c:pt idx="1075">
                  <c:v>44379</c:v>
                </c:pt>
                <c:pt idx="1076">
                  <c:v>44378</c:v>
                </c:pt>
                <c:pt idx="1077">
                  <c:v>44377</c:v>
                </c:pt>
                <c:pt idx="1078">
                  <c:v>44376</c:v>
                </c:pt>
                <c:pt idx="1079">
                  <c:v>44375</c:v>
                </c:pt>
                <c:pt idx="1080">
                  <c:v>44372</c:v>
                </c:pt>
                <c:pt idx="1081">
                  <c:v>44371</c:v>
                </c:pt>
                <c:pt idx="1082">
                  <c:v>44370</c:v>
                </c:pt>
                <c:pt idx="1083">
                  <c:v>44369</c:v>
                </c:pt>
                <c:pt idx="1084">
                  <c:v>44368</c:v>
                </c:pt>
                <c:pt idx="1085">
                  <c:v>44365</c:v>
                </c:pt>
                <c:pt idx="1086">
                  <c:v>44364</c:v>
                </c:pt>
                <c:pt idx="1087">
                  <c:v>44363</c:v>
                </c:pt>
                <c:pt idx="1088">
                  <c:v>44362</c:v>
                </c:pt>
                <c:pt idx="1089">
                  <c:v>44361</c:v>
                </c:pt>
                <c:pt idx="1090">
                  <c:v>44358</c:v>
                </c:pt>
                <c:pt idx="1091">
                  <c:v>44357</c:v>
                </c:pt>
                <c:pt idx="1092">
                  <c:v>44356</c:v>
                </c:pt>
                <c:pt idx="1093">
                  <c:v>44355</c:v>
                </c:pt>
                <c:pt idx="1094">
                  <c:v>44354</c:v>
                </c:pt>
                <c:pt idx="1095">
                  <c:v>44351</c:v>
                </c:pt>
                <c:pt idx="1096">
                  <c:v>44350</c:v>
                </c:pt>
                <c:pt idx="1097">
                  <c:v>44349</c:v>
                </c:pt>
                <c:pt idx="1098">
                  <c:v>44348</c:v>
                </c:pt>
                <c:pt idx="1099">
                  <c:v>44347</c:v>
                </c:pt>
                <c:pt idx="1100">
                  <c:v>44344</c:v>
                </c:pt>
                <c:pt idx="1101">
                  <c:v>44343</c:v>
                </c:pt>
                <c:pt idx="1102">
                  <c:v>44342</c:v>
                </c:pt>
                <c:pt idx="1103">
                  <c:v>44341</c:v>
                </c:pt>
                <c:pt idx="1104">
                  <c:v>44340</c:v>
                </c:pt>
                <c:pt idx="1105">
                  <c:v>44337</c:v>
                </c:pt>
                <c:pt idx="1106">
                  <c:v>44336</c:v>
                </c:pt>
                <c:pt idx="1107">
                  <c:v>44335</c:v>
                </c:pt>
                <c:pt idx="1108">
                  <c:v>44334</c:v>
                </c:pt>
                <c:pt idx="1109">
                  <c:v>44333</c:v>
                </c:pt>
                <c:pt idx="1110">
                  <c:v>44330</c:v>
                </c:pt>
                <c:pt idx="1111">
                  <c:v>44328</c:v>
                </c:pt>
                <c:pt idx="1112">
                  <c:v>44327</c:v>
                </c:pt>
                <c:pt idx="1113">
                  <c:v>44326</c:v>
                </c:pt>
                <c:pt idx="1114">
                  <c:v>44323</c:v>
                </c:pt>
                <c:pt idx="1115">
                  <c:v>44322</c:v>
                </c:pt>
                <c:pt idx="1116">
                  <c:v>44321</c:v>
                </c:pt>
                <c:pt idx="1117">
                  <c:v>44320</c:v>
                </c:pt>
                <c:pt idx="1118">
                  <c:v>44319</c:v>
                </c:pt>
                <c:pt idx="1119">
                  <c:v>44316</c:v>
                </c:pt>
                <c:pt idx="1120">
                  <c:v>44315</c:v>
                </c:pt>
                <c:pt idx="1121">
                  <c:v>44314</c:v>
                </c:pt>
                <c:pt idx="1122">
                  <c:v>44313</c:v>
                </c:pt>
                <c:pt idx="1123">
                  <c:v>44312</c:v>
                </c:pt>
                <c:pt idx="1124">
                  <c:v>44309</c:v>
                </c:pt>
                <c:pt idx="1125">
                  <c:v>44308</c:v>
                </c:pt>
                <c:pt idx="1126">
                  <c:v>44306</c:v>
                </c:pt>
                <c:pt idx="1127">
                  <c:v>44305</c:v>
                </c:pt>
                <c:pt idx="1128">
                  <c:v>44302</c:v>
                </c:pt>
                <c:pt idx="1129">
                  <c:v>44301</c:v>
                </c:pt>
                <c:pt idx="1130">
                  <c:v>44299</c:v>
                </c:pt>
                <c:pt idx="1131">
                  <c:v>44298</c:v>
                </c:pt>
                <c:pt idx="1132">
                  <c:v>44295</c:v>
                </c:pt>
                <c:pt idx="1133">
                  <c:v>44294</c:v>
                </c:pt>
                <c:pt idx="1134">
                  <c:v>44293</c:v>
                </c:pt>
                <c:pt idx="1135">
                  <c:v>44292</c:v>
                </c:pt>
                <c:pt idx="1136">
                  <c:v>44291</c:v>
                </c:pt>
                <c:pt idx="1137">
                  <c:v>44287</c:v>
                </c:pt>
                <c:pt idx="1138">
                  <c:v>44286</c:v>
                </c:pt>
                <c:pt idx="1139">
                  <c:v>44285</c:v>
                </c:pt>
                <c:pt idx="1140">
                  <c:v>44281</c:v>
                </c:pt>
                <c:pt idx="1141">
                  <c:v>44280</c:v>
                </c:pt>
                <c:pt idx="1142">
                  <c:v>44279</c:v>
                </c:pt>
                <c:pt idx="1143">
                  <c:v>44278</c:v>
                </c:pt>
                <c:pt idx="1144">
                  <c:v>44277</c:v>
                </c:pt>
                <c:pt idx="1145">
                  <c:v>44274</c:v>
                </c:pt>
                <c:pt idx="1146">
                  <c:v>44273</c:v>
                </c:pt>
                <c:pt idx="1147">
                  <c:v>44272</c:v>
                </c:pt>
                <c:pt idx="1148">
                  <c:v>44271</c:v>
                </c:pt>
                <c:pt idx="1149">
                  <c:v>44270</c:v>
                </c:pt>
                <c:pt idx="1150">
                  <c:v>44267</c:v>
                </c:pt>
                <c:pt idx="1151">
                  <c:v>44265</c:v>
                </c:pt>
                <c:pt idx="1152">
                  <c:v>44264</c:v>
                </c:pt>
                <c:pt idx="1153">
                  <c:v>44263</c:v>
                </c:pt>
                <c:pt idx="1154">
                  <c:v>44260</c:v>
                </c:pt>
                <c:pt idx="1155">
                  <c:v>44259</c:v>
                </c:pt>
                <c:pt idx="1156">
                  <c:v>44258</c:v>
                </c:pt>
                <c:pt idx="1157">
                  <c:v>44257</c:v>
                </c:pt>
                <c:pt idx="1158">
                  <c:v>44256</c:v>
                </c:pt>
                <c:pt idx="1159">
                  <c:v>44253</c:v>
                </c:pt>
                <c:pt idx="1160">
                  <c:v>44252</c:v>
                </c:pt>
                <c:pt idx="1161">
                  <c:v>44251</c:v>
                </c:pt>
                <c:pt idx="1162">
                  <c:v>44250</c:v>
                </c:pt>
                <c:pt idx="1163">
                  <c:v>44249</c:v>
                </c:pt>
                <c:pt idx="1164">
                  <c:v>44246</c:v>
                </c:pt>
                <c:pt idx="1165">
                  <c:v>44245</c:v>
                </c:pt>
                <c:pt idx="1166">
                  <c:v>44244</c:v>
                </c:pt>
                <c:pt idx="1167">
                  <c:v>44243</c:v>
                </c:pt>
                <c:pt idx="1168">
                  <c:v>44242</c:v>
                </c:pt>
                <c:pt idx="1169">
                  <c:v>44239</c:v>
                </c:pt>
                <c:pt idx="1170">
                  <c:v>44238</c:v>
                </c:pt>
                <c:pt idx="1171">
                  <c:v>44237</c:v>
                </c:pt>
                <c:pt idx="1172">
                  <c:v>44236</c:v>
                </c:pt>
                <c:pt idx="1173">
                  <c:v>44235</c:v>
                </c:pt>
                <c:pt idx="1174">
                  <c:v>44232</c:v>
                </c:pt>
                <c:pt idx="1175">
                  <c:v>44231</c:v>
                </c:pt>
                <c:pt idx="1176">
                  <c:v>44230</c:v>
                </c:pt>
                <c:pt idx="1177">
                  <c:v>44229</c:v>
                </c:pt>
                <c:pt idx="1178">
                  <c:v>44228</c:v>
                </c:pt>
                <c:pt idx="1179">
                  <c:v>44225</c:v>
                </c:pt>
                <c:pt idx="1180">
                  <c:v>44224</c:v>
                </c:pt>
                <c:pt idx="1181">
                  <c:v>44223</c:v>
                </c:pt>
                <c:pt idx="1182">
                  <c:v>44221</c:v>
                </c:pt>
                <c:pt idx="1183">
                  <c:v>44218</c:v>
                </c:pt>
                <c:pt idx="1184">
                  <c:v>44217</c:v>
                </c:pt>
                <c:pt idx="1185">
                  <c:v>44216</c:v>
                </c:pt>
                <c:pt idx="1186">
                  <c:v>44215</c:v>
                </c:pt>
                <c:pt idx="1187">
                  <c:v>44214</c:v>
                </c:pt>
                <c:pt idx="1188">
                  <c:v>44211</c:v>
                </c:pt>
                <c:pt idx="1189">
                  <c:v>44210</c:v>
                </c:pt>
                <c:pt idx="1190">
                  <c:v>44209</c:v>
                </c:pt>
                <c:pt idx="1191">
                  <c:v>44208</c:v>
                </c:pt>
                <c:pt idx="1192">
                  <c:v>44207</c:v>
                </c:pt>
                <c:pt idx="1193">
                  <c:v>44204</c:v>
                </c:pt>
                <c:pt idx="1194">
                  <c:v>44203</c:v>
                </c:pt>
                <c:pt idx="1195">
                  <c:v>44202</c:v>
                </c:pt>
                <c:pt idx="1196">
                  <c:v>44201</c:v>
                </c:pt>
                <c:pt idx="1197">
                  <c:v>44200</c:v>
                </c:pt>
                <c:pt idx="1198">
                  <c:v>44197</c:v>
                </c:pt>
                <c:pt idx="1199">
                  <c:v>44196</c:v>
                </c:pt>
                <c:pt idx="1200">
                  <c:v>44195</c:v>
                </c:pt>
                <c:pt idx="1201">
                  <c:v>44194</c:v>
                </c:pt>
                <c:pt idx="1202">
                  <c:v>44193</c:v>
                </c:pt>
                <c:pt idx="1203">
                  <c:v>44189</c:v>
                </c:pt>
                <c:pt idx="1204">
                  <c:v>44188</c:v>
                </c:pt>
                <c:pt idx="1205">
                  <c:v>44187</c:v>
                </c:pt>
                <c:pt idx="1206">
                  <c:v>44186</c:v>
                </c:pt>
                <c:pt idx="1207">
                  <c:v>44183</c:v>
                </c:pt>
                <c:pt idx="1208">
                  <c:v>44182</c:v>
                </c:pt>
                <c:pt idx="1209">
                  <c:v>44181</c:v>
                </c:pt>
                <c:pt idx="1210">
                  <c:v>44180</c:v>
                </c:pt>
                <c:pt idx="1211">
                  <c:v>44179</c:v>
                </c:pt>
                <c:pt idx="1212">
                  <c:v>44176</c:v>
                </c:pt>
                <c:pt idx="1213">
                  <c:v>44175</c:v>
                </c:pt>
                <c:pt idx="1214">
                  <c:v>44174</c:v>
                </c:pt>
                <c:pt idx="1215">
                  <c:v>44173</c:v>
                </c:pt>
                <c:pt idx="1216">
                  <c:v>44172</c:v>
                </c:pt>
                <c:pt idx="1217">
                  <c:v>44169</c:v>
                </c:pt>
                <c:pt idx="1218">
                  <c:v>44168</c:v>
                </c:pt>
                <c:pt idx="1219">
                  <c:v>44167</c:v>
                </c:pt>
                <c:pt idx="1220">
                  <c:v>44166</c:v>
                </c:pt>
                <c:pt idx="1221">
                  <c:v>44162</c:v>
                </c:pt>
                <c:pt idx="1222">
                  <c:v>44161</c:v>
                </c:pt>
                <c:pt idx="1223">
                  <c:v>44160</c:v>
                </c:pt>
                <c:pt idx="1224">
                  <c:v>44159</c:v>
                </c:pt>
                <c:pt idx="1225">
                  <c:v>44158</c:v>
                </c:pt>
                <c:pt idx="1226">
                  <c:v>44155</c:v>
                </c:pt>
                <c:pt idx="1227">
                  <c:v>44154</c:v>
                </c:pt>
                <c:pt idx="1228">
                  <c:v>44153</c:v>
                </c:pt>
                <c:pt idx="1229">
                  <c:v>44152</c:v>
                </c:pt>
                <c:pt idx="1230">
                  <c:v>44149</c:v>
                </c:pt>
                <c:pt idx="1231">
                  <c:v>44148</c:v>
                </c:pt>
                <c:pt idx="1232">
                  <c:v>44147</c:v>
                </c:pt>
                <c:pt idx="1233">
                  <c:v>44146</c:v>
                </c:pt>
                <c:pt idx="1234">
                  <c:v>44145</c:v>
                </c:pt>
                <c:pt idx="1235">
                  <c:v>44144</c:v>
                </c:pt>
                <c:pt idx="1236">
                  <c:v>44141</c:v>
                </c:pt>
                <c:pt idx="1237">
                  <c:v>44140</c:v>
                </c:pt>
                <c:pt idx="1238">
                  <c:v>44139</c:v>
                </c:pt>
                <c:pt idx="1239">
                  <c:v>44138</c:v>
                </c:pt>
                <c:pt idx="1240">
                  <c:v>44137</c:v>
                </c:pt>
                <c:pt idx="1241">
                  <c:v>44134</c:v>
                </c:pt>
                <c:pt idx="1242">
                  <c:v>44133</c:v>
                </c:pt>
                <c:pt idx="1243">
                  <c:v>44132</c:v>
                </c:pt>
                <c:pt idx="1244">
                  <c:v>44131</c:v>
                </c:pt>
                <c:pt idx="1245">
                  <c:v>44130</c:v>
                </c:pt>
                <c:pt idx="1246">
                  <c:v>44127</c:v>
                </c:pt>
                <c:pt idx="1247">
                  <c:v>44126</c:v>
                </c:pt>
                <c:pt idx="1248">
                  <c:v>44125</c:v>
                </c:pt>
                <c:pt idx="1249">
                  <c:v>44124</c:v>
                </c:pt>
                <c:pt idx="1250">
                  <c:v>44123</c:v>
                </c:pt>
                <c:pt idx="1251">
                  <c:v>44120</c:v>
                </c:pt>
                <c:pt idx="1252">
                  <c:v>44119</c:v>
                </c:pt>
                <c:pt idx="1253">
                  <c:v>44118</c:v>
                </c:pt>
                <c:pt idx="1254">
                  <c:v>44117</c:v>
                </c:pt>
                <c:pt idx="1255">
                  <c:v>44116</c:v>
                </c:pt>
                <c:pt idx="1256">
                  <c:v>44113</c:v>
                </c:pt>
                <c:pt idx="1257">
                  <c:v>44112</c:v>
                </c:pt>
                <c:pt idx="1258">
                  <c:v>44111</c:v>
                </c:pt>
                <c:pt idx="1259">
                  <c:v>44110</c:v>
                </c:pt>
                <c:pt idx="1260">
                  <c:v>44109</c:v>
                </c:pt>
                <c:pt idx="1261">
                  <c:v>44105</c:v>
                </c:pt>
                <c:pt idx="1262">
                  <c:v>44104</c:v>
                </c:pt>
                <c:pt idx="1263">
                  <c:v>44103</c:v>
                </c:pt>
                <c:pt idx="1264">
                  <c:v>44102</c:v>
                </c:pt>
                <c:pt idx="1265">
                  <c:v>44099</c:v>
                </c:pt>
                <c:pt idx="1266">
                  <c:v>44098</c:v>
                </c:pt>
                <c:pt idx="1267">
                  <c:v>44097</c:v>
                </c:pt>
                <c:pt idx="1268">
                  <c:v>44096</c:v>
                </c:pt>
                <c:pt idx="1269">
                  <c:v>44095</c:v>
                </c:pt>
                <c:pt idx="1270">
                  <c:v>44092</c:v>
                </c:pt>
                <c:pt idx="1271">
                  <c:v>44091</c:v>
                </c:pt>
                <c:pt idx="1272">
                  <c:v>44090</c:v>
                </c:pt>
                <c:pt idx="1273">
                  <c:v>44089</c:v>
                </c:pt>
                <c:pt idx="1274">
                  <c:v>44088</c:v>
                </c:pt>
                <c:pt idx="1275">
                  <c:v>44085</c:v>
                </c:pt>
                <c:pt idx="1276">
                  <c:v>44084</c:v>
                </c:pt>
                <c:pt idx="1277">
                  <c:v>44083</c:v>
                </c:pt>
                <c:pt idx="1278">
                  <c:v>44082</c:v>
                </c:pt>
                <c:pt idx="1279">
                  <c:v>44081</c:v>
                </c:pt>
                <c:pt idx="1280">
                  <c:v>44078</c:v>
                </c:pt>
                <c:pt idx="1281">
                  <c:v>44077</c:v>
                </c:pt>
                <c:pt idx="1282">
                  <c:v>44076</c:v>
                </c:pt>
                <c:pt idx="1283">
                  <c:v>44075</c:v>
                </c:pt>
                <c:pt idx="1284">
                  <c:v>44074</c:v>
                </c:pt>
                <c:pt idx="1285">
                  <c:v>44071</c:v>
                </c:pt>
                <c:pt idx="1286">
                  <c:v>44070</c:v>
                </c:pt>
                <c:pt idx="1287">
                  <c:v>44069</c:v>
                </c:pt>
                <c:pt idx="1288">
                  <c:v>44068</c:v>
                </c:pt>
                <c:pt idx="1289">
                  <c:v>44067</c:v>
                </c:pt>
                <c:pt idx="1290">
                  <c:v>44064</c:v>
                </c:pt>
                <c:pt idx="1291">
                  <c:v>44063</c:v>
                </c:pt>
                <c:pt idx="1292">
                  <c:v>44062</c:v>
                </c:pt>
                <c:pt idx="1293">
                  <c:v>44061</c:v>
                </c:pt>
                <c:pt idx="1294">
                  <c:v>44060</c:v>
                </c:pt>
                <c:pt idx="1295">
                  <c:v>44057</c:v>
                </c:pt>
                <c:pt idx="1296">
                  <c:v>44056</c:v>
                </c:pt>
                <c:pt idx="1297">
                  <c:v>44055</c:v>
                </c:pt>
                <c:pt idx="1298">
                  <c:v>44054</c:v>
                </c:pt>
                <c:pt idx="1299">
                  <c:v>44053</c:v>
                </c:pt>
                <c:pt idx="1300">
                  <c:v>44050</c:v>
                </c:pt>
                <c:pt idx="1301">
                  <c:v>44049</c:v>
                </c:pt>
                <c:pt idx="1302">
                  <c:v>44048</c:v>
                </c:pt>
                <c:pt idx="1303">
                  <c:v>44047</c:v>
                </c:pt>
                <c:pt idx="1304">
                  <c:v>44046</c:v>
                </c:pt>
                <c:pt idx="1305">
                  <c:v>44043</c:v>
                </c:pt>
                <c:pt idx="1306">
                  <c:v>44042</c:v>
                </c:pt>
                <c:pt idx="1307">
                  <c:v>44041</c:v>
                </c:pt>
                <c:pt idx="1308">
                  <c:v>44040</c:v>
                </c:pt>
                <c:pt idx="1309">
                  <c:v>44039</c:v>
                </c:pt>
                <c:pt idx="1310">
                  <c:v>44036</c:v>
                </c:pt>
                <c:pt idx="1311">
                  <c:v>44035</c:v>
                </c:pt>
                <c:pt idx="1312">
                  <c:v>44034</c:v>
                </c:pt>
                <c:pt idx="1313">
                  <c:v>44033</c:v>
                </c:pt>
                <c:pt idx="1314">
                  <c:v>44032</c:v>
                </c:pt>
                <c:pt idx="1315">
                  <c:v>44029</c:v>
                </c:pt>
                <c:pt idx="1316">
                  <c:v>44028</c:v>
                </c:pt>
                <c:pt idx="1317">
                  <c:v>44027</c:v>
                </c:pt>
                <c:pt idx="1318">
                  <c:v>44026</c:v>
                </c:pt>
                <c:pt idx="1319">
                  <c:v>44025</c:v>
                </c:pt>
                <c:pt idx="1320">
                  <c:v>44022</c:v>
                </c:pt>
                <c:pt idx="1321">
                  <c:v>44021</c:v>
                </c:pt>
                <c:pt idx="1322">
                  <c:v>44020</c:v>
                </c:pt>
                <c:pt idx="1323">
                  <c:v>44019</c:v>
                </c:pt>
                <c:pt idx="1324">
                  <c:v>44018</c:v>
                </c:pt>
                <c:pt idx="1325">
                  <c:v>44015</c:v>
                </c:pt>
                <c:pt idx="1326">
                  <c:v>44014</c:v>
                </c:pt>
                <c:pt idx="1327">
                  <c:v>44013</c:v>
                </c:pt>
                <c:pt idx="1328">
                  <c:v>44012</c:v>
                </c:pt>
                <c:pt idx="1329">
                  <c:v>44011</c:v>
                </c:pt>
                <c:pt idx="1330">
                  <c:v>44008</c:v>
                </c:pt>
                <c:pt idx="1331">
                  <c:v>44007</c:v>
                </c:pt>
                <c:pt idx="1332">
                  <c:v>44006</c:v>
                </c:pt>
                <c:pt idx="1333">
                  <c:v>44005</c:v>
                </c:pt>
                <c:pt idx="1334">
                  <c:v>44004</c:v>
                </c:pt>
                <c:pt idx="1335">
                  <c:v>44001</c:v>
                </c:pt>
                <c:pt idx="1336">
                  <c:v>44000</c:v>
                </c:pt>
                <c:pt idx="1337">
                  <c:v>43999</c:v>
                </c:pt>
                <c:pt idx="1338">
                  <c:v>43998</c:v>
                </c:pt>
                <c:pt idx="1339">
                  <c:v>43997</c:v>
                </c:pt>
                <c:pt idx="1340">
                  <c:v>43994</c:v>
                </c:pt>
                <c:pt idx="1341">
                  <c:v>43993</c:v>
                </c:pt>
                <c:pt idx="1342">
                  <c:v>43992</c:v>
                </c:pt>
                <c:pt idx="1343">
                  <c:v>43991</c:v>
                </c:pt>
                <c:pt idx="1344">
                  <c:v>43990</c:v>
                </c:pt>
                <c:pt idx="1345">
                  <c:v>43987</c:v>
                </c:pt>
                <c:pt idx="1346">
                  <c:v>43986</c:v>
                </c:pt>
                <c:pt idx="1347">
                  <c:v>43985</c:v>
                </c:pt>
                <c:pt idx="1348">
                  <c:v>43984</c:v>
                </c:pt>
                <c:pt idx="1349">
                  <c:v>43983</c:v>
                </c:pt>
                <c:pt idx="1350">
                  <c:v>43980</c:v>
                </c:pt>
                <c:pt idx="1351">
                  <c:v>43979</c:v>
                </c:pt>
                <c:pt idx="1352">
                  <c:v>43978</c:v>
                </c:pt>
                <c:pt idx="1353">
                  <c:v>43977</c:v>
                </c:pt>
                <c:pt idx="1354">
                  <c:v>43973</c:v>
                </c:pt>
                <c:pt idx="1355">
                  <c:v>43972</c:v>
                </c:pt>
                <c:pt idx="1356">
                  <c:v>43971</c:v>
                </c:pt>
                <c:pt idx="1357">
                  <c:v>43970</c:v>
                </c:pt>
                <c:pt idx="1358">
                  <c:v>43969</c:v>
                </c:pt>
                <c:pt idx="1359">
                  <c:v>43966</c:v>
                </c:pt>
                <c:pt idx="1360">
                  <c:v>43965</c:v>
                </c:pt>
                <c:pt idx="1361">
                  <c:v>43964</c:v>
                </c:pt>
                <c:pt idx="1362">
                  <c:v>43963</c:v>
                </c:pt>
                <c:pt idx="1363">
                  <c:v>43962</c:v>
                </c:pt>
                <c:pt idx="1364">
                  <c:v>43959</c:v>
                </c:pt>
                <c:pt idx="1365">
                  <c:v>43958</c:v>
                </c:pt>
                <c:pt idx="1366">
                  <c:v>43957</c:v>
                </c:pt>
                <c:pt idx="1367">
                  <c:v>43956</c:v>
                </c:pt>
                <c:pt idx="1368">
                  <c:v>43955</c:v>
                </c:pt>
                <c:pt idx="1369">
                  <c:v>43951</c:v>
                </c:pt>
                <c:pt idx="1370">
                  <c:v>43950</c:v>
                </c:pt>
                <c:pt idx="1371">
                  <c:v>43949</c:v>
                </c:pt>
                <c:pt idx="1372">
                  <c:v>43948</c:v>
                </c:pt>
                <c:pt idx="1373">
                  <c:v>43945</c:v>
                </c:pt>
                <c:pt idx="1374">
                  <c:v>43944</c:v>
                </c:pt>
                <c:pt idx="1375">
                  <c:v>43943</c:v>
                </c:pt>
                <c:pt idx="1376">
                  <c:v>43942</c:v>
                </c:pt>
                <c:pt idx="1377">
                  <c:v>43941</c:v>
                </c:pt>
                <c:pt idx="1378">
                  <c:v>43938</c:v>
                </c:pt>
                <c:pt idx="1379">
                  <c:v>43937</c:v>
                </c:pt>
                <c:pt idx="1380">
                  <c:v>43936</c:v>
                </c:pt>
                <c:pt idx="1381">
                  <c:v>43934</c:v>
                </c:pt>
                <c:pt idx="1382">
                  <c:v>43930</c:v>
                </c:pt>
                <c:pt idx="1383">
                  <c:v>43929</c:v>
                </c:pt>
                <c:pt idx="1384">
                  <c:v>43928</c:v>
                </c:pt>
                <c:pt idx="1385">
                  <c:v>43924</c:v>
                </c:pt>
                <c:pt idx="1386">
                  <c:v>43922</c:v>
                </c:pt>
                <c:pt idx="1387">
                  <c:v>43921</c:v>
                </c:pt>
                <c:pt idx="1388">
                  <c:v>43920</c:v>
                </c:pt>
                <c:pt idx="1389">
                  <c:v>43917</c:v>
                </c:pt>
                <c:pt idx="1390">
                  <c:v>43916</c:v>
                </c:pt>
                <c:pt idx="1391">
                  <c:v>43915</c:v>
                </c:pt>
                <c:pt idx="1392">
                  <c:v>43914</c:v>
                </c:pt>
                <c:pt idx="1393">
                  <c:v>43913</c:v>
                </c:pt>
                <c:pt idx="1394">
                  <c:v>43910</c:v>
                </c:pt>
                <c:pt idx="1395">
                  <c:v>43909</c:v>
                </c:pt>
                <c:pt idx="1396">
                  <c:v>43908</c:v>
                </c:pt>
                <c:pt idx="1397">
                  <c:v>43907</c:v>
                </c:pt>
                <c:pt idx="1398">
                  <c:v>43906</c:v>
                </c:pt>
                <c:pt idx="1399">
                  <c:v>43903</c:v>
                </c:pt>
                <c:pt idx="1400">
                  <c:v>43902</c:v>
                </c:pt>
                <c:pt idx="1401">
                  <c:v>43901</c:v>
                </c:pt>
                <c:pt idx="1402">
                  <c:v>43899</c:v>
                </c:pt>
                <c:pt idx="1403">
                  <c:v>43896</c:v>
                </c:pt>
                <c:pt idx="1404">
                  <c:v>43895</c:v>
                </c:pt>
                <c:pt idx="1405">
                  <c:v>43894</c:v>
                </c:pt>
                <c:pt idx="1406">
                  <c:v>43893</c:v>
                </c:pt>
                <c:pt idx="1407">
                  <c:v>43892</c:v>
                </c:pt>
                <c:pt idx="1408">
                  <c:v>43889</c:v>
                </c:pt>
                <c:pt idx="1409">
                  <c:v>43888</c:v>
                </c:pt>
                <c:pt idx="1410">
                  <c:v>43887</c:v>
                </c:pt>
                <c:pt idx="1411">
                  <c:v>43886</c:v>
                </c:pt>
                <c:pt idx="1412">
                  <c:v>43885</c:v>
                </c:pt>
                <c:pt idx="1413">
                  <c:v>43881</c:v>
                </c:pt>
                <c:pt idx="1414">
                  <c:v>43880</c:v>
                </c:pt>
                <c:pt idx="1415">
                  <c:v>43879</c:v>
                </c:pt>
                <c:pt idx="1416">
                  <c:v>43878</c:v>
                </c:pt>
                <c:pt idx="1417">
                  <c:v>43875</c:v>
                </c:pt>
                <c:pt idx="1418">
                  <c:v>43874</c:v>
                </c:pt>
                <c:pt idx="1419">
                  <c:v>43873</c:v>
                </c:pt>
                <c:pt idx="1420">
                  <c:v>43872</c:v>
                </c:pt>
                <c:pt idx="1421">
                  <c:v>43871</c:v>
                </c:pt>
                <c:pt idx="1422">
                  <c:v>43868</c:v>
                </c:pt>
                <c:pt idx="1423">
                  <c:v>43867</c:v>
                </c:pt>
                <c:pt idx="1424">
                  <c:v>43866</c:v>
                </c:pt>
                <c:pt idx="1425">
                  <c:v>43865</c:v>
                </c:pt>
                <c:pt idx="1426">
                  <c:v>43864</c:v>
                </c:pt>
                <c:pt idx="1427">
                  <c:v>43862</c:v>
                </c:pt>
                <c:pt idx="1428">
                  <c:v>43861</c:v>
                </c:pt>
                <c:pt idx="1429">
                  <c:v>43860</c:v>
                </c:pt>
                <c:pt idx="1430">
                  <c:v>43859</c:v>
                </c:pt>
                <c:pt idx="1431">
                  <c:v>43858</c:v>
                </c:pt>
                <c:pt idx="1432">
                  <c:v>43857</c:v>
                </c:pt>
                <c:pt idx="1433">
                  <c:v>43854</c:v>
                </c:pt>
                <c:pt idx="1434">
                  <c:v>43853</c:v>
                </c:pt>
                <c:pt idx="1435">
                  <c:v>43852</c:v>
                </c:pt>
                <c:pt idx="1436">
                  <c:v>43851</c:v>
                </c:pt>
                <c:pt idx="1437">
                  <c:v>43850</c:v>
                </c:pt>
                <c:pt idx="1438">
                  <c:v>43847</c:v>
                </c:pt>
                <c:pt idx="1439">
                  <c:v>43846</c:v>
                </c:pt>
                <c:pt idx="1440">
                  <c:v>43845</c:v>
                </c:pt>
                <c:pt idx="1441">
                  <c:v>43844</c:v>
                </c:pt>
                <c:pt idx="1442">
                  <c:v>43843</c:v>
                </c:pt>
                <c:pt idx="1443">
                  <c:v>43840</c:v>
                </c:pt>
                <c:pt idx="1444">
                  <c:v>43839</c:v>
                </c:pt>
                <c:pt idx="1445">
                  <c:v>43838</c:v>
                </c:pt>
                <c:pt idx="1446">
                  <c:v>43837</c:v>
                </c:pt>
                <c:pt idx="1447">
                  <c:v>43836</c:v>
                </c:pt>
                <c:pt idx="1448">
                  <c:v>43833</c:v>
                </c:pt>
                <c:pt idx="1449">
                  <c:v>43832</c:v>
                </c:pt>
                <c:pt idx="1450">
                  <c:v>43831</c:v>
                </c:pt>
                <c:pt idx="1451">
                  <c:v>43830</c:v>
                </c:pt>
                <c:pt idx="1452">
                  <c:v>43829</c:v>
                </c:pt>
                <c:pt idx="1453">
                  <c:v>43826</c:v>
                </c:pt>
                <c:pt idx="1454">
                  <c:v>43825</c:v>
                </c:pt>
                <c:pt idx="1455">
                  <c:v>43823</c:v>
                </c:pt>
                <c:pt idx="1456">
                  <c:v>43822</c:v>
                </c:pt>
                <c:pt idx="1457">
                  <c:v>43819</c:v>
                </c:pt>
                <c:pt idx="1458">
                  <c:v>43818</c:v>
                </c:pt>
                <c:pt idx="1459">
                  <c:v>43817</c:v>
                </c:pt>
                <c:pt idx="1460">
                  <c:v>43816</c:v>
                </c:pt>
                <c:pt idx="1461">
                  <c:v>43815</c:v>
                </c:pt>
                <c:pt idx="1462">
                  <c:v>43812</c:v>
                </c:pt>
                <c:pt idx="1463">
                  <c:v>43811</c:v>
                </c:pt>
                <c:pt idx="1464">
                  <c:v>43810</c:v>
                </c:pt>
                <c:pt idx="1465">
                  <c:v>43809</c:v>
                </c:pt>
                <c:pt idx="1466">
                  <c:v>43808</c:v>
                </c:pt>
                <c:pt idx="1467">
                  <c:v>43805</c:v>
                </c:pt>
                <c:pt idx="1468">
                  <c:v>43804</c:v>
                </c:pt>
                <c:pt idx="1469">
                  <c:v>43803</c:v>
                </c:pt>
                <c:pt idx="1470">
                  <c:v>43802</c:v>
                </c:pt>
                <c:pt idx="1471">
                  <c:v>43801</c:v>
                </c:pt>
                <c:pt idx="1472">
                  <c:v>43798</c:v>
                </c:pt>
                <c:pt idx="1473">
                  <c:v>43797</c:v>
                </c:pt>
                <c:pt idx="1474">
                  <c:v>43796</c:v>
                </c:pt>
                <c:pt idx="1475">
                  <c:v>43795</c:v>
                </c:pt>
                <c:pt idx="1476">
                  <c:v>43794</c:v>
                </c:pt>
                <c:pt idx="1477">
                  <c:v>43791</c:v>
                </c:pt>
                <c:pt idx="1478">
                  <c:v>43790</c:v>
                </c:pt>
                <c:pt idx="1479">
                  <c:v>43789</c:v>
                </c:pt>
                <c:pt idx="1480">
                  <c:v>43788</c:v>
                </c:pt>
                <c:pt idx="1481">
                  <c:v>43787</c:v>
                </c:pt>
                <c:pt idx="1482">
                  <c:v>43784</c:v>
                </c:pt>
                <c:pt idx="1483">
                  <c:v>43783</c:v>
                </c:pt>
                <c:pt idx="1484">
                  <c:v>43782</c:v>
                </c:pt>
                <c:pt idx="1485">
                  <c:v>43780</c:v>
                </c:pt>
                <c:pt idx="1486">
                  <c:v>43777</c:v>
                </c:pt>
                <c:pt idx="1487">
                  <c:v>43776</c:v>
                </c:pt>
                <c:pt idx="1488">
                  <c:v>43775</c:v>
                </c:pt>
                <c:pt idx="1489">
                  <c:v>43774</c:v>
                </c:pt>
                <c:pt idx="1490">
                  <c:v>43773</c:v>
                </c:pt>
                <c:pt idx="1491">
                  <c:v>43770</c:v>
                </c:pt>
                <c:pt idx="1492">
                  <c:v>43769</c:v>
                </c:pt>
                <c:pt idx="1493">
                  <c:v>43768</c:v>
                </c:pt>
                <c:pt idx="1494">
                  <c:v>43767</c:v>
                </c:pt>
                <c:pt idx="1495">
                  <c:v>43765</c:v>
                </c:pt>
                <c:pt idx="1496">
                  <c:v>43763</c:v>
                </c:pt>
                <c:pt idx="1497">
                  <c:v>43762</c:v>
                </c:pt>
                <c:pt idx="1498">
                  <c:v>43761</c:v>
                </c:pt>
                <c:pt idx="1499">
                  <c:v>43760</c:v>
                </c:pt>
                <c:pt idx="1500">
                  <c:v>43756</c:v>
                </c:pt>
                <c:pt idx="1501">
                  <c:v>43755</c:v>
                </c:pt>
                <c:pt idx="1502">
                  <c:v>43754</c:v>
                </c:pt>
                <c:pt idx="1503">
                  <c:v>43753</c:v>
                </c:pt>
                <c:pt idx="1504">
                  <c:v>43752</c:v>
                </c:pt>
                <c:pt idx="1505">
                  <c:v>43749</c:v>
                </c:pt>
                <c:pt idx="1506">
                  <c:v>43748</c:v>
                </c:pt>
                <c:pt idx="1507">
                  <c:v>43747</c:v>
                </c:pt>
                <c:pt idx="1508">
                  <c:v>43745</c:v>
                </c:pt>
                <c:pt idx="1509">
                  <c:v>43742</c:v>
                </c:pt>
                <c:pt idx="1510">
                  <c:v>43741</c:v>
                </c:pt>
                <c:pt idx="1511">
                  <c:v>43739</c:v>
                </c:pt>
                <c:pt idx="1512">
                  <c:v>43738</c:v>
                </c:pt>
                <c:pt idx="1513">
                  <c:v>43735</c:v>
                </c:pt>
                <c:pt idx="1514">
                  <c:v>43734</c:v>
                </c:pt>
                <c:pt idx="1515">
                  <c:v>43733</c:v>
                </c:pt>
                <c:pt idx="1516">
                  <c:v>43732</c:v>
                </c:pt>
                <c:pt idx="1517">
                  <c:v>43731</c:v>
                </c:pt>
                <c:pt idx="1518">
                  <c:v>43728</c:v>
                </c:pt>
                <c:pt idx="1519">
                  <c:v>43727</c:v>
                </c:pt>
                <c:pt idx="1520">
                  <c:v>43726</c:v>
                </c:pt>
                <c:pt idx="1521">
                  <c:v>43725</c:v>
                </c:pt>
                <c:pt idx="1522">
                  <c:v>43724</c:v>
                </c:pt>
                <c:pt idx="1523">
                  <c:v>43721</c:v>
                </c:pt>
                <c:pt idx="1524">
                  <c:v>43720</c:v>
                </c:pt>
                <c:pt idx="1525">
                  <c:v>43719</c:v>
                </c:pt>
                <c:pt idx="1526">
                  <c:v>43717</c:v>
                </c:pt>
                <c:pt idx="1527">
                  <c:v>43714</c:v>
                </c:pt>
                <c:pt idx="1528">
                  <c:v>43713</c:v>
                </c:pt>
                <c:pt idx="1529">
                  <c:v>43712</c:v>
                </c:pt>
                <c:pt idx="1530">
                  <c:v>43711</c:v>
                </c:pt>
                <c:pt idx="1531">
                  <c:v>43707</c:v>
                </c:pt>
                <c:pt idx="1532">
                  <c:v>43706</c:v>
                </c:pt>
                <c:pt idx="1533">
                  <c:v>43705</c:v>
                </c:pt>
                <c:pt idx="1534">
                  <c:v>43704</c:v>
                </c:pt>
                <c:pt idx="1535">
                  <c:v>43703</c:v>
                </c:pt>
                <c:pt idx="1536">
                  <c:v>43700</c:v>
                </c:pt>
                <c:pt idx="1537">
                  <c:v>43699</c:v>
                </c:pt>
                <c:pt idx="1538">
                  <c:v>43698</c:v>
                </c:pt>
                <c:pt idx="1539">
                  <c:v>43697</c:v>
                </c:pt>
                <c:pt idx="1540">
                  <c:v>43696</c:v>
                </c:pt>
                <c:pt idx="1541">
                  <c:v>43693</c:v>
                </c:pt>
                <c:pt idx="1542">
                  <c:v>43691</c:v>
                </c:pt>
                <c:pt idx="1543">
                  <c:v>43690</c:v>
                </c:pt>
                <c:pt idx="1544">
                  <c:v>43686</c:v>
                </c:pt>
                <c:pt idx="1545">
                  <c:v>43685</c:v>
                </c:pt>
                <c:pt idx="1546">
                  <c:v>43684</c:v>
                </c:pt>
                <c:pt idx="1547">
                  <c:v>43683</c:v>
                </c:pt>
                <c:pt idx="1548">
                  <c:v>43682</c:v>
                </c:pt>
                <c:pt idx="1549">
                  <c:v>43679</c:v>
                </c:pt>
                <c:pt idx="1550">
                  <c:v>43678</c:v>
                </c:pt>
                <c:pt idx="1551">
                  <c:v>43677</c:v>
                </c:pt>
                <c:pt idx="1552">
                  <c:v>43676</c:v>
                </c:pt>
                <c:pt idx="1553">
                  <c:v>43675</c:v>
                </c:pt>
                <c:pt idx="1554">
                  <c:v>43672</c:v>
                </c:pt>
                <c:pt idx="1555">
                  <c:v>43671</c:v>
                </c:pt>
                <c:pt idx="1556">
                  <c:v>43670</c:v>
                </c:pt>
                <c:pt idx="1557">
                  <c:v>43669</c:v>
                </c:pt>
                <c:pt idx="1558">
                  <c:v>43668</c:v>
                </c:pt>
                <c:pt idx="1559">
                  <c:v>43665</c:v>
                </c:pt>
                <c:pt idx="1560">
                  <c:v>43664</c:v>
                </c:pt>
                <c:pt idx="1561">
                  <c:v>43663</c:v>
                </c:pt>
                <c:pt idx="1562">
                  <c:v>43662</c:v>
                </c:pt>
                <c:pt idx="1563">
                  <c:v>43661</c:v>
                </c:pt>
                <c:pt idx="1564">
                  <c:v>43658</c:v>
                </c:pt>
                <c:pt idx="1565">
                  <c:v>43657</c:v>
                </c:pt>
                <c:pt idx="1566">
                  <c:v>43656</c:v>
                </c:pt>
                <c:pt idx="1567">
                  <c:v>43655</c:v>
                </c:pt>
                <c:pt idx="1568">
                  <c:v>43654</c:v>
                </c:pt>
                <c:pt idx="1569">
                  <c:v>43651</c:v>
                </c:pt>
                <c:pt idx="1570">
                  <c:v>43650</c:v>
                </c:pt>
                <c:pt idx="1571">
                  <c:v>43649</c:v>
                </c:pt>
                <c:pt idx="1572">
                  <c:v>43648</c:v>
                </c:pt>
                <c:pt idx="1573">
                  <c:v>43647</c:v>
                </c:pt>
                <c:pt idx="1574">
                  <c:v>43644</c:v>
                </c:pt>
                <c:pt idx="1575">
                  <c:v>43643</c:v>
                </c:pt>
                <c:pt idx="1576">
                  <c:v>43642</c:v>
                </c:pt>
                <c:pt idx="1577">
                  <c:v>43641</c:v>
                </c:pt>
                <c:pt idx="1578">
                  <c:v>43640</c:v>
                </c:pt>
                <c:pt idx="1579">
                  <c:v>43637</c:v>
                </c:pt>
                <c:pt idx="1580">
                  <c:v>43636</c:v>
                </c:pt>
                <c:pt idx="1581">
                  <c:v>43635</c:v>
                </c:pt>
                <c:pt idx="1582">
                  <c:v>43634</c:v>
                </c:pt>
                <c:pt idx="1583">
                  <c:v>43633</c:v>
                </c:pt>
                <c:pt idx="1584">
                  <c:v>43630</c:v>
                </c:pt>
                <c:pt idx="1585">
                  <c:v>43629</c:v>
                </c:pt>
                <c:pt idx="1586">
                  <c:v>43628</c:v>
                </c:pt>
                <c:pt idx="1587">
                  <c:v>43627</c:v>
                </c:pt>
                <c:pt idx="1588">
                  <c:v>43626</c:v>
                </c:pt>
                <c:pt idx="1589">
                  <c:v>43623</c:v>
                </c:pt>
                <c:pt idx="1590">
                  <c:v>43622</c:v>
                </c:pt>
                <c:pt idx="1591">
                  <c:v>43620</c:v>
                </c:pt>
                <c:pt idx="1592">
                  <c:v>43619</c:v>
                </c:pt>
                <c:pt idx="1593">
                  <c:v>43616</c:v>
                </c:pt>
                <c:pt idx="1594">
                  <c:v>43615</c:v>
                </c:pt>
                <c:pt idx="1595">
                  <c:v>43614</c:v>
                </c:pt>
                <c:pt idx="1596">
                  <c:v>43613</c:v>
                </c:pt>
                <c:pt idx="1597">
                  <c:v>43612</c:v>
                </c:pt>
                <c:pt idx="1598">
                  <c:v>43609</c:v>
                </c:pt>
                <c:pt idx="1599">
                  <c:v>43608</c:v>
                </c:pt>
                <c:pt idx="1600">
                  <c:v>43607</c:v>
                </c:pt>
                <c:pt idx="1601">
                  <c:v>43606</c:v>
                </c:pt>
                <c:pt idx="1602">
                  <c:v>43605</c:v>
                </c:pt>
                <c:pt idx="1603">
                  <c:v>43602</c:v>
                </c:pt>
                <c:pt idx="1604">
                  <c:v>43601</c:v>
                </c:pt>
                <c:pt idx="1605">
                  <c:v>43600</c:v>
                </c:pt>
                <c:pt idx="1606">
                  <c:v>43599</c:v>
                </c:pt>
                <c:pt idx="1607">
                  <c:v>43598</c:v>
                </c:pt>
                <c:pt idx="1608">
                  <c:v>43595</c:v>
                </c:pt>
                <c:pt idx="1609">
                  <c:v>43594</c:v>
                </c:pt>
                <c:pt idx="1610">
                  <c:v>43593</c:v>
                </c:pt>
                <c:pt idx="1611">
                  <c:v>43592</c:v>
                </c:pt>
                <c:pt idx="1612">
                  <c:v>43591</c:v>
                </c:pt>
                <c:pt idx="1613">
                  <c:v>43588</c:v>
                </c:pt>
                <c:pt idx="1614">
                  <c:v>43587</c:v>
                </c:pt>
                <c:pt idx="1615">
                  <c:v>43585</c:v>
                </c:pt>
                <c:pt idx="1616">
                  <c:v>43581</c:v>
                </c:pt>
                <c:pt idx="1617">
                  <c:v>43580</c:v>
                </c:pt>
                <c:pt idx="1618">
                  <c:v>43579</c:v>
                </c:pt>
                <c:pt idx="1619">
                  <c:v>43578</c:v>
                </c:pt>
                <c:pt idx="1620">
                  <c:v>43577</c:v>
                </c:pt>
                <c:pt idx="1621">
                  <c:v>43573</c:v>
                </c:pt>
                <c:pt idx="1622">
                  <c:v>43571</c:v>
                </c:pt>
                <c:pt idx="1623">
                  <c:v>43570</c:v>
                </c:pt>
                <c:pt idx="1624">
                  <c:v>43567</c:v>
                </c:pt>
                <c:pt idx="1625">
                  <c:v>43566</c:v>
                </c:pt>
                <c:pt idx="1626">
                  <c:v>43565</c:v>
                </c:pt>
                <c:pt idx="1627">
                  <c:v>43564</c:v>
                </c:pt>
                <c:pt idx="1628">
                  <c:v>43563</c:v>
                </c:pt>
                <c:pt idx="1629">
                  <c:v>43560</c:v>
                </c:pt>
                <c:pt idx="1630">
                  <c:v>43559</c:v>
                </c:pt>
                <c:pt idx="1631">
                  <c:v>43558</c:v>
                </c:pt>
                <c:pt idx="1632">
                  <c:v>43557</c:v>
                </c:pt>
                <c:pt idx="1633">
                  <c:v>43556</c:v>
                </c:pt>
              </c:numCache>
            </c:numRef>
          </c:cat>
          <c:val>
            <c:numRef>
              <c:f>Sheet1!$D$2:$D$1635</c:f>
              <c:numCache>
                <c:formatCode>_ * #,##0_ ;_ * \-#,##0_ ;_ * "-"??_ ;_ @_ </c:formatCode>
                <c:ptCount val="1634"/>
                <c:pt idx="0">
                  <c:v>827.45574716808687</c:v>
                </c:pt>
                <c:pt idx="1">
                  <c:v>834.29198640484628</c:v>
                </c:pt>
                <c:pt idx="2">
                  <c:v>838.90688193508743</c:v>
                </c:pt>
                <c:pt idx="3">
                  <c:v>834.23328409808141</c:v>
                </c:pt>
                <c:pt idx="4">
                  <c:v>831.99159892255818</c:v>
                </c:pt>
                <c:pt idx="5">
                  <c:v>830.42786722462608</c:v>
                </c:pt>
                <c:pt idx="6">
                  <c:v>841.49638898439878</c:v>
                </c:pt>
                <c:pt idx="7">
                  <c:v>851.30340023229496</c:v>
                </c:pt>
                <c:pt idx="8">
                  <c:v>850.00727492449448</c:v>
                </c:pt>
                <c:pt idx="9">
                  <c:v>842.78874079855257</c:v>
                </c:pt>
                <c:pt idx="10">
                  <c:v>838.99620270001651</c:v>
                </c:pt>
                <c:pt idx="11">
                  <c:v>830.53502746820732</c:v>
                </c:pt>
                <c:pt idx="12">
                  <c:v>827.61660767550234</c:v>
                </c:pt>
                <c:pt idx="13">
                  <c:v>826.96966473252917</c:v>
                </c:pt>
                <c:pt idx="14">
                  <c:v>823.54694968098431</c:v>
                </c:pt>
                <c:pt idx="15">
                  <c:v>824.42891048478066</c:v>
                </c:pt>
                <c:pt idx="16">
                  <c:v>821.18660227602402</c:v>
                </c:pt>
                <c:pt idx="17">
                  <c:v>812.86338337532584</c:v>
                </c:pt>
                <c:pt idx="18">
                  <c:v>815.52393086712539</c:v>
                </c:pt>
                <c:pt idx="19">
                  <c:v>784.36197399719345</c:v>
                </c:pt>
                <c:pt idx="20">
                  <c:v>789.57492563941435</c:v>
                </c:pt>
                <c:pt idx="21">
                  <c:v>787.59782069556047</c:v>
                </c:pt>
                <c:pt idx="22">
                  <c:v>788.13604510097377</c:v>
                </c:pt>
                <c:pt idx="23">
                  <c:v>787.54353393185795</c:v>
                </c:pt>
                <c:pt idx="24">
                  <c:v>797.71177774767034</c:v>
                </c:pt>
                <c:pt idx="25">
                  <c:v>796.40452153790636</c:v>
                </c:pt>
                <c:pt idx="26">
                  <c:v>803.52048374825756</c:v>
                </c:pt>
                <c:pt idx="27">
                  <c:v>807.88227099717426</c:v>
                </c:pt>
                <c:pt idx="28">
                  <c:v>808.67600329515767</c:v>
                </c:pt>
                <c:pt idx="29">
                  <c:v>811.87491858771273</c:v>
                </c:pt>
                <c:pt idx="30">
                  <c:v>810.79348485096727</c:v>
                </c:pt>
                <c:pt idx="31">
                  <c:v>810.22575491610473</c:v>
                </c:pt>
                <c:pt idx="32">
                  <c:v>812.00455443638407</c:v>
                </c:pt>
                <c:pt idx="33">
                  <c:v>813.41584073734771</c:v>
                </c:pt>
                <c:pt idx="34">
                  <c:v>813.75100506551735</c:v>
                </c:pt>
                <c:pt idx="35">
                  <c:v>817.76526175280526</c:v>
                </c:pt>
                <c:pt idx="36">
                  <c:v>806.43816524872727</c:v>
                </c:pt>
                <c:pt idx="37">
                  <c:v>805.77219787775334</c:v>
                </c:pt>
                <c:pt idx="38">
                  <c:v>810.57274225483786</c:v>
                </c:pt>
                <c:pt idx="39">
                  <c:v>813.0110705660378</c:v>
                </c:pt>
                <c:pt idx="40">
                  <c:v>807.83831741810286</c:v>
                </c:pt>
                <c:pt idx="41">
                  <c:v>799.40531226587711</c:v>
                </c:pt>
                <c:pt idx="42">
                  <c:v>799.1990403267439</c:v>
                </c:pt>
                <c:pt idx="43">
                  <c:v>789.1161680906232</c:v>
                </c:pt>
                <c:pt idx="44">
                  <c:v>794.1422995010762</c:v>
                </c:pt>
                <c:pt idx="45">
                  <c:v>803.47393645748832</c:v>
                </c:pt>
                <c:pt idx="46">
                  <c:v>814.16045141061318</c:v>
                </c:pt>
                <c:pt idx="47">
                  <c:v>818.30067186314488</c:v>
                </c:pt>
                <c:pt idx="48">
                  <c:v>824.76525362601183</c:v>
                </c:pt>
                <c:pt idx="49">
                  <c:v>822.67112807101989</c:v>
                </c:pt>
                <c:pt idx="50">
                  <c:v>819.6464035623502</c:v>
                </c:pt>
                <c:pt idx="51">
                  <c:v>813.75246065742647</c:v>
                </c:pt>
                <c:pt idx="52">
                  <c:v>812.85519659935403</c:v>
                </c:pt>
                <c:pt idx="53">
                  <c:v>818.95248637220584</c:v>
                </c:pt>
                <c:pt idx="54">
                  <c:v>801.76484871204366</c:v>
                </c:pt>
                <c:pt idx="55">
                  <c:v>797.50764995645909</c:v>
                </c:pt>
                <c:pt idx="56">
                  <c:v>784.67097997908377</c:v>
                </c:pt>
                <c:pt idx="57">
                  <c:v>788.60467335212104</c:v>
                </c:pt>
                <c:pt idx="58">
                  <c:v>788.08295362141928</c:v>
                </c:pt>
                <c:pt idx="59">
                  <c:v>793.03344980214388</c:v>
                </c:pt>
                <c:pt idx="60">
                  <c:v>788.69478408328257</c:v>
                </c:pt>
                <c:pt idx="61">
                  <c:v>794.23420138216625</c:v>
                </c:pt>
                <c:pt idx="62">
                  <c:v>796.33809945891949</c:v>
                </c:pt>
                <c:pt idx="63">
                  <c:v>795.40733708622543</c:v>
                </c:pt>
                <c:pt idx="64">
                  <c:v>798.90571481930954</c:v>
                </c:pt>
                <c:pt idx="65">
                  <c:v>794.05386656001178</c:v>
                </c:pt>
                <c:pt idx="66">
                  <c:v>800.10074285821509</c:v>
                </c:pt>
                <c:pt idx="67">
                  <c:v>799.28194737973081</c:v>
                </c:pt>
                <c:pt idx="68">
                  <c:v>792.00616557004582</c:v>
                </c:pt>
                <c:pt idx="69">
                  <c:v>779.66728509526035</c:v>
                </c:pt>
                <c:pt idx="70">
                  <c:v>775.96994793957424</c:v>
                </c:pt>
                <c:pt idx="71">
                  <c:v>779.89775564432841</c:v>
                </c:pt>
                <c:pt idx="72">
                  <c:v>786.40716718348199</c:v>
                </c:pt>
                <c:pt idx="73">
                  <c:v>788.3980642401558</c:v>
                </c:pt>
                <c:pt idx="74">
                  <c:v>786.63399923722079</c:v>
                </c:pt>
                <c:pt idx="75">
                  <c:v>780.37907825881734</c:v>
                </c:pt>
                <c:pt idx="76">
                  <c:v>772.16525805466733</c:v>
                </c:pt>
                <c:pt idx="77">
                  <c:v>781.98959462494327</c:v>
                </c:pt>
                <c:pt idx="78">
                  <c:v>783.63853125392609</c:v>
                </c:pt>
                <c:pt idx="79">
                  <c:v>791.83444706396483</c:v>
                </c:pt>
                <c:pt idx="80">
                  <c:v>795.6825728190837</c:v>
                </c:pt>
                <c:pt idx="81">
                  <c:v>793.36160810517822</c:v>
                </c:pt>
                <c:pt idx="82">
                  <c:v>790.8800593397425</c:v>
                </c:pt>
                <c:pt idx="83">
                  <c:v>775.64159585905043</c:v>
                </c:pt>
                <c:pt idx="84">
                  <c:v>779.0381141317805</c:v>
                </c:pt>
                <c:pt idx="85">
                  <c:v>775.68212571284357</c:v>
                </c:pt>
                <c:pt idx="86">
                  <c:v>775.65089136522511</c:v>
                </c:pt>
                <c:pt idx="87">
                  <c:v>764.26856698477025</c:v>
                </c:pt>
                <c:pt idx="88">
                  <c:v>754.00815807344418</c:v>
                </c:pt>
                <c:pt idx="89">
                  <c:v>738.95590700912783</c:v>
                </c:pt>
                <c:pt idx="90">
                  <c:v>737.66825171539631</c:v>
                </c:pt>
                <c:pt idx="91">
                  <c:v>738.36697523320674</c:v>
                </c:pt>
                <c:pt idx="92">
                  <c:v>731.02201905825814</c:v>
                </c:pt>
                <c:pt idx="93">
                  <c:v>736.36851633296487</c:v>
                </c:pt>
                <c:pt idx="94">
                  <c:v>745.13942033670048</c:v>
                </c:pt>
                <c:pt idx="95">
                  <c:v>756.39922244012598</c:v>
                </c:pt>
                <c:pt idx="96">
                  <c:v>746.0131100713171</c:v>
                </c:pt>
                <c:pt idx="97">
                  <c:v>738.46156513103972</c:v>
                </c:pt>
                <c:pt idx="98">
                  <c:v>736.45065215154341</c:v>
                </c:pt>
                <c:pt idx="99">
                  <c:v>736.35651440118613</c:v>
                </c:pt>
                <c:pt idx="100">
                  <c:v>734.61308282534026</c:v>
                </c:pt>
                <c:pt idx="101">
                  <c:v>730.352674145641</c:v>
                </c:pt>
                <c:pt idx="102">
                  <c:v>722.03128870295654</c:v>
                </c:pt>
                <c:pt idx="103">
                  <c:v>720.67443611362501</c:v>
                </c:pt>
                <c:pt idx="104">
                  <c:v>715.51849380883516</c:v>
                </c:pt>
                <c:pt idx="105">
                  <c:v>716.85710353937372</c:v>
                </c:pt>
                <c:pt idx="106">
                  <c:v>711.92681447526115</c:v>
                </c:pt>
                <c:pt idx="107">
                  <c:v>713.07152269863798</c:v>
                </c:pt>
                <c:pt idx="108">
                  <c:v>715.15815681588322</c:v>
                </c:pt>
                <c:pt idx="109">
                  <c:v>720.74357592190302</c:v>
                </c:pt>
                <c:pt idx="110">
                  <c:v>725.84289256869135</c:v>
                </c:pt>
                <c:pt idx="111">
                  <c:v>726.74069855780965</c:v>
                </c:pt>
                <c:pt idx="112">
                  <c:v>719.39610926824128</c:v>
                </c:pt>
                <c:pt idx="113">
                  <c:v>711.57609078356677</c:v>
                </c:pt>
                <c:pt idx="114">
                  <c:v>714.9131200129242</c:v>
                </c:pt>
                <c:pt idx="115">
                  <c:v>722.15235151252693</c:v>
                </c:pt>
                <c:pt idx="116">
                  <c:v>723.59080315679057</c:v>
                </c:pt>
                <c:pt idx="117">
                  <c:v>730.13829810893162</c:v>
                </c:pt>
                <c:pt idx="118">
                  <c:v>722.64527203272894</c:v>
                </c:pt>
                <c:pt idx="119">
                  <c:v>715.83520825926041</c:v>
                </c:pt>
                <c:pt idx="120">
                  <c:v>713.86508479539316</c:v>
                </c:pt>
                <c:pt idx="121">
                  <c:v>695.01376210151727</c:v>
                </c:pt>
                <c:pt idx="122">
                  <c:v>697.3152047022362</c:v>
                </c:pt>
                <c:pt idx="123">
                  <c:v>711.82424062189557</c:v>
                </c:pt>
                <c:pt idx="124">
                  <c:v>711.74322386831932</c:v>
                </c:pt>
                <c:pt idx="125">
                  <c:v>708.08701340109428</c:v>
                </c:pt>
                <c:pt idx="126">
                  <c:v>698.18030589555258</c:v>
                </c:pt>
                <c:pt idx="127">
                  <c:v>701.22597904269469</c:v>
                </c:pt>
                <c:pt idx="128">
                  <c:v>702.880347900635</c:v>
                </c:pt>
                <c:pt idx="129">
                  <c:v>706.1230862954186</c:v>
                </c:pt>
                <c:pt idx="130">
                  <c:v>697.24470812856862</c:v>
                </c:pt>
                <c:pt idx="131">
                  <c:v>713.03619254081491</c:v>
                </c:pt>
                <c:pt idx="132">
                  <c:v>719.52821190435486</c:v>
                </c:pt>
                <c:pt idx="133">
                  <c:v>719.22186325777147</c:v>
                </c:pt>
                <c:pt idx="134">
                  <c:v>708.67822464621759</c:v>
                </c:pt>
                <c:pt idx="135">
                  <c:v>710.5797909261255</c:v>
                </c:pt>
                <c:pt idx="136">
                  <c:v>704.52964108019864</c:v>
                </c:pt>
                <c:pt idx="137">
                  <c:v>700.39171075463094</c:v>
                </c:pt>
                <c:pt idx="138">
                  <c:v>694.08946220810014</c:v>
                </c:pt>
                <c:pt idx="139">
                  <c:v>694.89201945592106</c:v>
                </c:pt>
                <c:pt idx="140">
                  <c:v>684.54412323767986</c:v>
                </c:pt>
                <c:pt idx="141">
                  <c:v>674.64495561425713</c:v>
                </c:pt>
                <c:pt idx="142">
                  <c:v>694.51685848501711</c:v>
                </c:pt>
                <c:pt idx="143">
                  <c:v>692.96875268088138</c:v>
                </c:pt>
                <c:pt idx="144">
                  <c:v>689.49725802188755</c:v>
                </c:pt>
                <c:pt idx="145">
                  <c:v>688.9926330183531</c:v>
                </c:pt>
                <c:pt idx="146">
                  <c:v>693.7120682745915</c:v>
                </c:pt>
                <c:pt idx="147">
                  <c:v>687.11328009799934</c:v>
                </c:pt>
                <c:pt idx="148">
                  <c:v>680.02528450086766</c:v>
                </c:pt>
                <c:pt idx="149">
                  <c:v>695.90564754240438</c:v>
                </c:pt>
                <c:pt idx="150">
                  <c:v>692.65063786513144</c:v>
                </c:pt>
                <c:pt idx="151">
                  <c:v>690.25336422175894</c:v>
                </c:pt>
                <c:pt idx="152">
                  <c:v>678.00805954261102</c:v>
                </c:pt>
                <c:pt idx="153">
                  <c:v>663.01721721066372</c:v>
                </c:pt>
                <c:pt idx="154">
                  <c:v>646.03389788957759</c:v>
                </c:pt>
                <c:pt idx="155">
                  <c:v>634.08912756343841</c:v>
                </c:pt>
                <c:pt idx="156">
                  <c:v>630.95222397420753</c:v>
                </c:pt>
                <c:pt idx="157">
                  <c:v>631.66723804260357</c:v>
                </c:pt>
                <c:pt idx="158">
                  <c:v>631.79935488906631</c:v>
                </c:pt>
                <c:pt idx="159">
                  <c:v>627.3854353591687</c:v>
                </c:pt>
                <c:pt idx="160">
                  <c:v>633.06189500533753</c:v>
                </c:pt>
                <c:pt idx="161">
                  <c:v>643.51366467797448</c:v>
                </c:pt>
                <c:pt idx="162">
                  <c:v>643.4465924755101</c:v>
                </c:pt>
                <c:pt idx="163">
                  <c:v>630.57399195305641</c:v>
                </c:pt>
                <c:pt idx="164">
                  <c:v>626.27660019354812</c:v>
                </c:pt>
                <c:pt idx="165">
                  <c:v>616.561602571761</c:v>
                </c:pt>
                <c:pt idx="166">
                  <c:v>633.85168780695801</c:v>
                </c:pt>
                <c:pt idx="167">
                  <c:v>637.23658459771377</c:v>
                </c:pt>
                <c:pt idx="168">
                  <c:v>627.80752245583392</c:v>
                </c:pt>
                <c:pt idx="169">
                  <c:v>638.79739897554032</c:v>
                </c:pt>
                <c:pt idx="170">
                  <c:v>642.77667075189902</c:v>
                </c:pt>
                <c:pt idx="171">
                  <c:v>635.65086012360314</c:v>
                </c:pt>
                <c:pt idx="172">
                  <c:v>634.17712741181367</c:v>
                </c:pt>
                <c:pt idx="173">
                  <c:v>631.2976565715494</c:v>
                </c:pt>
                <c:pt idx="174">
                  <c:v>630.97708336538176</c:v>
                </c:pt>
                <c:pt idx="175">
                  <c:v>639.03622133440888</c:v>
                </c:pt>
                <c:pt idx="176">
                  <c:v>639.25094681652445</c:v>
                </c:pt>
                <c:pt idx="177">
                  <c:v>638.46820137923714</c:v>
                </c:pt>
                <c:pt idx="178">
                  <c:v>665.48724525841965</c:v>
                </c:pt>
                <c:pt idx="179">
                  <c:v>686.3939916211458</c:v>
                </c:pt>
                <c:pt idx="180">
                  <c:v>687.93339229452511</c:v>
                </c:pt>
                <c:pt idx="181">
                  <c:v>695.78499328037458</c:v>
                </c:pt>
                <c:pt idx="182">
                  <c:v>661.07897531123024</c:v>
                </c:pt>
                <c:pt idx="183">
                  <c:v>654.37478703658712</c:v>
                </c:pt>
                <c:pt idx="184">
                  <c:v>652.78276673184041</c:v>
                </c:pt>
                <c:pt idx="185">
                  <c:v>646.59097006251375</c:v>
                </c:pt>
                <c:pt idx="186">
                  <c:v>641.14424202725263</c:v>
                </c:pt>
                <c:pt idx="187">
                  <c:v>633.4094003758928</c:v>
                </c:pt>
                <c:pt idx="188">
                  <c:v>620.14163975376164</c:v>
                </c:pt>
                <c:pt idx="189">
                  <c:v>625.81621911235675</c:v>
                </c:pt>
                <c:pt idx="190">
                  <c:v>639.31039193699939</c:v>
                </c:pt>
                <c:pt idx="191">
                  <c:v>654.72853494896879</c:v>
                </c:pt>
                <c:pt idx="192">
                  <c:v>647.35126121023495</c:v>
                </c:pt>
                <c:pt idx="193">
                  <c:v>653.36228867286798</c:v>
                </c:pt>
                <c:pt idx="194">
                  <c:v>647.93937653699993</c:v>
                </c:pt>
                <c:pt idx="195">
                  <c:v>640.94346981623585</c:v>
                </c:pt>
                <c:pt idx="196">
                  <c:v>647.45718256973294</c:v>
                </c:pt>
                <c:pt idx="197">
                  <c:v>640.23522084296303</c:v>
                </c:pt>
                <c:pt idx="198">
                  <c:v>651.18300630823535</c:v>
                </c:pt>
                <c:pt idx="199">
                  <c:v>652.13582960219196</c:v>
                </c:pt>
                <c:pt idx="200">
                  <c:v>677.67863716441991</c:v>
                </c:pt>
                <c:pt idx="201">
                  <c:v>695.36046878585307</c:v>
                </c:pt>
                <c:pt idx="202">
                  <c:v>700.81519466403347</c:v>
                </c:pt>
                <c:pt idx="203">
                  <c:v>707.22725433020275</c:v>
                </c:pt>
                <c:pt idx="204">
                  <c:v>693.25459773129353</c:v>
                </c:pt>
                <c:pt idx="205">
                  <c:v>697.59395975726738</c:v>
                </c:pt>
                <c:pt idx="206">
                  <c:v>695.02014319424882</c:v>
                </c:pt>
                <c:pt idx="207">
                  <c:v>688.36012391465295</c:v>
                </c:pt>
                <c:pt idx="208">
                  <c:v>681.58378711324372</c:v>
                </c:pt>
                <c:pt idx="209">
                  <c:v>687.85564876571038</c:v>
                </c:pt>
                <c:pt idx="210">
                  <c:v>676.32622143367462</c:v>
                </c:pt>
                <c:pt idx="211">
                  <c:v>679.22870205897516</c:v>
                </c:pt>
                <c:pt idx="212">
                  <c:v>678.99575697136538</c:v>
                </c:pt>
                <c:pt idx="213">
                  <c:v>678.78010135729971</c:v>
                </c:pt>
                <c:pt idx="214">
                  <c:v>681.73525587166478</c:v>
                </c:pt>
                <c:pt idx="215">
                  <c:v>688.34206320670023</c:v>
                </c:pt>
                <c:pt idx="216">
                  <c:v>689.07048183293716</c:v>
                </c:pt>
                <c:pt idx="217">
                  <c:v>690.60769669623426</c:v>
                </c:pt>
                <c:pt idx="218">
                  <c:v>687.6573892028083</c:v>
                </c:pt>
                <c:pt idx="219">
                  <c:v>688.00492913034918</c:v>
                </c:pt>
                <c:pt idx="220">
                  <c:v>687.51021713725606</c:v>
                </c:pt>
                <c:pt idx="221">
                  <c:v>686.33810231760447</c:v>
                </c:pt>
                <c:pt idx="222">
                  <c:v>683.27729644037697</c:v>
                </c:pt>
                <c:pt idx="223">
                  <c:v>686.11164490034537</c:v>
                </c:pt>
                <c:pt idx="224">
                  <c:v>682.49786847371104</c:v>
                </c:pt>
                <c:pt idx="225">
                  <c:v>678.31346449282023</c:v>
                </c:pt>
                <c:pt idx="226">
                  <c:v>674.57833685111848</c:v>
                </c:pt>
                <c:pt idx="227">
                  <c:v>662.89294124735397</c:v>
                </c:pt>
                <c:pt idx="228">
                  <c:v>653.00958263745531</c:v>
                </c:pt>
                <c:pt idx="229">
                  <c:v>637.07780526053637</c:v>
                </c:pt>
                <c:pt idx="230">
                  <c:v>632.18309632720843</c:v>
                </c:pt>
                <c:pt idx="231">
                  <c:v>640.53834890766973</c:v>
                </c:pt>
                <c:pt idx="232">
                  <c:v>641.02564761993688</c:v>
                </c:pt>
                <c:pt idx="233">
                  <c:v>642.30148442457971</c:v>
                </c:pt>
                <c:pt idx="234">
                  <c:v>641.14908775634183</c:v>
                </c:pt>
                <c:pt idx="235">
                  <c:v>631.6606082687606</c:v>
                </c:pt>
                <c:pt idx="236">
                  <c:v>627.93642259596982</c:v>
                </c:pt>
                <c:pt idx="237">
                  <c:v>627.28787840500786</c:v>
                </c:pt>
                <c:pt idx="238">
                  <c:v>630.01345503860682</c:v>
                </c:pt>
                <c:pt idx="239">
                  <c:v>623.20421417354396</c:v>
                </c:pt>
                <c:pt idx="240">
                  <c:v>638.58482894503368</c:v>
                </c:pt>
                <c:pt idx="241">
                  <c:v>639.44902358266143</c:v>
                </c:pt>
                <c:pt idx="242">
                  <c:v>652.75480980749535</c:v>
                </c:pt>
                <c:pt idx="243">
                  <c:v>652.90570369269733</c:v>
                </c:pt>
                <c:pt idx="244">
                  <c:v>640.55163364642965</c:v>
                </c:pt>
                <c:pt idx="245">
                  <c:v>631.62250063358692</c:v>
                </c:pt>
                <c:pt idx="246">
                  <c:v>633.5315861260151</c:v>
                </c:pt>
                <c:pt idx="247">
                  <c:v>632.27020189246923</c:v>
                </c:pt>
                <c:pt idx="248">
                  <c:v>633.659873929284</c:v>
                </c:pt>
                <c:pt idx="249">
                  <c:v>622.14088474468622</c:v>
                </c:pt>
                <c:pt idx="250">
                  <c:v>618.68353713428087</c:v>
                </c:pt>
                <c:pt idx="251">
                  <c:v>613.42629764681908</c:v>
                </c:pt>
                <c:pt idx="252">
                  <c:v>605.38719497836337</c:v>
                </c:pt>
                <c:pt idx="253">
                  <c:v>600.34052509179105</c:v>
                </c:pt>
                <c:pt idx="254">
                  <c:v>597.72661854988053</c:v>
                </c:pt>
                <c:pt idx="255">
                  <c:v>596.81582817711114</c:v>
                </c:pt>
                <c:pt idx="256">
                  <c:v>612.112235002734</c:v>
                </c:pt>
                <c:pt idx="257">
                  <c:v>611.62155099772406</c:v>
                </c:pt>
                <c:pt idx="258">
                  <c:v>611.21067102216796</c:v>
                </c:pt>
                <c:pt idx="259">
                  <c:v>621.57282926364144</c:v>
                </c:pt>
                <c:pt idx="260">
                  <c:v>623.26722157020208</c:v>
                </c:pt>
                <c:pt idx="261">
                  <c:v>612.77654493024727</c:v>
                </c:pt>
                <c:pt idx="262">
                  <c:v>607.36152147597943</c:v>
                </c:pt>
                <c:pt idx="263">
                  <c:v>610.0278545176925</c:v>
                </c:pt>
                <c:pt idx="264">
                  <c:v>609.20629092776983</c:v>
                </c:pt>
                <c:pt idx="265">
                  <c:v>604.43048644574094</c:v>
                </c:pt>
                <c:pt idx="266">
                  <c:v>589.26033663529631</c:v>
                </c:pt>
                <c:pt idx="267">
                  <c:v>593.49736283125424</c:v>
                </c:pt>
                <c:pt idx="268">
                  <c:v>601.98139218018309</c:v>
                </c:pt>
                <c:pt idx="269">
                  <c:v>616.74231235335787</c:v>
                </c:pt>
                <c:pt idx="270">
                  <c:v>620.42664639356894</c:v>
                </c:pt>
                <c:pt idx="271">
                  <c:v>619.03615015649859</c:v>
                </c:pt>
                <c:pt idx="272">
                  <c:v>621.1785715211405</c:v>
                </c:pt>
                <c:pt idx="273">
                  <c:v>619.60214190727947</c:v>
                </c:pt>
                <c:pt idx="274">
                  <c:v>625.91758540899991</c:v>
                </c:pt>
                <c:pt idx="275">
                  <c:v>629.90195805480903</c:v>
                </c:pt>
                <c:pt idx="276">
                  <c:v>631.77682567220415</c:v>
                </c:pt>
                <c:pt idx="277">
                  <c:v>615.42320568121943</c:v>
                </c:pt>
                <c:pt idx="278">
                  <c:v>612.62835294917488</c:v>
                </c:pt>
                <c:pt idx="279">
                  <c:v>615.07579203200919</c:v>
                </c:pt>
                <c:pt idx="280">
                  <c:v>611.68723349262564</c:v>
                </c:pt>
                <c:pt idx="281">
                  <c:v>605.89865419099249</c:v>
                </c:pt>
                <c:pt idx="282">
                  <c:v>607.82417298342352</c:v>
                </c:pt>
                <c:pt idx="283">
                  <c:v>593.80728731844511</c:v>
                </c:pt>
                <c:pt idx="284">
                  <c:v>594.13417508707266</c:v>
                </c:pt>
                <c:pt idx="285">
                  <c:v>590.0403188055825</c:v>
                </c:pt>
                <c:pt idx="286">
                  <c:v>594.42450221081856</c:v>
                </c:pt>
                <c:pt idx="287">
                  <c:v>593.95894856250573</c:v>
                </c:pt>
                <c:pt idx="288">
                  <c:v>589.79089165063499</c:v>
                </c:pt>
                <c:pt idx="289">
                  <c:v>587.41849322359838</c:v>
                </c:pt>
                <c:pt idx="290">
                  <c:v>587.80815585589664</c:v>
                </c:pt>
                <c:pt idx="291">
                  <c:v>584.37722270101915</c:v>
                </c:pt>
                <c:pt idx="292">
                  <c:v>578.99850991867174</c:v>
                </c:pt>
                <c:pt idx="293">
                  <c:v>577.75874124112477</c:v>
                </c:pt>
                <c:pt idx="294">
                  <c:v>575.41552990252944</c:v>
                </c:pt>
                <c:pt idx="295">
                  <c:v>574.97393038155212</c:v>
                </c:pt>
                <c:pt idx="296">
                  <c:v>576.80332746509509</c:v>
                </c:pt>
                <c:pt idx="297">
                  <c:v>575.04084820794969</c:v>
                </c:pt>
                <c:pt idx="298">
                  <c:v>571.11669773034873</c:v>
                </c:pt>
                <c:pt idx="299">
                  <c:v>566.41345871965075</c:v>
                </c:pt>
                <c:pt idx="300">
                  <c:v>567.72087737954348</c:v>
                </c:pt>
                <c:pt idx="301">
                  <c:v>567.67174800372584</c:v>
                </c:pt>
                <c:pt idx="302">
                  <c:v>555.81985716611166</c:v>
                </c:pt>
                <c:pt idx="303">
                  <c:v>556.99476528827529</c:v>
                </c:pt>
                <c:pt idx="304">
                  <c:v>554.33772839866162</c:v>
                </c:pt>
                <c:pt idx="305">
                  <c:v>560.97738780039106</c:v>
                </c:pt>
                <c:pt idx="306">
                  <c:v>558.42426764214576</c:v>
                </c:pt>
                <c:pt idx="307">
                  <c:v>558.33762359027264</c:v>
                </c:pt>
                <c:pt idx="308">
                  <c:v>556.31567659755774</c:v>
                </c:pt>
                <c:pt idx="309">
                  <c:v>554.25670066436112</c:v>
                </c:pt>
                <c:pt idx="310">
                  <c:v>568.721730039102</c:v>
                </c:pt>
                <c:pt idx="311">
                  <c:v>570.82688573176267</c:v>
                </c:pt>
                <c:pt idx="312">
                  <c:v>567.39601813826914</c:v>
                </c:pt>
                <c:pt idx="313">
                  <c:v>568.74624127672007</c:v>
                </c:pt>
                <c:pt idx="314">
                  <c:v>569.34155479129754</c:v>
                </c:pt>
                <c:pt idx="315">
                  <c:v>569.17359233888942</c:v>
                </c:pt>
                <c:pt idx="316">
                  <c:v>557.06282769371126</c:v>
                </c:pt>
                <c:pt idx="317">
                  <c:v>557.20344620456638</c:v>
                </c:pt>
                <c:pt idx="318">
                  <c:v>554.17096995038878</c:v>
                </c:pt>
                <c:pt idx="319">
                  <c:v>554.7944522526999</c:v>
                </c:pt>
                <c:pt idx="320">
                  <c:v>551.55809591953528</c:v>
                </c:pt>
                <c:pt idx="321">
                  <c:v>559.48193941423312</c:v>
                </c:pt>
                <c:pt idx="322">
                  <c:v>556.75410268918085</c:v>
                </c:pt>
                <c:pt idx="323">
                  <c:v>556.89277115256596</c:v>
                </c:pt>
                <c:pt idx="324">
                  <c:v>550.39840772732737</c:v>
                </c:pt>
                <c:pt idx="325">
                  <c:v>552.59271850516336</c:v>
                </c:pt>
                <c:pt idx="326">
                  <c:v>553.99000373658077</c:v>
                </c:pt>
                <c:pt idx="327">
                  <c:v>551.46652249128999</c:v>
                </c:pt>
                <c:pt idx="328">
                  <c:v>553.72482796209351</c:v>
                </c:pt>
                <c:pt idx="329">
                  <c:v>554.42772092555458</c:v>
                </c:pt>
                <c:pt idx="330">
                  <c:v>553.17696183472424</c:v>
                </c:pt>
                <c:pt idx="331">
                  <c:v>552.40901583024015</c:v>
                </c:pt>
                <c:pt idx="332">
                  <c:v>546.72380648449223</c:v>
                </c:pt>
                <c:pt idx="333">
                  <c:v>555.9270371104044</c:v>
                </c:pt>
                <c:pt idx="334">
                  <c:v>555.09546717388275</c:v>
                </c:pt>
                <c:pt idx="335">
                  <c:v>551.22145371504519</c:v>
                </c:pt>
                <c:pt idx="336">
                  <c:v>545.77786648992765</c:v>
                </c:pt>
                <c:pt idx="337">
                  <c:v>550.77201363387746</c:v>
                </c:pt>
                <c:pt idx="338">
                  <c:v>552.03135932823307</c:v>
                </c:pt>
                <c:pt idx="339">
                  <c:v>557.51035454513203</c:v>
                </c:pt>
                <c:pt idx="340">
                  <c:v>558.03899956034854</c:v>
                </c:pt>
                <c:pt idx="341">
                  <c:v>554.23456029432805</c:v>
                </c:pt>
                <c:pt idx="342">
                  <c:v>557.51260753141082</c:v>
                </c:pt>
                <c:pt idx="343">
                  <c:v>561.43204340269062</c:v>
                </c:pt>
                <c:pt idx="344">
                  <c:v>549.74390584744867</c:v>
                </c:pt>
                <c:pt idx="345">
                  <c:v>542.83685256490139</c:v>
                </c:pt>
                <c:pt idx="346">
                  <c:v>528.54001397704371</c:v>
                </c:pt>
                <c:pt idx="347">
                  <c:v>528.37401610541735</c:v>
                </c:pt>
                <c:pt idx="348">
                  <c:v>529.36666971642978</c:v>
                </c:pt>
                <c:pt idx="349">
                  <c:v>523.02848125890887</c:v>
                </c:pt>
                <c:pt idx="350">
                  <c:v>514.07175045600195</c:v>
                </c:pt>
                <c:pt idx="351">
                  <c:v>499.48420978495619</c:v>
                </c:pt>
                <c:pt idx="352">
                  <c:v>508.22387201293606</c:v>
                </c:pt>
                <c:pt idx="353">
                  <c:v>509.97456120169107</c:v>
                </c:pt>
                <c:pt idx="354">
                  <c:v>506.21159613176292</c:v>
                </c:pt>
                <c:pt idx="355">
                  <c:v>513.24600934636658</c:v>
                </c:pt>
                <c:pt idx="356">
                  <c:v>519.0962828792035</c:v>
                </c:pt>
                <c:pt idx="357">
                  <c:v>521.09794976578519</c:v>
                </c:pt>
                <c:pt idx="358">
                  <c:v>517.96873139179058</c:v>
                </c:pt>
                <c:pt idx="359">
                  <c:v>523.15840066863984</c:v>
                </c:pt>
                <c:pt idx="360">
                  <c:v>528.51407266155275</c:v>
                </c:pt>
                <c:pt idx="361">
                  <c:v>535.94518101651352</c:v>
                </c:pt>
                <c:pt idx="362">
                  <c:v>540.50123278242233</c:v>
                </c:pt>
                <c:pt idx="363">
                  <c:v>538.7571010239144</c:v>
                </c:pt>
                <c:pt idx="364">
                  <c:v>537.14222563316048</c:v>
                </c:pt>
                <c:pt idx="365">
                  <c:v>531.63099036347205</c:v>
                </c:pt>
                <c:pt idx="366">
                  <c:v>530.29579370044985</c:v>
                </c:pt>
                <c:pt idx="367">
                  <c:v>526.0267929268631</c:v>
                </c:pt>
                <c:pt idx="368">
                  <c:v>529.24668075711418</c:v>
                </c:pt>
                <c:pt idx="369">
                  <c:v>526.42877786972304</c:v>
                </c:pt>
                <c:pt idx="370">
                  <c:v>531.94297373648953</c:v>
                </c:pt>
                <c:pt idx="371">
                  <c:v>533.03082829035202</c:v>
                </c:pt>
                <c:pt idx="372">
                  <c:v>543.58750457436656</c:v>
                </c:pt>
                <c:pt idx="373">
                  <c:v>536.08157937660826</c:v>
                </c:pt>
                <c:pt idx="374">
                  <c:v>533.1524989153146</c:v>
                </c:pt>
                <c:pt idx="375">
                  <c:v>539.5256364349292</c:v>
                </c:pt>
                <c:pt idx="376">
                  <c:v>540.45030902705128</c:v>
                </c:pt>
                <c:pt idx="377">
                  <c:v>540.80923887246649</c:v>
                </c:pt>
                <c:pt idx="378">
                  <c:v>543.58802648173832</c:v>
                </c:pt>
                <c:pt idx="379">
                  <c:v>545.67762474864901</c:v>
                </c:pt>
                <c:pt idx="380">
                  <c:v>533.76966148776592</c:v>
                </c:pt>
                <c:pt idx="381">
                  <c:v>542.49705178733143</c:v>
                </c:pt>
                <c:pt idx="382">
                  <c:v>541.13887085330884</c:v>
                </c:pt>
                <c:pt idx="383">
                  <c:v>539.33257527614728</c:v>
                </c:pt>
                <c:pt idx="384">
                  <c:v>552.94358268553776</c:v>
                </c:pt>
                <c:pt idx="385">
                  <c:v>553.91457487987884</c:v>
                </c:pt>
                <c:pt idx="386">
                  <c:v>561.74512420222402</c:v>
                </c:pt>
                <c:pt idx="387">
                  <c:v>564.32985269864275</c:v>
                </c:pt>
                <c:pt idx="388">
                  <c:v>557.58658467175337</c:v>
                </c:pt>
                <c:pt idx="389">
                  <c:v>552.5842756199429</c:v>
                </c:pt>
                <c:pt idx="390">
                  <c:v>547.88986575759475</c:v>
                </c:pt>
                <c:pt idx="391">
                  <c:v>549.65201462412051</c:v>
                </c:pt>
                <c:pt idx="392">
                  <c:v>542.44560450977588</c:v>
                </c:pt>
                <c:pt idx="393">
                  <c:v>543.43511408102006</c:v>
                </c:pt>
                <c:pt idx="394">
                  <c:v>542.71142297960353</c:v>
                </c:pt>
                <c:pt idx="395">
                  <c:v>537.53975789227263</c:v>
                </c:pt>
                <c:pt idx="396">
                  <c:v>529.91673328053071</c:v>
                </c:pt>
                <c:pt idx="397">
                  <c:v>527.13980641960245</c:v>
                </c:pt>
                <c:pt idx="398">
                  <c:v>520.83397185914589</c:v>
                </c:pt>
                <c:pt idx="399">
                  <c:v>514.83224846119322</c:v>
                </c:pt>
                <c:pt idx="400">
                  <c:v>514.01251784484066</c:v>
                </c:pt>
                <c:pt idx="401">
                  <c:v>507.03619314680367</c:v>
                </c:pt>
                <c:pt idx="402">
                  <c:v>506.4829130378572</c:v>
                </c:pt>
                <c:pt idx="403">
                  <c:v>497.90904327736467</c:v>
                </c:pt>
                <c:pt idx="404">
                  <c:v>499.88567249748166</c:v>
                </c:pt>
                <c:pt idx="405">
                  <c:v>497.18960785258156</c:v>
                </c:pt>
                <c:pt idx="406">
                  <c:v>513.85046980437664</c:v>
                </c:pt>
                <c:pt idx="407">
                  <c:v>519.92815672342124</c:v>
                </c:pt>
                <c:pt idx="408">
                  <c:v>511.64098301948252</c:v>
                </c:pt>
                <c:pt idx="409">
                  <c:v>512.34858897445247</c:v>
                </c:pt>
                <c:pt idx="410">
                  <c:v>511.31599653099005</c:v>
                </c:pt>
                <c:pt idx="411">
                  <c:v>518.90665206643064</c:v>
                </c:pt>
                <c:pt idx="412">
                  <c:v>533.2335237429528</c:v>
                </c:pt>
                <c:pt idx="413">
                  <c:v>525.03011229665492</c:v>
                </c:pt>
                <c:pt idx="414">
                  <c:v>542.68901374330369</c:v>
                </c:pt>
                <c:pt idx="415">
                  <c:v>566.73336161718566</c:v>
                </c:pt>
                <c:pt idx="416">
                  <c:v>570.89737810691781</c:v>
                </c:pt>
                <c:pt idx="417">
                  <c:v>567.33033402855517</c:v>
                </c:pt>
                <c:pt idx="418">
                  <c:v>576.44516465557604</c:v>
                </c:pt>
                <c:pt idx="419">
                  <c:v>577.75354671255445</c:v>
                </c:pt>
                <c:pt idx="420">
                  <c:v>573.61947126717928</c:v>
                </c:pt>
                <c:pt idx="421">
                  <c:v>574.47261477457687</c:v>
                </c:pt>
                <c:pt idx="422">
                  <c:v>564.65551320983639</c:v>
                </c:pt>
                <c:pt idx="423">
                  <c:v>568.97910271704689</c:v>
                </c:pt>
                <c:pt idx="424">
                  <c:v>566.07869583384718</c:v>
                </c:pt>
                <c:pt idx="425">
                  <c:v>566.44329722341956</c:v>
                </c:pt>
                <c:pt idx="426">
                  <c:v>569.29657031598174</c:v>
                </c:pt>
                <c:pt idx="427">
                  <c:v>560.64935803642493</c:v>
                </c:pt>
                <c:pt idx="428">
                  <c:v>552.9606150809459</c:v>
                </c:pt>
                <c:pt idx="429">
                  <c:v>546.12123406515559</c:v>
                </c:pt>
                <c:pt idx="430">
                  <c:v>539.48619431877751</c:v>
                </c:pt>
                <c:pt idx="431">
                  <c:v>538.03006451562158</c:v>
                </c:pt>
                <c:pt idx="432">
                  <c:v>527.76728538263581</c:v>
                </c:pt>
                <c:pt idx="433">
                  <c:v>526.9901472199715</c:v>
                </c:pt>
                <c:pt idx="434">
                  <c:v>530.91721857026539</c:v>
                </c:pt>
                <c:pt idx="435">
                  <c:v>526.8158421073673</c:v>
                </c:pt>
                <c:pt idx="436">
                  <c:v>511.70033674157486</c:v>
                </c:pt>
                <c:pt idx="437">
                  <c:v>511.27640003877167</c:v>
                </c:pt>
                <c:pt idx="438">
                  <c:v>508.88043326308508</c:v>
                </c:pt>
                <c:pt idx="439">
                  <c:v>510.94863526552251</c:v>
                </c:pt>
                <c:pt idx="440">
                  <c:v>513.3939452181902</c:v>
                </c:pt>
                <c:pt idx="441">
                  <c:v>508.96341960336144</c:v>
                </c:pt>
                <c:pt idx="442">
                  <c:v>506.93173771401433</c:v>
                </c:pt>
                <c:pt idx="443">
                  <c:v>498.60476130631207</c:v>
                </c:pt>
                <c:pt idx="444">
                  <c:v>498.99537393275295</c:v>
                </c:pt>
                <c:pt idx="445">
                  <c:v>494.91488975137412</c:v>
                </c:pt>
                <c:pt idx="446">
                  <c:v>494.96142218586908</c:v>
                </c:pt>
                <c:pt idx="447">
                  <c:v>496.19023597600579</c:v>
                </c:pt>
                <c:pt idx="448">
                  <c:v>501.71426411259307</c:v>
                </c:pt>
                <c:pt idx="449">
                  <c:v>494.65874368493814</c:v>
                </c:pt>
                <c:pt idx="450">
                  <c:v>491.56279512960884</c:v>
                </c:pt>
                <c:pt idx="451">
                  <c:v>487.30574251454766</c:v>
                </c:pt>
                <c:pt idx="452">
                  <c:v>491.09723760574616</c:v>
                </c:pt>
                <c:pt idx="453">
                  <c:v>489.89456488339601</c:v>
                </c:pt>
                <c:pt idx="454">
                  <c:v>480.23277274691964</c:v>
                </c:pt>
                <c:pt idx="455">
                  <c:v>479.15564280821735</c:v>
                </c:pt>
                <c:pt idx="456">
                  <c:v>481.84199887792755</c:v>
                </c:pt>
                <c:pt idx="457">
                  <c:v>478.82785413574447</c:v>
                </c:pt>
                <c:pt idx="458">
                  <c:v>478.08900059169417</c:v>
                </c:pt>
                <c:pt idx="459">
                  <c:v>473.27889103476201</c:v>
                </c:pt>
                <c:pt idx="460">
                  <c:v>471.34424693738481</c:v>
                </c:pt>
                <c:pt idx="461">
                  <c:v>464.25715644261072</c:v>
                </c:pt>
                <c:pt idx="462">
                  <c:v>460.82865923225842</c:v>
                </c:pt>
                <c:pt idx="463">
                  <c:v>457.16879282973019</c:v>
                </c:pt>
                <c:pt idx="464">
                  <c:v>467.76634453739427</c:v>
                </c:pt>
                <c:pt idx="465">
                  <c:v>466.53167527596651</c:v>
                </c:pt>
                <c:pt idx="466">
                  <c:v>468.88128062579261</c:v>
                </c:pt>
                <c:pt idx="467">
                  <c:v>469.93428785074343</c:v>
                </c:pt>
                <c:pt idx="468">
                  <c:v>468.79412532430939</c:v>
                </c:pt>
                <c:pt idx="469">
                  <c:v>464.86407771325702</c:v>
                </c:pt>
                <c:pt idx="470">
                  <c:v>466.92988930887941</c:v>
                </c:pt>
                <c:pt idx="471">
                  <c:v>465.06464936457218</c:v>
                </c:pt>
                <c:pt idx="472">
                  <c:v>463.63234014376525</c:v>
                </c:pt>
                <c:pt idx="473">
                  <c:v>465.24780930104339</c:v>
                </c:pt>
                <c:pt idx="474">
                  <c:v>473.19640544781498</c:v>
                </c:pt>
                <c:pt idx="475">
                  <c:v>473.97655846525453</c:v>
                </c:pt>
                <c:pt idx="476">
                  <c:v>466.5827377437239</c:v>
                </c:pt>
                <c:pt idx="477">
                  <c:v>460.50410050757415</c:v>
                </c:pt>
                <c:pt idx="478">
                  <c:v>453.12349347305724</c:v>
                </c:pt>
                <c:pt idx="479">
                  <c:v>444.86137923555077</c:v>
                </c:pt>
                <c:pt idx="480">
                  <c:v>446.20721912718761</c:v>
                </c:pt>
                <c:pt idx="481">
                  <c:v>448.32136448055172</c:v>
                </c:pt>
                <c:pt idx="482">
                  <c:v>449.50815035541962</c:v>
                </c:pt>
                <c:pt idx="483">
                  <c:v>446.76044675473071</c:v>
                </c:pt>
                <c:pt idx="484">
                  <c:v>446.97796860750202</c:v>
                </c:pt>
                <c:pt idx="485">
                  <c:v>444.38892985379033</c:v>
                </c:pt>
                <c:pt idx="486">
                  <c:v>439.01395213255432</c:v>
                </c:pt>
                <c:pt idx="487">
                  <c:v>432.99812770816692</c:v>
                </c:pt>
                <c:pt idx="488">
                  <c:v>431.79088765038762</c:v>
                </c:pt>
                <c:pt idx="489">
                  <c:v>434.81173547889739</c:v>
                </c:pt>
                <c:pt idx="490">
                  <c:v>430.43246449450311</c:v>
                </c:pt>
                <c:pt idx="491">
                  <c:v>425.82951034057544</c:v>
                </c:pt>
                <c:pt idx="492">
                  <c:v>419.90808881874358</c:v>
                </c:pt>
                <c:pt idx="493">
                  <c:v>421.32317041332175</c:v>
                </c:pt>
                <c:pt idx="494">
                  <c:v>419.83298889933025</c:v>
                </c:pt>
                <c:pt idx="495">
                  <c:v>416.42060880871031</c:v>
                </c:pt>
                <c:pt idx="496">
                  <c:v>408.91217144728108</c:v>
                </c:pt>
                <c:pt idx="497">
                  <c:v>405.42692068578401</c:v>
                </c:pt>
                <c:pt idx="498">
                  <c:v>404.44529043022817</c:v>
                </c:pt>
                <c:pt idx="499">
                  <c:v>406.44342523761878</c:v>
                </c:pt>
                <c:pt idx="500">
                  <c:v>403.65600645599898</c:v>
                </c:pt>
                <c:pt idx="501">
                  <c:v>397.04847859166483</c:v>
                </c:pt>
                <c:pt idx="502">
                  <c:v>405.00915773379847</c:v>
                </c:pt>
                <c:pt idx="503">
                  <c:v>407.91906956434281</c:v>
                </c:pt>
                <c:pt idx="504">
                  <c:v>413.0797629702144</c:v>
                </c:pt>
                <c:pt idx="505">
                  <c:v>414.66132994828638</c:v>
                </c:pt>
                <c:pt idx="506">
                  <c:v>413.72656510154519</c:v>
                </c:pt>
                <c:pt idx="507">
                  <c:v>414.65737010528704</c:v>
                </c:pt>
                <c:pt idx="508">
                  <c:v>415.79061525978733</c:v>
                </c:pt>
                <c:pt idx="509">
                  <c:v>416.9945415610137</c:v>
                </c:pt>
                <c:pt idx="510">
                  <c:v>414.2305026794354</c:v>
                </c:pt>
                <c:pt idx="511">
                  <c:v>413.33327366279224</c:v>
                </c:pt>
                <c:pt idx="512">
                  <c:v>409.82724446405115</c:v>
                </c:pt>
                <c:pt idx="513">
                  <c:v>410.55638701069296</c:v>
                </c:pt>
                <c:pt idx="514">
                  <c:v>410.84520024780147</c:v>
                </c:pt>
                <c:pt idx="515">
                  <c:v>409.93111065179102</c:v>
                </c:pt>
                <c:pt idx="516">
                  <c:v>411.83562073472791</c:v>
                </c:pt>
                <c:pt idx="517">
                  <c:v>418.64991014931894</c:v>
                </c:pt>
                <c:pt idx="518">
                  <c:v>413.13037716604595</c:v>
                </c:pt>
                <c:pt idx="519">
                  <c:v>410.46017971674706</c:v>
                </c:pt>
                <c:pt idx="520">
                  <c:v>412.06537608337823</c:v>
                </c:pt>
                <c:pt idx="521">
                  <c:v>407.78798878152429</c:v>
                </c:pt>
                <c:pt idx="522">
                  <c:v>407.19228948826134</c:v>
                </c:pt>
                <c:pt idx="523">
                  <c:v>403.32292798102333</c:v>
                </c:pt>
                <c:pt idx="524">
                  <c:v>405.4334786004747</c:v>
                </c:pt>
                <c:pt idx="525">
                  <c:v>405.24391770907937</c:v>
                </c:pt>
                <c:pt idx="526">
                  <c:v>410.98020452212108</c:v>
                </c:pt>
                <c:pt idx="527">
                  <c:v>413.79073837709757</c:v>
                </c:pt>
                <c:pt idx="528">
                  <c:v>415.81869105983441</c:v>
                </c:pt>
                <c:pt idx="529">
                  <c:v>409.55153247421782</c:v>
                </c:pt>
                <c:pt idx="530">
                  <c:v>414.54540631734341</c:v>
                </c:pt>
                <c:pt idx="531">
                  <c:v>421.17633800987392</c:v>
                </c:pt>
                <c:pt idx="532">
                  <c:v>414.86162831959666</c:v>
                </c:pt>
                <c:pt idx="533">
                  <c:v>414.91511297644274</c:v>
                </c:pt>
                <c:pt idx="534">
                  <c:v>411.98869686056935</c:v>
                </c:pt>
                <c:pt idx="535">
                  <c:v>411.92318686465279</c:v>
                </c:pt>
                <c:pt idx="536">
                  <c:v>404.48520224808078</c:v>
                </c:pt>
                <c:pt idx="537">
                  <c:v>402.74499646128618</c:v>
                </c:pt>
                <c:pt idx="538">
                  <c:v>407.00556604110335</c:v>
                </c:pt>
                <c:pt idx="539">
                  <c:v>404.4946994848014</c:v>
                </c:pt>
                <c:pt idx="540">
                  <c:v>402.1481105998792</c:v>
                </c:pt>
                <c:pt idx="541">
                  <c:v>402.42606255205271</c:v>
                </c:pt>
                <c:pt idx="542">
                  <c:v>401.20373735275109</c:v>
                </c:pt>
                <c:pt idx="543">
                  <c:v>402.86199450096871</c:v>
                </c:pt>
                <c:pt idx="544">
                  <c:v>405.14680909040584</c:v>
                </c:pt>
                <c:pt idx="545">
                  <c:v>402.93092821095684</c:v>
                </c:pt>
                <c:pt idx="546">
                  <c:v>396.89235799648043</c:v>
                </c:pt>
                <c:pt idx="547">
                  <c:v>391.06414280023165</c:v>
                </c:pt>
                <c:pt idx="548">
                  <c:v>392.27051551762952</c:v>
                </c:pt>
                <c:pt idx="549">
                  <c:v>391.67588844410955</c:v>
                </c:pt>
                <c:pt idx="550">
                  <c:v>385.99255430052847</c:v>
                </c:pt>
                <c:pt idx="551">
                  <c:v>388.81741644870607</c:v>
                </c:pt>
                <c:pt idx="552">
                  <c:v>391.65407463677224</c:v>
                </c:pt>
                <c:pt idx="553">
                  <c:v>395.79830468563659</c:v>
                </c:pt>
                <c:pt idx="554">
                  <c:v>398.30449592958024</c:v>
                </c:pt>
                <c:pt idx="555">
                  <c:v>403.05188145398074</c:v>
                </c:pt>
                <c:pt idx="556">
                  <c:v>396.69622242234414</c:v>
                </c:pt>
                <c:pt idx="557">
                  <c:v>399.11178944322904</c:v>
                </c:pt>
                <c:pt idx="558">
                  <c:v>401.30867830246621</c:v>
                </c:pt>
                <c:pt idx="559">
                  <c:v>405.51140543147216</c:v>
                </c:pt>
                <c:pt idx="560">
                  <c:v>412.46840433732422</c:v>
                </c:pt>
                <c:pt idx="561">
                  <c:v>416.86996048877228</c:v>
                </c:pt>
                <c:pt idx="562">
                  <c:v>413.80756302242736</c:v>
                </c:pt>
                <c:pt idx="563">
                  <c:v>413.32161933495524</c:v>
                </c:pt>
                <c:pt idx="564">
                  <c:v>416.31871790885191</c:v>
                </c:pt>
                <c:pt idx="565">
                  <c:v>414.05186329895264</c:v>
                </c:pt>
                <c:pt idx="566">
                  <c:v>412.18294313732071</c:v>
                </c:pt>
                <c:pt idx="567">
                  <c:v>414.19912440320513</c:v>
                </c:pt>
                <c:pt idx="568">
                  <c:v>413.24164830255086</c:v>
                </c:pt>
                <c:pt idx="569">
                  <c:v>410.00780657762323</c:v>
                </c:pt>
                <c:pt idx="570">
                  <c:v>413.85466128542453</c:v>
                </c:pt>
                <c:pt idx="571">
                  <c:v>411.22390688192826</c:v>
                </c:pt>
                <c:pt idx="572">
                  <c:v>410.72510863141042</c:v>
                </c:pt>
                <c:pt idx="573">
                  <c:v>414.02599677998984</c:v>
                </c:pt>
                <c:pt idx="574">
                  <c:v>414.37004289904769</c:v>
                </c:pt>
                <c:pt idx="575">
                  <c:v>407.75199290127915</c:v>
                </c:pt>
                <c:pt idx="576">
                  <c:v>406.59942842050219</c:v>
                </c:pt>
                <c:pt idx="577">
                  <c:v>409.46305053251859</c:v>
                </c:pt>
                <c:pt idx="578">
                  <c:v>400.46816417046654</c:v>
                </c:pt>
                <c:pt idx="579">
                  <c:v>399.95922776973117</c:v>
                </c:pt>
                <c:pt idx="580">
                  <c:v>395.94138536025707</c:v>
                </c:pt>
                <c:pt idx="581">
                  <c:v>396.05115076243385</c:v>
                </c:pt>
                <c:pt idx="582">
                  <c:v>395.91289708255687</c:v>
                </c:pt>
                <c:pt idx="583">
                  <c:v>398.52209974904116</c:v>
                </c:pt>
                <c:pt idx="584">
                  <c:v>394.21133963128358</c:v>
                </c:pt>
                <c:pt idx="585">
                  <c:v>389.15634757303599</c:v>
                </c:pt>
                <c:pt idx="586">
                  <c:v>392.13334806830818</c:v>
                </c:pt>
                <c:pt idx="587">
                  <c:v>394.60495996950146</c:v>
                </c:pt>
                <c:pt idx="588">
                  <c:v>393.67877632647821</c:v>
                </c:pt>
                <c:pt idx="589">
                  <c:v>394.7954282725359</c:v>
                </c:pt>
                <c:pt idx="590">
                  <c:v>395.83744315837174</c:v>
                </c:pt>
                <c:pt idx="591">
                  <c:v>395.18324262793215</c:v>
                </c:pt>
                <c:pt idx="592">
                  <c:v>386.35397866797393</c:v>
                </c:pt>
                <c:pt idx="593">
                  <c:v>379.21313388593393</c:v>
                </c:pt>
                <c:pt idx="594">
                  <c:v>375.47808942782279</c:v>
                </c:pt>
                <c:pt idx="595">
                  <c:v>374.95637833630468</c:v>
                </c:pt>
                <c:pt idx="596">
                  <c:v>372.3442506316494</c:v>
                </c:pt>
                <c:pt idx="597">
                  <c:v>376.21957497189078</c:v>
                </c:pt>
                <c:pt idx="598">
                  <c:v>366.50870877375411</c:v>
                </c:pt>
                <c:pt idx="599">
                  <c:v>363.30345585975351</c:v>
                </c:pt>
                <c:pt idx="600">
                  <c:v>366.51995766075089</c:v>
                </c:pt>
                <c:pt idx="601">
                  <c:v>363.97403415151132</c:v>
                </c:pt>
                <c:pt idx="602">
                  <c:v>361.69566046631888</c:v>
                </c:pt>
                <c:pt idx="603">
                  <c:v>357.21724275753485</c:v>
                </c:pt>
                <c:pt idx="604">
                  <c:v>358.49770238435616</c:v>
                </c:pt>
                <c:pt idx="605">
                  <c:v>358.386781563966</c:v>
                </c:pt>
                <c:pt idx="606">
                  <c:v>358.0556390567462</c:v>
                </c:pt>
                <c:pt idx="607">
                  <c:v>358.1102712646441</c:v>
                </c:pt>
                <c:pt idx="608">
                  <c:v>356.78718689345027</c:v>
                </c:pt>
                <c:pt idx="609">
                  <c:v>357.31739518432056</c:v>
                </c:pt>
                <c:pt idx="610">
                  <c:v>347.71441600438573</c:v>
                </c:pt>
                <c:pt idx="611">
                  <c:v>346.17890761250959</c:v>
                </c:pt>
                <c:pt idx="612">
                  <c:v>345.38264523379644</c:v>
                </c:pt>
                <c:pt idx="613">
                  <c:v>343.33324802493343</c:v>
                </c:pt>
                <c:pt idx="614">
                  <c:v>346.23686069241148</c:v>
                </c:pt>
                <c:pt idx="615">
                  <c:v>339.33664407850637</c:v>
                </c:pt>
                <c:pt idx="616">
                  <c:v>334.68842969702996</c:v>
                </c:pt>
                <c:pt idx="617">
                  <c:v>332.5935121852915</c:v>
                </c:pt>
                <c:pt idx="618">
                  <c:v>332.44314320173606</c:v>
                </c:pt>
                <c:pt idx="619">
                  <c:v>334.22754284550206</c:v>
                </c:pt>
                <c:pt idx="620">
                  <c:v>333.00484237107992</c:v>
                </c:pt>
                <c:pt idx="621">
                  <c:v>331.66330301381225</c:v>
                </c:pt>
                <c:pt idx="622">
                  <c:v>329.50400337690826</c:v>
                </c:pt>
                <c:pt idx="623">
                  <c:v>328.39021020275931</c:v>
                </c:pt>
                <c:pt idx="624">
                  <c:v>326.91478028246269</c:v>
                </c:pt>
                <c:pt idx="625">
                  <c:v>321.87813469823453</c:v>
                </c:pt>
                <c:pt idx="626">
                  <c:v>320.13997521556223</c:v>
                </c:pt>
                <c:pt idx="627">
                  <c:v>321.04195193574805</c:v>
                </c:pt>
                <c:pt idx="628">
                  <c:v>322.31335702111761</c:v>
                </c:pt>
                <c:pt idx="629">
                  <c:v>322.22079460099434</c:v>
                </c:pt>
                <c:pt idx="630">
                  <c:v>323.82000624579501</c:v>
                </c:pt>
                <c:pt idx="631">
                  <c:v>324.39718127498986</c:v>
                </c:pt>
                <c:pt idx="632">
                  <c:v>323.05147772564248</c:v>
                </c:pt>
                <c:pt idx="633">
                  <c:v>324.77981371785859</c:v>
                </c:pt>
                <c:pt idx="634">
                  <c:v>325.00123462246535</c:v>
                </c:pt>
                <c:pt idx="635">
                  <c:v>323.953370500164</c:v>
                </c:pt>
                <c:pt idx="636">
                  <c:v>316.97427418948467</c:v>
                </c:pt>
                <c:pt idx="637">
                  <c:v>314.01541385254967</c:v>
                </c:pt>
                <c:pt idx="638">
                  <c:v>309.49485898974268</c:v>
                </c:pt>
                <c:pt idx="639">
                  <c:v>307.89295461663346</c:v>
                </c:pt>
                <c:pt idx="640">
                  <c:v>312.62015082387637</c:v>
                </c:pt>
                <c:pt idx="641">
                  <c:v>316.14315109548926</c:v>
                </c:pt>
                <c:pt idx="642">
                  <c:v>317.79544793751813</c:v>
                </c:pt>
                <c:pt idx="643">
                  <c:v>313.82253854721978</c:v>
                </c:pt>
                <c:pt idx="644">
                  <c:v>313.6614975458977</c:v>
                </c:pt>
                <c:pt idx="645">
                  <c:v>313.26339340056705</c:v>
                </c:pt>
                <c:pt idx="646">
                  <c:v>315.25946197397451</c:v>
                </c:pt>
                <c:pt idx="647">
                  <c:v>316.29334773637009</c:v>
                </c:pt>
                <c:pt idx="648">
                  <c:v>315.205096258916</c:v>
                </c:pt>
                <c:pt idx="649">
                  <c:v>318.5144276447773</c:v>
                </c:pt>
                <c:pt idx="650">
                  <c:v>318.82002001454259</c:v>
                </c:pt>
                <c:pt idx="651">
                  <c:v>318.76909808742585</c:v>
                </c:pt>
                <c:pt idx="652">
                  <c:v>320.12819304892986</c:v>
                </c:pt>
                <c:pt idx="653">
                  <c:v>318.45454688014507</c:v>
                </c:pt>
                <c:pt idx="654">
                  <c:v>319.28980313278055</c:v>
                </c:pt>
                <c:pt idx="655">
                  <c:v>319.10868257211257</c:v>
                </c:pt>
                <c:pt idx="656">
                  <c:v>321.40519746548796</c:v>
                </c:pt>
                <c:pt idx="657">
                  <c:v>317.88396110267189</c:v>
                </c:pt>
                <c:pt idx="658">
                  <c:v>319.20593108362334</c:v>
                </c:pt>
                <c:pt idx="659">
                  <c:v>316.03458843857135</c:v>
                </c:pt>
                <c:pt idx="660">
                  <c:v>314.77104867140781</c:v>
                </c:pt>
                <c:pt idx="661">
                  <c:v>314.49172780909299</c:v>
                </c:pt>
                <c:pt idx="662">
                  <c:v>314.05555613171583</c:v>
                </c:pt>
                <c:pt idx="663">
                  <c:v>314.43900132315275</c:v>
                </c:pt>
                <c:pt idx="664">
                  <c:v>317.06745404487691</c:v>
                </c:pt>
                <c:pt idx="665">
                  <c:v>315.65638558878197</c:v>
                </c:pt>
                <c:pt idx="666">
                  <c:v>315.81979348829276</c:v>
                </c:pt>
                <c:pt idx="667">
                  <c:v>319.66451889899031</c:v>
                </c:pt>
                <c:pt idx="668">
                  <c:v>321.22902159420704</c:v>
                </c:pt>
                <c:pt idx="669">
                  <c:v>321.46815117055723</c:v>
                </c:pt>
                <c:pt idx="670">
                  <c:v>320.8150820378608</c:v>
                </c:pt>
                <c:pt idx="671">
                  <c:v>312.96268600496376</c:v>
                </c:pt>
                <c:pt idx="672">
                  <c:v>307.26577056417233</c:v>
                </c:pt>
                <c:pt idx="673">
                  <c:v>310.84036806566752</c:v>
                </c:pt>
                <c:pt idx="674">
                  <c:v>315.06909109662359</c:v>
                </c:pt>
                <c:pt idx="675">
                  <c:v>313.79202830864301</c:v>
                </c:pt>
                <c:pt idx="676">
                  <c:v>314.94011620524577</c:v>
                </c:pt>
                <c:pt idx="677">
                  <c:v>312.63484446467294</c:v>
                </c:pt>
                <c:pt idx="678">
                  <c:v>311.97954907112148</c:v>
                </c:pt>
                <c:pt idx="679">
                  <c:v>308.14012811094472</c:v>
                </c:pt>
                <c:pt idx="680">
                  <c:v>309.07674797638435</c:v>
                </c:pt>
                <c:pt idx="681">
                  <c:v>309.48956230808028</c:v>
                </c:pt>
                <c:pt idx="682">
                  <c:v>312.62866734038994</c:v>
                </c:pt>
                <c:pt idx="683">
                  <c:v>309.58065813571653</c:v>
                </c:pt>
                <c:pt idx="684">
                  <c:v>311.8038338301518</c:v>
                </c:pt>
                <c:pt idx="685">
                  <c:v>310.06166775824033</c:v>
                </c:pt>
                <c:pt idx="686">
                  <c:v>311.74247290902588</c:v>
                </c:pt>
                <c:pt idx="687">
                  <c:v>314.49644909130927</c:v>
                </c:pt>
                <c:pt idx="688">
                  <c:v>313.26555919030824</c:v>
                </c:pt>
                <c:pt idx="689">
                  <c:v>316.31123169035612</c:v>
                </c:pt>
                <c:pt idx="690">
                  <c:v>317.85025719139946</c:v>
                </c:pt>
                <c:pt idx="691">
                  <c:v>317.37547223017316</c:v>
                </c:pt>
                <c:pt idx="692">
                  <c:v>316.28564006299848</c:v>
                </c:pt>
                <c:pt idx="693">
                  <c:v>318.13070407624741</c:v>
                </c:pt>
                <c:pt idx="694">
                  <c:v>318.01484847701386</c:v>
                </c:pt>
                <c:pt idx="695">
                  <c:v>317.29126124882146</c:v>
                </c:pt>
                <c:pt idx="696">
                  <c:v>321.54164545270805</c:v>
                </c:pt>
                <c:pt idx="697">
                  <c:v>319.80257478793231</c:v>
                </c:pt>
                <c:pt idx="698">
                  <c:v>315.76611949558696</c:v>
                </c:pt>
                <c:pt idx="699">
                  <c:v>319.97269048774422</c:v>
                </c:pt>
                <c:pt idx="700">
                  <c:v>319.57787735680506</c:v>
                </c:pt>
                <c:pt idx="701">
                  <c:v>322.37709580082151</c:v>
                </c:pt>
                <c:pt idx="702">
                  <c:v>321.07600951904908</c:v>
                </c:pt>
                <c:pt idx="703">
                  <c:v>321.73858181327341</c:v>
                </c:pt>
                <c:pt idx="704">
                  <c:v>324.66397756176798</c:v>
                </c:pt>
                <c:pt idx="705">
                  <c:v>322.65994746229194</c:v>
                </c:pt>
                <c:pt idx="706">
                  <c:v>323.01894086487414</c:v>
                </c:pt>
                <c:pt idx="707">
                  <c:v>324.68538878742783</c:v>
                </c:pt>
                <c:pt idx="708">
                  <c:v>320.1644528726157</c:v>
                </c:pt>
                <c:pt idx="709">
                  <c:v>327.82775480854127</c:v>
                </c:pt>
                <c:pt idx="710">
                  <c:v>327.47954113789746</c:v>
                </c:pt>
                <c:pt idx="711">
                  <c:v>321.4299714309995</c:v>
                </c:pt>
                <c:pt idx="712">
                  <c:v>319.16291474679463</c:v>
                </c:pt>
                <c:pt idx="713">
                  <c:v>317.92288241125749</c:v>
                </c:pt>
                <c:pt idx="714">
                  <c:v>321.60683814276263</c:v>
                </c:pt>
                <c:pt idx="715">
                  <c:v>323.30126084247445</c:v>
                </c:pt>
                <c:pt idx="716">
                  <c:v>323.20531682727045</c:v>
                </c:pt>
                <c:pt idx="717">
                  <c:v>325.68292263367039</c:v>
                </c:pt>
                <c:pt idx="718">
                  <c:v>324.05512100211553</c:v>
                </c:pt>
                <c:pt idx="719">
                  <c:v>324.67083238246471</c:v>
                </c:pt>
                <c:pt idx="720">
                  <c:v>327.28609446452907</c:v>
                </c:pt>
                <c:pt idx="721">
                  <c:v>328.94289245712213</c:v>
                </c:pt>
                <c:pt idx="722">
                  <c:v>328.30027092716983</c:v>
                </c:pt>
                <c:pt idx="723">
                  <c:v>332.65453094069801</c:v>
                </c:pt>
                <c:pt idx="724">
                  <c:v>331.35419953999718</c:v>
                </c:pt>
                <c:pt idx="725">
                  <c:v>329.29405644622216</c:v>
                </c:pt>
                <c:pt idx="726">
                  <c:v>329.28491283585879</c:v>
                </c:pt>
                <c:pt idx="727">
                  <c:v>328.304642106833</c:v>
                </c:pt>
                <c:pt idx="728">
                  <c:v>327.54214835188287</c:v>
                </c:pt>
                <c:pt idx="729">
                  <c:v>329.33748810202047</c:v>
                </c:pt>
                <c:pt idx="730">
                  <c:v>322.37659422652695</c:v>
                </c:pt>
                <c:pt idx="731">
                  <c:v>318.18608969543288</c:v>
                </c:pt>
                <c:pt idx="732">
                  <c:v>317.68190699614991</c:v>
                </c:pt>
                <c:pt idx="733">
                  <c:v>316.66848394479672</c:v>
                </c:pt>
                <c:pt idx="734">
                  <c:v>316.03384002454936</c:v>
                </c:pt>
                <c:pt idx="735">
                  <c:v>321.02050317899904</c:v>
                </c:pt>
                <c:pt idx="736">
                  <c:v>326.21131674662098</c:v>
                </c:pt>
                <c:pt idx="737">
                  <c:v>326.50840708230851</c:v>
                </c:pt>
                <c:pt idx="738">
                  <c:v>318.93057853947295</c:v>
                </c:pt>
                <c:pt idx="739">
                  <c:v>321.15298799387313</c:v>
                </c:pt>
                <c:pt idx="740">
                  <c:v>322.56198279995181</c:v>
                </c:pt>
                <c:pt idx="741">
                  <c:v>322.69729831050012</c:v>
                </c:pt>
                <c:pt idx="742">
                  <c:v>322.20183139877804</c:v>
                </c:pt>
                <c:pt idx="743">
                  <c:v>322.09392354617393</c:v>
                </c:pt>
                <c:pt idx="744">
                  <c:v>321.97266913188923</c:v>
                </c:pt>
                <c:pt idx="745">
                  <c:v>321.94062645137865</c:v>
                </c:pt>
                <c:pt idx="746">
                  <c:v>322.19918435266999</c:v>
                </c:pt>
                <c:pt idx="747">
                  <c:v>317.11503471168191</c:v>
                </c:pt>
                <c:pt idx="748">
                  <c:v>310.77046728912677</c:v>
                </c:pt>
                <c:pt idx="749">
                  <c:v>308.55766782550575</c:v>
                </c:pt>
                <c:pt idx="750">
                  <c:v>307.88224074656375</c:v>
                </c:pt>
                <c:pt idx="751">
                  <c:v>306.85969875507493</c:v>
                </c:pt>
                <c:pt idx="752">
                  <c:v>306.68913911379758</c:v>
                </c:pt>
                <c:pt idx="753">
                  <c:v>306.53816757805112</c:v>
                </c:pt>
                <c:pt idx="754">
                  <c:v>306.89133960462777</c:v>
                </c:pt>
                <c:pt idx="755">
                  <c:v>305.58925082694174</c:v>
                </c:pt>
                <c:pt idx="756">
                  <c:v>307.59587899649421</c:v>
                </c:pt>
                <c:pt idx="757">
                  <c:v>305.71278322705678</c:v>
                </c:pt>
                <c:pt idx="758">
                  <c:v>303.80977819942393</c:v>
                </c:pt>
                <c:pt idx="759">
                  <c:v>303.2321824125363</c:v>
                </c:pt>
                <c:pt idx="760">
                  <c:v>306.78758738635611</c:v>
                </c:pt>
                <c:pt idx="761">
                  <c:v>308.04214293912116</c:v>
                </c:pt>
                <c:pt idx="762">
                  <c:v>310.62145766934543</c:v>
                </c:pt>
                <c:pt idx="763">
                  <c:v>307.3772860987628</c:v>
                </c:pt>
                <c:pt idx="764">
                  <c:v>305.56107836374542</c:v>
                </c:pt>
                <c:pt idx="765">
                  <c:v>305.85026960566836</c:v>
                </c:pt>
                <c:pt idx="766">
                  <c:v>303.76195975812163</c:v>
                </c:pt>
                <c:pt idx="767">
                  <c:v>299.65757165778615</c:v>
                </c:pt>
                <c:pt idx="768">
                  <c:v>299.70024073289608</c:v>
                </c:pt>
                <c:pt idx="769">
                  <c:v>298.80022064534177</c:v>
                </c:pt>
                <c:pt idx="770">
                  <c:v>305.65199412829634</c:v>
                </c:pt>
                <c:pt idx="771">
                  <c:v>311.78339768474189</c:v>
                </c:pt>
                <c:pt idx="772">
                  <c:v>319.95641886646968</c:v>
                </c:pt>
                <c:pt idx="773">
                  <c:v>317.26945771341337</c:v>
                </c:pt>
                <c:pt idx="774">
                  <c:v>308.9369872210093</c:v>
                </c:pt>
                <c:pt idx="775">
                  <c:v>306.45741404597072</c:v>
                </c:pt>
                <c:pt idx="776">
                  <c:v>310.85043980895887</c:v>
                </c:pt>
                <c:pt idx="777">
                  <c:v>309.96506056889638</c:v>
                </c:pt>
                <c:pt idx="778">
                  <c:v>309.91099327164642</c:v>
                </c:pt>
                <c:pt idx="779">
                  <c:v>309.11132242360947</c:v>
                </c:pt>
                <c:pt idx="780">
                  <c:v>306.86397049124537</c:v>
                </c:pt>
                <c:pt idx="781">
                  <c:v>301.16136535336517</c:v>
                </c:pt>
                <c:pt idx="782">
                  <c:v>300.78314542532394</c:v>
                </c:pt>
                <c:pt idx="783">
                  <c:v>301.17230170955327</c:v>
                </c:pt>
                <c:pt idx="784">
                  <c:v>296.14456160001276</c:v>
                </c:pt>
                <c:pt idx="785">
                  <c:v>297.06551731454459</c:v>
                </c:pt>
                <c:pt idx="786">
                  <c:v>296.20506465755153</c:v>
                </c:pt>
                <c:pt idx="787">
                  <c:v>296.64225121097564</c:v>
                </c:pt>
                <c:pt idx="788">
                  <c:v>292.03359838597277</c:v>
                </c:pt>
                <c:pt idx="789">
                  <c:v>291.09303488120901</c:v>
                </c:pt>
                <c:pt idx="790">
                  <c:v>291.32952803839771</c:v>
                </c:pt>
                <c:pt idx="791">
                  <c:v>291.38149854715579</c:v>
                </c:pt>
                <c:pt idx="792">
                  <c:v>288.44383266303464</c:v>
                </c:pt>
                <c:pt idx="793">
                  <c:v>285.83019697666072</c:v>
                </c:pt>
                <c:pt idx="794">
                  <c:v>290.06853001515697</c:v>
                </c:pt>
                <c:pt idx="795">
                  <c:v>294.10429628916773</c:v>
                </c:pt>
                <c:pt idx="796">
                  <c:v>294.56478406680958</c:v>
                </c:pt>
                <c:pt idx="797">
                  <c:v>296.77795803019541</c:v>
                </c:pt>
                <c:pt idx="798">
                  <c:v>289.74168595293514</c:v>
                </c:pt>
                <c:pt idx="799">
                  <c:v>294.41728192060373</c:v>
                </c:pt>
                <c:pt idx="800">
                  <c:v>294.06507580424841</c:v>
                </c:pt>
                <c:pt idx="801">
                  <c:v>293.10465090431643</c:v>
                </c:pt>
                <c:pt idx="802">
                  <c:v>288.64619029707819</c:v>
                </c:pt>
                <c:pt idx="803">
                  <c:v>289.31245335629853</c:v>
                </c:pt>
                <c:pt idx="804">
                  <c:v>286.2198473624905</c:v>
                </c:pt>
                <c:pt idx="805">
                  <c:v>287.93736521363616</c:v>
                </c:pt>
                <c:pt idx="806">
                  <c:v>287.99516092255698</c:v>
                </c:pt>
                <c:pt idx="807">
                  <c:v>285.89202321171234</c:v>
                </c:pt>
                <c:pt idx="808">
                  <c:v>283.20184821354087</c:v>
                </c:pt>
                <c:pt idx="809">
                  <c:v>279.24133380946108</c:v>
                </c:pt>
                <c:pt idx="810">
                  <c:v>279.505579318645</c:v>
                </c:pt>
                <c:pt idx="811">
                  <c:v>282.14930997019241</c:v>
                </c:pt>
                <c:pt idx="812">
                  <c:v>280.13647719625686</c:v>
                </c:pt>
                <c:pt idx="813">
                  <c:v>283.06275691873998</c:v>
                </c:pt>
                <c:pt idx="814">
                  <c:v>280.89355244684475</c:v>
                </c:pt>
                <c:pt idx="815">
                  <c:v>279.36806690183323</c:v>
                </c:pt>
                <c:pt idx="816">
                  <c:v>276.2221515497896</c:v>
                </c:pt>
                <c:pt idx="817">
                  <c:v>274.30477829551279</c:v>
                </c:pt>
                <c:pt idx="818">
                  <c:v>271.27201495201513</c:v>
                </c:pt>
                <c:pt idx="819">
                  <c:v>268.75001837050206</c:v>
                </c:pt>
                <c:pt idx="820">
                  <c:v>269.71405089874128</c:v>
                </c:pt>
                <c:pt idx="821">
                  <c:v>269.32302945007837</c:v>
                </c:pt>
                <c:pt idx="822">
                  <c:v>269.23669030048717</c:v>
                </c:pt>
                <c:pt idx="823">
                  <c:v>268.79979609719794</c:v>
                </c:pt>
                <c:pt idx="824">
                  <c:v>266.61371089068274</c:v>
                </c:pt>
                <c:pt idx="825">
                  <c:v>264.20199741187429</c:v>
                </c:pt>
                <c:pt idx="826">
                  <c:v>262.86963229333247</c:v>
                </c:pt>
                <c:pt idx="827">
                  <c:v>260.25415750301818</c:v>
                </c:pt>
                <c:pt idx="828">
                  <c:v>260.20461483349948</c:v>
                </c:pt>
                <c:pt idx="829">
                  <c:v>259.70535227447999</c:v>
                </c:pt>
                <c:pt idx="830">
                  <c:v>263.69732283077639</c:v>
                </c:pt>
                <c:pt idx="831">
                  <c:v>262.82030729246696</c:v>
                </c:pt>
                <c:pt idx="832">
                  <c:v>264.48266080883513</c:v>
                </c:pt>
                <c:pt idx="833">
                  <c:v>262.91371946946259</c:v>
                </c:pt>
                <c:pt idx="834">
                  <c:v>259.05576378440406</c:v>
                </c:pt>
                <c:pt idx="835">
                  <c:v>259.90419686932887</c:v>
                </c:pt>
                <c:pt idx="836">
                  <c:v>258.31804441337829</c:v>
                </c:pt>
                <c:pt idx="837">
                  <c:v>256.11282313608012</c:v>
                </c:pt>
                <c:pt idx="838">
                  <c:v>254.52645845096347</c:v>
                </c:pt>
                <c:pt idx="839">
                  <c:v>258.10445644562424</c:v>
                </c:pt>
                <c:pt idx="840">
                  <c:v>257.59159762125938</c:v>
                </c:pt>
                <c:pt idx="841">
                  <c:v>256.85108841759103</c:v>
                </c:pt>
                <c:pt idx="842">
                  <c:v>261.86792804034769</c:v>
                </c:pt>
                <c:pt idx="843">
                  <c:v>261.49453266978566</c:v>
                </c:pt>
                <c:pt idx="844">
                  <c:v>260.3583738611257</c:v>
                </c:pt>
                <c:pt idx="845">
                  <c:v>261.7471882594977</c:v>
                </c:pt>
                <c:pt idx="846">
                  <c:v>261.9364824972879</c:v>
                </c:pt>
                <c:pt idx="847">
                  <c:v>261.71836972345881</c:v>
                </c:pt>
                <c:pt idx="848">
                  <c:v>266.03529788774784</c:v>
                </c:pt>
                <c:pt idx="849">
                  <c:v>268.88147980385332</c:v>
                </c:pt>
                <c:pt idx="850">
                  <c:v>274.7113129382534</c:v>
                </c:pt>
                <c:pt idx="851">
                  <c:v>271.6604388449847</c:v>
                </c:pt>
                <c:pt idx="852">
                  <c:v>269.45342300511948</c:v>
                </c:pt>
                <c:pt idx="853">
                  <c:v>262.83125055947869</c:v>
                </c:pt>
                <c:pt idx="854">
                  <c:v>256.66605916119835</c:v>
                </c:pt>
                <c:pt idx="855">
                  <c:v>260.00208948937018</c:v>
                </c:pt>
                <c:pt idx="856">
                  <c:v>262.49616351198853</c:v>
                </c:pt>
                <c:pt idx="857">
                  <c:v>263.68400409073439</c:v>
                </c:pt>
                <c:pt idx="858">
                  <c:v>259.47599766376294</c:v>
                </c:pt>
                <c:pt idx="859">
                  <c:v>263.15155210033225</c:v>
                </c:pt>
                <c:pt idx="860">
                  <c:v>265.43483755152738</c:v>
                </c:pt>
                <c:pt idx="861">
                  <c:v>260.74416633536595</c:v>
                </c:pt>
                <c:pt idx="862">
                  <c:v>257.23912748914631</c:v>
                </c:pt>
                <c:pt idx="863">
                  <c:v>254.84914785974391</c:v>
                </c:pt>
                <c:pt idx="864">
                  <c:v>260.33048139775354</c:v>
                </c:pt>
                <c:pt idx="865">
                  <c:v>261.20412050824746</c:v>
                </c:pt>
                <c:pt idx="866">
                  <c:v>265.88413368491149</c:v>
                </c:pt>
                <c:pt idx="867">
                  <c:v>268.96963182085312</c:v>
                </c:pt>
                <c:pt idx="868">
                  <c:v>276.08233429194871</c:v>
                </c:pt>
                <c:pt idx="869">
                  <c:v>277.34878656976412</c:v>
                </c:pt>
                <c:pt idx="870">
                  <c:v>289.87607191204017</c:v>
                </c:pt>
                <c:pt idx="871">
                  <c:v>298.51599138751652</c:v>
                </c:pt>
                <c:pt idx="872">
                  <c:v>298.35319940539569</c:v>
                </c:pt>
                <c:pt idx="873">
                  <c:v>301.05671274474179</c:v>
                </c:pt>
                <c:pt idx="874">
                  <c:v>304.34290509332641</c:v>
                </c:pt>
                <c:pt idx="875">
                  <c:v>305.05588005601692</c:v>
                </c:pt>
                <c:pt idx="876">
                  <c:v>309.57327089710901</c:v>
                </c:pt>
                <c:pt idx="877">
                  <c:v>313.95257735721833</c:v>
                </c:pt>
                <c:pt idx="878">
                  <c:v>307.41026631626977</c:v>
                </c:pt>
                <c:pt idx="879">
                  <c:v>302.3117054640291</c:v>
                </c:pt>
                <c:pt idx="880">
                  <c:v>296.09825083257954</c:v>
                </c:pt>
                <c:pt idx="881">
                  <c:v>301.8330921621432</c:v>
                </c:pt>
                <c:pt idx="882">
                  <c:v>299.64936215219728</c:v>
                </c:pt>
                <c:pt idx="883">
                  <c:v>300.82969987326362</c:v>
                </c:pt>
                <c:pt idx="884">
                  <c:v>297.37500535174536</c:v>
                </c:pt>
                <c:pt idx="885">
                  <c:v>293.45048837362765</c:v>
                </c:pt>
                <c:pt idx="886">
                  <c:v>293.21060051129564</c:v>
                </c:pt>
                <c:pt idx="887">
                  <c:v>297.18825328993006</c:v>
                </c:pt>
                <c:pt idx="888">
                  <c:v>295.10337527090508</c:v>
                </c:pt>
                <c:pt idx="889">
                  <c:v>293.53440673201413</c:v>
                </c:pt>
                <c:pt idx="890">
                  <c:v>293.90636184899984</c:v>
                </c:pt>
                <c:pt idx="891">
                  <c:v>296.90020722826409</c:v>
                </c:pt>
                <c:pt idx="892">
                  <c:v>294.40980512777043</c:v>
                </c:pt>
                <c:pt idx="893">
                  <c:v>292.15543407767814</c:v>
                </c:pt>
                <c:pt idx="894">
                  <c:v>291.75885033532865</c:v>
                </c:pt>
                <c:pt idx="895">
                  <c:v>288.74650834112884</c:v>
                </c:pt>
                <c:pt idx="896">
                  <c:v>285.63008511147905</c:v>
                </c:pt>
                <c:pt idx="897">
                  <c:v>285.56408519625495</c:v>
                </c:pt>
                <c:pt idx="898">
                  <c:v>289.31829084188217</c:v>
                </c:pt>
                <c:pt idx="899">
                  <c:v>289.4556042892259</c:v>
                </c:pt>
                <c:pt idx="900">
                  <c:v>295.10837580737086</c:v>
                </c:pt>
                <c:pt idx="901">
                  <c:v>290.44577949952441</c:v>
                </c:pt>
                <c:pt idx="902">
                  <c:v>296.39256080557846</c:v>
                </c:pt>
                <c:pt idx="903">
                  <c:v>295.60974551549327</c:v>
                </c:pt>
                <c:pt idx="904">
                  <c:v>291.96398580941752</c:v>
                </c:pt>
                <c:pt idx="905">
                  <c:v>290.00223682444721</c:v>
                </c:pt>
                <c:pt idx="906">
                  <c:v>285.62317238033233</c:v>
                </c:pt>
                <c:pt idx="907">
                  <c:v>283.7549951130519</c:v>
                </c:pt>
                <c:pt idx="908">
                  <c:v>290.24474630937107</c:v>
                </c:pt>
                <c:pt idx="909">
                  <c:v>297.39681892441945</c:v>
                </c:pt>
                <c:pt idx="910">
                  <c:v>292.58053107441225</c:v>
                </c:pt>
                <c:pt idx="911">
                  <c:v>292.4526034080701</c:v>
                </c:pt>
                <c:pt idx="912">
                  <c:v>284.09505250159947</c:v>
                </c:pt>
                <c:pt idx="913">
                  <c:v>272.03489830989076</c:v>
                </c:pt>
                <c:pt idx="914">
                  <c:v>285.40047907204917</c:v>
                </c:pt>
                <c:pt idx="915">
                  <c:v>285.24650779312316</c:v>
                </c:pt>
                <c:pt idx="916">
                  <c:v>281.79047077461678</c:v>
                </c:pt>
                <c:pt idx="917">
                  <c:v>287.15002160754199</c:v>
                </c:pt>
                <c:pt idx="918">
                  <c:v>290.61808509632289</c:v>
                </c:pt>
                <c:pt idx="919">
                  <c:v>291.86802016399372</c:v>
                </c:pt>
                <c:pt idx="920">
                  <c:v>292.57857862784914</c:v>
                </c:pt>
                <c:pt idx="921">
                  <c:v>284.61479051602589</c:v>
                </c:pt>
                <c:pt idx="922">
                  <c:v>288.16004136422885</c:v>
                </c:pt>
                <c:pt idx="923">
                  <c:v>293.03532953898866</c:v>
                </c:pt>
                <c:pt idx="924">
                  <c:v>288.68138834863049</c:v>
                </c:pt>
                <c:pt idx="925">
                  <c:v>283.48305772570973</c:v>
                </c:pt>
                <c:pt idx="926">
                  <c:v>284.22411108924661</c:v>
                </c:pt>
                <c:pt idx="927">
                  <c:v>291.69815160220804</c:v>
                </c:pt>
                <c:pt idx="928">
                  <c:v>292.03763680610444</c:v>
                </c:pt>
                <c:pt idx="929">
                  <c:v>293.76125823474212</c:v>
                </c:pt>
                <c:pt idx="930">
                  <c:v>289.49463175895863</c:v>
                </c:pt>
                <c:pt idx="931">
                  <c:v>287.78930172513373</c:v>
                </c:pt>
                <c:pt idx="932">
                  <c:v>288.06309410711361</c:v>
                </c:pt>
                <c:pt idx="933">
                  <c:v>283.40470711452343</c:v>
                </c:pt>
                <c:pt idx="934">
                  <c:v>288.71060034621587</c:v>
                </c:pt>
                <c:pt idx="935">
                  <c:v>286.89134191910142</c:v>
                </c:pt>
                <c:pt idx="936">
                  <c:v>296.86966304996247</c:v>
                </c:pt>
                <c:pt idx="937">
                  <c:v>299.64506100369931</c:v>
                </c:pt>
                <c:pt idx="938">
                  <c:v>296.74885047949311</c:v>
                </c:pt>
                <c:pt idx="939">
                  <c:v>299.40280528064176</c:v>
                </c:pt>
                <c:pt idx="940">
                  <c:v>308.14772906453447</c:v>
                </c:pt>
                <c:pt idx="941">
                  <c:v>308.45254339715751</c:v>
                </c:pt>
                <c:pt idx="942">
                  <c:v>309.79562868912421</c:v>
                </c:pt>
                <c:pt idx="943">
                  <c:v>311.35062641681981</c:v>
                </c:pt>
                <c:pt idx="944">
                  <c:v>310.47448285463918</c:v>
                </c:pt>
                <c:pt idx="945">
                  <c:v>312.83129245810341</c:v>
                </c:pt>
                <c:pt idx="946">
                  <c:v>311.17710930284215</c:v>
                </c:pt>
                <c:pt idx="947">
                  <c:v>311.35558228014395</c:v>
                </c:pt>
                <c:pt idx="948">
                  <c:v>313.20986205544699</c:v>
                </c:pt>
                <c:pt idx="949">
                  <c:v>316.60059338856115</c:v>
                </c:pt>
                <c:pt idx="950">
                  <c:v>319.33698625519088</c:v>
                </c:pt>
                <c:pt idx="951">
                  <c:v>317.97370667679712</c:v>
                </c:pt>
                <c:pt idx="952">
                  <c:v>313.29554035139449</c:v>
                </c:pt>
                <c:pt idx="953">
                  <c:v>311.07126186638038</c:v>
                </c:pt>
                <c:pt idx="954">
                  <c:v>303.72018984049242</c:v>
                </c:pt>
                <c:pt idx="955">
                  <c:v>305.04127549845282</c:v>
                </c:pt>
                <c:pt idx="956">
                  <c:v>301.19416298201463</c:v>
                </c:pt>
                <c:pt idx="957">
                  <c:v>301.79004632029353</c:v>
                </c:pt>
                <c:pt idx="958">
                  <c:v>297.39992080631123</c:v>
                </c:pt>
                <c:pt idx="959">
                  <c:v>298.49670547554723</c:v>
                </c:pt>
                <c:pt idx="960">
                  <c:v>290.96160783112691</c:v>
                </c:pt>
                <c:pt idx="961">
                  <c:v>297.29576284358916</c:v>
                </c:pt>
                <c:pt idx="962">
                  <c:v>311.41515911869749</c:v>
                </c:pt>
                <c:pt idx="963">
                  <c:v>310.79333330414306</c:v>
                </c:pt>
                <c:pt idx="964">
                  <c:v>310.25898090895305</c:v>
                </c:pt>
                <c:pt idx="965">
                  <c:v>311.8397126689664</c:v>
                </c:pt>
                <c:pt idx="966">
                  <c:v>310.02817597135521</c:v>
                </c:pt>
                <c:pt idx="967">
                  <c:v>308.78908993732085</c:v>
                </c:pt>
                <c:pt idx="968">
                  <c:v>307.89723653525624</c:v>
                </c:pt>
                <c:pt idx="969">
                  <c:v>306.32620916324834</c:v>
                </c:pt>
                <c:pt idx="970">
                  <c:v>307.25714373492519</c:v>
                </c:pt>
                <c:pt idx="971">
                  <c:v>314.11504481765894</c:v>
                </c:pt>
                <c:pt idx="972">
                  <c:v>317.59220836355411</c:v>
                </c:pt>
                <c:pt idx="973">
                  <c:v>316.00999640274495</c:v>
                </c:pt>
                <c:pt idx="974">
                  <c:v>319.66429116583026</c:v>
                </c:pt>
                <c:pt idx="975">
                  <c:v>319.21994594006645</c:v>
                </c:pt>
                <c:pt idx="976">
                  <c:v>317.92969681618399</c:v>
                </c:pt>
                <c:pt idx="977">
                  <c:v>319.35276794053976</c:v>
                </c:pt>
                <c:pt idx="978">
                  <c:v>307.66810439956589</c:v>
                </c:pt>
                <c:pt idx="979">
                  <c:v>306.22049841738897</c:v>
                </c:pt>
                <c:pt idx="980">
                  <c:v>303.13133077804991</c:v>
                </c:pt>
                <c:pt idx="981">
                  <c:v>314.00199174161668</c:v>
                </c:pt>
                <c:pt idx="982">
                  <c:v>320.11066547331978</c:v>
                </c:pt>
                <c:pt idx="983">
                  <c:v>301.44307417418872</c:v>
                </c:pt>
                <c:pt idx="984">
                  <c:v>300.17146839578749</c:v>
                </c:pt>
                <c:pt idx="985">
                  <c:v>282.95836532171228</c:v>
                </c:pt>
                <c:pt idx="986">
                  <c:v>279.62351677283192</c:v>
                </c:pt>
                <c:pt idx="987">
                  <c:v>279.47181894232182</c:v>
                </c:pt>
                <c:pt idx="988">
                  <c:v>278.5544220826406</c:v>
                </c:pt>
                <c:pt idx="989">
                  <c:v>272.7775547483904</c:v>
                </c:pt>
                <c:pt idx="990">
                  <c:v>274.24188902597086</c:v>
                </c:pt>
                <c:pt idx="991">
                  <c:v>272.78715836852581</c:v>
                </c:pt>
                <c:pt idx="992">
                  <c:v>268.3902901576638</c:v>
                </c:pt>
                <c:pt idx="993">
                  <c:v>267.09860440081235</c:v>
                </c:pt>
                <c:pt idx="994">
                  <c:v>263.50668062009765</c:v>
                </c:pt>
                <c:pt idx="995">
                  <c:v>265.67649508459033</c:v>
                </c:pt>
                <c:pt idx="996">
                  <c:v>266.12394992944985</c:v>
                </c:pt>
                <c:pt idx="997">
                  <c:v>267.69656563888918</c:v>
                </c:pt>
                <c:pt idx="998">
                  <c:v>260.88962546549652</c:v>
                </c:pt>
                <c:pt idx="999">
                  <c:v>259.42940323546605</c:v>
                </c:pt>
                <c:pt idx="1000">
                  <c:v>265.16545488478437</c:v>
                </c:pt>
                <c:pt idx="1001">
                  <c:v>264.41322116948646</c:v>
                </c:pt>
                <c:pt idx="1002">
                  <c:v>268.28923453738133</c:v>
                </c:pt>
                <c:pt idx="1003">
                  <c:v>273.10130165054551</c:v>
                </c:pt>
                <c:pt idx="1004">
                  <c:v>275.67660233947356</c:v>
                </c:pt>
                <c:pt idx="1005">
                  <c:v>272.81761485851649</c:v>
                </c:pt>
                <c:pt idx="1006">
                  <c:v>271.58163881201614</c:v>
                </c:pt>
                <c:pt idx="1007">
                  <c:v>275.12560795554737</c:v>
                </c:pt>
                <c:pt idx="1008">
                  <c:v>276.61280484169896</c:v>
                </c:pt>
                <c:pt idx="1009">
                  <c:v>278.66078054299879</c:v>
                </c:pt>
                <c:pt idx="1010">
                  <c:v>277.16255141727532</c:v>
                </c:pt>
                <c:pt idx="1011">
                  <c:v>281.15855196177949</c:v>
                </c:pt>
                <c:pt idx="1012">
                  <c:v>283.45134734813763</c:v>
                </c:pt>
                <c:pt idx="1013">
                  <c:v>280.00303436187374</c:v>
                </c:pt>
                <c:pt idx="1014">
                  <c:v>279.94808280539638</c:v>
                </c:pt>
                <c:pt idx="1015">
                  <c:v>277.70653303906136</c:v>
                </c:pt>
                <c:pt idx="1016">
                  <c:v>280.47934335863772</c:v>
                </c:pt>
                <c:pt idx="1017">
                  <c:v>283.42009926849926</c:v>
                </c:pt>
                <c:pt idx="1018">
                  <c:v>289.83679827244845</c:v>
                </c:pt>
                <c:pt idx="1019">
                  <c:v>301.01868402629771</c:v>
                </c:pt>
                <c:pt idx="1020">
                  <c:v>294.5993321746123</c:v>
                </c:pt>
                <c:pt idx="1021">
                  <c:v>294.27283174896047</c:v>
                </c:pt>
                <c:pt idx="1022">
                  <c:v>293.70544315104252</c:v>
                </c:pt>
                <c:pt idx="1023">
                  <c:v>297.26701636777244</c:v>
                </c:pt>
                <c:pt idx="1024">
                  <c:v>301.64364276366916</c:v>
                </c:pt>
                <c:pt idx="1025">
                  <c:v>299.29697037108156</c:v>
                </c:pt>
                <c:pt idx="1026">
                  <c:v>299.18083420349984</c:v>
                </c:pt>
                <c:pt idx="1027">
                  <c:v>296.14598145928778</c:v>
                </c:pt>
                <c:pt idx="1028">
                  <c:v>295.37556494636056</c:v>
                </c:pt>
                <c:pt idx="1029">
                  <c:v>297.33114212956821</c:v>
                </c:pt>
                <c:pt idx="1030">
                  <c:v>297.09473582477705</c:v>
                </c:pt>
                <c:pt idx="1031">
                  <c:v>303.03530710359678</c:v>
                </c:pt>
                <c:pt idx="1032">
                  <c:v>302.9290497795468</c:v>
                </c:pt>
                <c:pt idx="1033">
                  <c:v>300.53516598189913</c:v>
                </c:pt>
                <c:pt idx="1034">
                  <c:v>302.73089989527477</c:v>
                </c:pt>
                <c:pt idx="1035">
                  <c:v>303.55792612116522</c:v>
                </c:pt>
                <c:pt idx="1036">
                  <c:v>292.46269226142226</c:v>
                </c:pt>
                <c:pt idx="1037">
                  <c:v>286.70786306297879</c:v>
                </c:pt>
                <c:pt idx="1038">
                  <c:v>281.82511608548435</c:v>
                </c:pt>
                <c:pt idx="1039">
                  <c:v>282.67005472136026</c:v>
                </c:pt>
                <c:pt idx="1040">
                  <c:v>282.43880305234609</c:v>
                </c:pt>
                <c:pt idx="1041">
                  <c:v>280.90640408535734</c:v>
                </c:pt>
                <c:pt idx="1042">
                  <c:v>282.20335652927821</c:v>
                </c:pt>
                <c:pt idx="1043">
                  <c:v>285.8419677037071</c:v>
                </c:pt>
                <c:pt idx="1044">
                  <c:v>288.1068867733598</c:v>
                </c:pt>
                <c:pt idx="1045">
                  <c:v>264.60725919042761</c:v>
                </c:pt>
                <c:pt idx="1046">
                  <c:v>255.03202363226936</c:v>
                </c:pt>
                <c:pt idx="1047">
                  <c:v>259.87859489838451</c:v>
                </c:pt>
                <c:pt idx="1048">
                  <c:v>250.12700723183701</c:v>
                </c:pt>
                <c:pt idx="1049">
                  <c:v>249.92331967413958</c:v>
                </c:pt>
                <c:pt idx="1050">
                  <c:v>248.32296222007713</c:v>
                </c:pt>
                <c:pt idx="1051">
                  <c:v>250.80905156626696</c:v>
                </c:pt>
                <c:pt idx="1052">
                  <c:v>248.36747822277945</c:v>
                </c:pt>
                <c:pt idx="1053">
                  <c:v>250.01212923493179</c:v>
                </c:pt>
                <c:pt idx="1054">
                  <c:v>253.19913123865834</c:v>
                </c:pt>
                <c:pt idx="1055">
                  <c:v>252.05203097973126</c:v>
                </c:pt>
                <c:pt idx="1056">
                  <c:v>250.65847157750287</c:v>
                </c:pt>
                <c:pt idx="1057">
                  <c:v>247.53816463992803</c:v>
                </c:pt>
                <c:pt idx="1058">
                  <c:v>246.02240208904632</c:v>
                </c:pt>
                <c:pt idx="1059">
                  <c:v>248.07666482118137</c:v>
                </c:pt>
                <c:pt idx="1060">
                  <c:v>247.2960559237448</c:v>
                </c:pt>
                <c:pt idx="1061">
                  <c:v>242.89195969067669</c:v>
                </c:pt>
                <c:pt idx="1062">
                  <c:v>244.84116187840957</c:v>
                </c:pt>
                <c:pt idx="1063">
                  <c:v>238.71434679838381</c:v>
                </c:pt>
                <c:pt idx="1064">
                  <c:v>240.28837104737323</c:v>
                </c:pt>
                <c:pt idx="1065">
                  <c:v>238.14301591085396</c:v>
                </c:pt>
                <c:pt idx="1066">
                  <c:v>238.41563232994892</c:v>
                </c:pt>
                <c:pt idx="1067">
                  <c:v>238.97297481335545</c:v>
                </c:pt>
                <c:pt idx="1068">
                  <c:v>237.48755389183017</c:v>
                </c:pt>
                <c:pt idx="1069">
                  <c:v>237.45260125738105</c:v>
                </c:pt>
                <c:pt idx="1070">
                  <c:v>235.52589572689621</c:v>
                </c:pt>
                <c:pt idx="1071">
                  <c:v>234.51594321019576</c:v>
                </c:pt>
                <c:pt idx="1072">
                  <c:v>235.74040721837218</c:v>
                </c:pt>
                <c:pt idx="1073">
                  <c:v>235.04047165915793</c:v>
                </c:pt>
                <c:pt idx="1074">
                  <c:v>235.98072329809682</c:v>
                </c:pt>
                <c:pt idx="1075">
                  <c:v>235.19578175068924</c:v>
                </c:pt>
                <c:pt idx="1076">
                  <c:v>230.13565426145243</c:v>
                </c:pt>
                <c:pt idx="1077">
                  <c:v>226.39753638127641</c:v>
                </c:pt>
                <c:pt idx="1078">
                  <c:v>225.02851469226584</c:v>
                </c:pt>
                <c:pt idx="1079">
                  <c:v>222.09852247652384</c:v>
                </c:pt>
                <c:pt idx="1080">
                  <c:v>222.00560543296663</c:v>
                </c:pt>
                <c:pt idx="1081">
                  <c:v>214.17202124740655</c:v>
                </c:pt>
                <c:pt idx="1082">
                  <c:v>215.36080878075327</c:v>
                </c:pt>
                <c:pt idx="1083">
                  <c:v>214.4553651309059</c:v>
                </c:pt>
                <c:pt idx="1084">
                  <c:v>212.68285387315183</c:v>
                </c:pt>
                <c:pt idx="1085">
                  <c:v>212.56281709164998</c:v>
                </c:pt>
                <c:pt idx="1086">
                  <c:v>212.99896415960387</c:v>
                </c:pt>
                <c:pt idx="1087">
                  <c:v>216.68946968738254</c:v>
                </c:pt>
                <c:pt idx="1088">
                  <c:v>216.37968479424541</c:v>
                </c:pt>
                <c:pt idx="1089">
                  <c:v>218.92770077410168</c:v>
                </c:pt>
                <c:pt idx="1090">
                  <c:v>218.62087225110983</c:v>
                </c:pt>
                <c:pt idx="1091">
                  <c:v>217.46541822935839</c:v>
                </c:pt>
                <c:pt idx="1092">
                  <c:v>213.78133174315275</c:v>
                </c:pt>
                <c:pt idx="1093">
                  <c:v>213.91348533896027</c:v>
                </c:pt>
                <c:pt idx="1094">
                  <c:v>214.61709907018084</c:v>
                </c:pt>
                <c:pt idx="1095">
                  <c:v>215.87387376189119</c:v>
                </c:pt>
                <c:pt idx="1096">
                  <c:v>216.10166502594362</c:v>
                </c:pt>
                <c:pt idx="1097">
                  <c:v>209.73914805457287</c:v>
                </c:pt>
                <c:pt idx="1098">
                  <c:v>208.53984769183526</c:v>
                </c:pt>
                <c:pt idx="1099">
                  <c:v>202.74415566098969</c:v>
                </c:pt>
                <c:pt idx="1100">
                  <c:v>202.83793789234574</c:v>
                </c:pt>
                <c:pt idx="1101">
                  <c:v>205.21459503870378</c:v>
                </c:pt>
                <c:pt idx="1102">
                  <c:v>204.81289177058008</c:v>
                </c:pt>
                <c:pt idx="1103">
                  <c:v>205.46709122533582</c:v>
                </c:pt>
                <c:pt idx="1104">
                  <c:v>207.72031775171112</c:v>
                </c:pt>
                <c:pt idx="1105">
                  <c:v>206.02786541501951</c:v>
                </c:pt>
                <c:pt idx="1106">
                  <c:v>203.9891163442766</c:v>
                </c:pt>
                <c:pt idx="1107">
                  <c:v>204.99831798063298</c:v>
                </c:pt>
                <c:pt idx="1108">
                  <c:v>202.22384076847985</c:v>
                </c:pt>
                <c:pt idx="1109">
                  <c:v>202.04767096497179</c:v>
                </c:pt>
                <c:pt idx="1110">
                  <c:v>201.13044403041977</c:v>
                </c:pt>
                <c:pt idx="1111">
                  <c:v>204.0845249632591</c:v>
                </c:pt>
                <c:pt idx="1112">
                  <c:v>208.74207618178187</c:v>
                </c:pt>
                <c:pt idx="1113">
                  <c:v>209.47815769519488</c:v>
                </c:pt>
                <c:pt idx="1114">
                  <c:v>207.61405002142402</c:v>
                </c:pt>
                <c:pt idx="1115">
                  <c:v>207.14107634214869</c:v>
                </c:pt>
                <c:pt idx="1116">
                  <c:v>207.26391169007999</c:v>
                </c:pt>
                <c:pt idx="1117">
                  <c:v>200.17207035548614</c:v>
                </c:pt>
                <c:pt idx="1118">
                  <c:v>203.34541504636655</c:v>
                </c:pt>
                <c:pt idx="1119">
                  <c:v>199.48574782487643</c:v>
                </c:pt>
                <c:pt idx="1120">
                  <c:v>200.76155290616981</c:v>
                </c:pt>
                <c:pt idx="1121">
                  <c:v>200.50319991217108</c:v>
                </c:pt>
                <c:pt idx="1122">
                  <c:v>199.31612197652248</c:v>
                </c:pt>
                <c:pt idx="1123">
                  <c:v>197.43958695239726</c:v>
                </c:pt>
                <c:pt idx="1124">
                  <c:v>198.85534797696747</c:v>
                </c:pt>
                <c:pt idx="1125">
                  <c:v>200.61861316788975</c:v>
                </c:pt>
                <c:pt idx="1126">
                  <c:v>201.95459094784215</c:v>
                </c:pt>
                <c:pt idx="1127">
                  <c:v>197.13950499369864</c:v>
                </c:pt>
                <c:pt idx="1128">
                  <c:v>193.11314923938582</c:v>
                </c:pt>
                <c:pt idx="1129">
                  <c:v>191.69816906009802</c:v>
                </c:pt>
                <c:pt idx="1130">
                  <c:v>190.24263347354173</c:v>
                </c:pt>
                <c:pt idx="1131">
                  <c:v>191.83631333793787</c:v>
                </c:pt>
                <c:pt idx="1132">
                  <c:v>196.98658393651527</c:v>
                </c:pt>
                <c:pt idx="1133">
                  <c:v>196.61656401102042</c:v>
                </c:pt>
                <c:pt idx="1134">
                  <c:v>196.31432843780311</c:v>
                </c:pt>
                <c:pt idx="1135">
                  <c:v>194.8012124663602</c:v>
                </c:pt>
                <c:pt idx="1136">
                  <c:v>192.87489753382198</c:v>
                </c:pt>
                <c:pt idx="1137">
                  <c:v>188.02534975920551</c:v>
                </c:pt>
                <c:pt idx="1138">
                  <c:v>184.99064319055503</c:v>
                </c:pt>
                <c:pt idx="1139">
                  <c:v>185.32643260972904</c:v>
                </c:pt>
                <c:pt idx="1140">
                  <c:v>180.81757429353883</c:v>
                </c:pt>
                <c:pt idx="1141">
                  <c:v>179.56196523214658</c:v>
                </c:pt>
                <c:pt idx="1142">
                  <c:v>185.61264704375535</c:v>
                </c:pt>
                <c:pt idx="1143">
                  <c:v>186.88499782386484</c:v>
                </c:pt>
                <c:pt idx="1144">
                  <c:v>184.82450325336487</c:v>
                </c:pt>
                <c:pt idx="1145">
                  <c:v>182.79591585566291</c:v>
                </c:pt>
                <c:pt idx="1146">
                  <c:v>183.08205249565768</c:v>
                </c:pt>
                <c:pt idx="1147">
                  <c:v>184.63666641306889</c:v>
                </c:pt>
                <c:pt idx="1148">
                  <c:v>189.90413642817643</c:v>
                </c:pt>
                <c:pt idx="1149">
                  <c:v>185.54215270192344</c:v>
                </c:pt>
                <c:pt idx="1150">
                  <c:v>185.18877961596937</c:v>
                </c:pt>
                <c:pt idx="1151">
                  <c:v>182.06858169025548</c:v>
                </c:pt>
                <c:pt idx="1152">
                  <c:v>178.57838983603955</c:v>
                </c:pt>
                <c:pt idx="1153">
                  <c:v>177.63334917185017</c:v>
                </c:pt>
                <c:pt idx="1154">
                  <c:v>178.0909435619314</c:v>
                </c:pt>
                <c:pt idx="1155">
                  <c:v>182.59438199748649</c:v>
                </c:pt>
                <c:pt idx="1156">
                  <c:v>181.29447012139525</c:v>
                </c:pt>
                <c:pt idx="1157">
                  <c:v>182.40244555943877</c:v>
                </c:pt>
                <c:pt idx="1158">
                  <c:v>180.81962864681213</c:v>
                </c:pt>
                <c:pt idx="1159">
                  <c:v>177.6976236839138</c:v>
                </c:pt>
                <c:pt idx="1160">
                  <c:v>179.9473329845658</c:v>
                </c:pt>
                <c:pt idx="1161">
                  <c:v>180.00418963877553</c:v>
                </c:pt>
                <c:pt idx="1162">
                  <c:v>178.21859889019387</c:v>
                </c:pt>
                <c:pt idx="1163">
                  <c:v>177.10265660477006</c:v>
                </c:pt>
                <c:pt idx="1164">
                  <c:v>180.11449960602539</c:v>
                </c:pt>
                <c:pt idx="1165">
                  <c:v>184.97638462778241</c:v>
                </c:pt>
                <c:pt idx="1166">
                  <c:v>188.32144221347801</c:v>
                </c:pt>
                <c:pt idx="1167">
                  <c:v>185.82454351006299</c:v>
                </c:pt>
                <c:pt idx="1168">
                  <c:v>183.43657924740475</c:v>
                </c:pt>
                <c:pt idx="1169">
                  <c:v>174.31653293678173</c:v>
                </c:pt>
                <c:pt idx="1170">
                  <c:v>175.49420586943791</c:v>
                </c:pt>
                <c:pt idx="1171">
                  <c:v>173.7043833717243</c:v>
                </c:pt>
                <c:pt idx="1172">
                  <c:v>176.30404060528997</c:v>
                </c:pt>
                <c:pt idx="1173">
                  <c:v>173.70395870493823</c:v>
                </c:pt>
                <c:pt idx="1174">
                  <c:v>173.47412574145179</c:v>
                </c:pt>
                <c:pt idx="1175">
                  <c:v>172.52316849650697</c:v>
                </c:pt>
                <c:pt idx="1176">
                  <c:v>170.30409025111544</c:v>
                </c:pt>
                <c:pt idx="1177">
                  <c:v>168.48258450924649</c:v>
                </c:pt>
                <c:pt idx="1178">
                  <c:v>167.29804664720101</c:v>
                </c:pt>
                <c:pt idx="1179">
                  <c:v>162.70176443234115</c:v>
                </c:pt>
                <c:pt idx="1180">
                  <c:v>164.02940909288759</c:v>
                </c:pt>
                <c:pt idx="1181">
                  <c:v>164.98506642672893</c:v>
                </c:pt>
                <c:pt idx="1182">
                  <c:v>165.79995585439843</c:v>
                </c:pt>
                <c:pt idx="1183">
                  <c:v>163.02012641287561</c:v>
                </c:pt>
                <c:pt idx="1184">
                  <c:v>163.17255544742784</c:v>
                </c:pt>
                <c:pt idx="1185">
                  <c:v>165.94660400461984</c:v>
                </c:pt>
                <c:pt idx="1186">
                  <c:v>166.23243414597769</c:v>
                </c:pt>
                <c:pt idx="1187">
                  <c:v>163.09379903478964</c:v>
                </c:pt>
                <c:pt idx="1188">
                  <c:v>163.40561272733783</c:v>
                </c:pt>
                <c:pt idx="1189">
                  <c:v>162.35410103440805</c:v>
                </c:pt>
                <c:pt idx="1190">
                  <c:v>160.42875192954236</c:v>
                </c:pt>
                <c:pt idx="1191">
                  <c:v>162.72283169615878</c:v>
                </c:pt>
                <c:pt idx="1192">
                  <c:v>163.51604613106684</c:v>
                </c:pt>
                <c:pt idx="1193">
                  <c:v>162.65918859590553</c:v>
                </c:pt>
                <c:pt idx="1194">
                  <c:v>159.4734421577698</c:v>
                </c:pt>
                <c:pt idx="1195">
                  <c:v>157.20125811217011</c:v>
                </c:pt>
                <c:pt idx="1196">
                  <c:v>156.23563935106398</c:v>
                </c:pt>
                <c:pt idx="1197">
                  <c:v>153.24869733304246</c:v>
                </c:pt>
                <c:pt idx="1198">
                  <c:v>153.68592096207198</c:v>
                </c:pt>
                <c:pt idx="1199">
                  <c:v>152.84670086019861</c:v>
                </c:pt>
                <c:pt idx="1200">
                  <c:v>152.46062946568779</c:v>
                </c:pt>
                <c:pt idx="1201">
                  <c:v>151.75079802187827</c:v>
                </c:pt>
                <c:pt idx="1202">
                  <c:v>152.8730762372769</c:v>
                </c:pt>
                <c:pt idx="1203">
                  <c:v>152.20579222031051</c:v>
                </c:pt>
                <c:pt idx="1204">
                  <c:v>152.9925744182022</c:v>
                </c:pt>
                <c:pt idx="1205">
                  <c:v>150.27595666471467</c:v>
                </c:pt>
                <c:pt idx="1206">
                  <c:v>146.54084635337907</c:v>
                </c:pt>
                <c:pt idx="1207">
                  <c:v>151.75621263418341</c:v>
                </c:pt>
                <c:pt idx="1208">
                  <c:v>151.71068756692816</c:v>
                </c:pt>
                <c:pt idx="1209">
                  <c:v>151.49039904485014</c:v>
                </c:pt>
                <c:pt idx="1210">
                  <c:v>149.9324064538705</c:v>
                </c:pt>
                <c:pt idx="1211">
                  <c:v>148.87282284238111</c:v>
                </c:pt>
                <c:pt idx="1212">
                  <c:v>148.27848303916255</c:v>
                </c:pt>
                <c:pt idx="1213">
                  <c:v>148.53251226058316</c:v>
                </c:pt>
                <c:pt idx="1214">
                  <c:v>149.10862777794296</c:v>
                </c:pt>
                <c:pt idx="1215">
                  <c:v>149.61323009784135</c:v>
                </c:pt>
                <c:pt idx="1216">
                  <c:v>150.75228228201462</c:v>
                </c:pt>
                <c:pt idx="1217">
                  <c:v>148.12957123033362</c:v>
                </c:pt>
                <c:pt idx="1218">
                  <c:v>146.02146139496648</c:v>
                </c:pt>
                <c:pt idx="1219">
                  <c:v>147.21512508775194</c:v>
                </c:pt>
                <c:pt idx="1220">
                  <c:v>149.34695146760436</c:v>
                </c:pt>
                <c:pt idx="1221">
                  <c:v>145.28278781396472</c:v>
                </c:pt>
                <c:pt idx="1222">
                  <c:v>142.15030059768412</c:v>
                </c:pt>
                <c:pt idx="1223">
                  <c:v>140.15014585991918</c:v>
                </c:pt>
                <c:pt idx="1224">
                  <c:v>143.43951522821672</c:v>
                </c:pt>
                <c:pt idx="1225">
                  <c:v>143.24021238469666</c:v>
                </c:pt>
                <c:pt idx="1226">
                  <c:v>141.78679318969199</c:v>
                </c:pt>
                <c:pt idx="1227">
                  <c:v>139.41972105580695</c:v>
                </c:pt>
                <c:pt idx="1228">
                  <c:v>139.2686424123977</c:v>
                </c:pt>
                <c:pt idx="1229">
                  <c:v>139.70323300888012</c:v>
                </c:pt>
                <c:pt idx="1230">
                  <c:v>138.89615356037285</c:v>
                </c:pt>
                <c:pt idx="1231">
                  <c:v>138.26685821538311</c:v>
                </c:pt>
                <c:pt idx="1232">
                  <c:v>131.30292609824392</c:v>
                </c:pt>
                <c:pt idx="1233">
                  <c:v>131.54206861932394</c:v>
                </c:pt>
                <c:pt idx="1234">
                  <c:v>124.51885328965018</c:v>
                </c:pt>
                <c:pt idx="1235">
                  <c:v>127.56261626525301</c:v>
                </c:pt>
                <c:pt idx="1236">
                  <c:v>126.61670804990185</c:v>
                </c:pt>
                <c:pt idx="1237">
                  <c:v>127.89623173513938</c:v>
                </c:pt>
                <c:pt idx="1238">
                  <c:v>126.14493562371794</c:v>
                </c:pt>
                <c:pt idx="1239">
                  <c:v>125.93089748279843</c:v>
                </c:pt>
                <c:pt idx="1240">
                  <c:v>124.15216602600061</c:v>
                </c:pt>
                <c:pt idx="1241">
                  <c:v>125.51941789289191</c:v>
                </c:pt>
                <c:pt idx="1242">
                  <c:v>124.24723599476225</c:v>
                </c:pt>
                <c:pt idx="1243">
                  <c:v>124.42534533149203</c:v>
                </c:pt>
                <c:pt idx="1244">
                  <c:v>125.71260002017881</c:v>
                </c:pt>
                <c:pt idx="1245">
                  <c:v>124.00511920598596</c:v>
                </c:pt>
                <c:pt idx="1246">
                  <c:v>124.62418086921886</c:v>
                </c:pt>
                <c:pt idx="1247">
                  <c:v>125.09342449701052</c:v>
                </c:pt>
                <c:pt idx="1248">
                  <c:v>126.5946750815035</c:v>
                </c:pt>
                <c:pt idx="1249">
                  <c:v>128.01717122282744</c:v>
                </c:pt>
                <c:pt idx="1250">
                  <c:v>128.77802683642403</c:v>
                </c:pt>
                <c:pt idx="1251">
                  <c:v>128.32122973669257</c:v>
                </c:pt>
                <c:pt idx="1252">
                  <c:v>127.40825998204294</c:v>
                </c:pt>
                <c:pt idx="1253">
                  <c:v>130.23780037594008</c:v>
                </c:pt>
                <c:pt idx="1254">
                  <c:v>132.79135044102398</c:v>
                </c:pt>
                <c:pt idx="1255">
                  <c:v>131.96483489228822</c:v>
                </c:pt>
                <c:pt idx="1256">
                  <c:v>132.31867653957212</c:v>
                </c:pt>
                <c:pt idx="1257">
                  <c:v>132.65376332600749</c:v>
                </c:pt>
                <c:pt idx="1258">
                  <c:v>131.84661991898946</c:v>
                </c:pt>
                <c:pt idx="1259">
                  <c:v>128.64059183828118</c:v>
                </c:pt>
                <c:pt idx="1260">
                  <c:v>128.7654169901343</c:v>
                </c:pt>
                <c:pt idx="1261">
                  <c:v>127.93440945153638</c:v>
                </c:pt>
                <c:pt idx="1262">
                  <c:v>129.68508589410726</c:v>
                </c:pt>
                <c:pt idx="1263">
                  <c:v>127.96098027380975</c:v>
                </c:pt>
                <c:pt idx="1264">
                  <c:v>126.90173947304477</c:v>
                </c:pt>
                <c:pt idx="1265">
                  <c:v>124.31557664822046</c:v>
                </c:pt>
                <c:pt idx="1266">
                  <c:v>121.44269670698692</c:v>
                </c:pt>
                <c:pt idx="1267">
                  <c:v>119.17808554108188</c:v>
                </c:pt>
                <c:pt idx="1268">
                  <c:v>117.71006292925593</c:v>
                </c:pt>
                <c:pt idx="1269">
                  <c:v>119.07218538759376</c:v>
                </c:pt>
                <c:pt idx="1270">
                  <c:v>121.62805610279882</c:v>
                </c:pt>
                <c:pt idx="1271">
                  <c:v>120.00309959115391</c:v>
                </c:pt>
                <c:pt idx="1272">
                  <c:v>117.40983087238946</c:v>
                </c:pt>
                <c:pt idx="1273">
                  <c:v>116.60856532143971</c:v>
                </c:pt>
                <c:pt idx="1274">
                  <c:v>115.86479921019441</c:v>
                </c:pt>
                <c:pt idx="1275">
                  <c:v>115.70590110955263</c:v>
                </c:pt>
                <c:pt idx="1276">
                  <c:v>111.55645331162285</c:v>
                </c:pt>
                <c:pt idx="1277">
                  <c:v>110.63415686499799</c:v>
                </c:pt>
                <c:pt idx="1278">
                  <c:v>111.95823038560306</c:v>
                </c:pt>
                <c:pt idx="1279">
                  <c:v>112.95120647648874</c:v>
                </c:pt>
                <c:pt idx="1280">
                  <c:v>113.42458640801352</c:v>
                </c:pt>
                <c:pt idx="1281">
                  <c:v>114.52629519215965</c:v>
                </c:pt>
                <c:pt idx="1282">
                  <c:v>113.48249722058728</c:v>
                </c:pt>
                <c:pt idx="1283">
                  <c:v>111.72878907567599</c:v>
                </c:pt>
                <c:pt idx="1284">
                  <c:v>111.79621380288633</c:v>
                </c:pt>
                <c:pt idx="1285">
                  <c:v>115.30463905175587</c:v>
                </c:pt>
                <c:pt idx="1286">
                  <c:v>116.30579580051675</c:v>
                </c:pt>
                <c:pt idx="1287">
                  <c:v>117.87400909937516</c:v>
                </c:pt>
                <c:pt idx="1288">
                  <c:v>117.84636627042353</c:v>
                </c:pt>
                <c:pt idx="1289">
                  <c:v>118.40026292611535</c:v>
                </c:pt>
                <c:pt idx="1290">
                  <c:v>116.31151115076152</c:v>
                </c:pt>
                <c:pt idx="1291">
                  <c:v>117.592512639125</c:v>
                </c:pt>
                <c:pt idx="1292">
                  <c:v>116.53891303943347</c:v>
                </c:pt>
                <c:pt idx="1293">
                  <c:v>116.58039481984591</c:v>
                </c:pt>
                <c:pt idx="1294">
                  <c:v>115.95119028128977</c:v>
                </c:pt>
                <c:pt idx="1295">
                  <c:v>115.47087200124193</c:v>
                </c:pt>
                <c:pt idx="1296">
                  <c:v>116.40061507637633</c:v>
                </c:pt>
                <c:pt idx="1297">
                  <c:v>116.00653219152586</c:v>
                </c:pt>
                <c:pt idx="1298">
                  <c:v>117.49931377726637</c:v>
                </c:pt>
                <c:pt idx="1299">
                  <c:v>118.19923307086354</c:v>
                </c:pt>
                <c:pt idx="1300">
                  <c:v>115.24386573116676</c:v>
                </c:pt>
                <c:pt idx="1301">
                  <c:v>114.14087664946011</c:v>
                </c:pt>
                <c:pt idx="1302">
                  <c:v>112.38760339204553</c:v>
                </c:pt>
                <c:pt idx="1303">
                  <c:v>111.73123276729191</c:v>
                </c:pt>
                <c:pt idx="1304">
                  <c:v>109.29996908552144</c:v>
                </c:pt>
                <c:pt idx="1305">
                  <c:v>112.79208888226759</c:v>
                </c:pt>
                <c:pt idx="1306">
                  <c:v>114.32343169403943</c:v>
                </c:pt>
                <c:pt idx="1307">
                  <c:v>111.3936382707779</c:v>
                </c:pt>
                <c:pt idx="1308">
                  <c:v>110.83937253752563</c:v>
                </c:pt>
                <c:pt idx="1309">
                  <c:v>106.93035137690823</c:v>
                </c:pt>
                <c:pt idx="1310">
                  <c:v>106.71067924423579</c:v>
                </c:pt>
                <c:pt idx="1311">
                  <c:v>108.55297951456427</c:v>
                </c:pt>
                <c:pt idx="1312">
                  <c:v>104.62083937741754</c:v>
                </c:pt>
                <c:pt idx="1313">
                  <c:v>105.51437306438935</c:v>
                </c:pt>
                <c:pt idx="1314">
                  <c:v>104.68028816576187</c:v>
                </c:pt>
                <c:pt idx="1315">
                  <c:v>104.19754645577706</c:v>
                </c:pt>
                <c:pt idx="1316">
                  <c:v>102.28153224889947</c:v>
                </c:pt>
                <c:pt idx="1317">
                  <c:v>103.72260307883482</c:v>
                </c:pt>
                <c:pt idx="1318">
                  <c:v>101.64578971693983</c:v>
                </c:pt>
                <c:pt idx="1319">
                  <c:v>100.77351355360481</c:v>
                </c:pt>
                <c:pt idx="1320">
                  <c:v>99.793884581428799</c:v>
                </c:pt>
                <c:pt idx="1321">
                  <c:v>99.852302231165069</c:v>
                </c:pt>
                <c:pt idx="1322">
                  <c:v>99.507687218984131</c:v>
                </c:pt>
                <c:pt idx="1323">
                  <c:v>100.08720231007985</c:v>
                </c:pt>
                <c:pt idx="1324">
                  <c:v>99.682095251727702</c:v>
                </c:pt>
                <c:pt idx="1325">
                  <c:v>99.236835270527138</c:v>
                </c:pt>
                <c:pt idx="1326">
                  <c:v>98.616981270912731</c:v>
                </c:pt>
                <c:pt idx="1327">
                  <c:v>96.061385813852979</c:v>
                </c:pt>
                <c:pt idx="1328">
                  <c:v>97.418271938651543</c:v>
                </c:pt>
                <c:pt idx="1329">
                  <c:v>97.646252298329102</c:v>
                </c:pt>
                <c:pt idx="1330">
                  <c:v>99.55223439322215</c:v>
                </c:pt>
                <c:pt idx="1331">
                  <c:v>100.98292230412675</c:v>
                </c:pt>
                <c:pt idx="1332">
                  <c:v>99.651430258379762</c:v>
                </c:pt>
                <c:pt idx="1333">
                  <c:v>101.04043118980594</c:v>
                </c:pt>
                <c:pt idx="1334">
                  <c:v>99.072983609438822</c:v>
                </c:pt>
                <c:pt idx="1335">
                  <c:v>97.779032233262257</c:v>
                </c:pt>
                <c:pt idx="1336">
                  <c:v>97.351032088795932</c:v>
                </c:pt>
                <c:pt idx="1337">
                  <c:v>97.555540595762977</c:v>
                </c:pt>
                <c:pt idx="1338">
                  <c:v>97.753540845751274</c:v>
                </c:pt>
                <c:pt idx="1339">
                  <c:v>96.963110969502253</c:v>
                </c:pt>
                <c:pt idx="1340">
                  <c:v>96.64383381502121</c:v>
                </c:pt>
                <c:pt idx="1341">
                  <c:v>95.298931528500447</c:v>
                </c:pt>
                <c:pt idx="1342">
                  <c:v>96.042168398129604</c:v>
                </c:pt>
                <c:pt idx="1343">
                  <c:v>95.789899705101931</c:v>
                </c:pt>
                <c:pt idx="1344">
                  <c:v>95.201844466535576</c:v>
                </c:pt>
                <c:pt idx="1345">
                  <c:v>94.845913059884055</c:v>
                </c:pt>
                <c:pt idx="1346">
                  <c:v>94.578563388311522</c:v>
                </c:pt>
                <c:pt idx="1347">
                  <c:v>94.280983951142076</c:v>
                </c:pt>
                <c:pt idx="1348">
                  <c:v>95.005386608835138</c:v>
                </c:pt>
                <c:pt idx="1349">
                  <c:v>94.848976650606318</c:v>
                </c:pt>
                <c:pt idx="1350">
                  <c:v>91.842651247270311</c:v>
                </c:pt>
                <c:pt idx="1351">
                  <c:v>90.60764384963565</c:v>
                </c:pt>
                <c:pt idx="1352">
                  <c:v>90.148329180810777</c:v>
                </c:pt>
                <c:pt idx="1353">
                  <c:v>89.975104308973798</c:v>
                </c:pt>
                <c:pt idx="1354">
                  <c:v>88.720497030805248</c:v>
                </c:pt>
                <c:pt idx="1355">
                  <c:v>88.484997227913311</c:v>
                </c:pt>
                <c:pt idx="1356">
                  <c:v>88.539593569719429</c:v>
                </c:pt>
                <c:pt idx="1357">
                  <c:v>88.170371813883179</c:v>
                </c:pt>
                <c:pt idx="1358">
                  <c:v>88.735306686643867</c:v>
                </c:pt>
                <c:pt idx="1359">
                  <c:v>91.923725392322154</c:v>
                </c:pt>
                <c:pt idx="1360">
                  <c:v>89.823981345175568</c:v>
                </c:pt>
                <c:pt idx="1361">
                  <c:v>90.056396718200659</c:v>
                </c:pt>
                <c:pt idx="1362">
                  <c:v>90.727593463195063</c:v>
                </c:pt>
                <c:pt idx="1363">
                  <c:v>92.118574438503828</c:v>
                </c:pt>
                <c:pt idx="1364">
                  <c:v>92.784582472976382</c:v>
                </c:pt>
                <c:pt idx="1365">
                  <c:v>91.691038667031776</c:v>
                </c:pt>
                <c:pt idx="1366">
                  <c:v>91.715119584385647</c:v>
                </c:pt>
                <c:pt idx="1367">
                  <c:v>92.832861095570848</c:v>
                </c:pt>
                <c:pt idx="1368">
                  <c:v>94.472924089216306</c:v>
                </c:pt>
                <c:pt idx="1369">
                  <c:v>95.842897699300153</c:v>
                </c:pt>
                <c:pt idx="1370">
                  <c:v>94.820016003692359</c:v>
                </c:pt>
                <c:pt idx="1371">
                  <c:v>95.175704316549812</c:v>
                </c:pt>
                <c:pt idx="1372">
                  <c:v>95.478189997765426</c:v>
                </c:pt>
                <c:pt idx="1373">
                  <c:v>94.104694128865574</c:v>
                </c:pt>
                <c:pt idx="1374">
                  <c:v>95.86515358053606</c:v>
                </c:pt>
                <c:pt idx="1375">
                  <c:v>94.454457178287655</c:v>
                </c:pt>
                <c:pt idx="1376">
                  <c:v>93.478348839178764</c:v>
                </c:pt>
                <c:pt idx="1377">
                  <c:v>97.961562536899748</c:v>
                </c:pt>
                <c:pt idx="1378">
                  <c:v>94.640802552891429</c:v>
                </c:pt>
                <c:pt idx="1379">
                  <c:v>95.710005617254296</c:v>
                </c:pt>
                <c:pt idx="1380">
                  <c:v>93.958326303146151</c:v>
                </c:pt>
                <c:pt idx="1381">
                  <c:v>92.005494441557488</c:v>
                </c:pt>
                <c:pt idx="1382">
                  <c:v>92.638151656878165</c:v>
                </c:pt>
                <c:pt idx="1383">
                  <c:v>90.834376964342241</c:v>
                </c:pt>
                <c:pt idx="1384">
                  <c:v>89.259609779617435</c:v>
                </c:pt>
                <c:pt idx="1385">
                  <c:v>87.09395917403981</c:v>
                </c:pt>
                <c:pt idx="1386">
                  <c:v>83.035981759035678</c:v>
                </c:pt>
                <c:pt idx="1387">
                  <c:v>85.741372622928708</c:v>
                </c:pt>
                <c:pt idx="1388">
                  <c:v>83.053386316978035</c:v>
                </c:pt>
                <c:pt idx="1389">
                  <c:v>86.250133408947363</c:v>
                </c:pt>
                <c:pt idx="1390">
                  <c:v>87.276399292953826</c:v>
                </c:pt>
                <c:pt idx="1391">
                  <c:v>85.580439387968482</c:v>
                </c:pt>
                <c:pt idx="1392">
                  <c:v>84.265541183542965</c:v>
                </c:pt>
                <c:pt idx="1393">
                  <c:v>82.883898450602729</c:v>
                </c:pt>
                <c:pt idx="1394">
                  <c:v>93.707411445096938</c:v>
                </c:pt>
                <c:pt idx="1395">
                  <c:v>86.390465597662939</c:v>
                </c:pt>
                <c:pt idx="1396">
                  <c:v>90.849495187315654</c:v>
                </c:pt>
                <c:pt idx="1397">
                  <c:v>99.661785125852845</c:v>
                </c:pt>
                <c:pt idx="1398">
                  <c:v>102.19868591934734</c:v>
                </c:pt>
                <c:pt idx="1399">
                  <c:v>105.61151410121656</c:v>
                </c:pt>
                <c:pt idx="1400">
                  <c:v>105.51686288399819</c:v>
                </c:pt>
                <c:pt idx="1401">
                  <c:v>114.32234137817264</c:v>
                </c:pt>
                <c:pt idx="1402">
                  <c:v>114.85016137977046</c:v>
                </c:pt>
                <c:pt idx="1403">
                  <c:v>119.38865825385484</c:v>
                </c:pt>
                <c:pt idx="1404">
                  <c:v>121.92312216803541</c:v>
                </c:pt>
                <c:pt idx="1405">
                  <c:v>122.65756219922754</c:v>
                </c:pt>
                <c:pt idx="1406">
                  <c:v>122.40345623262679</c:v>
                </c:pt>
                <c:pt idx="1407">
                  <c:v>122.03103328859608</c:v>
                </c:pt>
                <c:pt idx="1408">
                  <c:v>122.98921396289565</c:v>
                </c:pt>
                <c:pt idx="1409">
                  <c:v>126.61362336871694</c:v>
                </c:pt>
                <c:pt idx="1410">
                  <c:v>125.35048182533274</c:v>
                </c:pt>
                <c:pt idx="1411">
                  <c:v>125.29276230171862</c:v>
                </c:pt>
                <c:pt idx="1412">
                  <c:v>126.19981441566151</c:v>
                </c:pt>
                <c:pt idx="1413">
                  <c:v>127.24721512360398</c:v>
                </c:pt>
                <c:pt idx="1414">
                  <c:v>126.65959741839607</c:v>
                </c:pt>
                <c:pt idx="1415">
                  <c:v>125.28977606708331</c:v>
                </c:pt>
                <c:pt idx="1416">
                  <c:v>122.95593157299149</c:v>
                </c:pt>
                <c:pt idx="1417">
                  <c:v>124.4837387061294</c:v>
                </c:pt>
                <c:pt idx="1418">
                  <c:v>124.89062125959774</c:v>
                </c:pt>
                <c:pt idx="1419">
                  <c:v>124.66943026365739</c:v>
                </c:pt>
                <c:pt idx="1420">
                  <c:v>124.66802502545571</c:v>
                </c:pt>
                <c:pt idx="1421">
                  <c:v>124.14844615177343</c:v>
                </c:pt>
                <c:pt idx="1422">
                  <c:v>123.48227226135748</c:v>
                </c:pt>
                <c:pt idx="1423">
                  <c:v>121.962104019637</c:v>
                </c:pt>
                <c:pt idx="1424">
                  <c:v>123.129891312875</c:v>
                </c:pt>
                <c:pt idx="1425">
                  <c:v>123.1703820367787</c:v>
                </c:pt>
                <c:pt idx="1426">
                  <c:v>123.3494405980513</c:v>
                </c:pt>
                <c:pt idx="1427">
                  <c:v>121.86461288518124</c:v>
                </c:pt>
                <c:pt idx="1428">
                  <c:v>123.19818269709718</c:v>
                </c:pt>
                <c:pt idx="1429">
                  <c:v>124.80531874865876</c:v>
                </c:pt>
                <c:pt idx="1430">
                  <c:v>124.52381412509551</c:v>
                </c:pt>
                <c:pt idx="1431">
                  <c:v>122.94889982487784</c:v>
                </c:pt>
                <c:pt idx="1432">
                  <c:v>123.9351545808961</c:v>
                </c:pt>
                <c:pt idx="1433">
                  <c:v>122.20778825240268</c:v>
                </c:pt>
                <c:pt idx="1434">
                  <c:v>122.25477331096303</c:v>
                </c:pt>
                <c:pt idx="1435">
                  <c:v>120.26310598566567</c:v>
                </c:pt>
                <c:pt idx="1436">
                  <c:v>119.00515476730466</c:v>
                </c:pt>
                <c:pt idx="1437">
                  <c:v>118.79664738562627</c:v>
                </c:pt>
                <c:pt idx="1438">
                  <c:v>117.62220628375495</c:v>
                </c:pt>
                <c:pt idx="1439">
                  <c:v>116.74449246593814</c:v>
                </c:pt>
                <c:pt idx="1440">
                  <c:v>113.72426682419605</c:v>
                </c:pt>
                <c:pt idx="1441">
                  <c:v>112.88553035288153</c:v>
                </c:pt>
                <c:pt idx="1442">
                  <c:v>112.47949289607621</c:v>
                </c:pt>
                <c:pt idx="1443">
                  <c:v>111.73496942697771</c:v>
                </c:pt>
                <c:pt idx="1444">
                  <c:v>111.91343003685252</c:v>
                </c:pt>
                <c:pt idx="1445">
                  <c:v>110.65748541718649</c:v>
                </c:pt>
                <c:pt idx="1446">
                  <c:v>110.86809535013913</c:v>
                </c:pt>
                <c:pt idx="1447">
                  <c:v>110.52294285334123</c:v>
                </c:pt>
                <c:pt idx="1448">
                  <c:v>110.9949624179644</c:v>
                </c:pt>
                <c:pt idx="1449">
                  <c:v>110.85955059833475</c:v>
                </c:pt>
                <c:pt idx="1450">
                  <c:v>108.38045091841448</c:v>
                </c:pt>
                <c:pt idx="1451">
                  <c:v>107.57182408234539</c:v>
                </c:pt>
                <c:pt idx="1452">
                  <c:v>105.84706474971976</c:v>
                </c:pt>
                <c:pt idx="1453">
                  <c:v>105.55302905094088</c:v>
                </c:pt>
                <c:pt idx="1454">
                  <c:v>96.954517912715872</c:v>
                </c:pt>
                <c:pt idx="1455">
                  <c:v>104.48784786658298</c:v>
                </c:pt>
                <c:pt idx="1456">
                  <c:v>105.30400280698646</c:v>
                </c:pt>
                <c:pt idx="1457">
                  <c:v>105.49149775767435</c:v>
                </c:pt>
                <c:pt idx="1458">
                  <c:v>106.5794640392111</c:v>
                </c:pt>
                <c:pt idx="1459">
                  <c:v>105.93204848709831</c:v>
                </c:pt>
                <c:pt idx="1460">
                  <c:v>105.03296802469796</c:v>
                </c:pt>
                <c:pt idx="1461">
                  <c:v>105.22674902360008</c:v>
                </c:pt>
                <c:pt idx="1462">
                  <c:v>104.48135541081547</c:v>
                </c:pt>
                <c:pt idx="1463">
                  <c:v>105.32952489081559</c:v>
                </c:pt>
                <c:pt idx="1464">
                  <c:v>104.74232369613745</c:v>
                </c:pt>
                <c:pt idx="1465">
                  <c:v>104.75871069190492</c:v>
                </c:pt>
                <c:pt idx="1466">
                  <c:v>106.28096249074513</c:v>
                </c:pt>
                <c:pt idx="1467">
                  <c:v>108.45228595598728</c:v>
                </c:pt>
                <c:pt idx="1468">
                  <c:v>108.90529625509495</c:v>
                </c:pt>
                <c:pt idx="1469">
                  <c:v>108.56357236119423</c:v>
                </c:pt>
                <c:pt idx="1470">
                  <c:v>106.27883371677341</c:v>
                </c:pt>
                <c:pt idx="1471">
                  <c:v>107.16747559219289</c:v>
                </c:pt>
                <c:pt idx="1472">
                  <c:v>108.37858117497137</c:v>
                </c:pt>
                <c:pt idx="1473">
                  <c:v>107.87660854177284</c:v>
                </c:pt>
                <c:pt idx="1474">
                  <c:v>108.28051775734747</c:v>
                </c:pt>
                <c:pt idx="1475">
                  <c:v>108.43845457814531</c:v>
                </c:pt>
                <c:pt idx="1476">
                  <c:v>108.13455731011703</c:v>
                </c:pt>
                <c:pt idx="1477">
                  <c:v>108.40220794378783</c:v>
                </c:pt>
                <c:pt idx="1478">
                  <c:v>107.52021887918661</c:v>
                </c:pt>
                <c:pt idx="1479">
                  <c:v>107.09507046252205</c:v>
                </c:pt>
                <c:pt idx="1480">
                  <c:v>107.71239508451902</c:v>
                </c:pt>
                <c:pt idx="1481">
                  <c:v>106.98337698397296</c:v>
                </c:pt>
                <c:pt idx="1482">
                  <c:v>106.40634090254575</c:v>
                </c:pt>
                <c:pt idx="1483">
                  <c:v>110.28696758080984</c:v>
                </c:pt>
                <c:pt idx="1484">
                  <c:v>108.48406206437527</c:v>
                </c:pt>
                <c:pt idx="1485">
                  <c:v>109.04534386880104</c:v>
                </c:pt>
                <c:pt idx="1486">
                  <c:v>106.9828920120532</c:v>
                </c:pt>
                <c:pt idx="1487">
                  <c:v>107.69388795702322</c:v>
                </c:pt>
                <c:pt idx="1488">
                  <c:v>105.48712537444169</c:v>
                </c:pt>
                <c:pt idx="1489">
                  <c:v>105.74426881592535</c:v>
                </c:pt>
                <c:pt idx="1490">
                  <c:v>106.43169523214316</c:v>
                </c:pt>
                <c:pt idx="1491">
                  <c:v>107.34876458340175</c:v>
                </c:pt>
                <c:pt idx="1492">
                  <c:v>106.67620377295002</c:v>
                </c:pt>
                <c:pt idx="1493">
                  <c:v>103.97935679169323</c:v>
                </c:pt>
                <c:pt idx="1494">
                  <c:v>102.45211060486842</c:v>
                </c:pt>
                <c:pt idx="1495">
                  <c:v>105.34121050616625</c:v>
                </c:pt>
                <c:pt idx="1496">
                  <c:v>104.20469358096973</c:v>
                </c:pt>
                <c:pt idx="1497">
                  <c:v>104.28924786988279</c:v>
                </c:pt>
                <c:pt idx="1498">
                  <c:v>103.28476660681373</c:v>
                </c:pt>
                <c:pt idx="1499">
                  <c:v>103.66364125579726</c:v>
                </c:pt>
                <c:pt idx="1500">
                  <c:v>102.21312031406131</c:v>
                </c:pt>
                <c:pt idx="1501">
                  <c:v>100.94669596796801</c:v>
                </c:pt>
                <c:pt idx="1502">
                  <c:v>100.90675720148272</c:v>
                </c:pt>
                <c:pt idx="1503">
                  <c:v>101.15194640774857</c:v>
                </c:pt>
                <c:pt idx="1504">
                  <c:v>99.472617691330143</c:v>
                </c:pt>
                <c:pt idx="1505">
                  <c:v>100.20360734804994</c:v>
                </c:pt>
                <c:pt idx="1506">
                  <c:v>99.447894304695353</c:v>
                </c:pt>
                <c:pt idx="1507">
                  <c:v>99.73098406945023</c:v>
                </c:pt>
                <c:pt idx="1508">
                  <c:v>98.764605155334621</c:v>
                </c:pt>
                <c:pt idx="1509">
                  <c:v>99.166862755322143</c:v>
                </c:pt>
                <c:pt idx="1510">
                  <c:v>97.7265888505692</c:v>
                </c:pt>
                <c:pt idx="1511">
                  <c:v>97.017274769038252</c:v>
                </c:pt>
                <c:pt idx="1512">
                  <c:v>97.644977600699079</c:v>
                </c:pt>
                <c:pt idx="1513">
                  <c:v>98.889756145907867</c:v>
                </c:pt>
                <c:pt idx="1514">
                  <c:v>100.0190878744145</c:v>
                </c:pt>
                <c:pt idx="1515">
                  <c:v>99.028598225851255</c:v>
                </c:pt>
                <c:pt idx="1516">
                  <c:v>101.01082691908543</c:v>
                </c:pt>
                <c:pt idx="1517">
                  <c:v>101.65198909776731</c:v>
                </c:pt>
                <c:pt idx="1518">
                  <c:v>100.19110948020533</c:v>
                </c:pt>
                <c:pt idx="1519">
                  <c:v>97.170511985222703</c:v>
                </c:pt>
                <c:pt idx="1520">
                  <c:v>98.226136860942717</c:v>
                </c:pt>
                <c:pt idx="1521">
                  <c:v>97.981330044351211</c:v>
                </c:pt>
                <c:pt idx="1522">
                  <c:v>98.927938228435792</c:v>
                </c:pt>
                <c:pt idx="1523">
                  <c:v>99.17537986378629</c:v>
                </c:pt>
                <c:pt idx="1524">
                  <c:v>99.598117272118884</c:v>
                </c:pt>
                <c:pt idx="1525">
                  <c:v>100.53646039344106</c:v>
                </c:pt>
                <c:pt idx="1526">
                  <c:v>100.15964301274406</c:v>
                </c:pt>
                <c:pt idx="1527">
                  <c:v>100.51598573492598</c:v>
                </c:pt>
                <c:pt idx="1528">
                  <c:v>99.31063594545418</c:v>
                </c:pt>
                <c:pt idx="1529">
                  <c:v>99.181275294436915</c:v>
                </c:pt>
                <c:pt idx="1530">
                  <c:v>99.296296273473942</c:v>
                </c:pt>
                <c:pt idx="1531">
                  <c:v>99.720844350188514</c:v>
                </c:pt>
                <c:pt idx="1532">
                  <c:v>99.40059495133363</c:v>
                </c:pt>
                <c:pt idx="1533">
                  <c:v>99.661969540482943</c:v>
                </c:pt>
                <c:pt idx="1534">
                  <c:v>98.07977739067907</c:v>
                </c:pt>
                <c:pt idx="1535">
                  <c:v>97.437614546758127</c:v>
                </c:pt>
                <c:pt idx="1536">
                  <c:v>96.89465104272891</c:v>
                </c:pt>
                <c:pt idx="1537">
                  <c:v>96.782703446707387</c:v>
                </c:pt>
                <c:pt idx="1538">
                  <c:v>97.939214202040574</c:v>
                </c:pt>
                <c:pt idx="1539">
                  <c:v>99.606618102384843</c:v>
                </c:pt>
                <c:pt idx="1540">
                  <c:v>99.931644886043827</c:v>
                </c:pt>
                <c:pt idx="1541">
                  <c:v>99.977242842128632</c:v>
                </c:pt>
                <c:pt idx="1542">
                  <c:v>96.57260068321753</c:v>
                </c:pt>
                <c:pt idx="1543">
                  <c:v>93.518060836422563</c:v>
                </c:pt>
                <c:pt idx="1544">
                  <c:v>94.108987844300472</c:v>
                </c:pt>
                <c:pt idx="1545">
                  <c:v>93.090932458114636</c:v>
                </c:pt>
                <c:pt idx="1546">
                  <c:v>90.852038073715903</c:v>
                </c:pt>
                <c:pt idx="1547">
                  <c:v>92.760075652565092</c:v>
                </c:pt>
                <c:pt idx="1548">
                  <c:v>90.760118580837485</c:v>
                </c:pt>
                <c:pt idx="1549">
                  <c:v>92.2362863269976</c:v>
                </c:pt>
                <c:pt idx="1550">
                  <c:v>94.009241852916148</c:v>
                </c:pt>
                <c:pt idx="1551">
                  <c:v>94.261816448113123</c:v>
                </c:pt>
                <c:pt idx="1552">
                  <c:v>93.955937797798725</c:v>
                </c:pt>
                <c:pt idx="1553">
                  <c:v>95.531061598779118</c:v>
                </c:pt>
                <c:pt idx="1554">
                  <c:v>95.946832234245079</c:v>
                </c:pt>
                <c:pt idx="1555">
                  <c:v>95.180189949418846</c:v>
                </c:pt>
                <c:pt idx="1556">
                  <c:v>94.93539775360901</c:v>
                </c:pt>
                <c:pt idx="1557">
                  <c:v>96.372461952835621</c:v>
                </c:pt>
                <c:pt idx="1558">
                  <c:v>96.010351421077019</c:v>
                </c:pt>
                <c:pt idx="1559">
                  <c:v>96.885119240178511</c:v>
                </c:pt>
                <c:pt idx="1560">
                  <c:v>97.796399117058456</c:v>
                </c:pt>
                <c:pt idx="1561">
                  <c:v>97.932698838408669</c:v>
                </c:pt>
                <c:pt idx="1562">
                  <c:v>98.087093700856371</c:v>
                </c:pt>
                <c:pt idx="1563">
                  <c:v>97.214995506261317</c:v>
                </c:pt>
                <c:pt idx="1564">
                  <c:v>96.863156162412551</c:v>
                </c:pt>
                <c:pt idx="1565">
                  <c:v>95.065130198673373</c:v>
                </c:pt>
                <c:pt idx="1566">
                  <c:v>94.550327208032627</c:v>
                </c:pt>
                <c:pt idx="1567">
                  <c:v>95.06416990336588</c:v>
                </c:pt>
                <c:pt idx="1568">
                  <c:v>94.852381014508708</c:v>
                </c:pt>
                <c:pt idx="1569">
                  <c:v>96.042469963561899</c:v>
                </c:pt>
                <c:pt idx="1570">
                  <c:v>97.811718085443019</c:v>
                </c:pt>
                <c:pt idx="1571">
                  <c:v>98.072088457746389</c:v>
                </c:pt>
                <c:pt idx="1572">
                  <c:v>98.432474921137469</c:v>
                </c:pt>
                <c:pt idx="1573">
                  <c:v>99.11496537330386</c:v>
                </c:pt>
                <c:pt idx="1574">
                  <c:v>98.415611950854327</c:v>
                </c:pt>
                <c:pt idx="1575">
                  <c:v>97.150367922114896</c:v>
                </c:pt>
                <c:pt idx="1576">
                  <c:v>96.262822782900628</c:v>
                </c:pt>
                <c:pt idx="1577">
                  <c:v>98.71674967952859</c:v>
                </c:pt>
                <c:pt idx="1578">
                  <c:v>98.6968615688901</c:v>
                </c:pt>
                <c:pt idx="1579">
                  <c:v>98.625064651897858</c:v>
                </c:pt>
                <c:pt idx="1580">
                  <c:v>99.927473405373817</c:v>
                </c:pt>
                <c:pt idx="1581">
                  <c:v>99.332082501192573</c:v>
                </c:pt>
                <c:pt idx="1582">
                  <c:v>99.047340469722656</c:v>
                </c:pt>
                <c:pt idx="1583">
                  <c:v>99.515790195881664</c:v>
                </c:pt>
                <c:pt idx="1584">
                  <c:v>99.48342765800399</c:v>
                </c:pt>
                <c:pt idx="1585">
                  <c:v>100.07248734937015</c:v>
                </c:pt>
                <c:pt idx="1586">
                  <c:v>100.28600125369</c:v>
                </c:pt>
                <c:pt idx="1587">
                  <c:v>100.94175461731285</c:v>
                </c:pt>
                <c:pt idx="1588">
                  <c:v>99.081979350838012</c:v>
                </c:pt>
                <c:pt idx="1589">
                  <c:v>99.860053311122826</c:v>
                </c:pt>
                <c:pt idx="1590">
                  <c:v>98.344730282955624</c:v>
                </c:pt>
                <c:pt idx="1591">
                  <c:v>98.793274673182751</c:v>
                </c:pt>
                <c:pt idx="1592">
                  <c:v>100.23650049599581</c:v>
                </c:pt>
                <c:pt idx="1593">
                  <c:v>97.108016904235214</c:v>
                </c:pt>
                <c:pt idx="1594">
                  <c:v>96.358529176617168</c:v>
                </c:pt>
                <c:pt idx="1595">
                  <c:v>96.269181165508343</c:v>
                </c:pt>
                <c:pt idx="1596">
                  <c:v>95.634297103118655</c:v>
                </c:pt>
                <c:pt idx="1597">
                  <c:v>94.747559599309398</c:v>
                </c:pt>
                <c:pt idx="1598">
                  <c:v>91.663791034162699</c:v>
                </c:pt>
                <c:pt idx="1599">
                  <c:v>89.769187053184666</c:v>
                </c:pt>
                <c:pt idx="1600">
                  <c:v>90.506020997415987</c:v>
                </c:pt>
                <c:pt idx="1601">
                  <c:v>90.307432839405394</c:v>
                </c:pt>
                <c:pt idx="1602">
                  <c:v>91.788880049195868</c:v>
                </c:pt>
                <c:pt idx="1603">
                  <c:v>89.259260714760387</c:v>
                </c:pt>
                <c:pt idx="1604">
                  <c:v>89.899576308748436</c:v>
                </c:pt>
                <c:pt idx="1605">
                  <c:v>89.934841160576781</c:v>
                </c:pt>
                <c:pt idx="1606">
                  <c:v>90.503532978408117</c:v>
                </c:pt>
                <c:pt idx="1607">
                  <c:v>91.922438817934761</c:v>
                </c:pt>
                <c:pt idx="1608">
                  <c:v>93.385361911709836</c:v>
                </c:pt>
                <c:pt idx="1609">
                  <c:v>93.234161246105103</c:v>
                </c:pt>
                <c:pt idx="1610">
                  <c:v>93.613688266079421</c:v>
                </c:pt>
                <c:pt idx="1611">
                  <c:v>93.692130949869608</c:v>
                </c:pt>
                <c:pt idx="1612">
                  <c:v>94.632476881506093</c:v>
                </c:pt>
                <c:pt idx="1613">
                  <c:v>95.641593228330152</c:v>
                </c:pt>
                <c:pt idx="1614">
                  <c:v>95.883234971255177</c:v>
                </c:pt>
                <c:pt idx="1615">
                  <c:v>96.722245981781668</c:v>
                </c:pt>
                <c:pt idx="1616">
                  <c:v>97.909680519044571</c:v>
                </c:pt>
                <c:pt idx="1617">
                  <c:v>98.430807323319385</c:v>
                </c:pt>
                <c:pt idx="1618">
                  <c:v>97.972275400185424</c:v>
                </c:pt>
                <c:pt idx="1619">
                  <c:v>98.562315157470721</c:v>
                </c:pt>
                <c:pt idx="1620">
                  <c:v>98.33682067684866</c:v>
                </c:pt>
                <c:pt idx="1621">
                  <c:v>100.31374439407637</c:v>
                </c:pt>
                <c:pt idx="1622">
                  <c:v>100.65968635389073</c:v>
                </c:pt>
                <c:pt idx="1623">
                  <c:v>100.36488273851047</c:v>
                </c:pt>
                <c:pt idx="1624">
                  <c:v>99.958681375047533</c:v>
                </c:pt>
                <c:pt idx="1625">
                  <c:v>98.947658052101517</c:v>
                </c:pt>
                <c:pt idx="1626">
                  <c:v>99.050407755813012</c:v>
                </c:pt>
                <c:pt idx="1627">
                  <c:v>99.397450654567393</c:v>
                </c:pt>
                <c:pt idx="1628">
                  <c:v>98.67330192544371</c:v>
                </c:pt>
                <c:pt idx="1629">
                  <c:v>99.152915535902366</c:v>
                </c:pt>
                <c:pt idx="1630">
                  <c:v>99.326609593374044</c:v>
                </c:pt>
                <c:pt idx="1631">
                  <c:v>99.665850381323096</c:v>
                </c:pt>
                <c:pt idx="1632">
                  <c:v>99.610417611427394</c:v>
                </c:pt>
                <c:pt idx="1633">
                  <c:v>100</c:v>
                </c:pt>
              </c:numCache>
            </c:numRef>
          </c:val>
          <c:smooth val="0"/>
          <c:extLst>
            <c:ext xmlns:c16="http://schemas.microsoft.com/office/drawing/2014/chart" uri="{C3380CC4-5D6E-409C-BE32-E72D297353CC}">
              <c16:uniqueId val="{00000002-A988-4359-AE19-57C4916E4C7F}"/>
            </c:ext>
          </c:extLst>
        </c:ser>
        <c:ser>
          <c:idx val="3"/>
          <c:order val="3"/>
          <c:tx>
            <c:strRef>
              <c:f>Sheet1!$E$1</c:f>
              <c:strCache>
                <c:ptCount val="1"/>
                <c:pt idx="0">
                  <c:v>Diagnostics</c:v>
                </c:pt>
              </c:strCache>
            </c:strRef>
          </c:tx>
          <c:spPr>
            <a:ln w="25400" cap="rnd">
              <a:solidFill>
                <a:schemeClr val="accent6">
                  <a:lumMod val="75000"/>
                </a:schemeClr>
              </a:solidFill>
              <a:round/>
            </a:ln>
            <a:effectLst/>
          </c:spPr>
          <c:marker>
            <c:symbol val="none"/>
          </c:marker>
          <c:cat>
            <c:numRef>
              <c:f>Sheet1!$A$2:$A$1635</c:f>
              <c:numCache>
                <c:formatCode>m/d/yyyy</c:formatCode>
                <c:ptCount val="1634"/>
                <c:pt idx="0">
                  <c:v>45961</c:v>
                </c:pt>
                <c:pt idx="1">
                  <c:v>45960</c:v>
                </c:pt>
                <c:pt idx="2">
                  <c:v>45959</c:v>
                </c:pt>
                <c:pt idx="3">
                  <c:v>45958</c:v>
                </c:pt>
                <c:pt idx="4">
                  <c:v>45957</c:v>
                </c:pt>
                <c:pt idx="5">
                  <c:v>45954</c:v>
                </c:pt>
                <c:pt idx="6">
                  <c:v>45953</c:v>
                </c:pt>
                <c:pt idx="7">
                  <c:v>45951</c:v>
                </c:pt>
                <c:pt idx="8">
                  <c:v>45950</c:v>
                </c:pt>
                <c:pt idx="9">
                  <c:v>45947</c:v>
                </c:pt>
                <c:pt idx="10">
                  <c:v>45946</c:v>
                </c:pt>
                <c:pt idx="11">
                  <c:v>45945</c:v>
                </c:pt>
                <c:pt idx="12">
                  <c:v>45944</c:v>
                </c:pt>
                <c:pt idx="13">
                  <c:v>45943</c:v>
                </c:pt>
                <c:pt idx="14">
                  <c:v>45940</c:v>
                </c:pt>
                <c:pt idx="15">
                  <c:v>45939</c:v>
                </c:pt>
                <c:pt idx="16">
                  <c:v>45938</c:v>
                </c:pt>
                <c:pt idx="17">
                  <c:v>45937</c:v>
                </c:pt>
                <c:pt idx="18">
                  <c:v>45936</c:v>
                </c:pt>
                <c:pt idx="19">
                  <c:v>45933</c:v>
                </c:pt>
                <c:pt idx="20">
                  <c:v>45931</c:v>
                </c:pt>
                <c:pt idx="21">
                  <c:v>45930</c:v>
                </c:pt>
                <c:pt idx="22">
                  <c:v>45929</c:v>
                </c:pt>
                <c:pt idx="23">
                  <c:v>45926</c:v>
                </c:pt>
                <c:pt idx="24">
                  <c:v>45925</c:v>
                </c:pt>
                <c:pt idx="25">
                  <c:v>45924</c:v>
                </c:pt>
                <c:pt idx="26">
                  <c:v>45923</c:v>
                </c:pt>
                <c:pt idx="27">
                  <c:v>45922</c:v>
                </c:pt>
                <c:pt idx="28">
                  <c:v>45919</c:v>
                </c:pt>
                <c:pt idx="29">
                  <c:v>45918</c:v>
                </c:pt>
                <c:pt idx="30">
                  <c:v>45917</c:v>
                </c:pt>
                <c:pt idx="31">
                  <c:v>45916</c:v>
                </c:pt>
                <c:pt idx="32">
                  <c:v>45915</c:v>
                </c:pt>
                <c:pt idx="33">
                  <c:v>45912</c:v>
                </c:pt>
                <c:pt idx="34">
                  <c:v>45911</c:v>
                </c:pt>
                <c:pt idx="35">
                  <c:v>45910</c:v>
                </c:pt>
                <c:pt idx="36">
                  <c:v>45909</c:v>
                </c:pt>
                <c:pt idx="37">
                  <c:v>45908</c:v>
                </c:pt>
                <c:pt idx="38">
                  <c:v>45905</c:v>
                </c:pt>
                <c:pt idx="39">
                  <c:v>45904</c:v>
                </c:pt>
                <c:pt idx="40">
                  <c:v>45903</c:v>
                </c:pt>
                <c:pt idx="41">
                  <c:v>45902</c:v>
                </c:pt>
                <c:pt idx="42">
                  <c:v>45901</c:v>
                </c:pt>
                <c:pt idx="43">
                  <c:v>45898</c:v>
                </c:pt>
                <c:pt idx="44">
                  <c:v>45897</c:v>
                </c:pt>
                <c:pt idx="45">
                  <c:v>45895</c:v>
                </c:pt>
                <c:pt idx="46">
                  <c:v>45894</c:v>
                </c:pt>
                <c:pt idx="47">
                  <c:v>45891</c:v>
                </c:pt>
                <c:pt idx="48">
                  <c:v>45890</c:v>
                </c:pt>
                <c:pt idx="49">
                  <c:v>45889</c:v>
                </c:pt>
                <c:pt idx="50">
                  <c:v>45888</c:v>
                </c:pt>
                <c:pt idx="51">
                  <c:v>45887</c:v>
                </c:pt>
                <c:pt idx="52">
                  <c:v>45883</c:v>
                </c:pt>
                <c:pt idx="53">
                  <c:v>45882</c:v>
                </c:pt>
                <c:pt idx="54">
                  <c:v>45881</c:v>
                </c:pt>
                <c:pt idx="55">
                  <c:v>45880</c:v>
                </c:pt>
                <c:pt idx="56">
                  <c:v>45877</c:v>
                </c:pt>
                <c:pt idx="57">
                  <c:v>45876</c:v>
                </c:pt>
                <c:pt idx="58">
                  <c:v>45875</c:v>
                </c:pt>
                <c:pt idx="59">
                  <c:v>45874</c:v>
                </c:pt>
                <c:pt idx="60">
                  <c:v>45873</c:v>
                </c:pt>
                <c:pt idx="61">
                  <c:v>45870</c:v>
                </c:pt>
                <c:pt idx="62">
                  <c:v>45869</c:v>
                </c:pt>
                <c:pt idx="63">
                  <c:v>45868</c:v>
                </c:pt>
                <c:pt idx="64">
                  <c:v>45867</c:v>
                </c:pt>
                <c:pt idx="65">
                  <c:v>45866</c:v>
                </c:pt>
                <c:pt idx="66">
                  <c:v>45863</c:v>
                </c:pt>
                <c:pt idx="67">
                  <c:v>45862</c:v>
                </c:pt>
                <c:pt idx="68">
                  <c:v>45861</c:v>
                </c:pt>
                <c:pt idx="69">
                  <c:v>45860</c:v>
                </c:pt>
                <c:pt idx="70">
                  <c:v>45859</c:v>
                </c:pt>
                <c:pt idx="71">
                  <c:v>45856</c:v>
                </c:pt>
                <c:pt idx="72">
                  <c:v>45855</c:v>
                </c:pt>
                <c:pt idx="73">
                  <c:v>45854</c:v>
                </c:pt>
                <c:pt idx="74">
                  <c:v>45853</c:v>
                </c:pt>
                <c:pt idx="75">
                  <c:v>45852</c:v>
                </c:pt>
                <c:pt idx="76">
                  <c:v>45849</c:v>
                </c:pt>
                <c:pt idx="77">
                  <c:v>45848</c:v>
                </c:pt>
                <c:pt idx="78">
                  <c:v>45847</c:v>
                </c:pt>
                <c:pt idx="79">
                  <c:v>45846</c:v>
                </c:pt>
                <c:pt idx="80">
                  <c:v>45845</c:v>
                </c:pt>
                <c:pt idx="81">
                  <c:v>45842</c:v>
                </c:pt>
                <c:pt idx="82">
                  <c:v>45841</c:v>
                </c:pt>
                <c:pt idx="83">
                  <c:v>45840</c:v>
                </c:pt>
                <c:pt idx="84">
                  <c:v>45839</c:v>
                </c:pt>
                <c:pt idx="85">
                  <c:v>45838</c:v>
                </c:pt>
                <c:pt idx="86">
                  <c:v>45835</c:v>
                </c:pt>
                <c:pt idx="87">
                  <c:v>45834</c:v>
                </c:pt>
                <c:pt idx="88">
                  <c:v>45833</c:v>
                </c:pt>
                <c:pt idx="89">
                  <c:v>45832</c:v>
                </c:pt>
                <c:pt idx="90">
                  <c:v>45831</c:v>
                </c:pt>
                <c:pt idx="91">
                  <c:v>45828</c:v>
                </c:pt>
                <c:pt idx="92">
                  <c:v>45827</c:v>
                </c:pt>
                <c:pt idx="93">
                  <c:v>45826</c:v>
                </c:pt>
                <c:pt idx="94">
                  <c:v>45825</c:v>
                </c:pt>
                <c:pt idx="95">
                  <c:v>45824</c:v>
                </c:pt>
                <c:pt idx="96">
                  <c:v>45821</c:v>
                </c:pt>
                <c:pt idx="97">
                  <c:v>45820</c:v>
                </c:pt>
                <c:pt idx="98">
                  <c:v>45819</c:v>
                </c:pt>
                <c:pt idx="99">
                  <c:v>45818</c:v>
                </c:pt>
                <c:pt idx="100">
                  <c:v>45817</c:v>
                </c:pt>
                <c:pt idx="101">
                  <c:v>45814</c:v>
                </c:pt>
                <c:pt idx="102">
                  <c:v>45813</c:v>
                </c:pt>
                <c:pt idx="103">
                  <c:v>45812</c:v>
                </c:pt>
                <c:pt idx="104">
                  <c:v>45811</c:v>
                </c:pt>
                <c:pt idx="105">
                  <c:v>45810</c:v>
                </c:pt>
                <c:pt idx="106">
                  <c:v>45807</c:v>
                </c:pt>
                <c:pt idx="107">
                  <c:v>45806</c:v>
                </c:pt>
                <c:pt idx="108">
                  <c:v>45805</c:v>
                </c:pt>
                <c:pt idx="109">
                  <c:v>45804</c:v>
                </c:pt>
                <c:pt idx="110">
                  <c:v>45803</c:v>
                </c:pt>
                <c:pt idx="111">
                  <c:v>45800</c:v>
                </c:pt>
                <c:pt idx="112">
                  <c:v>45799</c:v>
                </c:pt>
                <c:pt idx="113">
                  <c:v>45798</c:v>
                </c:pt>
                <c:pt idx="114">
                  <c:v>45797</c:v>
                </c:pt>
                <c:pt idx="115">
                  <c:v>45796</c:v>
                </c:pt>
                <c:pt idx="116">
                  <c:v>45793</c:v>
                </c:pt>
                <c:pt idx="117">
                  <c:v>45792</c:v>
                </c:pt>
                <c:pt idx="118">
                  <c:v>45791</c:v>
                </c:pt>
                <c:pt idx="119">
                  <c:v>45790</c:v>
                </c:pt>
                <c:pt idx="120">
                  <c:v>45789</c:v>
                </c:pt>
                <c:pt idx="121">
                  <c:v>45786</c:v>
                </c:pt>
                <c:pt idx="122">
                  <c:v>45785</c:v>
                </c:pt>
                <c:pt idx="123">
                  <c:v>45784</c:v>
                </c:pt>
                <c:pt idx="124">
                  <c:v>45783</c:v>
                </c:pt>
                <c:pt idx="125">
                  <c:v>45782</c:v>
                </c:pt>
                <c:pt idx="126">
                  <c:v>45779</c:v>
                </c:pt>
                <c:pt idx="127">
                  <c:v>45777</c:v>
                </c:pt>
                <c:pt idx="128">
                  <c:v>45776</c:v>
                </c:pt>
                <c:pt idx="129">
                  <c:v>45775</c:v>
                </c:pt>
                <c:pt idx="130">
                  <c:v>45772</c:v>
                </c:pt>
                <c:pt idx="131">
                  <c:v>45771</c:v>
                </c:pt>
                <c:pt idx="132">
                  <c:v>45770</c:v>
                </c:pt>
                <c:pt idx="133">
                  <c:v>45769</c:v>
                </c:pt>
                <c:pt idx="134">
                  <c:v>45768</c:v>
                </c:pt>
                <c:pt idx="135">
                  <c:v>45764</c:v>
                </c:pt>
                <c:pt idx="136">
                  <c:v>45763</c:v>
                </c:pt>
                <c:pt idx="137">
                  <c:v>45762</c:v>
                </c:pt>
                <c:pt idx="138">
                  <c:v>45758</c:v>
                </c:pt>
                <c:pt idx="139">
                  <c:v>45756</c:v>
                </c:pt>
                <c:pt idx="140">
                  <c:v>45755</c:v>
                </c:pt>
                <c:pt idx="141">
                  <c:v>45754</c:v>
                </c:pt>
                <c:pt idx="142">
                  <c:v>45751</c:v>
                </c:pt>
                <c:pt idx="143">
                  <c:v>45750</c:v>
                </c:pt>
                <c:pt idx="144">
                  <c:v>45749</c:v>
                </c:pt>
                <c:pt idx="145">
                  <c:v>45748</c:v>
                </c:pt>
                <c:pt idx="146">
                  <c:v>45744</c:v>
                </c:pt>
                <c:pt idx="147">
                  <c:v>45743</c:v>
                </c:pt>
                <c:pt idx="148">
                  <c:v>45742</c:v>
                </c:pt>
                <c:pt idx="149">
                  <c:v>45741</c:v>
                </c:pt>
                <c:pt idx="150">
                  <c:v>45740</c:v>
                </c:pt>
                <c:pt idx="151">
                  <c:v>45737</c:v>
                </c:pt>
                <c:pt idx="152">
                  <c:v>45736</c:v>
                </c:pt>
                <c:pt idx="153">
                  <c:v>45735</c:v>
                </c:pt>
                <c:pt idx="154">
                  <c:v>45734</c:v>
                </c:pt>
                <c:pt idx="155">
                  <c:v>45733</c:v>
                </c:pt>
                <c:pt idx="156">
                  <c:v>45729</c:v>
                </c:pt>
                <c:pt idx="157">
                  <c:v>45728</c:v>
                </c:pt>
                <c:pt idx="158">
                  <c:v>45727</c:v>
                </c:pt>
                <c:pt idx="159">
                  <c:v>45726</c:v>
                </c:pt>
                <c:pt idx="160">
                  <c:v>45723</c:v>
                </c:pt>
                <c:pt idx="161">
                  <c:v>45722</c:v>
                </c:pt>
                <c:pt idx="162">
                  <c:v>45721</c:v>
                </c:pt>
                <c:pt idx="163">
                  <c:v>45720</c:v>
                </c:pt>
                <c:pt idx="164">
                  <c:v>45719</c:v>
                </c:pt>
                <c:pt idx="165">
                  <c:v>45716</c:v>
                </c:pt>
                <c:pt idx="166">
                  <c:v>45715</c:v>
                </c:pt>
                <c:pt idx="167">
                  <c:v>45713</c:v>
                </c:pt>
                <c:pt idx="168">
                  <c:v>45712</c:v>
                </c:pt>
                <c:pt idx="169">
                  <c:v>45709</c:v>
                </c:pt>
                <c:pt idx="170">
                  <c:v>45708</c:v>
                </c:pt>
                <c:pt idx="171">
                  <c:v>45707</c:v>
                </c:pt>
                <c:pt idx="172">
                  <c:v>45706</c:v>
                </c:pt>
                <c:pt idx="173">
                  <c:v>45705</c:v>
                </c:pt>
                <c:pt idx="174">
                  <c:v>45702</c:v>
                </c:pt>
                <c:pt idx="175">
                  <c:v>45701</c:v>
                </c:pt>
                <c:pt idx="176">
                  <c:v>45700</c:v>
                </c:pt>
                <c:pt idx="177">
                  <c:v>45699</c:v>
                </c:pt>
                <c:pt idx="178">
                  <c:v>45698</c:v>
                </c:pt>
                <c:pt idx="179">
                  <c:v>45695</c:v>
                </c:pt>
                <c:pt idx="180">
                  <c:v>45694</c:v>
                </c:pt>
                <c:pt idx="181">
                  <c:v>45693</c:v>
                </c:pt>
                <c:pt idx="182">
                  <c:v>45692</c:v>
                </c:pt>
                <c:pt idx="183">
                  <c:v>45691</c:v>
                </c:pt>
                <c:pt idx="184">
                  <c:v>45689</c:v>
                </c:pt>
                <c:pt idx="185">
                  <c:v>45688</c:v>
                </c:pt>
                <c:pt idx="186">
                  <c:v>45687</c:v>
                </c:pt>
                <c:pt idx="187">
                  <c:v>45686</c:v>
                </c:pt>
                <c:pt idx="188">
                  <c:v>45685</c:v>
                </c:pt>
                <c:pt idx="189">
                  <c:v>45684</c:v>
                </c:pt>
                <c:pt idx="190">
                  <c:v>45681</c:v>
                </c:pt>
                <c:pt idx="191">
                  <c:v>45680</c:v>
                </c:pt>
                <c:pt idx="192">
                  <c:v>45679</c:v>
                </c:pt>
                <c:pt idx="193">
                  <c:v>45678</c:v>
                </c:pt>
                <c:pt idx="194">
                  <c:v>45677</c:v>
                </c:pt>
                <c:pt idx="195">
                  <c:v>45674</c:v>
                </c:pt>
                <c:pt idx="196">
                  <c:v>45673</c:v>
                </c:pt>
                <c:pt idx="197">
                  <c:v>45672</c:v>
                </c:pt>
                <c:pt idx="198">
                  <c:v>45671</c:v>
                </c:pt>
                <c:pt idx="199">
                  <c:v>45670</c:v>
                </c:pt>
                <c:pt idx="200">
                  <c:v>45667</c:v>
                </c:pt>
                <c:pt idx="201">
                  <c:v>45666</c:v>
                </c:pt>
                <c:pt idx="202">
                  <c:v>45665</c:v>
                </c:pt>
                <c:pt idx="203">
                  <c:v>45664</c:v>
                </c:pt>
                <c:pt idx="204">
                  <c:v>45663</c:v>
                </c:pt>
                <c:pt idx="205">
                  <c:v>45660</c:v>
                </c:pt>
                <c:pt idx="206">
                  <c:v>45659</c:v>
                </c:pt>
                <c:pt idx="207">
                  <c:v>45658</c:v>
                </c:pt>
                <c:pt idx="208">
                  <c:v>45657</c:v>
                </c:pt>
                <c:pt idx="209">
                  <c:v>45656</c:v>
                </c:pt>
                <c:pt idx="210">
                  <c:v>45653</c:v>
                </c:pt>
                <c:pt idx="211">
                  <c:v>45652</c:v>
                </c:pt>
                <c:pt idx="212">
                  <c:v>45650</c:v>
                </c:pt>
                <c:pt idx="213">
                  <c:v>45649</c:v>
                </c:pt>
                <c:pt idx="214">
                  <c:v>45646</c:v>
                </c:pt>
                <c:pt idx="215">
                  <c:v>45645</c:v>
                </c:pt>
                <c:pt idx="216">
                  <c:v>45644</c:v>
                </c:pt>
                <c:pt idx="217">
                  <c:v>45643</c:v>
                </c:pt>
                <c:pt idx="218">
                  <c:v>45642</c:v>
                </c:pt>
                <c:pt idx="219">
                  <c:v>45639</c:v>
                </c:pt>
                <c:pt idx="220">
                  <c:v>45638</c:v>
                </c:pt>
                <c:pt idx="221">
                  <c:v>45637</c:v>
                </c:pt>
                <c:pt idx="222">
                  <c:v>45636</c:v>
                </c:pt>
                <c:pt idx="223">
                  <c:v>45635</c:v>
                </c:pt>
                <c:pt idx="224">
                  <c:v>45632</c:v>
                </c:pt>
                <c:pt idx="225">
                  <c:v>45631</c:v>
                </c:pt>
                <c:pt idx="226">
                  <c:v>45630</c:v>
                </c:pt>
                <c:pt idx="227">
                  <c:v>45629</c:v>
                </c:pt>
                <c:pt idx="228">
                  <c:v>45628</c:v>
                </c:pt>
                <c:pt idx="229">
                  <c:v>45625</c:v>
                </c:pt>
                <c:pt idx="230">
                  <c:v>45624</c:v>
                </c:pt>
                <c:pt idx="231">
                  <c:v>45623</c:v>
                </c:pt>
                <c:pt idx="232">
                  <c:v>45622</c:v>
                </c:pt>
                <c:pt idx="233">
                  <c:v>45621</c:v>
                </c:pt>
                <c:pt idx="234">
                  <c:v>45618</c:v>
                </c:pt>
                <c:pt idx="235">
                  <c:v>45617</c:v>
                </c:pt>
                <c:pt idx="236">
                  <c:v>45615</c:v>
                </c:pt>
                <c:pt idx="237">
                  <c:v>45614</c:v>
                </c:pt>
                <c:pt idx="238">
                  <c:v>45610</c:v>
                </c:pt>
                <c:pt idx="239">
                  <c:v>45609</c:v>
                </c:pt>
                <c:pt idx="240">
                  <c:v>45608</c:v>
                </c:pt>
                <c:pt idx="241">
                  <c:v>45607</c:v>
                </c:pt>
                <c:pt idx="242">
                  <c:v>45604</c:v>
                </c:pt>
                <c:pt idx="243">
                  <c:v>45603</c:v>
                </c:pt>
                <c:pt idx="244">
                  <c:v>45602</c:v>
                </c:pt>
                <c:pt idx="245">
                  <c:v>45601</c:v>
                </c:pt>
                <c:pt idx="246">
                  <c:v>45600</c:v>
                </c:pt>
                <c:pt idx="247">
                  <c:v>45597</c:v>
                </c:pt>
                <c:pt idx="248">
                  <c:v>45596</c:v>
                </c:pt>
                <c:pt idx="249">
                  <c:v>45595</c:v>
                </c:pt>
                <c:pt idx="250">
                  <c:v>45594</c:v>
                </c:pt>
                <c:pt idx="251">
                  <c:v>45593</c:v>
                </c:pt>
                <c:pt idx="252">
                  <c:v>45590</c:v>
                </c:pt>
                <c:pt idx="253">
                  <c:v>45589</c:v>
                </c:pt>
                <c:pt idx="254">
                  <c:v>45588</c:v>
                </c:pt>
                <c:pt idx="255">
                  <c:v>45587</c:v>
                </c:pt>
                <c:pt idx="256">
                  <c:v>45586</c:v>
                </c:pt>
                <c:pt idx="257">
                  <c:v>45583</c:v>
                </c:pt>
                <c:pt idx="258">
                  <c:v>45582</c:v>
                </c:pt>
                <c:pt idx="259">
                  <c:v>45581</c:v>
                </c:pt>
                <c:pt idx="260">
                  <c:v>45580</c:v>
                </c:pt>
                <c:pt idx="261">
                  <c:v>45579</c:v>
                </c:pt>
                <c:pt idx="262">
                  <c:v>45576</c:v>
                </c:pt>
                <c:pt idx="263">
                  <c:v>45575</c:v>
                </c:pt>
                <c:pt idx="264">
                  <c:v>45574</c:v>
                </c:pt>
                <c:pt idx="265">
                  <c:v>45573</c:v>
                </c:pt>
                <c:pt idx="266">
                  <c:v>45572</c:v>
                </c:pt>
                <c:pt idx="267">
                  <c:v>45569</c:v>
                </c:pt>
                <c:pt idx="268">
                  <c:v>45568</c:v>
                </c:pt>
                <c:pt idx="269">
                  <c:v>45566</c:v>
                </c:pt>
                <c:pt idx="270">
                  <c:v>45565</c:v>
                </c:pt>
                <c:pt idx="271">
                  <c:v>45562</c:v>
                </c:pt>
                <c:pt idx="272">
                  <c:v>45561</c:v>
                </c:pt>
                <c:pt idx="273">
                  <c:v>45560</c:v>
                </c:pt>
                <c:pt idx="274">
                  <c:v>45559</c:v>
                </c:pt>
                <c:pt idx="275">
                  <c:v>45558</c:v>
                </c:pt>
                <c:pt idx="276">
                  <c:v>45555</c:v>
                </c:pt>
                <c:pt idx="277">
                  <c:v>45554</c:v>
                </c:pt>
                <c:pt idx="278">
                  <c:v>45553</c:v>
                </c:pt>
                <c:pt idx="279">
                  <c:v>45552</c:v>
                </c:pt>
                <c:pt idx="280">
                  <c:v>45551</c:v>
                </c:pt>
                <c:pt idx="281">
                  <c:v>45548</c:v>
                </c:pt>
                <c:pt idx="282">
                  <c:v>45547</c:v>
                </c:pt>
                <c:pt idx="283">
                  <c:v>45546</c:v>
                </c:pt>
                <c:pt idx="284">
                  <c:v>45545</c:v>
                </c:pt>
                <c:pt idx="285">
                  <c:v>45544</c:v>
                </c:pt>
                <c:pt idx="286">
                  <c:v>45541</c:v>
                </c:pt>
                <c:pt idx="287">
                  <c:v>45540</c:v>
                </c:pt>
                <c:pt idx="288">
                  <c:v>45539</c:v>
                </c:pt>
                <c:pt idx="289">
                  <c:v>45538</c:v>
                </c:pt>
                <c:pt idx="290">
                  <c:v>45537</c:v>
                </c:pt>
                <c:pt idx="291">
                  <c:v>45534</c:v>
                </c:pt>
                <c:pt idx="292">
                  <c:v>45533</c:v>
                </c:pt>
                <c:pt idx="293">
                  <c:v>45532</c:v>
                </c:pt>
                <c:pt idx="294">
                  <c:v>45531</c:v>
                </c:pt>
                <c:pt idx="295">
                  <c:v>45530</c:v>
                </c:pt>
                <c:pt idx="296">
                  <c:v>45527</c:v>
                </c:pt>
                <c:pt idx="297">
                  <c:v>45526</c:v>
                </c:pt>
                <c:pt idx="298">
                  <c:v>45525</c:v>
                </c:pt>
                <c:pt idx="299">
                  <c:v>45524</c:v>
                </c:pt>
                <c:pt idx="300">
                  <c:v>45523</c:v>
                </c:pt>
                <c:pt idx="301">
                  <c:v>45520</c:v>
                </c:pt>
                <c:pt idx="302">
                  <c:v>45518</c:v>
                </c:pt>
                <c:pt idx="303">
                  <c:v>45517</c:v>
                </c:pt>
                <c:pt idx="304">
                  <c:v>45516</c:v>
                </c:pt>
                <c:pt idx="305">
                  <c:v>45513</c:v>
                </c:pt>
                <c:pt idx="306">
                  <c:v>45512</c:v>
                </c:pt>
                <c:pt idx="307">
                  <c:v>45511</c:v>
                </c:pt>
                <c:pt idx="308">
                  <c:v>45510</c:v>
                </c:pt>
                <c:pt idx="309">
                  <c:v>45509</c:v>
                </c:pt>
                <c:pt idx="310">
                  <c:v>45506</c:v>
                </c:pt>
                <c:pt idx="311">
                  <c:v>45505</c:v>
                </c:pt>
                <c:pt idx="312">
                  <c:v>45504</c:v>
                </c:pt>
                <c:pt idx="313">
                  <c:v>45503</c:v>
                </c:pt>
                <c:pt idx="314">
                  <c:v>45502</c:v>
                </c:pt>
                <c:pt idx="315">
                  <c:v>45499</c:v>
                </c:pt>
                <c:pt idx="316">
                  <c:v>45498</c:v>
                </c:pt>
                <c:pt idx="317">
                  <c:v>45497</c:v>
                </c:pt>
                <c:pt idx="318">
                  <c:v>45496</c:v>
                </c:pt>
                <c:pt idx="319">
                  <c:v>45495</c:v>
                </c:pt>
                <c:pt idx="320">
                  <c:v>45492</c:v>
                </c:pt>
                <c:pt idx="321">
                  <c:v>45491</c:v>
                </c:pt>
                <c:pt idx="322">
                  <c:v>45489</c:v>
                </c:pt>
                <c:pt idx="323">
                  <c:v>45488</c:v>
                </c:pt>
                <c:pt idx="324">
                  <c:v>45485</c:v>
                </c:pt>
                <c:pt idx="325">
                  <c:v>45484</c:v>
                </c:pt>
                <c:pt idx="326">
                  <c:v>45483</c:v>
                </c:pt>
                <c:pt idx="327">
                  <c:v>45482</c:v>
                </c:pt>
                <c:pt idx="328">
                  <c:v>45481</c:v>
                </c:pt>
                <c:pt idx="329">
                  <c:v>45478</c:v>
                </c:pt>
                <c:pt idx="330">
                  <c:v>45477</c:v>
                </c:pt>
                <c:pt idx="331">
                  <c:v>45476</c:v>
                </c:pt>
                <c:pt idx="332">
                  <c:v>45475</c:v>
                </c:pt>
                <c:pt idx="333">
                  <c:v>45474</c:v>
                </c:pt>
                <c:pt idx="334">
                  <c:v>45471</c:v>
                </c:pt>
                <c:pt idx="335">
                  <c:v>45470</c:v>
                </c:pt>
                <c:pt idx="336">
                  <c:v>45469</c:v>
                </c:pt>
                <c:pt idx="337">
                  <c:v>45468</c:v>
                </c:pt>
                <c:pt idx="338">
                  <c:v>45467</c:v>
                </c:pt>
                <c:pt idx="339">
                  <c:v>45464</c:v>
                </c:pt>
                <c:pt idx="340">
                  <c:v>45463</c:v>
                </c:pt>
                <c:pt idx="341">
                  <c:v>45462</c:v>
                </c:pt>
                <c:pt idx="342">
                  <c:v>45461</c:v>
                </c:pt>
                <c:pt idx="343">
                  <c:v>45457</c:v>
                </c:pt>
                <c:pt idx="344">
                  <c:v>45456</c:v>
                </c:pt>
                <c:pt idx="345">
                  <c:v>45455</c:v>
                </c:pt>
                <c:pt idx="346">
                  <c:v>45454</c:v>
                </c:pt>
                <c:pt idx="347">
                  <c:v>45453</c:v>
                </c:pt>
                <c:pt idx="348">
                  <c:v>45450</c:v>
                </c:pt>
                <c:pt idx="349">
                  <c:v>45449</c:v>
                </c:pt>
                <c:pt idx="350">
                  <c:v>45448</c:v>
                </c:pt>
                <c:pt idx="351">
                  <c:v>45447</c:v>
                </c:pt>
                <c:pt idx="352">
                  <c:v>45446</c:v>
                </c:pt>
                <c:pt idx="353">
                  <c:v>45443</c:v>
                </c:pt>
                <c:pt idx="354">
                  <c:v>45442</c:v>
                </c:pt>
                <c:pt idx="355">
                  <c:v>45441</c:v>
                </c:pt>
                <c:pt idx="356">
                  <c:v>45440</c:v>
                </c:pt>
                <c:pt idx="357">
                  <c:v>45439</c:v>
                </c:pt>
                <c:pt idx="358">
                  <c:v>45436</c:v>
                </c:pt>
                <c:pt idx="359">
                  <c:v>45435</c:v>
                </c:pt>
                <c:pt idx="360">
                  <c:v>45434</c:v>
                </c:pt>
                <c:pt idx="361">
                  <c:v>45433</c:v>
                </c:pt>
                <c:pt idx="362">
                  <c:v>45430</c:v>
                </c:pt>
                <c:pt idx="363">
                  <c:v>45429</c:v>
                </c:pt>
                <c:pt idx="364">
                  <c:v>45428</c:v>
                </c:pt>
                <c:pt idx="365">
                  <c:v>45427</c:v>
                </c:pt>
                <c:pt idx="366">
                  <c:v>45426</c:v>
                </c:pt>
                <c:pt idx="367">
                  <c:v>45425</c:v>
                </c:pt>
                <c:pt idx="368">
                  <c:v>45422</c:v>
                </c:pt>
                <c:pt idx="369">
                  <c:v>45421</c:v>
                </c:pt>
                <c:pt idx="370">
                  <c:v>45420</c:v>
                </c:pt>
                <c:pt idx="371">
                  <c:v>45419</c:v>
                </c:pt>
                <c:pt idx="372">
                  <c:v>45418</c:v>
                </c:pt>
                <c:pt idx="373">
                  <c:v>45415</c:v>
                </c:pt>
                <c:pt idx="374">
                  <c:v>45414</c:v>
                </c:pt>
                <c:pt idx="375">
                  <c:v>45412</c:v>
                </c:pt>
                <c:pt idx="376">
                  <c:v>45411</c:v>
                </c:pt>
                <c:pt idx="377">
                  <c:v>45408</c:v>
                </c:pt>
                <c:pt idx="378">
                  <c:v>45407</c:v>
                </c:pt>
                <c:pt idx="379">
                  <c:v>45406</c:v>
                </c:pt>
                <c:pt idx="380">
                  <c:v>45405</c:v>
                </c:pt>
                <c:pt idx="381">
                  <c:v>45404</c:v>
                </c:pt>
                <c:pt idx="382">
                  <c:v>45401</c:v>
                </c:pt>
                <c:pt idx="383">
                  <c:v>45400</c:v>
                </c:pt>
                <c:pt idx="384">
                  <c:v>45398</c:v>
                </c:pt>
                <c:pt idx="385">
                  <c:v>45397</c:v>
                </c:pt>
                <c:pt idx="386">
                  <c:v>45394</c:v>
                </c:pt>
                <c:pt idx="387">
                  <c:v>45392</c:v>
                </c:pt>
                <c:pt idx="388">
                  <c:v>45391</c:v>
                </c:pt>
                <c:pt idx="389">
                  <c:v>45390</c:v>
                </c:pt>
                <c:pt idx="390">
                  <c:v>45387</c:v>
                </c:pt>
                <c:pt idx="391">
                  <c:v>45386</c:v>
                </c:pt>
                <c:pt idx="392">
                  <c:v>45385</c:v>
                </c:pt>
                <c:pt idx="393">
                  <c:v>45384</c:v>
                </c:pt>
                <c:pt idx="394">
                  <c:v>45383</c:v>
                </c:pt>
                <c:pt idx="395">
                  <c:v>45379</c:v>
                </c:pt>
                <c:pt idx="396">
                  <c:v>45378</c:v>
                </c:pt>
                <c:pt idx="397">
                  <c:v>45377</c:v>
                </c:pt>
                <c:pt idx="398">
                  <c:v>45373</c:v>
                </c:pt>
                <c:pt idx="399">
                  <c:v>45372</c:v>
                </c:pt>
                <c:pt idx="400">
                  <c:v>45371</c:v>
                </c:pt>
                <c:pt idx="401">
                  <c:v>45370</c:v>
                </c:pt>
                <c:pt idx="402">
                  <c:v>45369</c:v>
                </c:pt>
                <c:pt idx="403">
                  <c:v>45366</c:v>
                </c:pt>
                <c:pt idx="404">
                  <c:v>45365</c:v>
                </c:pt>
                <c:pt idx="405">
                  <c:v>45364</c:v>
                </c:pt>
                <c:pt idx="406">
                  <c:v>45363</c:v>
                </c:pt>
                <c:pt idx="407">
                  <c:v>45362</c:v>
                </c:pt>
                <c:pt idx="408">
                  <c:v>45358</c:v>
                </c:pt>
                <c:pt idx="409">
                  <c:v>45357</c:v>
                </c:pt>
                <c:pt idx="410">
                  <c:v>45356</c:v>
                </c:pt>
                <c:pt idx="411">
                  <c:v>45355</c:v>
                </c:pt>
                <c:pt idx="412">
                  <c:v>45353</c:v>
                </c:pt>
                <c:pt idx="413">
                  <c:v>45352</c:v>
                </c:pt>
                <c:pt idx="414">
                  <c:v>45351</c:v>
                </c:pt>
                <c:pt idx="415">
                  <c:v>45350</c:v>
                </c:pt>
                <c:pt idx="416">
                  <c:v>45349</c:v>
                </c:pt>
                <c:pt idx="417">
                  <c:v>45348</c:v>
                </c:pt>
                <c:pt idx="418">
                  <c:v>45345</c:v>
                </c:pt>
                <c:pt idx="419">
                  <c:v>45344</c:v>
                </c:pt>
                <c:pt idx="420">
                  <c:v>45343</c:v>
                </c:pt>
                <c:pt idx="421">
                  <c:v>45342</c:v>
                </c:pt>
                <c:pt idx="422">
                  <c:v>45341</c:v>
                </c:pt>
                <c:pt idx="423">
                  <c:v>45338</c:v>
                </c:pt>
                <c:pt idx="424">
                  <c:v>45337</c:v>
                </c:pt>
                <c:pt idx="425">
                  <c:v>45336</c:v>
                </c:pt>
                <c:pt idx="426">
                  <c:v>45335</c:v>
                </c:pt>
                <c:pt idx="427">
                  <c:v>45334</c:v>
                </c:pt>
                <c:pt idx="428">
                  <c:v>45331</c:v>
                </c:pt>
                <c:pt idx="429">
                  <c:v>45330</c:v>
                </c:pt>
                <c:pt idx="430">
                  <c:v>45329</c:v>
                </c:pt>
                <c:pt idx="431">
                  <c:v>45328</c:v>
                </c:pt>
                <c:pt idx="432">
                  <c:v>45327</c:v>
                </c:pt>
                <c:pt idx="433">
                  <c:v>45324</c:v>
                </c:pt>
                <c:pt idx="434">
                  <c:v>45323</c:v>
                </c:pt>
                <c:pt idx="435">
                  <c:v>45322</c:v>
                </c:pt>
                <c:pt idx="436">
                  <c:v>45321</c:v>
                </c:pt>
                <c:pt idx="437">
                  <c:v>45320</c:v>
                </c:pt>
                <c:pt idx="438">
                  <c:v>45316</c:v>
                </c:pt>
                <c:pt idx="439">
                  <c:v>45315</c:v>
                </c:pt>
                <c:pt idx="440">
                  <c:v>45314</c:v>
                </c:pt>
                <c:pt idx="441">
                  <c:v>45311</c:v>
                </c:pt>
                <c:pt idx="442">
                  <c:v>45310</c:v>
                </c:pt>
                <c:pt idx="443">
                  <c:v>45309</c:v>
                </c:pt>
                <c:pt idx="444">
                  <c:v>45308</c:v>
                </c:pt>
                <c:pt idx="445">
                  <c:v>45307</c:v>
                </c:pt>
                <c:pt idx="446">
                  <c:v>45306</c:v>
                </c:pt>
                <c:pt idx="447">
                  <c:v>45303</c:v>
                </c:pt>
                <c:pt idx="448">
                  <c:v>45302</c:v>
                </c:pt>
                <c:pt idx="449">
                  <c:v>45301</c:v>
                </c:pt>
                <c:pt idx="450">
                  <c:v>45300</c:v>
                </c:pt>
                <c:pt idx="451">
                  <c:v>45299</c:v>
                </c:pt>
                <c:pt idx="452">
                  <c:v>45296</c:v>
                </c:pt>
                <c:pt idx="453">
                  <c:v>45295</c:v>
                </c:pt>
                <c:pt idx="454">
                  <c:v>45294</c:v>
                </c:pt>
                <c:pt idx="455">
                  <c:v>45293</c:v>
                </c:pt>
                <c:pt idx="456">
                  <c:v>45292</c:v>
                </c:pt>
                <c:pt idx="457">
                  <c:v>45289</c:v>
                </c:pt>
                <c:pt idx="458">
                  <c:v>45288</c:v>
                </c:pt>
                <c:pt idx="459">
                  <c:v>45287</c:v>
                </c:pt>
                <c:pt idx="460">
                  <c:v>45286</c:v>
                </c:pt>
                <c:pt idx="461">
                  <c:v>45282</c:v>
                </c:pt>
                <c:pt idx="462">
                  <c:v>45281</c:v>
                </c:pt>
                <c:pt idx="463">
                  <c:v>45280</c:v>
                </c:pt>
                <c:pt idx="464">
                  <c:v>45279</c:v>
                </c:pt>
                <c:pt idx="465">
                  <c:v>45278</c:v>
                </c:pt>
                <c:pt idx="466">
                  <c:v>45275</c:v>
                </c:pt>
                <c:pt idx="467">
                  <c:v>45274</c:v>
                </c:pt>
                <c:pt idx="468">
                  <c:v>45273</c:v>
                </c:pt>
                <c:pt idx="469">
                  <c:v>45272</c:v>
                </c:pt>
                <c:pt idx="470">
                  <c:v>45271</c:v>
                </c:pt>
                <c:pt idx="471">
                  <c:v>45268</c:v>
                </c:pt>
                <c:pt idx="472">
                  <c:v>45267</c:v>
                </c:pt>
                <c:pt idx="473">
                  <c:v>45266</c:v>
                </c:pt>
                <c:pt idx="474">
                  <c:v>45265</c:v>
                </c:pt>
                <c:pt idx="475">
                  <c:v>45264</c:v>
                </c:pt>
                <c:pt idx="476">
                  <c:v>45261</c:v>
                </c:pt>
                <c:pt idx="477">
                  <c:v>45260</c:v>
                </c:pt>
                <c:pt idx="478">
                  <c:v>45259</c:v>
                </c:pt>
                <c:pt idx="479">
                  <c:v>45258</c:v>
                </c:pt>
                <c:pt idx="480">
                  <c:v>45254</c:v>
                </c:pt>
                <c:pt idx="481">
                  <c:v>45253</c:v>
                </c:pt>
                <c:pt idx="482">
                  <c:v>45252</c:v>
                </c:pt>
                <c:pt idx="483">
                  <c:v>45251</c:v>
                </c:pt>
                <c:pt idx="484">
                  <c:v>45250</c:v>
                </c:pt>
                <c:pt idx="485">
                  <c:v>45247</c:v>
                </c:pt>
                <c:pt idx="486">
                  <c:v>45246</c:v>
                </c:pt>
                <c:pt idx="487">
                  <c:v>45245</c:v>
                </c:pt>
                <c:pt idx="488">
                  <c:v>45243</c:v>
                </c:pt>
                <c:pt idx="489">
                  <c:v>45242</c:v>
                </c:pt>
                <c:pt idx="490">
                  <c:v>45240</c:v>
                </c:pt>
                <c:pt idx="491">
                  <c:v>45239</c:v>
                </c:pt>
                <c:pt idx="492">
                  <c:v>45238</c:v>
                </c:pt>
                <c:pt idx="493">
                  <c:v>45237</c:v>
                </c:pt>
                <c:pt idx="494">
                  <c:v>45236</c:v>
                </c:pt>
                <c:pt idx="495">
                  <c:v>45233</c:v>
                </c:pt>
                <c:pt idx="496">
                  <c:v>45232</c:v>
                </c:pt>
                <c:pt idx="497">
                  <c:v>45231</c:v>
                </c:pt>
                <c:pt idx="498">
                  <c:v>45230</c:v>
                </c:pt>
                <c:pt idx="499">
                  <c:v>45229</c:v>
                </c:pt>
                <c:pt idx="500">
                  <c:v>45226</c:v>
                </c:pt>
                <c:pt idx="501">
                  <c:v>45225</c:v>
                </c:pt>
                <c:pt idx="502">
                  <c:v>45224</c:v>
                </c:pt>
                <c:pt idx="503">
                  <c:v>45222</c:v>
                </c:pt>
                <c:pt idx="504">
                  <c:v>45219</c:v>
                </c:pt>
                <c:pt idx="505">
                  <c:v>45218</c:v>
                </c:pt>
                <c:pt idx="506">
                  <c:v>45217</c:v>
                </c:pt>
                <c:pt idx="507">
                  <c:v>45216</c:v>
                </c:pt>
                <c:pt idx="508">
                  <c:v>45215</c:v>
                </c:pt>
                <c:pt idx="509">
                  <c:v>45212</c:v>
                </c:pt>
                <c:pt idx="510">
                  <c:v>45211</c:v>
                </c:pt>
                <c:pt idx="511">
                  <c:v>45210</c:v>
                </c:pt>
                <c:pt idx="512">
                  <c:v>45209</c:v>
                </c:pt>
                <c:pt idx="513">
                  <c:v>45208</c:v>
                </c:pt>
                <c:pt idx="514">
                  <c:v>45205</c:v>
                </c:pt>
                <c:pt idx="515">
                  <c:v>45204</c:v>
                </c:pt>
                <c:pt idx="516">
                  <c:v>45203</c:v>
                </c:pt>
                <c:pt idx="517">
                  <c:v>45202</c:v>
                </c:pt>
                <c:pt idx="518">
                  <c:v>45198</c:v>
                </c:pt>
                <c:pt idx="519">
                  <c:v>45197</c:v>
                </c:pt>
                <c:pt idx="520">
                  <c:v>45196</c:v>
                </c:pt>
                <c:pt idx="521">
                  <c:v>45195</c:v>
                </c:pt>
                <c:pt idx="522">
                  <c:v>45194</c:v>
                </c:pt>
                <c:pt idx="523">
                  <c:v>45191</c:v>
                </c:pt>
                <c:pt idx="524">
                  <c:v>45190</c:v>
                </c:pt>
                <c:pt idx="525">
                  <c:v>45189</c:v>
                </c:pt>
                <c:pt idx="526">
                  <c:v>45187</c:v>
                </c:pt>
                <c:pt idx="527">
                  <c:v>45184</c:v>
                </c:pt>
                <c:pt idx="528">
                  <c:v>45183</c:v>
                </c:pt>
                <c:pt idx="529">
                  <c:v>45182</c:v>
                </c:pt>
                <c:pt idx="530">
                  <c:v>45181</c:v>
                </c:pt>
                <c:pt idx="531">
                  <c:v>45180</c:v>
                </c:pt>
                <c:pt idx="532">
                  <c:v>45177</c:v>
                </c:pt>
                <c:pt idx="533">
                  <c:v>45176</c:v>
                </c:pt>
                <c:pt idx="534">
                  <c:v>45175</c:v>
                </c:pt>
                <c:pt idx="535">
                  <c:v>45174</c:v>
                </c:pt>
                <c:pt idx="536">
                  <c:v>45173</c:v>
                </c:pt>
                <c:pt idx="537">
                  <c:v>45170</c:v>
                </c:pt>
                <c:pt idx="538">
                  <c:v>45169</c:v>
                </c:pt>
                <c:pt idx="539">
                  <c:v>45168</c:v>
                </c:pt>
                <c:pt idx="540">
                  <c:v>45167</c:v>
                </c:pt>
                <c:pt idx="541">
                  <c:v>45166</c:v>
                </c:pt>
                <c:pt idx="542">
                  <c:v>45163</c:v>
                </c:pt>
                <c:pt idx="543">
                  <c:v>45162</c:v>
                </c:pt>
                <c:pt idx="544">
                  <c:v>45161</c:v>
                </c:pt>
                <c:pt idx="545">
                  <c:v>45160</c:v>
                </c:pt>
                <c:pt idx="546">
                  <c:v>45159</c:v>
                </c:pt>
                <c:pt idx="547">
                  <c:v>45156</c:v>
                </c:pt>
                <c:pt idx="548">
                  <c:v>45155</c:v>
                </c:pt>
                <c:pt idx="549">
                  <c:v>45154</c:v>
                </c:pt>
                <c:pt idx="550">
                  <c:v>45152</c:v>
                </c:pt>
                <c:pt idx="551">
                  <c:v>45149</c:v>
                </c:pt>
                <c:pt idx="552">
                  <c:v>45148</c:v>
                </c:pt>
                <c:pt idx="553">
                  <c:v>45147</c:v>
                </c:pt>
                <c:pt idx="554">
                  <c:v>45146</c:v>
                </c:pt>
                <c:pt idx="555">
                  <c:v>45145</c:v>
                </c:pt>
                <c:pt idx="556">
                  <c:v>45142</c:v>
                </c:pt>
                <c:pt idx="557">
                  <c:v>45141</c:v>
                </c:pt>
                <c:pt idx="558">
                  <c:v>45140</c:v>
                </c:pt>
                <c:pt idx="559">
                  <c:v>45139</c:v>
                </c:pt>
                <c:pt idx="560">
                  <c:v>45138</c:v>
                </c:pt>
                <c:pt idx="561">
                  <c:v>45135</c:v>
                </c:pt>
                <c:pt idx="562">
                  <c:v>45134</c:v>
                </c:pt>
                <c:pt idx="563">
                  <c:v>45133</c:v>
                </c:pt>
                <c:pt idx="564">
                  <c:v>45132</c:v>
                </c:pt>
                <c:pt idx="565">
                  <c:v>45131</c:v>
                </c:pt>
                <c:pt idx="566">
                  <c:v>45128</c:v>
                </c:pt>
                <c:pt idx="567">
                  <c:v>45127</c:v>
                </c:pt>
                <c:pt idx="568">
                  <c:v>45126</c:v>
                </c:pt>
                <c:pt idx="569">
                  <c:v>45125</c:v>
                </c:pt>
                <c:pt idx="570">
                  <c:v>45124</c:v>
                </c:pt>
                <c:pt idx="571">
                  <c:v>45121</c:v>
                </c:pt>
                <c:pt idx="572">
                  <c:v>45120</c:v>
                </c:pt>
                <c:pt idx="573">
                  <c:v>45119</c:v>
                </c:pt>
                <c:pt idx="574">
                  <c:v>45118</c:v>
                </c:pt>
                <c:pt idx="575">
                  <c:v>45117</c:v>
                </c:pt>
                <c:pt idx="576">
                  <c:v>45114</c:v>
                </c:pt>
                <c:pt idx="577">
                  <c:v>45113</c:v>
                </c:pt>
                <c:pt idx="578">
                  <c:v>45112</c:v>
                </c:pt>
                <c:pt idx="579">
                  <c:v>45111</c:v>
                </c:pt>
                <c:pt idx="580">
                  <c:v>45110</c:v>
                </c:pt>
                <c:pt idx="581">
                  <c:v>45107</c:v>
                </c:pt>
                <c:pt idx="582">
                  <c:v>45105</c:v>
                </c:pt>
                <c:pt idx="583">
                  <c:v>45104</c:v>
                </c:pt>
                <c:pt idx="584">
                  <c:v>45103</c:v>
                </c:pt>
                <c:pt idx="585">
                  <c:v>45100</c:v>
                </c:pt>
                <c:pt idx="586">
                  <c:v>45099</c:v>
                </c:pt>
                <c:pt idx="587">
                  <c:v>45098</c:v>
                </c:pt>
                <c:pt idx="588">
                  <c:v>45097</c:v>
                </c:pt>
                <c:pt idx="589">
                  <c:v>45096</c:v>
                </c:pt>
                <c:pt idx="590">
                  <c:v>45093</c:v>
                </c:pt>
                <c:pt idx="591">
                  <c:v>45092</c:v>
                </c:pt>
                <c:pt idx="592">
                  <c:v>45091</c:v>
                </c:pt>
                <c:pt idx="593">
                  <c:v>45090</c:v>
                </c:pt>
                <c:pt idx="594">
                  <c:v>45089</c:v>
                </c:pt>
                <c:pt idx="595">
                  <c:v>45086</c:v>
                </c:pt>
                <c:pt idx="596">
                  <c:v>45085</c:v>
                </c:pt>
                <c:pt idx="597">
                  <c:v>45084</c:v>
                </c:pt>
                <c:pt idx="598">
                  <c:v>45083</c:v>
                </c:pt>
                <c:pt idx="599">
                  <c:v>45082</c:v>
                </c:pt>
                <c:pt idx="600">
                  <c:v>45079</c:v>
                </c:pt>
                <c:pt idx="601">
                  <c:v>45078</c:v>
                </c:pt>
                <c:pt idx="602">
                  <c:v>45077</c:v>
                </c:pt>
                <c:pt idx="603">
                  <c:v>45076</c:v>
                </c:pt>
                <c:pt idx="604">
                  <c:v>45075</c:v>
                </c:pt>
                <c:pt idx="605">
                  <c:v>45072</c:v>
                </c:pt>
                <c:pt idx="606">
                  <c:v>45071</c:v>
                </c:pt>
                <c:pt idx="607">
                  <c:v>45070</c:v>
                </c:pt>
                <c:pt idx="608">
                  <c:v>45069</c:v>
                </c:pt>
                <c:pt idx="609">
                  <c:v>45068</c:v>
                </c:pt>
                <c:pt idx="610">
                  <c:v>45065</c:v>
                </c:pt>
                <c:pt idx="611">
                  <c:v>45064</c:v>
                </c:pt>
                <c:pt idx="612">
                  <c:v>45063</c:v>
                </c:pt>
                <c:pt idx="613">
                  <c:v>45062</c:v>
                </c:pt>
                <c:pt idx="614">
                  <c:v>45061</c:v>
                </c:pt>
                <c:pt idx="615">
                  <c:v>45058</c:v>
                </c:pt>
                <c:pt idx="616">
                  <c:v>45057</c:v>
                </c:pt>
                <c:pt idx="617">
                  <c:v>45056</c:v>
                </c:pt>
                <c:pt idx="618">
                  <c:v>45055</c:v>
                </c:pt>
                <c:pt idx="619">
                  <c:v>45054</c:v>
                </c:pt>
                <c:pt idx="620">
                  <c:v>45051</c:v>
                </c:pt>
                <c:pt idx="621">
                  <c:v>45050</c:v>
                </c:pt>
                <c:pt idx="622">
                  <c:v>45049</c:v>
                </c:pt>
                <c:pt idx="623">
                  <c:v>45048</c:v>
                </c:pt>
                <c:pt idx="624">
                  <c:v>45044</c:v>
                </c:pt>
                <c:pt idx="625">
                  <c:v>45043</c:v>
                </c:pt>
                <c:pt idx="626">
                  <c:v>45042</c:v>
                </c:pt>
                <c:pt idx="627">
                  <c:v>45041</c:v>
                </c:pt>
                <c:pt idx="628">
                  <c:v>45040</c:v>
                </c:pt>
                <c:pt idx="629">
                  <c:v>45037</c:v>
                </c:pt>
                <c:pt idx="630">
                  <c:v>45036</c:v>
                </c:pt>
                <c:pt idx="631">
                  <c:v>45035</c:v>
                </c:pt>
                <c:pt idx="632">
                  <c:v>45034</c:v>
                </c:pt>
                <c:pt idx="633">
                  <c:v>45033</c:v>
                </c:pt>
                <c:pt idx="634">
                  <c:v>45029</c:v>
                </c:pt>
                <c:pt idx="635">
                  <c:v>45028</c:v>
                </c:pt>
                <c:pt idx="636">
                  <c:v>45027</c:v>
                </c:pt>
                <c:pt idx="637">
                  <c:v>45026</c:v>
                </c:pt>
                <c:pt idx="638">
                  <c:v>45022</c:v>
                </c:pt>
                <c:pt idx="639">
                  <c:v>45021</c:v>
                </c:pt>
                <c:pt idx="640">
                  <c:v>45019</c:v>
                </c:pt>
                <c:pt idx="641">
                  <c:v>45016</c:v>
                </c:pt>
                <c:pt idx="642">
                  <c:v>45014</c:v>
                </c:pt>
                <c:pt idx="643">
                  <c:v>45013</c:v>
                </c:pt>
                <c:pt idx="644">
                  <c:v>45012</c:v>
                </c:pt>
                <c:pt idx="645">
                  <c:v>45009</c:v>
                </c:pt>
                <c:pt idx="646">
                  <c:v>45008</c:v>
                </c:pt>
                <c:pt idx="647">
                  <c:v>45007</c:v>
                </c:pt>
                <c:pt idx="648">
                  <c:v>45006</c:v>
                </c:pt>
                <c:pt idx="649">
                  <c:v>45005</c:v>
                </c:pt>
                <c:pt idx="650">
                  <c:v>45002</c:v>
                </c:pt>
                <c:pt idx="651">
                  <c:v>45001</c:v>
                </c:pt>
                <c:pt idx="652">
                  <c:v>45000</c:v>
                </c:pt>
                <c:pt idx="653">
                  <c:v>44999</c:v>
                </c:pt>
                <c:pt idx="654">
                  <c:v>44998</c:v>
                </c:pt>
                <c:pt idx="655">
                  <c:v>44995</c:v>
                </c:pt>
                <c:pt idx="656">
                  <c:v>44994</c:v>
                </c:pt>
                <c:pt idx="657">
                  <c:v>44993</c:v>
                </c:pt>
                <c:pt idx="658">
                  <c:v>44991</c:v>
                </c:pt>
                <c:pt idx="659">
                  <c:v>44988</c:v>
                </c:pt>
                <c:pt idx="660">
                  <c:v>44987</c:v>
                </c:pt>
                <c:pt idx="661">
                  <c:v>44986</c:v>
                </c:pt>
                <c:pt idx="662">
                  <c:v>44985</c:v>
                </c:pt>
                <c:pt idx="663">
                  <c:v>44984</c:v>
                </c:pt>
                <c:pt idx="664">
                  <c:v>44981</c:v>
                </c:pt>
                <c:pt idx="665">
                  <c:v>44980</c:v>
                </c:pt>
                <c:pt idx="666">
                  <c:v>44979</c:v>
                </c:pt>
                <c:pt idx="667">
                  <c:v>44978</c:v>
                </c:pt>
                <c:pt idx="668">
                  <c:v>44977</c:v>
                </c:pt>
                <c:pt idx="669">
                  <c:v>44974</c:v>
                </c:pt>
                <c:pt idx="670">
                  <c:v>44973</c:v>
                </c:pt>
                <c:pt idx="671">
                  <c:v>44972</c:v>
                </c:pt>
                <c:pt idx="672">
                  <c:v>44971</c:v>
                </c:pt>
                <c:pt idx="673">
                  <c:v>44970</c:v>
                </c:pt>
                <c:pt idx="674">
                  <c:v>44967</c:v>
                </c:pt>
                <c:pt idx="675">
                  <c:v>44966</c:v>
                </c:pt>
                <c:pt idx="676">
                  <c:v>44965</c:v>
                </c:pt>
                <c:pt idx="677">
                  <c:v>44964</c:v>
                </c:pt>
                <c:pt idx="678">
                  <c:v>44963</c:v>
                </c:pt>
                <c:pt idx="679">
                  <c:v>44960</c:v>
                </c:pt>
                <c:pt idx="680">
                  <c:v>44959</c:v>
                </c:pt>
                <c:pt idx="681">
                  <c:v>44958</c:v>
                </c:pt>
                <c:pt idx="682">
                  <c:v>44957</c:v>
                </c:pt>
                <c:pt idx="683">
                  <c:v>44956</c:v>
                </c:pt>
                <c:pt idx="684">
                  <c:v>44953</c:v>
                </c:pt>
                <c:pt idx="685">
                  <c:v>44951</c:v>
                </c:pt>
                <c:pt idx="686">
                  <c:v>44950</c:v>
                </c:pt>
                <c:pt idx="687">
                  <c:v>44949</c:v>
                </c:pt>
                <c:pt idx="688">
                  <c:v>44946</c:v>
                </c:pt>
                <c:pt idx="689">
                  <c:v>44945</c:v>
                </c:pt>
                <c:pt idx="690">
                  <c:v>44944</c:v>
                </c:pt>
                <c:pt idx="691">
                  <c:v>44943</c:v>
                </c:pt>
                <c:pt idx="692">
                  <c:v>44942</c:v>
                </c:pt>
                <c:pt idx="693">
                  <c:v>44939</c:v>
                </c:pt>
                <c:pt idx="694">
                  <c:v>44938</c:v>
                </c:pt>
                <c:pt idx="695">
                  <c:v>44937</c:v>
                </c:pt>
                <c:pt idx="696">
                  <c:v>44936</c:v>
                </c:pt>
                <c:pt idx="697">
                  <c:v>44935</c:v>
                </c:pt>
                <c:pt idx="698">
                  <c:v>44932</c:v>
                </c:pt>
                <c:pt idx="699">
                  <c:v>44931</c:v>
                </c:pt>
                <c:pt idx="700">
                  <c:v>44930</c:v>
                </c:pt>
                <c:pt idx="701">
                  <c:v>44929</c:v>
                </c:pt>
                <c:pt idx="702">
                  <c:v>44928</c:v>
                </c:pt>
                <c:pt idx="703">
                  <c:v>44925</c:v>
                </c:pt>
                <c:pt idx="704">
                  <c:v>44924</c:v>
                </c:pt>
                <c:pt idx="705">
                  <c:v>44923</c:v>
                </c:pt>
                <c:pt idx="706">
                  <c:v>44922</c:v>
                </c:pt>
                <c:pt idx="707">
                  <c:v>44921</c:v>
                </c:pt>
                <c:pt idx="708">
                  <c:v>44918</c:v>
                </c:pt>
                <c:pt idx="709">
                  <c:v>44917</c:v>
                </c:pt>
                <c:pt idx="710">
                  <c:v>44916</c:v>
                </c:pt>
                <c:pt idx="711">
                  <c:v>44915</c:v>
                </c:pt>
                <c:pt idx="712">
                  <c:v>44914</c:v>
                </c:pt>
                <c:pt idx="713">
                  <c:v>44911</c:v>
                </c:pt>
                <c:pt idx="714">
                  <c:v>44910</c:v>
                </c:pt>
                <c:pt idx="715">
                  <c:v>44909</c:v>
                </c:pt>
                <c:pt idx="716">
                  <c:v>44908</c:v>
                </c:pt>
                <c:pt idx="717">
                  <c:v>44907</c:v>
                </c:pt>
                <c:pt idx="718">
                  <c:v>44904</c:v>
                </c:pt>
                <c:pt idx="719">
                  <c:v>44903</c:v>
                </c:pt>
                <c:pt idx="720">
                  <c:v>44902</c:v>
                </c:pt>
                <c:pt idx="721">
                  <c:v>44901</c:v>
                </c:pt>
                <c:pt idx="722">
                  <c:v>44900</c:v>
                </c:pt>
                <c:pt idx="723">
                  <c:v>44897</c:v>
                </c:pt>
                <c:pt idx="724">
                  <c:v>44896</c:v>
                </c:pt>
                <c:pt idx="725">
                  <c:v>44895</c:v>
                </c:pt>
                <c:pt idx="726">
                  <c:v>44894</c:v>
                </c:pt>
                <c:pt idx="727">
                  <c:v>44893</c:v>
                </c:pt>
                <c:pt idx="728">
                  <c:v>44890</c:v>
                </c:pt>
                <c:pt idx="729">
                  <c:v>44889</c:v>
                </c:pt>
                <c:pt idx="730">
                  <c:v>44888</c:v>
                </c:pt>
                <c:pt idx="731">
                  <c:v>44887</c:v>
                </c:pt>
                <c:pt idx="732">
                  <c:v>44886</c:v>
                </c:pt>
                <c:pt idx="733">
                  <c:v>44883</c:v>
                </c:pt>
                <c:pt idx="734">
                  <c:v>44882</c:v>
                </c:pt>
                <c:pt idx="735">
                  <c:v>44881</c:v>
                </c:pt>
                <c:pt idx="736">
                  <c:v>44880</c:v>
                </c:pt>
                <c:pt idx="737">
                  <c:v>44879</c:v>
                </c:pt>
                <c:pt idx="738">
                  <c:v>44876</c:v>
                </c:pt>
                <c:pt idx="739">
                  <c:v>44875</c:v>
                </c:pt>
                <c:pt idx="740">
                  <c:v>44874</c:v>
                </c:pt>
                <c:pt idx="741">
                  <c:v>44872</c:v>
                </c:pt>
                <c:pt idx="742">
                  <c:v>44869</c:v>
                </c:pt>
                <c:pt idx="743">
                  <c:v>44868</c:v>
                </c:pt>
                <c:pt idx="744">
                  <c:v>44867</c:v>
                </c:pt>
                <c:pt idx="745">
                  <c:v>44866</c:v>
                </c:pt>
                <c:pt idx="746">
                  <c:v>44865</c:v>
                </c:pt>
                <c:pt idx="747">
                  <c:v>44862</c:v>
                </c:pt>
                <c:pt idx="748">
                  <c:v>44861</c:v>
                </c:pt>
                <c:pt idx="749">
                  <c:v>44859</c:v>
                </c:pt>
                <c:pt idx="750">
                  <c:v>44858</c:v>
                </c:pt>
                <c:pt idx="751">
                  <c:v>44855</c:v>
                </c:pt>
                <c:pt idx="752">
                  <c:v>44854</c:v>
                </c:pt>
                <c:pt idx="753">
                  <c:v>44853</c:v>
                </c:pt>
                <c:pt idx="754">
                  <c:v>44852</c:v>
                </c:pt>
                <c:pt idx="755">
                  <c:v>44851</c:v>
                </c:pt>
                <c:pt idx="756">
                  <c:v>44848</c:v>
                </c:pt>
                <c:pt idx="757">
                  <c:v>44847</c:v>
                </c:pt>
                <c:pt idx="758">
                  <c:v>44846</c:v>
                </c:pt>
                <c:pt idx="759">
                  <c:v>44845</c:v>
                </c:pt>
                <c:pt idx="760">
                  <c:v>44844</c:v>
                </c:pt>
                <c:pt idx="761">
                  <c:v>44841</c:v>
                </c:pt>
                <c:pt idx="762">
                  <c:v>44840</c:v>
                </c:pt>
                <c:pt idx="763">
                  <c:v>44838</c:v>
                </c:pt>
                <c:pt idx="764">
                  <c:v>44837</c:v>
                </c:pt>
                <c:pt idx="765">
                  <c:v>44834</c:v>
                </c:pt>
                <c:pt idx="766">
                  <c:v>44833</c:v>
                </c:pt>
                <c:pt idx="767">
                  <c:v>44832</c:v>
                </c:pt>
                <c:pt idx="768">
                  <c:v>44831</c:v>
                </c:pt>
                <c:pt idx="769">
                  <c:v>44830</c:v>
                </c:pt>
                <c:pt idx="770">
                  <c:v>44827</c:v>
                </c:pt>
                <c:pt idx="771">
                  <c:v>44826</c:v>
                </c:pt>
                <c:pt idx="772">
                  <c:v>44825</c:v>
                </c:pt>
                <c:pt idx="773">
                  <c:v>44824</c:v>
                </c:pt>
                <c:pt idx="774">
                  <c:v>44823</c:v>
                </c:pt>
                <c:pt idx="775">
                  <c:v>44820</c:v>
                </c:pt>
                <c:pt idx="776">
                  <c:v>44819</c:v>
                </c:pt>
                <c:pt idx="777">
                  <c:v>44818</c:v>
                </c:pt>
                <c:pt idx="778">
                  <c:v>44817</c:v>
                </c:pt>
                <c:pt idx="779">
                  <c:v>44816</c:v>
                </c:pt>
                <c:pt idx="780">
                  <c:v>44813</c:v>
                </c:pt>
                <c:pt idx="781">
                  <c:v>44812</c:v>
                </c:pt>
                <c:pt idx="782">
                  <c:v>44811</c:v>
                </c:pt>
                <c:pt idx="783">
                  <c:v>44810</c:v>
                </c:pt>
                <c:pt idx="784">
                  <c:v>44809</c:v>
                </c:pt>
                <c:pt idx="785">
                  <c:v>44806</c:v>
                </c:pt>
                <c:pt idx="786">
                  <c:v>44805</c:v>
                </c:pt>
                <c:pt idx="787">
                  <c:v>44803</c:v>
                </c:pt>
                <c:pt idx="788">
                  <c:v>44802</c:v>
                </c:pt>
                <c:pt idx="789">
                  <c:v>44799</c:v>
                </c:pt>
                <c:pt idx="790">
                  <c:v>44798</c:v>
                </c:pt>
                <c:pt idx="791">
                  <c:v>44797</c:v>
                </c:pt>
                <c:pt idx="792">
                  <c:v>44796</c:v>
                </c:pt>
                <c:pt idx="793">
                  <c:v>44795</c:v>
                </c:pt>
                <c:pt idx="794">
                  <c:v>44792</c:v>
                </c:pt>
                <c:pt idx="795">
                  <c:v>44791</c:v>
                </c:pt>
                <c:pt idx="796">
                  <c:v>44790</c:v>
                </c:pt>
                <c:pt idx="797">
                  <c:v>44789</c:v>
                </c:pt>
                <c:pt idx="798">
                  <c:v>44785</c:v>
                </c:pt>
                <c:pt idx="799">
                  <c:v>44784</c:v>
                </c:pt>
                <c:pt idx="800">
                  <c:v>44783</c:v>
                </c:pt>
                <c:pt idx="801">
                  <c:v>44781</c:v>
                </c:pt>
                <c:pt idx="802">
                  <c:v>44778</c:v>
                </c:pt>
                <c:pt idx="803">
                  <c:v>44777</c:v>
                </c:pt>
                <c:pt idx="804">
                  <c:v>44776</c:v>
                </c:pt>
                <c:pt idx="805">
                  <c:v>44775</c:v>
                </c:pt>
                <c:pt idx="806">
                  <c:v>44774</c:v>
                </c:pt>
                <c:pt idx="807">
                  <c:v>44771</c:v>
                </c:pt>
                <c:pt idx="808">
                  <c:v>44770</c:v>
                </c:pt>
                <c:pt idx="809">
                  <c:v>44769</c:v>
                </c:pt>
                <c:pt idx="810">
                  <c:v>44768</c:v>
                </c:pt>
                <c:pt idx="811">
                  <c:v>44767</c:v>
                </c:pt>
                <c:pt idx="812">
                  <c:v>44764</c:v>
                </c:pt>
                <c:pt idx="813">
                  <c:v>44763</c:v>
                </c:pt>
                <c:pt idx="814">
                  <c:v>44762</c:v>
                </c:pt>
                <c:pt idx="815">
                  <c:v>44761</c:v>
                </c:pt>
                <c:pt idx="816">
                  <c:v>44760</c:v>
                </c:pt>
                <c:pt idx="817">
                  <c:v>44757</c:v>
                </c:pt>
                <c:pt idx="818">
                  <c:v>44756</c:v>
                </c:pt>
                <c:pt idx="819">
                  <c:v>44755</c:v>
                </c:pt>
                <c:pt idx="820">
                  <c:v>44754</c:v>
                </c:pt>
                <c:pt idx="821">
                  <c:v>44753</c:v>
                </c:pt>
                <c:pt idx="822">
                  <c:v>44750</c:v>
                </c:pt>
                <c:pt idx="823">
                  <c:v>44749</c:v>
                </c:pt>
                <c:pt idx="824">
                  <c:v>44748</c:v>
                </c:pt>
                <c:pt idx="825">
                  <c:v>44747</c:v>
                </c:pt>
                <c:pt idx="826">
                  <c:v>44746</c:v>
                </c:pt>
                <c:pt idx="827">
                  <c:v>44743</c:v>
                </c:pt>
                <c:pt idx="828">
                  <c:v>44742</c:v>
                </c:pt>
                <c:pt idx="829">
                  <c:v>44741</c:v>
                </c:pt>
                <c:pt idx="830">
                  <c:v>44740</c:v>
                </c:pt>
                <c:pt idx="831">
                  <c:v>44739</c:v>
                </c:pt>
                <c:pt idx="832">
                  <c:v>44736</c:v>
                </c:pt>
                <c:pt idx="833">
                  <c:v>44735</c:v>
                </c:pt>
                <c:pt idx="834">
                  <c:v>44734</c:v>
                </c:pt>
                <c:pt idx="835">
                  <c:v>44733</c:v>
                </c:pt>
                <c:pt idx="836">
                  <c:v>44732</c:v>
                </c:pt>
                <c:pt idx="837">
                  <c:v>44729</c:v>
                </c:pt>
                <c:pt idx="838">
                  <c:v>44728</c:v>
                </c:pt>
                <c:pt idx="839">
                  <c:v>44727</c:v>
                </c:pt>
                <c:pt idx="840">
                  <c:v>44726</c:v>
                </c:pt>
                <c:pt idx="841">
                  <c:v>44725</c:v>
                </c:pt>
                <c:pt idx="842">
                  <c:v>44722</c:v>
                </c:pt>
                <c:pt idx="843">
                  <c:v>44721</c:v>
                </c:pt>
                <c:pt idx="844">
                  <c:v>44720</c:v>
                </c:pt>
                <c:pt idx="845">
                  <c:v>44719</c:v>
                </c:pt>
                <c:pt idx="846">
                  <c:v>44718</c:v>
                </c:pt>
                <c:pt idx="847">
                  <c:v>44715</c:v>
                </c:pt>
                <c:pt idx="848">
                  <c:v>44714</c:v>
                </c:pt>
                <c:pt idx="849">
                  <c:v>44713</c:v>
                </c:pt>
                <c:pt idx="850">
                  <c:v>44712</c:v>
                </c:pt>
                <c:pt idx="851">
                  <c:v>44711</c:v>
                </c:pt>
                <c:pt idx="852">
                  <c:v>44708</c:v>
                </c:pt>
                <c:pt idx="853">
                  <c:v>44707</c:v>
                </c:pt>
                <c:pt idx="854">
                  <c:v>44706</c:v>
                </c:pt>
                <c:pt idx="855">
                  <c:v>44705</c:v>
                </c:pt>
                <c:pt idx="856">
                  <c:v>44704</c:v>
                </c:pt>
                <c:pt idx="857">
                  <c:v>44701</c:v>
                </c:pt>
                <c:pt idx="858">
                  <c:v>44700</c:v>
                </c:pt>
                <c:pt idx="859">
                  <c:v>44699</c:v>
                </c:pt>
                <c:pt idx="860">
                  <c:v>44698</c:v>
                </c:pt>
                <c:pt idx="861">
                  <c:v>44697</c:v>
                </c:pt>
                <c:pt idx="862">
                  <c:v>44694</c:v>
                </c:pt>
                <c:pt idx="863">
                  <c:v>44693</c:v>
                </c:pt>
                <c:pt idx="864">
                  <c:v>44692</c:v>
                </c:pt>
                <c:pt idx="865">
                  <c:v>44691</c:v>
                </c:pt>
                <c:pt idx="866">
                  <c:v>44690</c:v>
                </c:pt>
                <c:pt idx="867">
                  <c:v>44687</c:v>
                </c:pt>
                <c:pt idx="868">
                  <c:v>44686</c:v>
                </c:pt>
                <c:pt idx="869">
                  <c:v>44685</c:v>
                </c:pt>
                <c:pt idx="870">
                  <c:v>44683</c:v>
                </c:pt>
                <c:pt idx="871">
                  <c:v>44680</c:v>
                </c:pt>
                <c:pt idx="872">
                  <c:v>44679</c:v>
                </c:pt>
                <c:pt idx="873">
                  <c:v>44678</c:v>
                </c:pt>
                <c:pt idx="874">
                  <c:v>44677</c:v>
                </c:pt>
                <c:pt idx="875">
                  <c:v>44676</c:v>
                </c:pt>
                <c:pt idx="876">
                  <c:v>44673</c:v>
                </c:pt>
                <c:pt idx="877">
                  <c:v>44672</c:v>
                </c:pt>
                <c:pt idx="878">
                  <c:v>44671</c:v>
                </c:pt>
                <c:pt idx="879">
                  <c:v>44670</c:v>
                </c:pt>
                <c:pt idx="880">
                  <c:v>44669</c:v>
                </c:pt>
                <c:pt idx="881">
                  <c:v>44664</c:v>
                </c:pt>
                <c:pt idx="882">
                  <c:v>44663</c:v>
                </c:pt>
                <c:pt idx="883">
                  <c:v>44662</c:v>
                </c:pt>
                <c:pt idx="884">
                  <c:v>44659</c:v>
                </c:pt>
                <c:pt idx="885">
                  <c:v>44658</c:v>
                </c:pt>
                <c:pt idx="886">
                  <c:v>44657</c:v>
                </c:pt>
                <c:pt idx="887">
                  <c:v>44656</c:v>
                </c:pt>
                <c:pt idx="888">
                  <c:v>44655</c:v>
                </c:pt>
                <c:pt idx="889">
                  <c:v>44652</c:v>
                </c:pt>
                <c:pt idx="890">
                  <c:v>44651</c:v>
                </c:pt>
                <c:pt idx="891">
                  <c:v>44650</c:v>
                </c:pt>
                <c:pt idx="892">
                  <c:v>44649</c:v>
                </c:pt>
                <c:pt idx="893">
                  <c:v>44648</c:v>
                </c:pt>
                <c:pt idx="894">
                  <c:v>44645</c:v>
                </c:pt>
                <c:pt idx="895">
                  <c:v>44644</c:v>
                </c:pt>
                <c:pt idx="896">
                  <c:v>44643</c:v>
                </c:pt>
                <c:pt idx="897">
                  <c:v>44642</c:v>
                </c:pt>
                <c:pt idx="898">
                  <c:v>44641</c:v>
                </c:pt>
                <c:pt idx="899">
                  <c:v>44637</c:v>
                </c:pt>
                <c:pt idx="900">
                  <c:v>44636</c:v>
                </c:pt>
                <c:pt idx="901">
                  <c:v>44635</c:v>
                </c:pt>
                <c:pt idx="902">
                  <c:v>44634</c:v>
                </c:pt>
                <c:pt idx="903">
                  <c:v>44631</c:v>
                </c:pt>
                <c:pt idx="904">
                  <c:v>44630</c:v>
                </c:pt>
                <c:pt idx="905">
                  <c:v>44629</c:v>
                </c:pt>
                <c:pt idx="906">
                  <c:v>44628</c:v>
                </c:pt>
                <c:pt idx="907">
                  <c:v>44627</c:v>
                </c:pt>
                <c:pt idx="908">
                  <c:v>44624</c:v>
                </c:pt>
                <c:pt idx="909">
                  <c:v>44623</c:v>
                </c:pt>
                <c:pt idx="910">
                  <c:v>44622</c:v>
                </c:pt>
                <c:pt idx="911">
                  <c:v>44620</c:v>
                </c:pt>
                <c:pt idx="912">
                  <c:v>44617</c:v>
                </c:pt>
                <c:pt idx="913">
                  <c:v>44616</c:v>
                </c:pt>
                <c:pt idx="914">
                  <c:v>44615</c:v>
                </c:pt>
                <c:pt idx="915">
                  <c:v>44614</c:v>
                </c:pt>
                <c:pt idx="916">
                  <c:v>44613</c:v>
                </c:pt>
                <c:pt idx="917">
                  <c:v>44610</c:v>
                </c:pt>
                <c:pt idx="918">
                  <c:v>44609</c:v>
                </c:pt>
                <c:pt idx="919">
                  <c:v>44608</c:v>
                </c:pt>
                <c:pt idx="920">
                  <c:v>44607</c:v>
                </c:pt>
                <c:pt idx="921">
                  <c:v>44606</c:v>
                </c:pt>
                <c:pt idx="922">
                  <c:v>44603</c:v>
                </c:pt>
                <c:pt idx="923">
                  <c:v>44602</c:v>
                </c:pt>
                <c:pt idx="924">
                  <c:v>44601</c:v>
                </c:pt>
                <c:pt idx="925">
                  <c:v>44600</c:v>
                </c:pt>
                <c:pt idx="926">
                  <c:v>44599</c:v>
                </c:pt>
                <c:pt idx="927">
                  <c:v>44596</c:v>
                </c:pt>
                <c:pt idx="928">
                  <c:v>44595</c:v>
                </c:pt>
                <c:pt idx="929">
                  <c:v>44594</c:v>
                </c:pt>
                <c:pt idx="930">
                  <c:v>44593</c:v>
                </c:pt>
                <c:pt idx="931">
                  <c:v>44592</c:v>
                </c:pt>
                <c:pt idx="932">
                  <c:v>44589</c:v>
                </c:pt>
                <c:pt idx="933">
                  <c:v>44588</c:v>
                </c:pt>
                <c:pt idx="934">
                  <c:v>44586</c:v>
                </c:pt>
                <c:pt idx="935">
                  <c:v>44585</c:v>
                </c:pt>
                <c:pt idx="936">
                  <c:v>44582</c:v>
                </c:pt>
                <c:pt idx="937">
                  <c:v>44581</c:v>
                </c:pt>
                <c:pt idx="938">
                  <c:v>44580</c:v>
                </c:pt>
                <c:pt idx="939">
                  <c:v>44579</c:v>
                </c:pt>
                <c:pt idx="940">
                  <c:v>44578</c:v>
                </c:pt>
                <c:pt idx="941">
                  <c:v>44575</c:v>
                </c:pt>
                <c:pt idx="942">
                  <c:v>44574</c:v>
                </c:pt>
                <c:pt idx="943">
                  <c:v>44573</c:v>
                </c:pt>
                <c:pt idx="944">
                  <c:v>44572</c:v>
                </c:pt>
                <c:pt idx="945">
                  <c:v>44571</c:v>
                </c:pt>
                <c:pt idx="946">
                  <c:v>44568</c:v>
                </c:pt>
                <c:pt idx="947">
                  <c:v>44567</c:v>
                </c:pt>
                <c:pt idx="948">
                  <c:v>44566</c:v>
                </c:pt>
                <c:pt idx="949">
                  <c:v>44565</c:v>
                </c:pt>
                <c:pt idx="950">
                  <c:v>44564</c:v>
                </c:pt>
                <c:pt idx="951">
                  <c:v>44561</c:v>
                </c:pt>
                <c:pt idx="952">
                  <c:v>44560</c:v>
                </c:pt>
                <c:pt idx="953">
                  <c:v>44559</c:v>
                </c:pt>
                <c:pt idx="954">
                  <c:v>44558</c:v>
                </c:pt>
                <c:pt idx="955">
                  <c:v>44557</c:v>
                </c:pt>
                <c:pt idx="956">
                  <c:v>44554</c:v>
                </c:pt>
                <c:pt idx="957">
                  <c:v>44553</c:v>
                </c:pt>
                <c:pt idx="958">
                  <c:v>44552</c:v>
                </c:pt>
                <c:pt idx="959">
                  <c:v>44551</c:v>
                </c:pt>
                <c:pt idx="960">
                  <c:v>44550</c:v>
                </c:pt>
                <c:pt idx="961">
                  <c:v>44547</c:v>
                </c:pt>
                <c:pt idx="962">
                  <c:v>44546</c:v>
                </c:pt>
                <c:pt idx="963">
                  <c:v>44545</c:v>
                </c:pt>
                <c:pt idx="964">
                  <c:v>44544</c:v>
                </c:pt>
                <c:pt idx="965">
                  <c:v>44543</c:v>
                </c:pt>
                <c:pt idx="966">
                  <c:v>44540</c:v>
                </c:pt>
                <c:pt idx="967">
                  <c:v>44539</c:v>
                </c:pt>
                <c:pt idx="968">
                  <c:v>44538</c:v>
                </c:pt>
                <c:pt idx="969">
                  <c:v>44537</c:v>
                </c:pt>
                <c:pt idx="970">
                  <c:v>44536</c:v>
                </c:pt>
                <c:pt idx="971">
                  <c:v>44533</c:v>
                </c:pt>
                <c:pt idx="972">
                  <c:v>44532</c:v>
                </c:pt>
                <c:pt idx="973">
                  <c:v>44531</c:v>
                </c:pt>
                <c:pt idx="974">
                  <c:v>44530</c:v>
                </c:pt>
                <c:pt idx="975">
                  <c:v>44529</c:v>
                </c:pt>
                <c:pt idx="976">
                  <c:v>44526</c:v>
                </c:pt>
                <c:pt idx="977">
                  <c:v>44525</c:v>
                </c:pt>
                <c:pt idx="978">
                  <c:v>44524</c:v>
                </c:pt>
                <c:pt idx="979">
                  <c:v>44523</c:v>
                </c:pt>
                <c:pt idx="980">
                  <c:v>44522</c:v>
                </c:pt>
                <c:pt idx="981">
                  <c:v>44518</c:v>
                </c:pt>
                <c:pt idx="982">
                  <c:v>44517</c:v>
                </c:pt>
                <c:pt idx="983">
                  <c:v>44516</c:v>
                </c:pt>
                <c:pt idx="984">
                  <c:v>44515</c:v>
                </c:pt>
                <c:pt idx="985">
                  <c:v>44512</c:v>
                </c:pt>
                <c:pt idx="986">
                  <c:v>44511</c:v>
                </c:pt>
                <c:pt idx="987">
                  <c:v>44510</c:v>
                </c:pt>
                <c:pt idx="988">
                  <c:v>44509</c:v>
                </c:pt>
                <c:pt idx="989">
                  <c:v>44508</c:v>
                </c:pt>
                <c:pt idx="990">
                  <c:v>44504</c:v>
                </c:pt>
                <c:pt idx="991">
                  <c:v>44503</c:v>
                </c:pt>
                <c:pt idx="992">
                  <c:v>44502</c:v>
                </c:pt>
                <c:pt idx="993">
                  <c:v>44501</c:v>
                </c:pt>
                <c:pt idx="994">
                  <c:v>44498</c:v>
                </c:pt>
                <c:pt idx="995">
                  <c:v>44497</c:v>
                </c:pt>
                <c:pt idx="996">
                  <c:v>44496</c:v>
                </c:pt>
                <c:pt idx="997">
                  <c:v>44495</c:v>
                </c:pt>
                <c:pt idx="998">
                  <c:v>44494</c:v>
                </c:pt>
                <c:pt idx="999">
                  <c:v>44491</c:v>
                </c:pt>
                <c:pt idx="1000">
                  <c:v>44490</c:v>
                </c:pt>
                <c:pt idx="1001">
                  <c:v>44489</c:v>
                </c:pt>
                <c:pt idx="1002">
                  <c:v>44488</c:v>
                </c:pt>
                <c:pt idx="1003">
                  <c:v>44487</c:v>
                </c:pt>
                <c:pt idx="1004">
                  <c:v>44483</c:v>
                </c:pt>
                <c:pt idx="1005">
                  <c:v>44482</c:v>
                </c:pt>
                <c:pt idx="1006">
                  <c:v>44481</c:v>
                </c:pt>
                <c:pt idx="1007">
                  <c:v>44480</c:v>
                </c:pt>
                <c:pt idx="1008">
                  <c:v>44477</c:v>
                </c:pt>
                <c:pt idx="1009">
                  <c:v>44476</c:v>
                </c:pt>
                <c:pt idx="1010">
                  <c:v>44475</c:v>
                </c:pt>
                <c:pt idx="1011">
                  <c:v>44474</c:v>
                </c:pt>
                <c:pt idx="1012">
                  <c:v>44473</c:v>
                </c:pt>
                <c:pt idx="1013">
                  <c:v>44470</c:v>
                </c:pt>
                <c:pt idx="1014">
                  <c:v>44469</c:v>
                </c:pt>
                <c:pt idx="1015">
                  <c:v>44468</c:v>
                </c:pt>
                <c:pt idx="1016">
                  <c:v>44467</c:v>
                </c:pt>
                <c:pt idx="1017">
                  <c:v>44466</c:v>
                </c:pt>
                <c:pt idx="1018">
                  <c:v>44463</c:v>
                </c:pt>
                <c:pt idx="1019">
                  <c:v>44462</c:v>
                </c:pt>
                <c:pt idx="1020">
                  <c:v>44461</c:v>
                </c:pt>
                <c:pt idx="1021">
                  <c:v>44460</c:v>
                </c:pt>
                <c:pt idx="1022">
                  <c:v>44459</c:v>
                </c:pt>
                <c:pt idx="1023">
                  <c:v>44456</c:v>
                </c:pt>
                <c:pt idx="1024">
                  <c:v>44455</c:v>
                </c:pt>
                <c:pt idx="1025">
                  <c:v>44454</c:v>
                </c:pt>
                <c:pt idx="1026">
                  <c:v>44453</c:v>
                </c:pt>
                <c:pt idx="1027">
                  <c:v>44452</c:v>
                </c:pt>
                <c:pt idx="1028">
                  <c:v>44448</c:v>
                </c:pt>
                <c:pt idx="1029">
                  <c:v>44447</c:v>
                </c:pt>
                <c:pt idx="1030">
                  <c:v>44446</c:v>
                </c:pt>
                <c:pt idx="1031">
                  <c:v>44445</c:v>
                </c:pt>
                <c:pt idx="1032">
                  <c:v>44442</c:v>
                </c:pt>
                <c:pt idx="1033">
                  <c:v>44441</c:v>
                </c:pt>
                <c:pt idx="1034">
                  <c:v>44440</c:v>
                </c:pt>
                <c:pt idx="1035">
                  <c:v>44439</c:v>
                </c:pt>
                <c:pt idx="1036">
                  <c:v>44438</c:v>
                </c:pt>
                <c:pt idx="1037">
                  <c:v>44435</c:v>
                </c:pt>
                <c:pt idx="1038">
                  <c:v>44434</c:v>
                </c:pt>
                <c:pt idx="1039">
                  <c:v>44433</c:v>
                </c:pt>
                <c:pt idx="1040">
                  <c:v>44432</c:v>
                </c:pt>
                <c:pt idx="1041">
                  <c:v>44431</c:v>
                </c:pt>
                <c:pt idx="1042">
                  <c:v>44428</c:v>
                </c:pt>
                <c:pt idx="1043">
                  <c:v>44426</c:v>
                </c:pt>
                <c:pt idx="1044">
                  <c:v>44425</c:v>
                </c:pt>
                <c:pt idx="1045">
                  <c:v>44424</c:v>
                </c:pt>
                <c:pt idx="1046">
                  <c:v>44421</c:v>
                </c:pt>
                <c:pt idx="1047">
                  <c:v>44420</c:v>
                </c:pt>
                <c:pt idx="1048">
                  <c:v>44419</c:v>
                </c:pt>
                <c:pt idx="1049">
                  <c:v>44418</c:v>
                </c:pt>
                <c:pt idx="1050">
                  <c:v>44417</c:v>
                </c:pt>
                <c:pt idx="1051">
                  <c:v>44414</c:v>
                </c:pt>
                <c:pt idx="1052">
                  <c:v>44413</c:v>
                </c:pt>
                <c:pt idx="1053">
                  <c:v>44412</c:v>
                </c:pt>
                <c:pt idx="1054">
                  <c:v>44411</c:v>
                </c:pt>
                <c:pt idx="1055">
                  <c:v>44410</c:v>
                </c:pt>
                <c:pt idx="1056">
                  <c:v>44407</c:v>
                </c:pt>
                <c:pt idx="1057">
                  <c:v>44406</c:v>
                </c:pt>
                <c:pt idx="1058">
                  <c:v>44405</c:v>
                </c:pt>
                <c:pt idx="1059">
                  <c:v>44404</c:v>
                </c:pt>
                <c:pt idx="1060">
                  <c:v>44403</c:v>
                </c:pt>
                <c:pt idx="1061">
                  <c:v>44400</c:v>
                </c:pt>
                <c:pt idx="1062">
                  <c:v>44399</c:v>
                </c:pt>
                <c:pt idx="1063">
                  <c:v>44397</c:v>
                </c:pt>
                <c:pt idx="1064">
                  <c:v>44396</c:v>
                </c:pt>
                <c:pt idx="1065">
                  <c:v>44393</c:v>
                </c:pt>
                <c:pt idx="1066">
                  <c:v>44392</c:v>
                </c:pt>
                <c:pt idx="1067">
                  <c:v>44391</c:v>
                </c:pt>
                <c:pt idx="1068">
                  <c:v>44390</c:v>
                </c:pt>
                <c:pt idx="1069">
                  <c:v>44389</c:v>
                </c:pt>
                <c:pt idx="1070">
                  <c:v>44386</c:v>
                </c:pt>
                <c:pt idx="1071">
                  <c:v>44385</c:v>
                </c:pt>
                <c:pt idx="1072">
                  <c:v>44384</c:v>
                </c:pt>
                <c:pt idx="1073">
                  <c:v>44383</c:v>
                </c:pt>
                <c:pt idx="1074">
                  <c:v>44382</c:v>
                </c:pt>
                <c:pt idx="1075">
                  <c:v>44379</c:v>
                </c:pt>
                <c:pt idx="1076">
                  <c:v>44378</c:v>
                </c:pt>
                <c:pt idx="1077">
                  <c:v>44377</c:v>
                </c:pt>
                <c:pt idx="1078">
                  <c:v>44376</c:v>
                </c:pt>
                <c:pt idx="1079">
                  <c:v>44375</c:v>
                </c:pt>
                <c:pt idx="1080">
                  <c:v>44372</c:v>
                </c:pt>
                <c:pt idx="1081">
                  <c:v>44371</c:v>
                </c:pt>
                <c:pt idx="1082">
                  <c:v>44370</c:v>
                </c:pt>
                <c:pt idx="1083">
                  <c:v>44369</c:v>
                </c:pt>
                <c:pt idx="1084">
                  <c:v>44368</c:v>
                </c:pt>
                <c:pt idx="1085">
                  <c:v>44365</c:v>
                </c:pt>
                <c:pt idx="1086">
                  <c:v>44364</c:v>
                </c:pt>
                <c:pt idx="1087">
                  <c:v>44363</c:v>
                </c:pt>
                <c:pt idx="1088">
                  <c:v>44362</c:v>
                </c:pt>
                <c:pt idx="1089">
                  <c:v>44361</c:v>
                </c:pt>
                <c:pt idx="1090">
                  <c:v>44358</c:v>
                </c:pt>
                <c:pt idx="1091">
                  <c:v>44357</c:v>
                </c:pt>
                <c:pt idx="1092">
                  <c:v>44356</c:v>
                </c:pt>
                <c:pt idx="1093">
                  <c:v>44355</c:v>
                </c:pt>
                <c:pt idx="1094">
                  <c:v>44354</c:v>
                </c:pt>
                <c:pt idx="1095">
                  <c:v>44351</c:v>
                </c:pt>
                <c:pt idx="1096">
                  <c:v>44350</c:v>
                </c:pt>
                <c:pt idx="1097">
                  <c:v>44349</c:v>
                </c:pt>
                <c:pt idx="1098">
                  <c:v>44348</c:v>
                </c:pt>
                <c:pt idx="1099">
                  <c:v>44347</c:v>
                </c:pt>
                <c:pt idx="1100">
                  <c:v>44344</c:v>
                </c:pt>
                <c:pt idx="1101">
                  <c:v>44343</c:v>
                </c:pt>
                <c:pt idx="1102">
                  <c:v>44342</c:v>
                </c:pt>
                <c:pt idx="1103">
                  <c:v>44341</c:v>
                </c:pt>
                <c:pt idx="1104">
                  <c:v>44340</c:v>
                </c:pt>
                <c:pt idx="1105">
                  <c:v>44337</c:v>
                </c:pt>
                <c:pt idx="1106">
                  <c:v>44336</c:v>
                </c:pt>
                <c:pt idx="1107">
                  <c:v>44335</c:v>
                </c:pt>
                <c:pt idx="1108">
                  <c:v>44334</c:v>
                </c:pt>
                <c:pt idx="1109">
                  <c:v>44333</c:v>
                </c:pt>
                <c:pt idx="1110">
                  <c:v>44330</c:v>
                </c:pt>
                <c:pt idx="1111">
                  <c:v>44328</c:v>
                </c:pt>
                <c:pt idx="1112">
                  <c:v>44327</c:v>
                </c:pt>
                <c:pt idx="1113">
                  <c:v>44326</c:v>
                </c:pt>
                <c:pt idx="1114">
                  <c:v>44323</c:v>
                </c:pt>
                <c:pt idx="1115">
                  <c:v>44322</c:v>
                </c:pt>
                <c:pt idx="1116">
                  <c:v>44321</c:v>
                </c:pt>
                <c:pt idx="1117">
                  <c:v>44320</c:v>
                </c:pt>
                <c:pt idx="1118">
                  <c:v>44319</c:v>
                </c:pt>
                <c:pt idx="1119">
                  <c:v>44316</c:v>
                </c:pt>
                <c:pt idx="1120">
                  <c:v>44315</c:v>
                </c:pt>
                <c:pt idx="1121">
                  <c:v>44314</c:v>
                </c:pt>
                <c:pt idx="1122">
                  <c:v>44313</c:v>
                </c:pt>
                <c:pt idx="1123">
                  <c:v>44312</c:v>
                </c:pt>
                <c:pt idx="1124">
                  <c:v>44309</c:v>
                </c:pt>
                <c:pt idx="1125">
                  <c:v>44308</c:v>
                </c:pt>
                <c:pt idx="1126">
                  <c:v>44306</c:v>
                </c:pt>
                <c:pt idx="1127">
                  <c:v>44305</c:v>
                </c:pt>
                <c:pt idx="1128">
                  <c:v>44302</c:v>
                </c:pt>
                <c:pt idx="1129">
                  <c:v>44301</c:v>
                </c:pt>
                <c:pt idx="1130">
                  <c:v>44299</c:v>
                </c:pt>
                <c:pt idx="1131">
                  <c:v>44298</c:v>
                </c:pt>
                <c:pt idx="1132">
                  <c:v>44295</c:v>
                </c:pt>
                <c:pt idx="1133">
                  <c:v>44294</c:v>
                </c:pt>
                <c:pt idx="1134">
                  <c:v>44293</c:v>
                </c:pt>
                <c:pt idx="1135">
                  <c:v>44292</c:v>
                </c:pt>
                <c:pt idx="1136">
                  <c:v>44291</c:v>
                </c:pt>
                <c:pt idx="1137">
                  <c:v>44287</c:v>
                </c:pt>
                <c:pt idx="1138">
                  <c:v>44286</c:v>
                </c:pt>
                <c:pt idx="1139">
                  <c:v>44285</c:v>
                </c:pt>
                <c:pt idx="1140">
                  <c:v>44281</c:v>
                </c:pt>
                <c:pt idx="1141">
                  <c:v>44280</c:v>
                </c:pt>
                <c:pt idx="1142">
                  <c:v>44279</c:v>
                </c:pt>
                <c:pt idx="1143">
                  <c:v>44278</c:v>
                </c:pt>
                <c:pt idx="1144">
                  <c:v>44277</c:v>
                </c:pt>
                <c:pt idx="1145">
                  <c:v>44274</c:v>
                </c:pt>
                <c:pt idx="1146">
                  <c:v>44273</c:v>
                </c:pt>
                <c:pt idx="1147">
                  <c:v>44272</c:v>
                </c:pt>
                <c:pt idx="1148">
                  <c:v>44271</c:v>
                </c:pt>
                <c:pt idx="1149">
                  <c:v>44270</c:v>
                </c:pt>
                <c:pt idx="1150">
                  <c:v>44267</c:v>
                </c:pt>
                <c:pt idx="1151">
                  <c:v>44265</c:v>
                </c:pt>
                <c:pt idx="1152">
                  <c:v>44264</c:v>
                </c:pt>
                <c:pt idx="1153">
                  <c:v>44263</c:v>
                </c:pt>
                <c:pt idx="1154">
                  <c:v>44260</c:v>
                </c:pt>
                <c:pt idx="1155">
                  <c:v>44259</c:v>
                </c:pt>
                <c:pt idx="1156">
                  <c:v>44258</c:v>
                </c:pt>
                <c:pt idx="1157">
                  <c:v>44257</c:v>
                </c:pt>
                <c:pt idx="1158">
                  <c:v>44256</c:v>
                </c:pt>
                <c:pt idx="1159">
                  <c:v>44253</c:v>
                </c:pt>
                <c:pt idx="1160">
                  <c:v>44252</c:v>
                </c:pt>
                <c:pt idx="1161">
                  <c:v>44251</c:v>
                </c:pt>
                <c:pt idx="1162">
                  <c:v>44250</c:v>
                </c:pt>
                <c:pt idx="1163">
                  <c:v>44249</c:v>
                </c:pt>
                <c:pt idx="1164">
                  <c:v>44246</c:v>
                </c:pt>
                <c:pt idx="1165">
                  <c:v>44245</c:v>
                </c:pt>
                <c:pt idx="1166">
                  <c:v>44244</c:v>
                </c:pt>
                <c:pt idx="1167">
                  <c:v>44243</c:v>
                </c:pt>
                <c:pt idx="1168">
                  <c:v>44242</c:v>
                </c:pt>
                <c:pt idx="1169">
                  <c:v>44239</c:v>
                </c:pt>
                <c:pt idx="1170">
                  <c:v>44238</c:v>
                </c:pt>
                <c:pt idx="1171">
                  <c:v>44237</c:v>
                </c:pt>
                <c:pt idx="1172">
                  <c:v>44236</c:v>
                </c:pt>
                <c:pt idx="1173">
                  <c:v>44235</c:v>
                </c:pt>
                <c:pt idx="1174">
                  <c:v>44232</c:v>
                </c:pt>
                <c:pt idx="1175">
                  <c:v>44231</c:v>
                </c:pt>
                <c:pt idx="1176">
                  <c:v>44230</c:v>
                </c:pt>
                <c:pt idx="1177">
                  <c:v>44229</c:v>
                </c:pt>
                <c:pt idx="1178">
                  <c:v>44228</c:v>
                </c:pt>
                <c:pt idx="1179">
                  <c:v>44225</c:v>
                </c:pt>
                <c:pt idx="1180">
                  <c:v>44224</c:v>
                </c:pt>
                <c:pt idx="1181">
                  <c:v>44223</c:v>
                </c:pt>
                <c:pt idx="1182">
                  <c:v>44221</c:v>
                </c:pt>
                <c:pt idx="1183">
                  <c:v>44218</c:v>
                </c:pt>
                <c:pt idx="1184">
                  <c:v>44217</c:v>
                </c:pt>
                <c:pt idx="1185">
                  <c:v>44216</c:v>
                </c:pt>
                <c:pt idx="1186">
                  <c:v>44215</c:v>
                </c:pt>
                <c:pt idx="1187">
                  <c:v>44214</c:v>
                </c:pt>
                <c:pt idx="1188">
                  <c:v>44211</c:v>
                </c:pt>
                <c:pt idx="1189">
                  <c:v>44210</c:v>
                </c:pt>
                <c:pt idx="1190">
                  <c:v>44209</c:v>
                </c:pt>
                <c:pt idx="1191">
                  <c:v>44208</c:v>
                </c:pt>
                <c:pt idx="1192">
                  <c:v>44207</c:v>
                </c:pt>
                <c:pt idx="1193">
                  <c:v>44204</c:v>
                </c:pt>
                <c:pt idx="1194">
                  <c:v>44203</c:v>
                </c:pt>
                <c:pt idx="1195">
                  <c:v>44202</c:v>
                </c:pt>
                <c:pt idx="1196">
                  <c:v>44201</c:v>
                </c:pt>
                <c:pt idx="1197">
                  <c:v>44200</c:v>
                </c:pt>
                <c:pt idx="1198">
                  <c:v>44197</c:v>
                </c:pt>
                <c:pt idx="1199">
                  <c:v>44196</c:v>
                </c:pt>
                <c:pt idx="1200">
                  <c:v>44195</c:v>
                </c:pt>
                <c:pt idx="1201">
                  <c:v>44194</c:v>
                </c:pt>
                <c:pt idx="1202">
                  <c:v>44193</c:v>
                </c:pt>
                <c:pt idx="1203">
                  <c:v>44189</c:v>
                </c:pt>
                <c:pt idx="1204">
                  <c:v>44188</c:v>
                </c:pt>
                <c:pt idx="1205">
                  <c:v>44187</c:v>
                </c:pt>
                <c:pt idx="1206">
                  <c:v>44186</c:v>
                </c:pt>
                <c:pt idx="1207">
                  <c:v>44183</c:v>
                </c:pt>
                <c:pt idx="1208">
                  <c:v>44182</c:v>
                </c:pt>
                <c:pt idx="1209">
                  <c:v>44181</c:v>
                </c:pt>
                <c:pt idx="1210">
                  <c:v>44180</c:v>
                </c:pt>
                <c:pt idx="1211">
                  <c:v>44179</c:v>
                </c:pt>
                <c:pt idx="1212">
                  <c:v>44176</c:v>
                </c:pt>
                <c:pt idx="1213">
                  <c:v>44175</c:v>
                </c:pt>
                <c:pt idx="1214">
                  <c:v>44174</c:v>
                </c:pt>
                <c:pt idx="1215">
                  <c:v>44173</c:v>
                </c:pt>
                <c:pt idx="1216">
                  <c:v>44172</c:v>
                </c:pt>
                <c:pt idx="1217">
                  <c:v>44169</c:v>
                </c:pt>
                <c:pt idx="1218">
                  <c:v>44168</c:v>
                </c:pt>
                <c:pt idx="1219">
                  <c:v>44167</c:v>
                </c:pt>
                <c:pt idx="1220">
                  <c:v>44166</c:v>
                </c:pt>
                <c:pt idx="1221">
                  <c:v>44162</c:v>
                </c:pt>
                <c:pt idx="1222">
                  <c:v>44161</c:v>
                </c:pt>
                <c:pt idx="1223">
                  <c:v>44160</c:v>
                </c:pt>
                <c:pt idx="1224">
                  <c:v>44159</c:v>
                </c:pt>
                <c:pt idx="1225">
                  <c:v>44158</c:v>
                </c:pt>
                <c:pt idx="1226">
                  <c:v>44155</c:v>
                </c:pt>
                <c:pt idx="1227">
                  <c:v>44154</c:v>
                </c:pt>
                <c:pt idx="1228">
                  <c:v>44153</c:v>
                </c:pt>
                <c:pt idx="1229">
                  <c:v>44152</c:v>
                </c:pt>
                <c:pt idx="1230">
                  <c:v>44149</c:v>
                </c:pt>
                <c:pt idx="1231">
                  <c:v>44148</c:v>
                </c:pt>
                <c:pt idx="1232">
                  <c:v>44147</c:v>
                </c:pt>
                <c:pt idx="1233">
                  <c:v>44146</c:v>
                </c:pt>
                <c:pt idx="1234">
                  <c:v>44145</c:v>
                </c:pt>
                <c:pt idx="1235">
                  <c:v>44144</c:v>
                </c:pt>
                <c:pt idx="1236">
                  <c:v>44141</c:v>
                </c:pt>
                <c:pt idx="1237">
                  <c:v>44140</c:v>
                </c:pt>
                <c:pt idx="1238">
                  <c:v>44139</c:v>
                </c:pt>
                <c:pt idx="1239">
                  <c:v>44138</c:v>
                </c:pt>
                <c:pt idx="1240">
                  <c:v>44137</c:v>
                </c:pt>
                <c:pt idx="1241">
                  <c:v>44134</c:v>
                </c:pt>
                <c:pt idx="1242">
                  <c:v>44133</c:v>
                </c:pt>
                <c:pt idx="1243">
                  <c:v>44132</c:v>
                </c:pt>
                <c:pt idx="1244">
                  <c:v>44131</c:v>
                </c:pt>
                <c:pt idx="1245">
                  <c:v>44130</c:v>
                </c:pt>
                <c:pt idx="1246">
                  <c:v>44127</c:v>
                </c:pt>
                <c:pt idx="1247">
                  <c:v>44126</c:v>
                </c:pt>
                <c:pt idx="1248">
                  <c:v>44125</c:v>
                </c:pt>
                <c:pt idx="1249">
                  <c:v>44124</c:v>
                </c:pt>
                <c:pt idx="1250">
                  <c:v>44123</c:v>
                </c:pt>
                <c:pt idx="1251">
                  <c:v>44120</c:v>
                </c:pt>
                <c:pt idx="1252">
                  <c:v>44119</c:v>
                </c:pt>
                <c:pt idx="1253">
                  <c:v>44118</c:v>
                </c:pt>
                <c:pt idx="1254">
                  <c:v>44117</c:v>
                </c:pt>
                <c:pt idx="1255">
                  <c:v>44116</c:v>
                </c:pt>
                <c:pt idx="1256">
                  <c:v>44113</c:v>
                </c:pt>
                <c:pt idx="1257">
                  <c:v>44112</c:v>
                </c:pt>
                <c:pt idx="1258">
                  <c:v>44111</c:v>
                </c:pt>
                <c:pt idx="1259">
                  <c:v>44110</c:v>
                </c:pt>
                <c:pt idx="1260">
                  <c:v>44109</c:v>
                </c:pt>
                <c:pt idx="1261">
                  <c:v>44105</c:v>
                </c:pt>
                <c:pt idx="1262">
                  <c:v>44104</c:v>
                </c:pt>
                <c:pt idx="1263">
                  <c:v>44103</c:v>
                </c:pt>
                <c:pt idx="1264">
                  <c:v>44102</c:v>
                </c:pt>
                <c:pt idx="1265">
                  <c:v>44099</c:v>
                </c:pt>
                <c:pt idx="1266">
                  <c:v>44098</c:v>
                </c:pt>
                <c:pt idx="1267">
                  <c:v>44097</c:v>
                </c:pt>
                <c:pt idx="1268">
                  <c:v>44096</c:v>
                </c:pt>
                <c:pt idx="1269">
                  <c:v>44095</c:v>
                </c:pt>
                <c:pt idx="1270">
                  <c:v>44092</c:v>
                </c:pt>
                <c:pt idx="1271">
                  <c:v>44091</c:v>
                </c:pt>
                <c:pt idx="1272">
                  <c:v>44090</c:v>
                </c:pt>
                <c:pt idx="1273">
                  <c:v>44089</c:v>
                </c:pt>
                <c:pt idx="1274">
                  <c:v>44088</c:v>
                </c:pt>
                <c:pt idx="1275">
                  <c:v>44085</c:v>
                </c:pt>
                <c:pt idx="1276">
                  <c:v>44084</c:v>
                </c:pt>
                <c:pt idx="1277">
                  <c:v>44083</c:v>
                </c:pt>
                <c:pt idx="1278">
                  <c:v>44082</c:v>
                </c:pt>
                <c:pt idx="1279">
                  <c:v>44081</c:v>
                </c:pt>
                <c:pt idx="1280">
                  <c:v>44078</c:v>
                </c:pt>
                <c:pt idx="1281">
                  <c:v>44077</c:v>
                </c:pt>
                <c:pt idx="1282">
                  <c:v>44076</c:v>
                </c:pt>
                <c:pt idx="1283">
                  <c:v>44075</c:v>
                </c:pt>
                <c:pt idx="1284">
                  <c:v>44074</c:v>
                </c:pt>
                <c:pt idx="1285">
                  <c:v>44071</c:v>
                </c:pt>
                <c:pt idx="1286">
                  <c:v>44070</c:v>
                </c:pt>
                <c:pt idx="1287">
                  <c:v>44069</c:v>
                </c:pt>
                <c:pt idx="1288">
                  <c:v>44068</c:v>
                </c:pt>
                <c:pt idx="1289">
                  <c:v>44067</c:v>
                </c:pt>
                <c:pt idx="1290">
                  <c:v>44064</c:v>
                </c:pt>
                <c:pt idx="1291">
                  <c:v>44063</c:v>
                </c:pt>
                <c:pt idx="1292">
                  <c:v>44062</c:v>
                </c:pt>
                <c:pt idx="1293">
                  <c:v>44061</c:v>
                </c:pt>
                <c:pt idx="1294">
                  <c:v>44060</c:v>
                </c:pt>
                <c:pt idx="1295">
                  <c:v>44057</c:v>
                </c:pt>
                <c:pt idx="1296">
                  <c:v>44056</c:v>
                </c:pt>
                <c:pt idx="1297">
                  <c:v>44055</c:v>
                </c:pt>
                <c:pt idx="1298">
                  <c:v>44054</c:v>
                </c:pt>
                <c:pt idx="1299">
                  <c:v>44053</c:v>
                </c:pt>
                <c:pt idx="1300">
                  <c:v>44050</c:v>
                </c:pt>
                <c:pt idx="1301">
                  <c:v>44049</c:v>
                </c:pt>
                <c:pt idx="1302">
                  <c:v>44048</c:v>
                </c:pt>
                <c:pt idx="1303">
                  <c:v>44047</c:v>
                </c:pt>
                <c:pt idx="1304">
                  <c:v>44046</c:v>
                </c:pt>
                <c:pt idx="1305">
                  <c:v>44043</c:v>
                </c:pt>
                <c:pt idx="1306">
                  <c:v>44042</c:v>
                </c:pt>
                <c:pt idx="1307">
                  <c:v>44041</c:v>
                </c:pt>
                <c:pt idx="1308">
                  <c:v>44040</c:v>
                </c:pt>
                <c:pt idx="1309">
                  <c:v>44039</c:v>
                </c:pt>
                <c:pt idx="1310">
                  <c:v>44036</c:v>
                </c:pt>
                <c:pt idx="1311">
                  <c:v>44035</c:v>
                </c:pt>
                <c:pt idx="1312">
                  <c:v>44034</c:v>
                </c:pt>
                <c:pt idx="1313">
                  <c:v>44033</c:v>
                </c:pt>
                <c:pt idx="1314">
                  <c:v>44032</c:v>
                </c:pt>
                <c:pt idx="1315">
                  <c:v>44029</c:v>
                </c:pt>
                <c:pt idx="1316">
                  <c:v>44028</c:v>
                </c:pt>
                <c:pt idx="1317">
                  <c:v>44027</c:v>
                </c:pt>
                <c:pt idx="1318">
                  <c:v>44026</c:v>
                </c:pt>
                <c:pt idx="1319">
                  <c:v>44025</c:v>
                </c:pt>
                <c:pt idx="1320">
                  <c:v>44022</c:v>
                </c:pt>
                <c:pt idx="1321">
                  <c:v>44021</c:v>
                </c:pt>
                <c:pt idx="1322">
                  <c:v>44020</c:v>
                </c:pt>
                <c:pt idx="1323">
                  <c:v>44019</c:v>
                </c:pt>
                <c:pt idx="1324">
                  <c:v>44018</c:v>
                </c:pt>
                <c:pt idx="1325">
                  <c:v>44015</c:v>
                </c:pt>
                <c:pt idx="1326">
                  <c:v>44014</c:v>
                </c:pt>
                <c:pt idx="1327">
                  <c:v>44013</c:v>
                </c:pt>
                <c:pt idx="1328">
                  <c:v>44012</c:v>
                </c:pt>
                <c:pt idx="1329">
                  <c:v>44011</c:v>
                </c:pt>
                <c:pt idx="1330">
                  <c:v>44008</c:v>
                </c:pt>
                <c:pt idx="1331">
                  <c:v>44007</c:v>
                </c:pt>
                <c:pt idx="1332">
                  <c:v>44006</c:v>
                </c:pt>
                <c:pt idx="1333">
                  <c:v>44005</c:v>
                </c:pt>
                <c:pt idx="1334">
                  <c:v>44004</c:v>
                </c:pt>
                <c:pt idx="1335">
                  <c:v>44001</c:v>
                </c:pt>
                <c:pt idx="1336">
                  <c:v>44000</c:v>
                </c:pt>
                <c:pt idx="1337">
                  <c:v>43999</c:v>
                </c:pt>
                <c:pt idx="1338">
                  <c:v>43998</c:v>
                </c:pt>
                <c:pt idx="1339">
                  <c:v>43997</c:v>
                </c:pt>
                <c:pt idx="1340">
                  <c:v>43994</c:v>
                </c:pt>
                <c:pt idx="1341">
                  <c:v>43993</c:v>
                </c:pt>
                <c:pt idx="1342">
                  <c:v>43992</c:v>
                </c:pt>
                <c:pt idx="1343">
                  <c:v>43991</c:v>
                </c:pt>
                <c:pt idx="1344">
                  <c:v>43990</c:v>
                </c:pt>
                <c:pt idx="1345">
                  <c:v>43987</c:v>
                </c:pt>
                <c:pt idx="1346">
                  <c:v>43986</c:v>
                </c:pt>
                <c:pt idx="1347">
                  <c:v>43985</c:v>
                </c:pt>
                <c:pt idx="1348">
                  <c:v>43984</c:v>
                </c:pt>
                <c:pt idx="1349">
                  <c:v>43983</c:v>
                </c:pt>
                <c:pt idx="1350">
                  <c:v>43980</c:v>
                </c:pt>
                <c:pt idx="1351">
                  <c:v>43979</c:v>
                </c:pt>
                <c:pt idx="1352">
                  <c:v>43978</c:v>
                </c:pt>
                <c:pt idx="1353">
                  <c:v>43977</c:v>
                </c:pt>
                <c:pt idx="1354">
                  <c:v>43973</c:v>
                </c:pt>
                <c:pt idx="1355">
                  <c:v>43972</c:v>
                </c:pt>
                <c:pt idx="1356">
                  <c:v>43971</c:v>
                </c:pt>
                <c:pt idx="1357">
                  <c:v>43970</c:v>
                </c:pt>
                <c:pt idx="1358">
                  <c:v>43969</c:v>
                </c:pt>
                <c:pt idx="1359">
                  <c:v>43966</c:v>
                </c:pt>
                <c:pt idx="1360">
                  <c:v>43965</c:v>
                </c:pt>
                <c:pt idx="1361">
                  <c:v>43964</c:v>
                </c:pt>
                <c:pt idx="1362">
                  <c:v>43963</c:v>
                </c:pt>
                <c:pt idx="1363">
                  <c:v>43962</c:v>
                </c:pt>
                <c:pt idx="1364">
                  <c:v>43959</c:v>
                </c:pt>
                <c:pt idx="1365">
                  <c:v>43958</c:v>
                </c:pt>
                <c:pt idx="1366">
                  <c:v>43957</c:v>
                </c:pt>
                <c:pt idx="1367">
                  <c:v>43956</c:v>
                </c:pt>
                <c:pt idx="1368">
                  <c:v>43955</c:v>
                </c:pt>
                <c:pt idx="1369">
                  <c:v>43951</c:v>
                </c:pt>
                <c:pt idx="1370">
                  <c:v>43950</c:v>
                </c:pt>
                <c:pt idx="1371">
                  <c:v>43949</c:v>
                </c:pt>
                <c:pt idx="1372">
                  <c:v>43948</c:v>
                </c:pt>
                <c:pt idx="1373">
                  <c:v>43945</c:v>
                </c:pt>
                <c:pt idx="1374">
                  <c:v>43944</c:v>
                </c:pt>
                <c:pt idx="1375">
                  <c:v>43943</c:v>
                </c:pt>
                <c:pt idx="1376">
                  <c:v>43942</c:v>
                </c:pt>
                <c:pt idx="1377">
                  <c:v>43941</c:v>
                </c:pt>
                <c:pt idx="1378">
                  <c:v>43938</c:v>
                </c:pt>
                <c:pt idx="1379">
                  <c:v>43937</c:v>
                </c:pt>
                <c:pt idx="1380">
                  <c:v>43936</c:v>
                </c:pt>
                <c:pt idx="1381">
                  <c:v>43934</c:v>
                </c:pt>
                <c:pt idx="1382">
                  <c:v>43930</c:v>
                </c:pt>
                <c:pt idx="1383">
                  <c:v>43929</c:v>
                </c:pt>
                <c:pt idx="1384">
                  <c:v>43928</c:v>
                </c:pt>
                <c:pt idx="1385">
                  <c:v>43924</c:v>
                </c:pt>
                <c:pt idx="1386">
                  <c:v>43922</c:v>
                </c:pt>
                <c:pt idx="1387">
                  <c:v>43921</c:v>
                </c:pt>
                <c:pt idx="1388">
                  <c:v>43920</c:v>
                </c:pt>
                <c:pt idx="1389">
                  <c:v>43917</c:v>
                </c:pt>
                <c:pt idx="1390">
                  <c:v>43916</c:v>
                </c:pt>
                <c:pt idx="1391">
                  <c:v>43915</c:v>
                </c:pt>
                <c:pt idx="1392">
                  <c:v>43914</c:v>
                </c:pt>
                <c:pt idx="1393">
                  <c:v>43913</c:v>
                </c:pt>
                <c:pt idx="1394">
                  <c:v>43910</c:v>
                </c:pt>
                <c:pt idx="1395">
                  <c:v>43909</c:v>
                </c:pt>
                <c:pt idx="1396">
                  <c:v>43908</c:v>
                </c:pt>
                <c:pt idx="1397">
                  <c:v>43907</c:v>
                </c:pt>
                <c:pt idx="1398">
                  <c:v>43906</c:v>
                </c:pt>
                <c:pt idx="1399">
                  <c:v>43903</c:v>
                </c:pt>
                <c:pt idx="1400">
                  <c:v>43902</c:v>
                </c:pt>
                <c:pt idx="1401">
                  <c:v>43901</c:v>
                </c:pt>
                <c:pt idx="1402">
                  <c:v>43899</c:v>
                </c:pt>
                <c:pt idx="1403">
                  <c:v>43896</c:v>
                </c:pt>
                <c:pt idx="1404">
                  <c:v>43895</c:v>
                </c:pt>
                <c:pt idx="1405">
                  <c:v>43894</c:v>
                </c:pt>
                <c:pt idx="1406">
                  <c:v>43893</c:v>
                </c:pt>
                <c:pt idx="1407">
                  <c:v>43892</c:v>
                </c:pt>
                <c:pt idx="1408">
                  <c:v>43889</c:v>
                </c:pt>
                <c:pt idx="1409">
                  <c:v>43888</c:v>
                </c:pt>
                <c:pt idx="1410">
                  <c:v>43887</c:v>
                </c:pt>
                <c:pt idx="1411">
                  <c:v>43886</c:v>
                </c:pt>
                <c:pt idx="1412">
                  <c:v>43885</c:v>
                </c:pt>
                <c:pt idx="1413">
                  <c:v>43881</c:v>
                </c:pt>
                <c:pt idx="1414">
                  <c:v>43880</c:v>
                </c:pt>
                <c:pt idx="1415">
                  <c:v>43879</c:v>
                </c:pt>
                <c:pt idx="1416">
                  <c:v>43878</c:v>
                </c:pt>
                <c:pt idx="1417">
                  <c:v>43875</c:v>
                </c:pt>
                <c:pt idx="1418">
                  <c:v>43874</c:v>
                </c:pt>
                <c:pt idx="1419">
                  <c:v>43873</c:v>
                </c:pt>
                <c:pt idx="1420">
                  <c:v>43872</c:v>
                </c:pt>
                <c:pt idx="1421">
                  <c:v>43871</c:v>
                </c:pt>
                <c:pt idx="1422">
                  <c:v>43868</c:v>
                </c:pt>
                <c:pt idx="1423">
                  <c:v>43867</c:v>
                </c:pt>
                <c:pt idx="1424">
                  <c:v>43866</c:v>
                </c:pt>
                <c:pt idx="1425">
                  <c:v>43865</c:v>
                </c:pt>
                <c:pt idx="1426">
                  <c:v>43864</c:v>
                </c:pt>
                <c:pt idx="1427">
                  <c:v>43862</c:v>
                </c:pt>
                <c:pt idx="1428">
                  <c:v>43861</c:v>
                </c:pt>
                <c:pt idx="1429">
                  <c:v>43860</c:v>
                </c:pt>
                <c:pt idx="1430">
                  <c:v>43859</c:v>
                </c:pt>
                <c:pt idx="1431">
                  <c:v>43858</c:v>
                </c:pt>
                <c:pt idx="1432">
                  <c:v>43857</c:v>
                </c:pt>
                <c:pt idx="1433">
                  <c:v>43854</c:v>
                </c:pt>
                <c:pt idx="1434">
                  <c:v>43853</c:v>
                </c:pt>
                <c:pt idx="1435">
                  <c:v>43852</c:v>
                </c:pt>
                <c:pt idx="1436">
                  <c:v>43851</c:v>
                </c:pt>
                <c:pt idx="1437">
                  <c:v>43850</c:v>
                </c:pt>
                <c:pt idx="1438">
                  <c:v>43847</c:v>
                </c:pt>
                <c:pt idx="1439">
                  <c:v>43846</c:v>
                </c:pt>
                <c:pt idx="1440">
                  <c:v>43845</c:v>
                </c:pt>
                <c:pt idx="1441">
                  <c:v>43844</c:v>
                </c:pt>
                <c:pt idx="1442">
                  <c:v>43843</c:v>
                </c:pt>
                <c:pt idx="1443">
                  <c:v>43840</c:v>
                </c:pt>
                <c:pt idx="1444">
                  <c:v>43839</c:v>
                </c:pt>
                <c:pt idx="1445">
                  <c:v>43838</c:v>
                </c:pt>
                <c:pt idx="1446">
                  <c:v>43837</c:v>
                </c:pt>
                <c:pt idx="1447">
                  <c:v>43836</c:v>
                </c:pt>
                <c:pt idx="1448">
                  <c:v>43833</c:v>
                </c:pt>
                <c:pt idx="1449">
                  <c:v>43832</c:v>
                </c:pt>
                <c:pt idx="1450">
                  <c:v>43831</c:v>
                </c:pt>
                <c:pt idx="1451">
                  <c:v>43830</c:v>
                </c:pt>
                <c:pt idx="1452">
                  <c:v>43829</c:v>
                </c:pt>
                <c:pt idx="1453">
                  <c:v>43826</c:v>
                </c:pt>
                <c:pt idx="1454">
                  <c:v>43825</c:v>
                </c:pt>
                <c:pt idx="1455">
                  <c:v>43823</c:v>
                </c:pt>
                <c:pt idx="1456">
                  <c:v>43822</c:v>
                </c:pt>
                <c:pt idx="1457">
                  <c:v>43819</c:v>
                </c:pt>
                <c:pt idx="1458">
                  <c:v>43818</c:v>
                </c:pt>
                <c:pt idx="1459">
                  <c:v>43817</c:v>
                </c:pt>
                <c:pt idx="1460">
                  <c:v>43816</c:v>
                </c:pt>
                <c:pt idx="1461">
                  <c:v>43815</c:v>
                </c:pt>
                <c:pt idx="1462">
                  <c:v>43812</c:v>
                </c:pt>
                <c:pt idx="1463">
                  <c:v>43811</c:v>
                </c:pt>
                <c:pt idx="1464">
                  <c:v>43810</c:v>
                </c:pt>
                <c:pt idx="1465">
                  <c:v>43809</c:v>
                </c:pt>
                <c:pt idx="1466">
                  <c:v>43808</c:v>
                </c:pt>
                <c:pt idx="1467">
                  <c:v>43805</c:v>
                </c:pt>
                <c:pt idx="1468">
                  <c:v>43804</c:v>
                </c:pt>
                <c:pt idx="1469">
                  <c:v>43803</c:v>
                </c:pt>
                <c:pt idx="1470">
                  <c:v>43802</c:v>
                </c:pt>
                <c:pt idx="1471">
                  <c:v>43801</c:v>
                </c:pt>
                <c:pt idx="1472">
                  <c:v>43798</c:v>
                </c:pt>
                <c:pt idx="1473">
                  <c:v>43797</c:v>
                </c:pt>
                <c:pt idx="1474">
                  <c:v>43796</c:v>
                </c:pt>
                <c:pt idx="1475">
                  <c:v>43795</c:v>
                </c:pt>
                <c:pt idx="1476">
                  <c:v>43794</c:v>
                </c:pt>
                <c:pt idx="1477">
                  <c:v>43791</c:v>
                </c:pt>
                <c:pt idx="1478">
                  <c:v>43790</c:v>
                </c:pt>
                <c:pt idx="1479">
                  <c:v>43789</c:v>
                </c:pt>
                <c:pt idx="1480">
                  <c:v>43788</c:v>
                </c:pt>
                <c:pt idx="1481">
                  <c:v>43787</c:v>
                </c:pt>
                <c:pt idx="1482">
                  <c:v>43784</c:v>
                </c:pt>
                <c:pt idx="1483">
                  <c:v>43783</c:v>
                </c:pt>
                <c:pt idx="1484">
                  <c:v>43782</c:v>
                </c:pt>
                <c:pt idx="1485">
                  <c:v>43780</c:v>
                </c:pt>
                <c:pt idx="1486">
                  <c:v>43777</c:v>
                </c:pt>
                <c:pt idx="1487">
                  <c:v>43776</c:v>
                </c:pt>
                <c:pt idx="1488">
                  <c:v>43775</c:v>
                </c:pt>
                <c:pt idx="1489">
                  <c:v>43774</c:v>
                </c:pt>
                <c:pt idx="1490">
                  <c:v>43773</c:v>
                </c:pt>
                <c:pt idx="1491">
                  <c:v>43770</c:v>
                </c:pt>
                <c:pt idx="1492">
                  <c:v>43769</c:v>
                </c:pt>
                <c:pt idx="1493">
                  <c:v>43768</c:v>
                </c:pt>
                <c:pt idx="1494">
                  <c:v>43767</c:v>
                </c:pt>
                <c:pt idx="1495">
                  <c:v>43765</c:v>
                </c:pt>
                <c:pt idx="1496">
                  <c:v>43763</c:v>
                </c:pt>
                <c:pt idx="1497">
                  <c:v>43762</c:v>
                </c:pt>
                <c:pt idx="1498">
                  <c:v>43761</c:v>
                </c:pt>
                <c:pt idx="1499">
                  <c:v>43760</c:v>
                </c:pt>
                <c:pt idx="1500">
                  <c:v>43756</c:v>
                </c:pt>
                <c:pt idx="1501">
                  <c:v>43755</c:v>
                </c:pt>
                <c:pt idx="1502">
                  <c:v>43754</c:v>
                </c:pt>
                <c:pt idx="1503">
                  <c:v>43753</c:v>
                </c:pt>
                <c:pt idx="1504">
                  <c:v>43752</c:v>
                </c:pt>
                <c:pt idx="1505">
                  <c:v>43749</c:v>
                </c:pt>
                <c:pt idx="1506">
                  <c:v>43748</c:v>
                </c:pt>
                <c:pt idx="1507">
                  <c:v>43747</c:v>
                </c:pt>
                <c:pt idx="1508">
                  <c:v>43745</c:v>
                </c:pt>
                <c:pt idx="1509">
                  <c:v>43742</c:v>
                </c:pt>
                <c:pt idx="1510">
                  <c:v>43741</c:v>
                </c:pt>
                <c:pt idx="1511">
                  <c:v>43739</c:v>
                </c:pt>
                <c:pt idx="1512">
                  <c:v>43738</c:v>
                </c:pt>
                <c:pt idx="1513">
                  <c:v>43735</c:v>
                </c:pt>
                <c:pt idx="1514">
                  <c:v>43734</c:v>
                </c:pt>
                <c:pt idx="1515">
                  <c:v>43733</c:v>
                </c:pt>
                <c:pt idx="1516">
                  <c:v>43732</c:v>
                </c:pt>
                <c:pt idx="1517">
                  <c:v>43731</c:v>
                </c:pt>
                <c:pt idx="1518">
                  <c:v>43728</c:v>
                </c:pt>
                <c:pt idx="1519">
                  <c:v>43727</c:v>
                </c:pt>
                <c:pt idx="1520">
                  <c:v>43726</c:v>
                </c:pt>
                <c:pt idx="1521">
                  <c:v>43725</c:v>
                </c:pt>
                <c:pt idx="1522">
                  <c:v>43724</c:v>
                </c:pt>
                <c:pt idx="1523">
                  <c:v>43721</c:v>
                </c:pt>
                <c:pt idx="1524">
                  <c:v>43720</c:v>
                </c:pt>
                <c:pt idx="1525">
                  <c:v>43719</c:v>
                </c:pt>
                <c:pt idx="1526">
                  <c:v>43717</c:v>
                </c:pt>
                <c:pt idx="1527">
                  <c:v>43714</c:v>
                </c:pt>
                <c:pt idx="1528">
                  <c:v>43713</c:v>
                </c:pt>
                <c:pt idx="1529">
                  <c:v>43712</c:v>
                </c:pt>
                <c:pt idx="1530">
                  <c:v>43711</c:v>
                </c:pt>
                <c:pt idx="1531">
                  <c:v>43707</c:v>
                </c:pt>
                <c:pt idx="1532">
                  <c:v>43706</c:v>
                </c:pt>
                <c:pt idx="1533">
                  <c:v>43705</c:v>
                </c:pt>
                <c:pt idx="1534">
                  <c:v>43704</c:v>
                </c:pt>
                <c:pt idx="1535">
                  <c:v>43703</c:v>
                </c:pt>
                <c:pt idx="1536">
                  <c:v>43700</c:v>
                </c:pt>
                <c:pt idx="1537">
                  <c:v>43699</c:v>
                </c:pt>
                <c:pt idx="1538">
                  <c:v>43698</c:v>
                </c:pt>
                <c:pt idx="1539">
                  <c:v>43697</c:v>
                </c:pt>
                <c:pt idx="1540">
                  <c:v>43696</c:v>
                </c:pt>
                <c:pt idx="1541">
                  <c:v>43693</c:v>
                </c:pt>
                <c:pt idx="1542">
                  <c:v>43691</c:v>
                </c:pt>
                <c:pt idx="1543">
                  <c:v>43690</c:v>
                </c:pt>
                <c:pt idx="1544">
                  <c:v>43686</c:v>
                </c:pt>
                <c:pt idx="1545">
                  <c:v>43685</c:v>
                </c:pt>
                <c:pt idx="1546">
                  <c:v>43684</c:v>
                </c:pt>
                <c:pt idx="1547">
                  <c:v>43683</c:v>
                </c:pt>
                <c:pt idx="1548">
                  <c:v>43682</c:v>
                </c:pt>
                <c:pt idx="1549">
                  <c:v>43679</c:v>
                </c:pt>
                <c:pt idx="1550">
                  <c:v>43678</c:v>
                </c:pt>
                <c:pt idx="1551">
                  <c:v>43677</c:v>
                </c:pt>
                <c:pt idx="1552">
                  <c:v>43676</c:v>
                </c:pt>
                <c:pt idx="1553">
                  <c:v>43675</c:v>
                </c:pt>
                <c:pt idx="1554">
                  <c:v>43672</c:v>
                </c:pt>
                <c:pt idx="1555">
                  <c:v>43671</c:v>
                </c:pt>
                <c:pt idx="1556">
                  <c:v>43670</c:v>
                </c:pt>
                <c:pt idx="1557">
                  <c:v>43669</c:v>
                </c:pt>
                <c:pt idx="1558">
                  <c:v>43668</c:v>
                </c:pt>
                <c:pt idx="1559">
                  <c:v>43665</c:v>
                </c:pt>
                <c:pt idx="1560">
                  <c:v>43664</c:v>
                </c:pt>
                <c:pt idx="1561">
                  <c:v>43663</c:v>
                </c:pt>
                <c:pt idx="1562">
                  <c:v>43662</c:v>
                </c:pt>
                <c:pt idx="1563">
                  <c:v>43661</c:v>
                </c:pt>
                <c:pt idx="1564">
                  <c:v>43658</c:v>
                </c:pt>
                <c:pt idx="1565">
                  <c:v>43657</c:v>
                </c:pt>
                <c:pt idx="1566">
                  <c:v>43656</c:v>
                </c:pt>
                <c:pt idx="1567">
                  <c:v>43655</c:v>
                </c:pt>
                <c:pt idx="1568">
                  <c:v>43654</c:v>
                </c:pt>
                <c:pt idx="1569">
                  <c:v>43651</c:v>
                </c:pt>
                <c:pt idx="1570">
                  <c:v>43650</c:v>
                </c:pt>
                <c:pt idx="1571">
                  <c:v>43649</c:v>
                </c:pt>
                <c:pt idx="1572">
                  <c:v>43648</c:v>
                </c:pt>
                <c:pt idx="1573">
                  <c:v>43647</c:v>
                </c:pt>
                <c:pt idx="1574">
                  <c:v>43644</c:v>
                </c:pt>
                <c:pt idx="1575">
                  <c:v>43643</c:v>
                </c:pt>
                <c:pt idx="1576">
                  <c:v>43642</c:v>
                </c:pt>
                <c:pt idx="1577">
                  <c:v>43641</c:v>
                </c:pt>
                <c:pt idx="1578">
                  <c:v>43640</c:v>
                </c:pt>
                <c:pt idx="1579">
                  <c:v>43637</c:v>
                </c:pt>
                <c:pt idx="1580">
                  <c:v>43636</c:v>
                </c:pt>
                <c:pt idx="1581">
                  <c:v>43635</c:v>
                </c:pt>
                <c:pt idx="1582">
                  <c:v>43634</c:v>
                </c:pt>
                <c:pt idx="1583">
                  <c:v>43633</c:v>
                </c:pt>
                <c:pt idx="1584">
                  <c:v>43630</c:v>
                </c:pt>
                <c:pt idx="1585">
                  <c:v>43629</c:v>
                </c:pt>
                <c:pt idx="1586">
                  <c:v>43628</c:v>
                </c:pt>
                <c:pt idx="1587">
                  <c:v>43627</c:v>
                </c:pt>
                <c:pt idx="1588">
                  <c:v>43626</c:v>
                </c:pt>
                <c:pt idx="1589">
                  <c:v>43623</c:v>
                </c:pt>
                <c:pt idx="1590">
                  <c:v>43622</c:v>
                </c:pt>
                <c:pt idx="1591">
                  <c:v>43620</c:v>
                </c:pt>
                <c:pt idx="1592">
                  <c:v>43619</c:v>
                </c:pt>
                <c:pt idx="1593">
                  <c:v>43616</c:v>
                </c:pt>
                <c:pt idx="1594">
                  <c:v>43615</c:v>
                </c:pt>
                <c:pt idx="1595">
                  <c:v>43614</c:v>
                </c:pt>
                <c:pt idx="1596">
                  <c:v>43613</c:v>
                </c:pt>
                <c:pt idx="1597">
                  <c:v>43612</c:v>
                </c:pt>
                <c:pt idx="1598">
                  <c:v>43609</c:v>
                </c:pt>
                <c:pt idx="1599">
                  <c:v>43608</c:v>
                </c:pt>
                <c:pt idx="1600">
                  <c:v>43607</c:v>
                </c:pt>
                <c:pt idx="1601">
                  <c:v>43606</c:v>
                </c:pt>
                <c:pt idx="1602">
                  <c:v>43605</c:v>
                </c:pt>
                <c:pt idx="1603">
                  <c:v>43602</c:v>
                </c:pt>
                <c:pt idx="1604">
                  <c:v>43601</c:v>
                </c:pt>
                <c:pt idx="1605">
                  <c:v>43600</c:v>
                </c:pt>
                <c:pt idx="1606">
                  <c:v>43599</c:v>
                </c:pt>
                <c:pt idx="1607">
                  <c:v>43598</c:v>
                </c:pt>
                <c:pt idx="1608">
                  <c:v>43595</c:v>
                </c:pt>
                <c:pt idx="1609">
                  <c:v>43594</c:v>
                </c:pt>
                <c:pt idx="1610">
                  <c:v>43593</c:v>
                </c:pt>
                <c:pt idx="1611">
                  <c:v>43592</c:v>
                </c:pt>
                <c:pt idx="1612">
                  <c:v>43591</c:v>
                </c:pt>
                <c:pt idx="1613">
                  <c:v>43588</c:v>
                </c:pt>
                <c:pt idx="1614">
                  <c:v>43587</c:v>
                </c:pt>
                <c:pt idx="1615">
                  <c:v>43585</c:v>
                </c:pt>
                <c:pt idx="1616">
                  <c:v>43581</c:v>
                </c:pt>
                <c:pt idx="1617">
                  <c:v>43580</c:v>
                </c:pt>
                <c:pt idx="1618">
                  <c:v>43579</c:v>
                </c:pt>
                <c:pt idx="1619">
                  <c:v>43578</c:v>
                </c:pt>
                <c:pt idx="1620">
                  <c:v>43577</c:v>
                </c:pt>
                <c:pt idx="1621">
                  <c:v>43573</c:v>
                </c:pt>
                <c:pt idx="1622">
                  <c:v>43571</c:v>
                </c:pt>
                <c:pt idx="1623">
                  <c:v>43570</c:v>
                </c:pt>
                <c:pt idx="1624">
                  <c:v>43567</c:v>
                </c:pt>
                <c:pt idx="1625">
                  <c:v>43566</c:v>
                </c:pt>
                <c:pt idx="1626">
                  <c:v>43565</c:v>
                </c:pt>
                <c:pt idx="1627">
                  <c:v>43564</c:v>
                </c:pt>
                <c:pt idx="1628">
                  <c:v>43563</c:v>
                </c:pt>
                <c:pt idx="1629">
                  <c:v>43560</c:v>
                </c:pt>
                <c:pt idx="1630">
                  <c:v>43559</c:v>
                </c:pt>
                <c:pt idx="1631">
                  <c:v>43558</c:v>
                </c:pt>
                <c:pt idx="1632">
                  <c:v>43557</c:v>
                </c:pt>
                <c:pt idx="1633">
                  <c:v>43556</c:v>
                </c:pt>
              </c:numCache>
            </c:numRef>
          </c:cat>
          <c:val>
            <c:numRef>
              <c:f>Sheet1!$E$2:$E$1635</c:f>
              <c:numCache>
                <c:formatCode>_ * #,##0_ ;_ * \-#,##0_ ;_ * "-"??_ ;_ @_ </c:formatCode>
                <c:ptCount val="1634"/>
                <c:pt idx="0">
                  <c:v>292.47953820007893</c:v>
                </c:pt>
                <c:pt idx="1">
                  <c:v>294.51335211552782</c:v>
                </c:pt>
                <c:pt idx="2">
                  <c:v>294.8044292748138</c:v>
                </c:pt>
                <c:pt idx="3">
                  <c:v>293.8770256303593</c:v>
                </c:pt>
                <c:pt idx="4">
                  <c:v>295.31041104130571</c:v>
                </c:pt>
                <c:pt idx="5">
                  <c:v>288.23686706398445</c:v>
                </c:pt>
                <c:pt idx="6">
                  <c:v>289.30090028369551</c:v>
                </c:pt>
                <c:pt idx="7">
                  <c:v>293.34361903515526</c:v>
                </c:pt>
                <c:pt idx="8">
                  <c:v>293.63433486599973</c:v>
                </c:pt>
                <c:pt idx="9">
                  <c:v>291.45334510140719</c:v>
                </c:pt>
                <c:pt idx="10">
                  <c:v>295.54204741365714</c:v>
                </c:pt>
                <c:pt idx="11">
                  <c:v>291.79853119481243</c:v>
                </c:pt>
                <c:pt idx="12">
                  <c:v>294.55410093052143</c:v>
                </c:pt>
                <c:pt idx="13">
                  <c:v>297.20142795666163</c:v>
                </c:pt>
                <c:pt idx="14">
                  <c:v>292.51811226951509</c:v>
                </c:pt>
                <c:pt idx="15">
                  <c:v>290.40074792687057</c:v>
                </c:pt>
                <c:pt idx="16">
                  <c:v>291.96301919291091</c:v>
                </c:pt>
                <c:pt idx="17">
                  <c:v>297.80716573095185</c:v>
                </c:pt>
                <c:pt idx="18">
                  <c:v>298.04300932134441</c:v>
                </c:pt>
                <c:pt idx="19">
                  <c:v>293.22024795540011</c:v>
                </c:pt>
                <c:pt idx="20">
                  <c:v>295.07278790833863</c:v>
                </c:pt>
                <c:pt idx="21">
                  <c:v>292.72516024142038</c:v>
                </c:pt>
                <c:pt idx="22">
                  <c:v>294.48193234923394</c:v>
                </c:pt>
                <c:pt idx="23">
                  <c:v>295.70626667372733</c:v>
                </c:pt>
                <c:pt idx="24">
                  <c:v>302.48069845054397</c:v>
                </c:pt>
                <c:pt idx="25">
                  <c:v>306.94153969963463</c:v>
                </c:pt>
                <c:pt idx="26">
                  <c:v>306.9067708703484</c:v>
                </c:pt>
                <c:pt idx="27">
                  <c:v>310.97254689298325</c:v>
                </c:pt>
                <c:pt idx="28">
                  <c:v>316.53142010983026</c:v>
                </c:pt>
                <c:pt idx="29">
                  <c:v>304.34015558483497</c:v>
                </c:pt>
                <c:pt idx="30">
                  <c:v>303.97355626466356</c:v>
                </c:pt>
                <c:pt idx="31">
                  <c:v>304.79444254285767</c:v>
                </c:pt>
                <c:pt idx="32">
                  <c:v>304.32386193042475</c:v>
                </c:pt>
                <c:pt idx="33">
                  <c:v>308.1312971505763</c:v>
                </c:pt>
                <c:pt idx="34">
                  <c:v>308.65668902928661</c:v>
                </c:pt>
                <c:pt idx="35">
                  <c:v>307.75877881887203</c:v>
                </c:pt>
                <c:pt idx="36">
                  <c:v>306.97461254354846</c:v>
                </c:pt>
                <c:pt idx="37">
                  <c:v>310.35231984818768</c:v>
                </c:pt>
                <c:pt idx="38">
                  <c:v>314.58243707924174</c:v>
                </c:pt>
                <c:pt idx="39">
                  <c:v>318.08418843785836</c:v>
                </c:pt>
                <c:pt idx="40">
                  <c:v>315.60623411868556</c:v>
                </c:pt>
                <c:pt idx="41">
                  <c:v>308.55468375193976</c:v>
                </c:pt>
                <c:pt idx="42">
                  <c:v>309.30766286615369</c:v>
                </c:pt>
                <c:pt idx="43">
                  <c:v>309.39491013496678</c:v>
                </c:pt>
                <c:pt idx="44">
                  <c:v>309.68057414253809</c:v>
                </c:pt>
                <c:pt idx="45">
                  <c:v>308.67136573892105</c:v>
                </c:pt>
                <c:pt idx="46">
                  <c:v>312.48083117325342</c:v>
                </c:pt>
                <c:pt idx="47">
                  <c:v>312.83426684663937</c:v>
                </c:pt>
                <c:pt idx="48">
                  <c:v>314.88487350140838</c:v>
                </c:pt>
                <c:pt idx="49">
                  <c:v>319.52304345808847</c:v>
                </c:pt>
                <c:pt idx="50">
                  <c:v>317.8483222644382</c:v>
                </c:pt>
                <c:pt idx="51">
                  <c:v>321.13170026281028</c:v>
                </c:pt>
                <c:pt idx="52">
                  <c:v>315.29638143025653</c:v>
                </c:pt>
                <c:pt idx="53">
                  <c:v>313.05161042082551</c:v>
                </c:pt>
                <c:pt idx="54">
                  <c:v>309.39400455556017</c:v>
                </c:pt>
                <c:pt idx="55">
                  <c:v>305.32684193503093</c:v>
                </c:pt>
                <c:pt idx="56">
                  <c:v>303.49029528223571</c:v>
                </c:pt>
                <c:pt idx="57">
                  <c:v>304.64800515871633</c:v>
                </c:pt>
                <c:pt idx="58">
                  <c:v>305.82156380396361</c:v>
                </c:pt>
                <c:pt idx="59">
                  <c:v>304.76806105002038</c:v>
                </c:pt>
                <c:pt idx="60">
                  <c:v>302.50931566311323</c:v>
                </c:pt>
                <c:pt idx="61">
                  <c:v>304.87321665971683</c:v>
                </c:pt>
                <c:pt idx="62">
                  <c:v>302.12941042308239</c:v>
                </c:pt>
                <c:pt idx="63">
                  <c:v>300.74315127412262</c:v>
                </c:pt>
                <c:pt idx="64">
                  <c:v>295.91034046089828</c:v>
                </c:pt>
                <c:pt idx="65">
                  <c:v>297.23136401804243</c:v>
                </c:pt>
                <c:pt idx="66">
                  <c:v>297.30444721194755</c:v>
                </c:pt>
                <c:pt idx="67">
                  <c:v>303.48512828552185</c:v>
                </c:pt>
                <c:pt idx="68">
                  <c:v>289.22910432236336</c:v>
                </c:pt>
                <c:pt idx="69">
                  <c:v>287.55183802150316</c:v>
                </c:pt>
                <c:pt idx="70">
                  <c:v>284.96709985634425</c:v>
                </c:pt>
                <c:pt idx="71">
                  <c:v>286.91349035536479</c:v>
                </c:pt>
                <c:pt idx="72">
                  <c:v>286.93245106533413</c:v>
                </c:pt>
                <c:pt idx="73">
                  <c:v>287.67940276948275</c:v>
                </c:pt>
                <c:pt idx="74">
                  <c:v>282.44565062602226</c:v>
                </c:pt>
                <c:pt idx="75">
                  <c:v>279.23019108314412</c:v>
                </c:pt>
                <c:pt idx="76">
                  <c:v>278.50617696012438</c:v>
                </c:pt>
                <c:pt idx="77">
                  <c:v>280.45032044789912</c:v>
                </c:pt>
                <c:pt idx="78">
                  <c:v>285.34370345774056</c:v>
                </c:pt>
                <c:pt idx="79">
                  <c:v>274.26443624476684</c:v>
                </c:pt>
                <c:pt idx="80">
                  <c:v>273.47121869198298</c:v>
                </c:pt>
                <c:pt idx="81">
                  <c:v>269.91027270143258</c:v>
                </c:pt>
                <c:pt idx="82">
                  <c:v>263.56311406502863</c:v>
                </c:pt>
                <c:pt idx="83">
                  <c:v>261.59468930598302</c:v>
                </c:pt>
                <c:pt idx="84">
                  <c:v>260.96204837091813</c:v>
                </c:pt>
                <c:pt idx="85">
                  <c:v>262.61001319347298</c:v>
                </c:pt>
                <c:pt idx="86">
                  <c:v>261.30918337960486</c:v>
                </c:pt>
                <c:pt idx="87">
                  <c:v>261.16478298455263</c:v>
                </c:pt>
                <c:pt idx="88">
                  <c:v>260.27983317367517</c:v>
                </c:pt>
                <c:pt idx="89">
                  <c:v>256.05825910196057</c:v>
                </c:pt>
                <c:pt idx="90">
                  <c:v>259.82221296077944</c:v>
                </c:pt>
                <c:pt idx="91">
                  <c:v>265.93499816188734</c:v>
                </c:pt>
                <c:pt idx="92">
                  <c:v>263.78551849569897</c:v>
                </c:pt>
                <c:pt idx="93">
                  <c:v>266.26161197339786</c:v>
                </c:pt>
                <c:pt idx="94">
                  <c:v>266.83823796681452</c:v>
                </c:pt>
                <c:pt idx="95">
                  <c:v>269.59007472806195</c:v>
                </c:pt>
                <c:pt idx="96">
                  <c:v>268.61281453358447</c:v>
                </c:pt>
                <c:pt idx="97">
                  <c:v>269.92897596488734</c:v>
                </c:pt>
                <c:pt idx="98">
                  <c:v>268.58231615481651</c:v>
                </c:pt>
                <c:pt idx="99">
                  <c:v>267.85101448879169</c:v>
                </c:pt>
                <c:pt idx="100">
                  <c:v>264.4427275064852</c:v>
                </c:pt>
                <c:pt idx="101">
                  <c:v>261.37283138458042</c:v>
                </c:pt>
                <c:pt idx="102">
                  <c:v>263.8002697293245</c:v>
                </c:pt>
                <c:pt idx="103">
                  <c:v>263.53959610009048</c:v>
                </c:pt>
                <c:pt idx="104">
                  <c:v>262.53490656029533</c:v>
                </c:pt>
                <c:pt idx="105">
                  <c:v>258.9942423868286</c:v>
                </c:pt>
                <c:pt idx="106">
                  <c:v>261.18119858731194</c:v>
                </c:pt>
                <c:pt idx="107">
                  <c:v>262.09057420083684</c:v>
                </c:pt>
                <c:pt idx="108">
                  <c:v>260.68195333795182</c:v>
                </c:pt>
                <c:pt idx="109">
                  <c:v>262.16771556480086</c:v>
                </c:pt>
                <c:pt idx="110">
                  <c:v>261.50634224372601</c:v>
                </c:pt>
                <c:pt idx="111">
                  <c:v>258.25775114106227</c:v>
                </c:pt>
                <c:pt idx="112">
                  <c:v>256.7388980038773</c:v>
                </c:pt>
                <c:pt idx="113">
                  <c:v>259.1346433276936</c:v>
                </c:pt>
                <c:pt idx="114">
                  <c:v>257.03508796061095</c:v>
                </c:pt>
                <c:pt idx="115">
                  <c:v>255.48571837823599</c:v>
                </c:pt>
                <c:pt idx="116">
                  <c:v>255.55980651686909</c:v>
                </c:pt>
                <c:pt idx="117">
                  <c:v>254.18081684449237</c:v>
                </c:pt>
                <c:pt idx="118">
                  <c:v>256.3747150676586</c:v>
                </c:pt>
                <c:pt idx="119">
                  <c:v>259.85777897093982</c:v>
                </c:pt>
                <c:pt idx="120">
                  <c:v>261.64689449087587</c:v>
                </c:pt>
                <c:pt idx="121">
                  <c:v>258.70129761116038</c:v>
                </c:pt>
                <c:pt idx="122">
                  <c:v>257.95741719876474</c:v>
                </c:pt>
                <c:pt idx="123">
                  <c:v>263.30281757235548</c:v>
                </c:pt>
                <c:pt idx="124">
                  <c:v>260.51575580466431</c:v>
                </c:pt>
                <c:pt idx="125">
                  <c:v>259.5129722723982</c:v>
                </c:pt>
                <c:pt idx="126">
                  <c:v>259.27176747125446</c:v>
                </c:pt>
                <c:pt idx="127">
                  <c:v>258.00108599922652</c:v>
                </c:pt>
                <c:pt idx="128">
                  <c:v>259.7614081589781</c:v>
                </c:pt>
                <c:pt idx="129">
                  <c:v>264.43417983054024</c:v>
                </c:pt>
                <c:pt idx="130">
                  <c:v>268.86081230942898</c:v>
                </c:pt>
                <c:pt idx="131">
                  <c:v>263.22384472485345</c:v>
                </c:pt>
                <c:pt idx="132">
                  <c:v>262.89717897237938</c:v>
                </c:pt>
                <c:pt idx="133">
                  <c:v>264.83269122700716</c:v>
                </c:pt>
                <c:pt idx="134">
                  <c:v>257.39694710329007</c:v>
                </c:pt>
                <c:pt idx="135">
                  <c:v>251.68886330651301</c:v>
                </c:pt>
                <c:pt idx="136">
                  <c:v>251.65549236663492</c:v>
                </c:pt>
                <c:pt idx="137">
                  <c:v>250.83040564530805</c:v>
                </c:pt>
                <c:pt idx="138">
                  <c:v>244.93317544260077</c:v>
                </c:pt>
                <c:pt idx="139">
                  <c:v>243.15570373169302</c:v>
                </c:pt>
                <c:pt idx="140">
                  <c:v>237.9013378006432</c:v>
                </c:pt>
                <c:pt idx="141">
                  <c:v>226.01565777186144</c:v>
                </c:pt>
                <c:pt idx="142">
                  <c:v>233.69335193663289</c:v>
                </c:pt>
                <c:pt idx="143">
                  <c:v>236.65485630098681</c:v>
                </c:pt>
                <c:pt idx="144">
                  <c:v>234.74183222523882</c:v>
                </c:pt>
                <c:pt idx="145">
                  <c:v>229.86899977050945</c:v>
                </c:pt>
                <c:pt idx="146">
                  <c:v>235.33065531185989</c:v>
                </c:pt>
                <c:pt idx="147">
                  <c:v>236.64793911963423</c:v>
                </c:pt>
                <c:pt idx="148">
                  <c:v>235.27604051792252</c:v>
                </c:pt>
                <c:pt idx="149">
                  <c:v>239.79342515150722</c:v>
                </c:pt>
                <c:pt idx="150">
                  <c:v>241.19319572587747</c:v>
                </c:pt>
                <c:pt idx="151">
                  <c:v>241.46510666964306</c:v>
                </c:pt>
                <c:pt idx="152">
                  <c:v>242.61452857499606</c:v>
                </c:pt>
                <c:pt idx="153">
                  <c:v>248.93766112834101</c:v>
                </c:pt>
                <c:pt idx="154">
                  <c:v>245.34939419100539</c:v>
                </c:pt>
                <c:pt idx="155">
                  <c:v>244.03778549806583</c:v>
                </c:pt>
                <c:pt idx="156">
                  <c:v>240.16366033912152</c:v>
                </c:pt>
                <c:pt idx="157">
                  <c:v>238.77190448124497</c:v>
                </c:pt>
                <c:pt idx="158">
                  <c:v>240.0578227219917</c:v>
                </c:pt>
                <c:pt idx="159">
                  <c:v>245.59863177506492</c:v>
                </c:pt>
                <c:pt idx="160">
                  <c:v>241.36806062515623</c:v>
                </c:pt>
                <c:pt idx="161">
                  <c:v>242.83725142635555</c:v>
                </c:pt>
                <c:pt idx="162">
                  <c:v>236.06286933219957</c:v>
                </c:pt>
                <c:pt idx="163">
                  <c:v>231.76352834665653</c:v>
                </c:pt>
                <c:pt idx="164">
                  <c:v>224.77327509171363</c:v>
                </c:pt>
                <c:pt idx="165">
                  <c:v>223.19170662859278</c:v>
                </c:pt>
                <c:pt idx="166">
                  <c:v>231.00900003674957</c:v>
                </c:pt>
                <c:pt idx="167">
                  <c:v>239.20931740104814</c:v>
                </c:pt>
                <c:pt idx="168">
                  <c:v>239.92904300712746</c:v>
                </c:pt>
                <c:pt idx="169">
                  <c:v>243.97560087327841</c:v>
                </c:pt>
                <c:pt idx="170">
                  <c:v>241.82194334698488</c:v>
                </c:pt>
                <c:pt idx="171">
                  <c:v>240.4956963355578</c:v>
                </c:pt>
                <c:pt idx="172">
                  <c:v>238.97965478530853</c:v>
                </c:pt>
                <c:pt idx="173">
                  <c:v>241.03625045899588</c:v>
                </c:pt>
                <c:pt idx="174">
                  <c:v>241.5930169379449</c:v>
                </c:pt>
                <c:pt idx="175">
                  <c:v>244.46160343525639</c:v>
                </c:pt>
                <c:pt idx="176">
                  <c:v>252.66044161124745</c:v>
                </c:pt>
                <c:pt idx="177">
                  <c:v>258.48235515862046</c:v>
                </c:pt>
                <c:pt idx="178">
                  <c:v>263.43235156034143</c:v>
                </c:pt>
                <c:pt idx="179">
                  <c:v>268.64067973133479</c:v>
                </c:pt>
                <c:pt idx="180">
                  <c:v>269.18571884405333</c:v>
                </c:pt>
                <c:pt idx="181">
                  <c:v>268.36684245531529</c:v>
                </c:pt>
                <c:pt idx="182">
                  <c:v>263.7143616340478</c:v>
                </c:pt>
                <c:pt idx="183">
                  <c:v>262.82087769704196</c:v>
                </c:pt>
                <c:pt idx="184">
                  <c:v>267.02698239485352</c:v>
                </c:pt>
                <c:pt idx="185">
                  <c:v>264.15081025857262</c:v>
                </c:pt>
                <c:pt idx="186">
                  <c:v>263.91883739910998</c:v>
                </c:pt>
                <c:pt idx="187">
                  <c:v>256.05304242258597</c:v>
                </c:pt>
                <c:pt idx="188">
                  <c:v>246.8657270623107</c:v>
                </c:pt>
                <c:pt idx="189">
                  <c:v>252.46450900552472</c:v>
                </c:pt>
                <c:pt idx="190">
                  <c:v>259.68733131185883</c:v>
                </c:pt>
                <c:pt idx="191">
                  <c:v>267.06680304741298</c:v>
                </c:pt>
                <c:pt idx="192">
                  <c:v>264.54834832655013</c:v>
                </c:pt>
                <c:pt idx="193">
                  <c:v>264.66523130247703</c:v>
                </c:pt>
                <c:pt idx="194">
                  <c:v>268.63446262383769</c:v>
                </c:pt>
                <c:pt idx="195">
                  <c:v>269.06692986059738</c:v>
                </c:pt>
                <c:pt idx="196">
                  <c:v>270.84011079626197</c:v>
                </c:pt>
                <c:pt idx="197">
                  <c:v>269.97229472842133</c:v>
                </c:pt>
                <c:pt idx="198">
                  <c:v>271.79051525432266</c:v>
                </c:pt>
                <c:pt idx="199">
                  <c:v>277.39470131604037</c:v>
                </c:pt>
                <c:pt idx="200">
                  <c:v>285.64433097939678</c:v>
                </c:pt>
                <c:pt idx="201">
                  <c:v>290.81468353118527</c:v>
                </c:pt>
                <c:pt idx="202">
                  <c:v>291.04596083339794</c:v>
                </c:pt>
                <c:pt idx="203">
                  <c:v>296.67750171644229</c:v>
                </c:pt>
                <c:pt idx="204">
                  <c:v>289.37623274714912</c:v>
                </c:pt>
                <c:pt idx="205">
                  <c:v>281.87929991016165</c:v>
                </c:pt>
                <c:pt idx="206">
                  <c:v>282.20894436397555</c:v>
                </c:pt>
                <c:pt idx="207">
                  <c:v>285.89845778893078</c:v>
                </c:pt>
                <c:pt idx="208">
                  <c:v>283.41414183088432</c:v>
                </c:pt>
                <c:pt idx="209">
                  <c:v>280.1291017216812</c:v>
                </c:pt>
                <c:pt idx="210">
                  <c:v>281.93615042383095</c:v>
                </c:pt>
                <c:pt idx="211">
                  <c:v>282.32577088233342</c:v>
                </c:pt>
                <c:pt idx="212">
                  <c:v>277.93318683415066</c:v>
                </c:pt>
                <c:pt idx="213">
                  <c:v>280.40570993518668</c:v>
                </c:pt>
                <c:pt idx="214">
                  <c:v>280.67533547655955</c:v>
                </c:pt>
                <c:pt idx="215">
                  <c:v>287.76654389806617</c:v>
                </c:pt>
                <c:pt idx="216">
                  <c:v>289.93088093810962</c:v>
                </c:pt>
                <c:pt idx="217">
                  <c:v>290.31294737388134</c:v>
                </c:pt>
                <c:pt idx="218">
                  <c:v>288.49990965281319</c:v>
                </c:pt>
                <c:pt idx="219">
                  <c:v>291.40734121589202</c:v>
                </c:pt>
                <c:pt idx="220">
                  <c:v>293.49591445665487</c:v>
                </c:pt>
                <c:pt idx="221">
                  <c:v>299.73231915082141</c:v>
                </c:pt>
                <c:pt idx="222">
                  <c:v>301.43970443558601</c:v>
                </c:pt>
                <c:pt idx="223">
                  <c:v>299.5278637104841</c:v>
                </c:pt>
                <c:pt idx="224">
                  <c:v>296.026830492145</c:v>
                </c:pt>
                <c:pt idx="225">
                  <c:v>291.3500006505239</c:v>
                </c:pt>
                <c:pt idx="226">
                  <c:v>290.62077210643236</c:v>
                </c:pt>
                <c:pt idx="227">
                  <c:v>290.74888336367979</c:v>
                </c:pt>
                <c:pt idx="228">
                  <c:v>294.79724335543284</c:v>
                </c:pt>
                <c:pt idx="229">
                  <c:v>294.14055149597857</c:v>
                </c:pt>
                <c:pt idx="230">
                  <c:v>291.97173849986564</c:v>
                </c:pt>
                <c:pt idx="231">
                  <c:v>295.63356964959411</c:v>
                </c:pt>
                <c:pt idx="232">
                  <c:v>299.03884179771654</c:v>
                </c:pt>
                <c:pt idx="233">
                  <c:v>297.08888769694141</c:v>
                </c:pt>
                <c:pt idx="234">
                  <c:v>295.93299801248503</c:v>
                </c:pt>
                <c:pt idx="235">
                  <c:v>289.69169054302745</c:v>
                </c:pt>
                <c:pt idx="236">
                  <c:v>285.86934374975448</c:v>
                </c:pt>
                <c:pt idx="237">
                  <c:v>279.74325037048442</c:v>
                </c:pt>
                <c:pt idx="238">
                  <c:v>280.92743884682102</c:v>
                </c:pt>
                <c:pt idx="239">
                  <c:v>279.38517162662487</c:v>
                </c:pt>
                <c:pt idx="240">
                  <c:v>289.71755262622997</c:v>
                </c:pt>
                <c:pt idx="241">
                  <c:v>288.99712920459797</c:v>
                </c:pt>
                <c:pt idx="242">
                  <c:v>292.69480413572632</c:v>
                </c:pt>
                <c:pt idx="243">
                  <c:v>287.49169490241036</c:v>
                </c:pt>
                <c:pt idx="244">
                  <c:v>288.555920077856</c:v>
                </c:pt>
                <c:pt idx="245">
                  <c:v>285.94976416932536</c:v>
                </c:pt>
                <c:pt idx="246">
                  <c:v>284.00413471833485</c:v>
                </c:pt>
                <c:pt idx="247">
                  <c:v>285.24297863805845</c:v>
                </c:pt>
                <c:pt idx="248">
                  <c:v>287.88205382591519</c:v>
                </c:pt>
                <c:pt idx="249">
                  <c:v>282.7703539133982</c:v>
                </c:pt>
                <c:pt idx="250">
                  <c:v>280.68255301217914</c:v>
                </c:pt>
                <c:pt idx="251">
                  <c:v>283.35188268210584</c:v>
                </c:pt>
                <c:pt idx="252">
                  <c:v>281.15713082049649</c:v>
                </c:pt>
                <c:pt idx="253">
                  <c:v>280.39617312263306</c:v>
                </c:pt>
                <c:pt idx="254">
                  <c:v>289.70267266934724</c:v>
                </c:pt>
                <c:pt idx="255">
                  <c:v>292.25214743691544</c:v>
                </c:pt>
                <c:pt idx="256">
                  <c:v>294.47769577325704</c:v>
                </c:pt>
                <c:pt idx="257">
                  <c:v>299.04586511929881</c:v>
                </c:pt>
                <c:pt idx="258">
                  <c:v>296.74047900549829</c:v>
                </c:pt>
                <c:pt idx="259">
                  <c:v>301.48181274884092</c:v>
                </c:pt>
                <c:pt idx="260">
                  <c:v>305.12212001496795</c:v>
                </c:pt>
                <c:pt idx="261">
                  <c:v>301.84234626780017</c:v>
                </c:pt>
                <c:pt idx="262">
                  <c:v>305.95273280314751</c:v>
                </c:pt>
                <c:pt idx="263">
                  <c:v>306.49806775352755</c:v>
                </c:pt>
                <c:pt idx="264">
                  <c:v>310.48367628650061</c:v>
                </c:pt>
                <c:pt idx="265">
                  <c:v>306.57836622474946</c:v>
                </c:pt>
                <c:pt idx="266">
                  <c:v>300.08876740008861</c:v>
                </c:pt>
                <c:pt idx="267">
                  <c:v>303.64591266709465</c:v>
                </c:pt>
                <c:pt idx="268">
                  <c:v>300.27486509729346</c:v>
                </c:pt>
                <c:pt idx="269">
                  <c:v>299.0603137403545</c:v>
                </c:pt>
                <c:pt idx="270">
                  <c:v>292.09944552091906</c:v>
                </c:pt>
                <c:pt idx="271">
                  <c:v>286.1042275614742</c:v>
                </c:pt>
                <c:pt idx="272">
                  <c:v>287.89757288247893</c:v>
                </c:pt>
                <c:pt idx="273">
                  <c:v>291.0870687185303</c:v>
                </c:pt>
                <c:pt idx="274">
                  <c:v>293.9021289238346</c:v>
                </c:pt>
                <c:pt idx="275">
                  <c:v>288.55986984938244</c:v>
                </c:pt>
                <c:pt idx="276">
                  <c:v>286.04353115820533</c:v>
                </c:pt>
                <c:pt idx="277">
                  <c:v>286.30286109729741</c:v>
                </c:pt>
                <c:pt idx="278">
                  <c:v>285.40437727798184</c:v>
                </c:pt>
                <c:pt idx="279">
                  <c:v>289.44296559369428</c:v>
                </c:pt>
                <c:pt idx="280">
                  <c:v>292.61038877857374</c:v>
                </c:pt>
                <c:pt idx="281">
                  <c:v>294.71301995401484</c:v>
                </c:pt>
                <c:pt idx="282">
                  <c:v>297.24581941400646</c:v>
                </c:pt>
                <c:pt idx="283">
                  <c:v>294.4927473611495</c:v>
                </c:pt>
                <c:pt idx="284">
                  <c:v>294.03135126603979</c:v>
                </c:pt>
                <c:pt idx="285">
                  <c:v>293.56662191605687</c:v>
                </c:pt>
                <c:pt idx="286">
                  <c:v>293.17049980390965</c:v>
                </c:pt>
                <c:pt idx="287">
                  <c:v>296.25232653929316</c:v>
                </c:pt>
                <c:pt idx="288">
                  <c:v>293.06923750817072</c:v>
                </c:pt>
                <c:pt idx="289">
                  <c:v>291.2635754039153</c:v>
                </c:pt>
                <c:pt idx="290">
                  <c:v>291.2456106054629</c:v>
                </c:pt>
                <c:pt idx="291">
                  <c:v>294.71577734168426</c:v>
                </c:pt>
                <c:pt idx="292">
                  <c:v>289.20189177411061</c:v>
                </c:pt>
                <c:pt idx="293">
                  <c:v>290.36519094992116</c:v>
                </c:pt>
                <c:pt idx="294">
                  <c:v>290.61162598025612</c:v>
                </c:pt>
                <c:pt idx="295">
                  <c:v>290.43753116221836</c:v>
                </c:pt>
                <c:pt idx="296">
                  <c:v>288.85231328183801</c:v>
                </c:pt>
                <c:pt idx="297">
                  <c:v>289.13026292718268</c:v>
                </c:pt>
                <c:pt idx="298">
                  <c:v>288.11486451570164</c:v>
                </c:pt>
                <c:pt idx="299">
                  <c:v>289.03418343627692</c:v>
                </c:pt>
                <c:pt idx="300">
                  <c:v>285.14028457836991</c:v>
                </c:pt>
                <c:pt idx="301">
                  <c:v>282.57756712341956</c:v>
                </c:pt>
                <c:pt idx="302">
                  <c:v>275.9191850088115</c:v>
                </c:pt>
                <c:pt idx="303">
                  <c:v>279.29441043871793</c:v>
                </c:pt>
                <c:pt idx="304">
                  <c:v>277.13727512617464</c:v>
                </c:pt>
                <c:pt idx="305">
                  <c:v>276.41423433164425</c:v>
                </c:pt>
                <c:pt idx="306">
                  <c:v>273.10903435370648</c:v>
                </c:pt>
                <c:pt idx="307">
                  <c:v>279.6613010799453</c:v>
                </c:pt>
                <c:pt idx="308">
                  <c:v>271.20676205739687</c:v>
                </c:pt>
                <c:pt idx="309">
                  <c:v>271.06337564028371</c:v>
                </c:pt>
                <c:pt idx="310">
                  <c:v>269.52958383034422</c:v>
                </c:pt>
                <c:pt idx="311">
                  <c:v>270.28858809632067</c:v>
                </c:pt>
                <c:pt idx="312">
                  <c:v>270.68643555177624</c:v>
                </c:pt>
                <c:pt idx="313">
                  <c:v>268.89870662973453</c:v>
                </c:pt>
                <c:pt idx="314">
                  <c:v>268.97255990488065</c:v>
                </c:pt>
                <c:pt idx="315">
                  <c:v>269.23581025756329</c:v>
                </c:pt>
                <c:pt idx="316">
                  <c:v>263.04290499115149</c:v>
                </c:pt>
                <c:pt idx="317">
                  <c:v>264.77753218210472</c:v>
                </c:pt>
                <c:pt idx="318">
                  <c:v>260.94768330706449</c:v>
                </c:pt>
                <c:pt idx="319">
                  <c:v>260.42369722182201</c:v>
                </c:pt>
                <c:pt idx="320">
                  <c:v>255.25393521620515</c:v>
                </c:pt>
                <c:pt idx="321">
                  <c:v>257.04842662586037</c:v>
                </c:pt>
                <c:pt idx="322">
                  <c:v>258.22483186173605</c:v>
                </c:pt>
                <c:pt idx="323">
                  <c:v>259.54276267325105</c:v>
                </c:pt>
                <c:pt idx="324">
                  <c:v>256.79305662065724</c:v>
                </c:pt>
                <c:pt idx="325">
                  <c:v>257.60801033750192</c:v>
                </c:pt>
                <c:pt idx="326">
                  <c:v>258.02304347695781</c:v>
                </c:pt>
                <c:pt idx="327">
                  <c:v>257.32650499446231</c:v>
                </c:pt>
                <c:pt idx="328">
                  <c:v>254.296640676425</c:v>
                </c:pt>
                <c:pt idx="329">
                  <c:v>253.73640996104282</c:v>
                </c:pt>
                <c:pt idx="330">
                  <c:v>256.07925228441354</c:v>
                </c:pt>
                <c:pt idx="331">
                  <c:v>250.34749808726204</c:v>
                </c:pt>
                <c:pt idx="332">
                  <c:v>248.00981711484837</c:v>
                </c:pt>
                <c:pt idx="333">
                  <c:v>251.07205984870095</c:v>
                </c:pt>
                <c:pt idx="334">
                  <c:v>244.8234704819952</c:v>
                </c:pt>
                <c:pt idx="335">
                  <c:v>242.04457586623397</c:v>
                </c:pt>
                <c:pt idx="336">
                  <c:v>242.5629636189355</c:v>
                </c:pt>
                <c:pt idx="337">
                  <c:v>241.8609047153443</c:v>
                </c:pt>
                <c:pt idx="338">
                  <c:v>240.03609784944467</c:v>
                </c:pt>
                <c:pt idx="339">
                  <c:v>240.13893418220707</c:v>
                </c:pt>
                <c:pt idx="340">
                  <c:v>241.75794191762739</c:v>
                </c:pt>
                <c:pt idx="341">
                  <c:v>240.86086502093104</c:v>
                </c:pt>
                <c:pt idx="342">
                  <c:v>244.03725253861455</c:v>
                </c:pt>
                <c:pt idx="343">
                  <c:v>245.84461514484795</c:v>
                </c:pt>
                <c:pt idx="344">
                  <c:v>248.78770982510579</c:v>
                </c:pt>
                <c:pt idx="345">
                  <c:v>247.52940611050306</c:v>
                </c:pt>
                <c:pt idx="346">
                  <c:v>249.8370968222697</c:v>
                </c:pt>
                <c:pt idx="347">
                  <c:v>249.18560470491934</c:v>
                </c:pt>
                <c:pt idx="348">
                  <c:v>249.12501331272878</c:v>
                </c:pt>
                <c:pt idx="349">
                  <c:v>247.9665119011309</c:v>
                </c:pt>
                <c:pt idx="350">
                  <c:v>249.41668666394332</c:v>
                </c:pt>
                <c:pt idx="351">
                  <c:v>236.60288936703503</c:v>
                </c:pt>
                <c:pt idx="352">
                  <c:v>240.76111465888962</c:v>
                </c:pt>
                <c:pt idx="353">
                  <c:v>239.58070206476711</c:v>
                </c:pt>
                <c:pt idx="354">
                  <c:v>239.07979922118147</c:v>
                </c:pt>
                <c:pt idx="355">
                  <c:v>241.59558011157699</c:v>
                </c:pt>
                <c:pt idx="356">
                  <c:v>239.73971593697641</c:v>
                </c:pt>
                <c:pt idx="357">
                  <c:v>238.99525739907438</c:v>
                </c:pt>
                <c:pt idx="358">
                  <c:v>238.70236230606687</c:v>
                </c:pt>
                <c:pt idx="359">
                  <c:v>236.04926418722457</c:v>
                </c:pt>
                <c:pt idx="360">
                  <c:v>236.71232671876359</c:v>
                </c:pt>
                <c:pt idx="361">
                  <c:v>234.2951252604287</c:v>
                </c:pt>
                <c:pt idx="362">
                  <c:v>233.14785664675688</c:v>
                </c:pt>
                <c:pt idx="363">
                  <c:v>232.08953919133032</c:v>
                </c:pt>
                <c:pt idx="364">
                  <c:v>232.19062759775676</c:v>
                </c:pt>
                <c:pt idx="365">
                  <c:v>230.45992985360516</c:v>
                </c:pt>
                <c:pt idx="366">
                  <c:v>228.40799531681355</c:v>
                </c:pt>
                <c:pt idx="367">
                  <c:v>227.85623097847699</c:v>
                </c:pt>
                <c:pt idx="368">
                  <c:v>221.08781306190903</c:v>
                </c:pt>
                <c:pt idx="369">
                  <c:v>210.59219629308558</c:v>
                </c:pt>
                <c:pt idx="370">
                  <c:v>213.32715111205391</c:v>
                </c:pt>
                <c:pt idx="371">
                  <c:v>212.83025675586651</c:v>
                </c:pt>
                <c:pt idx="372">
                  <c:v>215.16101151371663</c:v>
                </c:pt>
                <c:pt idx="373">
                  <c:v>214.14497513170599</c:v>
                </c:pt>
                <c:pt idx="374">
                  <c:v>216.26853738627415</c:v>
                </c:pt>
                <c:pt idx="375">
                  <c:v>218.82377082587928</c:v>
                </c:pt>
                <c:pt idx="376">
                  <c:v>218.16005451569137</c:v>
                </c:pt>
                <c:pt idx="377">
                  <c:v>219.69060114456536</c:v>
                </c:pt>
                <c:pt idx="378">
                  <c:v>215.58285230684118</c:v>
                </c:pt>
                <c:pt idx="379">
                  <c:v>216.37120547548096</c:v>
                </c:pt>
                <c:pt idx="380">
                  <c:v>211.30793486564286</c:v>
                </c:pt>
                <c:pt idx="381">
                  <c:v>211.16936653746723</c:v>
                </c:pt>
                <c:pt idx="382">
                  <c:v>207.24264099064715</c:v>
                </c:pt>
                <c:pt idx="383">
                  <c:v>208.61096356993909</c:v>
                </c:pt>
                <c:pt idx="384">
                  <c:v>213.661832710173</c:v>
                </c:pt>
                <c:pt idx="385">
                  <c:v>213.15332729034731</c:v>
                </c:pt>
                <c:pt idx="386">
                  <c:v>217.26438115416013</c:v>
                </c:pt>
                <c:pt idx="387">
                  <c:v>212.86960768145195</c:v>
                </c:pt>
                <c:pt idx="388">
                  <c:v>211.32526959762529</c:v>
                </c:pt>
                <c:pt idx="389">
                  <c:v>210.2516814989385</c:v>
                </c:pt>
                <c:pt idx="390">
                  <c:v>209.69887156642426</c:v>
                </c:pt>
                <c:pt idx="391">
                  <c:v>207.36308305172309</c:v>
                </c:pt>
                <c:pt idx="392">
                  <c:v>208.77385833544071</c:v>
                </c:pt>
                <c:pt idx="393">
                  <c:v>208.49355215116645</c:v>
                </c:pt>
                <c:pt idx="394">
                  <c:v>209.36389751809779</c:v>
                </c:pt>
                <c:pt idx="395">
                  <c:v>205.97373906119375</c:v>
                </c:pt>
                <c:pt idx="396">
                  <c:v>205.7381969542196</c:v>
                </c:pt>
                <c:pt idx="397">
                  <c:v>204.0029521174616</c:v>
                </c:pt>
                <c:pt idx="398">
                  <c:v>196.65450042861283</c:v>
                </c:pt>
                <c:pt idx="399">
                  <c:v>194.76654577179886</c:v>
                </c:pt>
                <c:pt idx="400">
                  <c:v>193.1417138735616</c:v>
                </c:pt>
                <c:pt idx="401">
                  <c:v>189.90233100040001</c:v>
                </c:pt>
                <c:pt idx="402">
                  <c:v>190.11222217547962</c:v>
                </c:pt>
                <c:pt idx="403">
                  <c:v>190.86182851452207</c:v>
                </c:pt>
                <c:pt idx="404">
                  <c:v>193.1090893027455</c:v>
                </c:pt>
                <c:pt idx="405">
                  <c:v>189.82449182088325</c:v>
                </c:pt>
                <c:pt idx="406">
                  <c:v>196.19243926334039</c:v>
                </c:pt>
                <c:pt idx="407">
                  <c:v>199.65271237517209</c:v>
                </c:pt>
                <c:pt idx="408">
                  <c:v>201.51650319245874</c:v>
                </c:pt>
                <c:pt idx="409">
                  <c:v>202.21730647971563</c:v>
                </c:pt>
                <c:pt idx="410">
                  <c:v>204.75917528358966</c:v>
                </c:pt>
                <c:pt idx="411">
                  <c:v>206.38825392016625</c:v>
                </c:pt>
                <c:pt idx="412">
                  <c:v>210.80982554257082</c:v>
                </c:pt>
                <c:pt idx="413">
                  <c:v>211.06810537087969</c:v>
                </c:pt>
                <c:pt idx="414">
                  <c:v>210.00715699273817</c:v>
                </c:pt>
                <c:pt idx="415">
                  <c:v>208.72692064173452</c:v>
                </c:pt>
                <c:pt idx="416">
                  <c:v>211.42159298522907</c:v>
                </c:pt>
                <c:pt idx="417">
                  <c:v>214.6688494309619</c:v>
                </c:pt>
                <c:pt idx="418">
                  <c:v>217.0551482743349</c:v>
                </c:pt>
                <c:pt idx="419">
                  <c:v>216.87165891681741</c:v>
                </c:pt>
                <c:pt idx="420">
                  <c:v>214.98400574342179</c:v>
                </c:pt>
                <c:pt idx="421">
                  <c:v>216.75386358657568</c:v>
                </c:pt>
                <c:pt idx="422">
                  <c:v>218.99125333343702</c:v>
                </c:pt>
                <c:pt idx="423">
                  <c:v>217.46025956061663</c:v>
                </c:pt>
                <c:pt idx="424">
                  <c:v>213.32515364326304</c:v>
                </c:pt>
                <c:pt idx="425">
                  <c:v>213.72282833855749</c:v>
                </c:pt>
                <c:pt idx="426">
                  <c:v>214.75094889863453</c:v>
                </c:pt>
                <c:pt idx="427">
                  <c:v>213.50418172367904</c:v>
                </c:pt>
                <c:pt idx="428">
                  <c:v>213.36615877561985</c:v>
                </c:pt>
                <c:pt idx="429">
                  <c:v>213.53637382951666</c:v>
                </c:pt>
                <c:pt idx="430">
                  <c:v>220.29895629175391</c:v>
                </c:pt>
                <c:pt idx="431">
                  <c:v>218.3122223430851</c:v>
                </c:pt>
                <c:pt idx="432">
                  <c:v>211.46189239797354</c:v>
                </c:pt>
                <c:pt idx="433">
                  <c:v>213.94120508625616</c:v>
                </c:pt>
                <c:pt idx="434">
                  <c:v>216.26909744535851</c:v>
                </c:pt>
                <c:pt idx="435">
                  <c:v>217.02986883324431</c:v>
                </c:pt>
                <c:pt idx="436">
                  <c:v>213.49182203267594</c:v>
                </c:pt>
                <c:pt idx="437">
                  <c:v>211.17400283303263</c:v>
                </c:pt>
                <c:pt idx="438">
                  <c:v>209.31103516710186</c:v>
                </c:pt>
                <c:pt idx="439">
                  <c:v>211.08469034634592</c:v>
                </c:pt>
                <c:pt idx="440">
                  <c:v>207.939448211171</c:v>
                </c:pt>
                <c:pt idx="441">
                  <c:v>210.9573886906378</c:v>
                </c:pt>
                <c:pt idx="442">
                  <c:v>212.90833983208128</c:v>
                </c:pt>
                <c:pt idx="443">
                  <c:v>212.96329901718946</c:v>
                </c:pt>
                <c:pt idx="444">
                  <c:v>212.97292164524796</c:v>
                </c:pt>
                <c:pt idx="445">
                  <c:v>211.96824678442073</c:v>
                </c:pt>
                <c:pt idx="446">
                  <c:v>215.30104548038318</c:v>
                </c:pt>
                <c:pt idx="447">
                  <c:v>212.69761534328339</c:v>
                </c:pt>
                <c:pt idx="448">
                  <c:v>218.81010696503253</c:v>
                </c:pt>
                <c:pt idx="449">
                  <c:v>219.0754168898319</c:v>
                </c:pt>
                <c:pt idx="450">
                  <c:v>219.02940397110575</c:v>
                </c:pt>
                <c:pt idx="451">
                  <c:v>219.46276775406102</c:v>
                </c:pt>
                <c:pt idx="452">
                  <c:v>224.189088300658</c:v>
                </c:pt>
                <c:pt idx="453">
                  <c:v>226.00404106246626</c:v>
                </c:pt>
                <c:pt idx="454">
                  <c:v>226.33875088936986</c:v>
                </c:pt>
                <c:pt idx="455">
                  <c:v>227.86579714896649</c:v>
                </c:pt>
                <c:pt idx="456">
                  <c:v>222.97118562242386</c:v>
                </c:pt>
                <c:pt idx="457">
                  <c:v>222.93537458641407</c:v>
                </c:pt>
                <c:pt idx="458">
                  <c:v>221.19956517396616</c:v>
                </c:pt>
                <c:pt idx="459">
                  <c:v>221.06653307500565</c:v>
                </c:pt>
                <c:pt idx="460">
                  <c:v>222.54104217920374</c:v>
                </c:pt>
                <c:pt idx="461">
                  <c:v>223.797331487745</c:v>
                </c:pt>
                <c:pt idx="462">
                  <c:v>223.25152906869369</c:v>
                </c:pt>
                <c:pt idx="463">
                  <c:v>214.6505921823022</c:v>
                </c:pt>
                <c:pt idx="464">
                  <c:v>216.90854264663801</c:v>
                </c:pt>
                <c:pt idx="465">
                  <c:v>214.46981730470168</c:v>
                </c:pt>
                <c:pt idx="466">
                  <c:v>214.8255440262372</c:v>
                </c:pt>
                <c:pt idx="467">
                  <c:v>216.21277763283769</c:v>
                </c:pt>
                <c:pt idx="468">
                  <c:v>216.67219432557869</c:v>
                </c:pt>
                <c:pt idx="469">
                  <c:v>214.51214241502149</c:v>
                </c:pt>
                <c:pt idx="470">
                  <c:v>217.43835063639472</c:v>
                </c:pt>
                <c:pt idx="471">
                  <c:v>220.43226503280249</c:v>
                </c:pt>
                <c:pt idx="472">
                  <c:v>223.01119710156649</c:v>
                </c:pt>
                <c:pt idx="473">
                  <c:v>222.93040857864577</c:v>
                </c:pt>
                <c:pt idx="474">
                  <c:v>223.55282843542088</c:v>
                </c:pt>
                <c:pt idx="475">
                  <c:v>224.17478985673577</c:v>
                </c:pt>
                <c:pt idx="476">
                  <c:v>225.88351657333956</c:v>
                </c:pt>
                <c:pt idx="477">
                  <c:v>224.63989973073365</c:v>
                </c:pt>
                <c:pt idx="478">
                  <c:v>222.59991500299429</c:v>
                </c:pt>
                <c:pt idx="479">
                  <c:v>221.96026655446644</c:v>
                </c:pt>
                <c:pt idx="480">
                  <c:v>221.4364656500502</c:v>
                </c:pt>
                <c:pt idx="481">
                  <c:v>214.92931416719063</c:v>
                </c:pt>
                <c:pt idx="482">
                  <c:v>220.53972185301092</c:v>
                </c:pt>
                <c:pt idx="483">
                  <c:v>222.05625797156455</c:v>
                </c:pt>
                <c:pt idx="484">
                  <c:v>220.67269975270523</c:v>
                </c:pt>
                <c:pt idx="485">
                  <c:v>219.20003906931581</c:v>
                </c:pt>
                <c:pt idx="486">
                  <c:v>218.76102388370475</c:v>
                </c:pt>
                <c:pt idx="487">
                  <c:v>216.18250734264848</c:v>
                </c:pt>
                <c:pt idx="488">
                  <c:v>217.11903001364615</c:v>
                </c:pt>
                <c:pt idx="489">
                  <c:v>221.6110697153602</c:v>
                </c:pt>
                <c:pt idx="490">
                  <c:v>220.7002408840095</c:v>
                </c:pt>
                <c:pt idx="491">
                  <c:v>220.91347434717326</c:v>
                </c:pt>
                <c:pt idx="492">
                  <c:v>215.21365593849623</c:v>
                </c:pt>
                <c:pt idx="493">
                  <c:v>213.39983232806776</c:v>
                </c:pt>
                <c:pt idx="494">
                  <c:v>215.21341542925234</c:v>
                </c:pt>
                <c:pt idx="495">
                  <c:v>209.72227322877026</c:v>
                </c:pt>
                <c:pt idx="496">
                  <c:v>202.98250075355602</c:v>
                </c:pt>
                <c:pt idx="497">
                  <c:v>197.82862364955</c:v>
                </c:pt>
                <c:pt idx="498">
                  <c:v>200.13674569714374</c:v>
                </c:pt>
                <c:pt idx="499">
                  <c:v>196.45575736510582</c:v>
                </c:pt>
                <c:pt idx="500">
                  <c:v>195.35754699143149</c:v>
                </c:pt>
                <c:pt idx="501">
                  <c:v>193.71261168202858</c:v>
                </c:pt>
                <c:pt idx="502">
                  <c:v>196.39258473286111</c:v>
                </c:pt>
                <c:pt idx="503">
                  <c:v>201.21979721354447</c:v>
                </c:pt>
                <c:pt idx="504">
                  <c:v>206.30650674772411</c:v>
                </c:pt>
                <c:pt idx="505">
                  <c:v>207.42472907130235</c:v>
                </c:pt>
                <c:pt idx="506">
                  <c:v>208.17203307068149</c:v>
                </c:pt>
                <c:pt idx="507">
                  <c:v>209.79631055559128</c:v>
                </c:pt>
                <c:pt idx="508">
                  <c:v>208.58691716215517</c:v>
                </c:pt>
                <c:pt idx="509">
                  <c:v>209.15661129525134</c:v>
                </c:pt>
                <c:pt idx="510">
                  <c:v>207.70571952131277</c:v>
                </c:pt>
                <c:pt idx="511">
                  <c:v>201.86989595809223</c:v>
                </c:pt>
                <c:pt idx="512">
                  <c:v>201.88801657943498</c:v>
                </c:pt>
                <c:pt idx="513">
                  <c:v>201.30296598757377</c:v>
                </c:pt>
                <c:pt idx="514">
                  <c:v>200.31965015424655</c:v>
                </c:pt>
                <c:pt idx="515">
                  <c:v>197.9068614195038</c:v>
                </c:pt>
                <c:pt idx="516">
                  <c:v>197.64435291927768</c:v>
                </c:pt>
                <c:pt idx="517">
                  <c:v>202.6664524115061</c:v>
                </c:pt>
                <c:pt idx="518">
                  <c:v>202.12867035470541</c:v>
                </c:pt>
                <c:pt idx="519">
                  <c:v>194.65341383675562</c:v>
                </c:pt>
                <c:pt idx="520">
                  <c:v>197.55542886066559</c:v>
                </c:pt>
                <c:pt idx="521">
                  <c:v>194.13397484411951</c:v>
                </c:pt>
                <c:pt idx="522">
                  <c:v>192.20589240557075</c:v>
                </c:pt>
                <c:pt idx="523">
                  <c:v>189.80979365737261</c:v>
                </c:pt>
                <c:pt idx="524">
                  <c:v>193.01387361264531</c:v>
                </c:pt>
                <c:pt idx="525">
                  <c:v>196.13552212973968</c:v>
                </c:pt>
                <c:pt idx="526">
                  <c:v>195.22055721688483</c:v>
                </c:pt>
                <c:pt idx="527">
                  <c:v>193.58318270512095</c:v>
                </c:pt>
                <c:pt idx="528">
                  <c:v>190.81767079151291</c:v>
                </c:pt>
                <c:pt idx="529">
                  <c:v>186.1568444123975</c:v>
                </c:pt>
                <c:pt idx="530">
                  <c:v>183.77011987895429</c:v>
                </c:pt>
                <c:pt idx="531">
                  <c:v>186.25914439825445</c:v>
                </c:pt>
                <c:pt idx="532">
                  <c:v>186.18415519682031</c:v>
                </c:pt>
                <c:pt idx="533">
                  <c:v>187.25710532497752</c:v>
                </c:pt>
                <c:pt idx="534">
                  <c:v>186.47309713084715</c:v>
                </c:pt>
                <c:pt idx="535">
                  <c:v>184.67615094609229</c:v>
                </c:pt>
                <c:pt idx="536">
                  <c:v>182.4242482165466</c:v>
                </c:pt>
                <c:pt idx="537">
                  <c:v>183.92474361059905</c:v>
                </c:pt>
                <c:pt idx="538">
                  <c:v>183.03791376267424</c:v>
                </c:pt>
                <c:pt idx="539">
                  <c:v>184.88037152294265</c:v>
                </c:pt>
                <c:pt idx="540">
                  <c:v>181.86104896218694</c:v>
                </c:pt>
                <c:pt idx="541">
                  <c:v>181.9709300704078</c:v>
                </c:pt>
                <c:pt idx="542">
                  <c:v>182.07533140698254</c:v>
                </c:pt>
                <c:pt idx="543">
                  <c:v>182.24320008431215</c:v>
                </c:pt>
                <c:pt idx="544">
                  <c:v>183.89960983003644</c:v>
                </c:pt>
                <c:pt idx="545">
                  <c:v>183.75956231355332</c:v>
                </c:pt>
                <c:pt idx="546">
                  <c:v>184.7131137165095</c:v>
                </c:pt>
                <c:pt idx="547">
                  <c:v>182.81493459395156</c:v>
                </c:pt>
                <c:pt idx="548">
                  <c:v>184.35233968830636</c:v>
                </c:pt>
                <c:pt idx="549">
                  <c:v>185.33357788309482</c:v>
                </c:pt>
                <c:pt idx="550">
                  <c:v>184.9289250322733</c:v>
                </c:pt>
                <c:pt idx="551">
                  <c:v>188.3418697640214</c:v>
                </c:pt>
                <c:pt idx="552">
                  <c:v>192.16294964944623</c:v>
                </c:pt>
                <c:pt idx="553">
                  <c:v>194.12568574384051</c:v>
                </c:pt>
                <c:pt idx="554">
                  <c:v>191.15972348983928</c:v>
                </c:pt>
                <c:pt idx="555">
                  <c:v>191.4411859251264</c:v>
                </c:pt>
                <c:pt idx="556">
                  <c:v>189.09707104815072</c:v>
                </c:pt>
                <c:pt idx="557">
                  <c:v>188.64155557342687</c:v>
                </c:pt>
                <c:pt idx="558">
                  <c:v>186.20030093239981</c:v>
                </c:pt>
                <c:pt idx="559">
                  <c:v>189.52264707403961</c:v>
                </c:pt>
                <c:pt idx="560">
                  <c:v>188.3446226350853</c:v>
                </c:pt>
                <c:pt idx="561">
                  <c:v>189.99983435119563</c:v>
                </c:pt>
                <c:pt idx="562">
                  <c:v>196.41435815891748</c:v>
                </c:pt>
                <c:pt idx="563">
                  <c:v>193.08981243038988</c:v>
                </c:pt>
                <c:pt idx="564">
                  <c:v>192.06072192927758</c:v>
                </c:pt>
                <c:pt idx="565">
                  <c:v>190.46551105918616</c:v>
                </c:pt>
                <c:pt idx="566">
                  <c:v>186.842007823893</c:v>
                </c:pt>
                <c:pt idx="567">
                  <c:v>191.11586612109707</c:v>
                </c:pt>
                <c:pt idx="568">
                  <c:v>191.55404460553575</c:v>
                </c:pt>
                <c:pt idx="569">
                  <c:v>192.53117607675594</c:v>
                </c:pt>
                <c:pt idx="570">
                  <c:v>191.0582782715768</c:v>
                </c:pt>
                <c:pt idx="571">
                  <c:v>190.77256458134471</c:v>
                </c:pt>
                <c:pt idx="572">
                  <c:v>189.58075320404325</c:v>
                </c:pt>
                <c:pt idx="573">
                  <c:v>192.60506887220032</c:v>
                </c:pt>
                <c:pt idx="574">
                  <c:v>194.58248280538041</c:v>
                </c:pt>
                <c:pt idx="575">
                  <c:v>192.73455430667696</c:v>
                </c:pt>
                <c:pt idx="576">
                  <c:v>191.5477089371438</c:v>
                </c:pt>
                <c:pt idx="577">
                  <c:v>191.3933166815319</c:v>
                </c:pt>
                <c:pt idx="578">
                  <c:v>188.19814911809985</c:v>
                </c:pt>
                <c:pt idx="579">
                  <c:v>186.10213138229008</c:v>
                </c:pt>
                <c:pt idx="580">
                  <c:v>187.30419319581722</c:v>
                </c:pt>
                <c:pt idx="581">
                  <c:v>187.77712808887699</c:v>
                </c:pt>
                <c:pt idx="582">
                  <c:v>185.60843365365889</c:v>
                </c:pt>
                <c:pt idx="583">
                  <c:v>186.75662026740244</c:v>
                </c:pt>
                <c:pt idx="584">
                  <c:v>181.38132899848611</c:v>
                </c:pt>
                <c:pt idx="585">
                  <c:v>177.09156208749224</c:v>
                </c:pt>
                <c:pt idx="586">
                  <c:v>181.2240043367409</c:v>
                </c:pt>
                <c:pt idx="587">
                  <c:v>185.77182411661627</c:v>
                </c:pt>
                <c:pt idx="588">
                  <c:v>181.13237031481736</c:v>
                </c:pt>
                <c:pt idx="589">
                  <c:v>173.39153965064534</c:v>
                </c:pt>
                <c:pt idx="590">
                  <c:v>168.18798101508023</c:v>
                </c:pt>
                <c:pt idx="591">
                  <c:v>165.33086330833319</c:v>
                </c:pt>
                <c:pt idx="592">
                  <c:v>165.40061324736516</c:v>
                </c:pt>
                <c:pt idx="593">
                  <c:v>163.62693096848795</c:v>
                </c:pt>
                <c:pt idx="594">
                  <c:v>161.74252297615789</c:v>
                </c:pt>
                <c:pt idx="595">
                  <c:v>161.70996276697045</c:v>
                </c:pt>
                <c:pt idx="596">
                  <c:v>164.65695979439687</c:v>
                </c:pt>
                <c:pt idx="597">
                  <c:v>166.28763505102449</c:v>
                </c:pt>
                <c:pt idx="598">
                  <c:v>165.58087774854201</c:v>
                </c:pt>
                <c:pt idx="599">
                  <c:v>165.66292075864567</c:v>
                </c:pt>
                <c:pt idx="600">
                  <c:v>165.27364469131405</c:v>
                </c:pt>
                <c:pt idx="601">
                  <c:v>163.85704750308227</c:v>
                </c:pt>
                <c:pt idx="602">
                  <c:v>165.0163765826415</c:v>
                </c:pt>
                <c:pt idx="603">
                  <c:v>165.39620278207573</c:v>
                </c:pt>
                <c:pt idx="604">
                  <c:v>165.65905341516989</c:v>
                </c:pt>
                <c:pt idx="605">
                  <c:v>163.95104483884367</c:v>
                </c:pt>
                <c:pt idx="606">
                  <c:v>162.98084861539812</c:v>
                </c:pt>
                <c:pt idx="607">
                  <c:v>164.31731444681222</c:v>
                </c:pt>
                <c:pt idx="608">
                  <c:v>163.49907602860375</c:v>
                </c:pt>
                <c:pt idx="609">
                  <c:v>162.34030362067472</c:v>
                </c:pt>
                <c:pt idx="610">
                  <c:v>158.46607345065212</c:v>
                </c:pt>
                <c:pt idx="611">
                  <c:v>160.70934946365628</c:v>
                </c:pt>
                <c:pt idx="612">
                  <c:v>164.16506193306503</c:v>
                </c:pt>
                <c:pt idx="613">
                  <c:v>165.62505127967049</c:v>
                </c:pt>
                <c:pt idx="614">
                  <c:v>165.02157745389678</c:v>
                </c:pt>
                <c:pt idx="615">
                  <c:v>166.62930045042756</c:v>
                </c:pt>
                <c:pt idx="616">
                  <c:v>159.12006663830874</c:v>
                </c:pt>
                <c:pt idx="617">
                  <c:v>162.10422629594657</c:v>
                </c:pt>
                <c:pt idx="618">
                  <c:v>160.46152896457838</c:v>
                </c:pt>
                <c:pt idx="619">
                  <c:v>160.4151535882593</c:v>
                </c:pt>
                <c:pt idx="620">
                  <c:v>160.10040715775025</c:v>
                </c:pt>
                <c:pt idx="621">
                  <c:v>160.24218227584447</c:v>
                </c:pt>
                <c:pt idx="622">
                  <c:v>158.34182614942628</c:v>
                </c:pt>
                <c:pt idx="623">
                  <c:v>159.87702149453088</c:v>
                </c:pt>
                <c:pt idx="624">
                  <c:v>159.32739351060485</c:v>
                </c:pt>
                <c:pt idx="625">
                  <c:v>158.06555216472924</c:v>
                </c:pt>
                <c:pt idx="626">
                  <c:v>155.66995814719783</c:v>
                </c:pt>
                <c:pt idx="627">
                  <c:v>156.64452305733178</c:v>
                </c:pt>
                <c:pt idx="628">
                  <c:v>156.83207397236239</c:v>
                </c:pt>
                <c:pt idx="629">
                  <c:v>157.09959477556336</c:v>
                </c:pt>
                <c:pt idx="630">
                  <c:v>157.55916164543788</c:v>
                </c:pt>
                <c:pt idx="631">
                  <c:v>159.65037371297527</c:v>
                </c:pt>
                <c:pt idx="632">
                  <c:v>159.67027952264945</c:v>
                </c:pt>
                <c:pt idx="633">
                  <c:v>158.80821648108883</c:v>
                </c:pt>
                <c:pt idx="634">
                  <c:v>160.07888101584606</c:v>
                </c:pt>
                <c:pt idx="635">
                  <c:v>160.74720313451212</c:v>
                </c:pt>
                <c:pt idx="636">
                  <c:v>156.64411204622954</c:v>
                </c:pt>
                <c:pt idx="637">
                  <c:v>156.26946865162853</c:v>
                </c:pt>
                <c:pt idx="638">
                  <c:v>154.64454303382675</c:v>
                </c:pt>
                <c:pt idx="639">
                  <c:v>155.74601665498867</c:v>
                </c:pt>
                <c:pt idx="640">
                  <c:v>154.92388040621717</c:v>
                </c:pt>
                <c:pt idx="641">
                  <c:v>153.83779147260481</c:v>
                </c:pt>
                <c:pt idx="642">
                  <c:v>151.39820910477118</c:v>
                </c:pt>
                <c:pt idx="643">
                  <c:v>152.01243922658873</c:v>
                </c:pt>
                <c:pt idx="644">
                  <c:v>156.44669234813963</c:v>
                </c:pt>
                <c:pt idx="645">
                  <c:v>151.79224341601721</c:v>
                </c:pt>
                <c:pt idx="646">
                  <c:v>153.52759778045905</c:v>
                </c:pt>
                <c:pt idx="647">
                  <c:v>154.15727920975755</c:v>
                </c:pt>
                <c:pt idx="648">
                  <c:v>151.91494716730688</c:v>
                </c:pt>
                <c:pt idx="649">
                  <c:v>152.87324213520952</c:v>
                </c:pt>
                <c:pt idx="650">
                  <c:v>155.15407372310528</c:v>
                </c:pt>
                <c:pt idx="651">
                  <c:v>156.27695944188201</c:v>
                </c:pt>
                <c:pt idx="652">
                  <c:v>156.92832509427785</c:v>
                </c:pt>
                <c:pt idx="653">
                  <c:v>154.89849482489689</c:v>
                </c:pt>
                <c:pt idx="654">
                  <c:v>155.20797037676508</c:v>
                </c:pt>
                <c:pt idx="655">
                  <c:v>155.60949547826459</c:v>
                </c:pt>
                <c:pt idx="656">
                  <c:v>159.00354950742889</c:v>
                </c:pt>
                <c:pt idx="657">
                  <c:v>161.41382249289745</c:v>
                </c:pt>
                <c:pt idx="658">
                  <c:v>162.51305813602465</c:v>
                </c:pt>
                <c:pt idx="659">
                  <c:v>162.89475759759793</c:v>
                </c:pt>
                <c:pt idx="660">
                  <c:v>163.79772527704259</c:v>
                </c:pt>
                <c:pt idx="661">
                  <c:v>162.95532866506363</c:v>
                </c:pt>
                <c:pt idx="662">
                  <c:v>162.88207722760296</c:v>
                </c:pt>
                <c:pt idx="663">
                  <c:v>158.94614796788625</c:v>
                </c:pt>
                <c:pt idx="664">
                  <c:v>161.38197816568484</c:v>
                </c:pt>
                <c:pt idx="665">
                  <c:v>160.87890170569312</c:v>
                </c:pt>
                <c:pt idx="666">
                  <c:v>163.01527418266497</c:v>
                </c:pt>
                <c:pt idx="667">
                  <c:v>165.27943836704372</c:v>
                </c:pt>
                <c:pt idx="668">
                  <c:v>165.13038925576097</c:v>
                </c:pt>
                <c:pt idx="669">
                  <c:v>165.62158591408595</c:v>
                </c:pt>
                <c:pt idx="670">
                  <c:v>166.82196980866271</c:v>
                </c:pt>
                <c:pt idx="671">
                  <c:v>164.28319262126655</c:v>
                </c:pt>
                <c:pt idx="672">
                  <c:v>165.29787289247005</c:v>
                </c:pt>
                <c:pt idx="673">
                  <c:v>164.73527660494725</c:v>
                </c:pt>
                <c:pt idx="674">
                  <c:v>165.73594184922487</c:v>
                </c:pt>
                <c:pt idx="675">
                  <c:v>165.64516598234997</c:v>
                </c:pt>
                <c:pt idx="676">
                  <c:v>164.67327490268335</c:v>
                </c:pt>
                <c:pt idx="677">
                  <c:v>162.02997781781755</c:v>
                </c:pt>
                <c:pt idx="678">
                  <c:v>165.55581623366771</c:v>
                </c:pt>
                <c:pt idx="679">
                  <c:v>159.98876005677144</c:v>
                </c:pt>
                <c:pt idx="680">
                  <c:v>169.05099028549714</c:v>
                </c:pt>
                <c:pt idx="681">
                  <c:v>170.39299799188322</c:v>
                </c:pt>
                <c:pt idx="682">
                  <c:v>174.02562815777912</c:v>
                </c:pt>
                <c:pt idx="683">
                  <c:v>169.84282011123526</c:v>
                </c:pt>
                <c:pt idx="684">
                  <c:v>169.50414583383724</c:v>
                </c:pt>
                <c:pt idx="685">
                  <c:v>170.90583031979622</c:v>
                </c:pt>
                <c:pt idx="686">
                  <c:v>174.00204131460683</c:v>
                </c:pt>
                <c:pt idx="687">
                  <c:v>176.06360186691114</c:v>
                </c:pt>
                <c:pt idx="688">
                  <c:v>173.24278637702409</c:v>
                </c:pt>
                <c:pt idx="689">
                  <c:v>175.63468016548393</c:v>
                </c:pt>
                <c:pt idx="690">
                  <c:v>176.80850190300268</c:v>
                </c:pt>
                <c:pt idx="691">
                  <c:v>176.39893837283051</c:v>
                </c:pt>
                <c:pt idx="692">
                  <c:v>177.32480750055993</c:v>
                </c:pt>
                <c:pt idx="693">
                  <c:v>178.45344624561665</c:v>
                </c:pt>
                <c:pt idx="694">
                  <c:v>178.9266261645258</c:v>
                </c:pt>
                <c:pt idx="695">
                  <c:v>178.24346925503218</c:v>
                </c:pt>
                <c:pt idx="696">
                  <c:v>180.53249283618825</c:v>
                </c:pt>
                <c:pt idx="697">
                  <c:v>179.69589667484726</c:v>
                </c:pt>
                <c:pt idx="698">
                  <c:v>179.00036539538257</c:v>
                </c:pt>
                <c:pt idx="699">
                  <c:v>183.08113090258408</c:v>
                </c:pt>
                <c:pt idx="700">
                  <c:v>182.29059621347858</c:v>
                </c:pt>
                <c:pt idx="701">
                  <c:v>182.74539693537901</c:v>
                </c:pt>
                <c:pt idx="702">
                  <c:v>180.17685983421725</c:v>
                </c:pt>
                <c:pt idx="703">
                  <c:v>184.01300259904841</c:v>
                </c:pt>
                <c:pt idx="704">
                  <c:v>185.14523317464423</c:v>
                </c:pt>
                <c:pt idx="705">
                  <c:v>184.78190952262557</c:v>
                </c:pt>
                <c:pt idx="706">
                  <c:v>183.11940348860182</c:v>
                </c:pt>
                <c:pt idx="707">
                  <c:v>184.05095224777153</c:v>
                </c:pt>
                <c:pt idx="708">
                  <c:v>188.95342379706887</c:v>
                </c:pt>
                <c:pt idx="709">
                  <c:v>190.11919694355251</c:v>
                </c:pt>
                <c:pt idx="710">
                  <c:v>197.76257845619511</c:v>
                </c:pt>
                <c:pt idx="711">
                  <c:v>182.98306297609852</c:v>
                </c:pt>
                <c:pt idx="712">
                  <c:v>183.20890906017448</c:v>
                </c:pt>
                <c:pt idx="713">
                  <c:v>184.09316331380197</c:v>
                </c:pt>
                <c:pt idx="714">
                  <c:v>188.75344995855789</c:v>
                </c:pt>
                <c:pt idx="715">
                  <c:v>191.23593330391498</c:v>
                </c:pt>
                <c:pt idx="716">
                  <c:v>190.06608843755581</c:v>
                </c:pt>
                <c:pt idx="717">
                  <c:v>193.22903002060883</c:v>
                </c:pt>
                <c:pt idx="718">
                  <c:v>196.0653713419679</c:v>
                </c:pt>
                <c:pt idx="719">
                  <c:v>196.4125921661595</c:v>
                </c:pt>
                <c:pt idx="720">
                  <c:v>197.91843635029795</c:v>
                </c:pt>
                <c:pt idx="721">
                  <c:v>199.23236544932297</c:v>
                </c:pt>
                <c:pt idx="722">
                  <c:v>200.32475730593728</c:v>
                </c:pt>
                <c:pt idx="723">
                  <c:v>200.61186549812339</c:v>
                </c:pt>
                <c:pt idx="724">
                  <c:v>198.75659751545135</c:v>
                </c:pt>
                <c:pt idx="725">
                  <c:v>199.78607983209241</c:v>
                </c:pt>
                <c:pt idx="726">
                  <c:v>196.59390790727093</c:v>
                </c:pt>
                <c:pt idx="727">
                  <c:v>196.0230699438271</c:v>
                </c:pt>
                <c:pt idx="728">
                  <c:v>195.7183108572722</c:v>
                </c:pt>
                <c:pt idx="729">
                  <c:v>193.7192443172334</c:v>
                </c:pt>
                <c:pt idx="730">
                  <c:v>196.07372480387554</c:v>
                </c:pt>
                <c:pt idx="731">
                  <c:v>196.30921158243206</c:v>
                </c:pt>
                <c:pt idx="732">
                  <c:v>196.55819397827977</c:v>
                </c:pt>
                <c:pt idx="733">
                  <c:v>194.45797354103448</c:v>
                </c:pt>
                <c:pt idx="734">
                  <c:v>195.02699018330273</c:v>
                </c:pt>
                <c:pt idx="735">
                  <c:v>197.61950142656005</c:v>
                </c:pt>
                <c:pt idx="736">
                  <c:v>202.28055476510278</c:v>
                </c:pt>
                <c:pt idx="737">
                  <c:v>203.58530950916705</c:v>
                </c:pt>
                <c:pt idx="738">
                  <c:v>198.77501397445562</c:v>
                </c:pt>
                <c:pt idx="739">
                  <c:v>199.10114902578115</c:v>
                </c:pt>
                <c:pt idx="740">
                  <c:v>201.69163682976586</c:v>
                </c:pt>
                <c:pt idx="741">
                  <c:v>215.73952657739162</c:v>
                </c:pt>
                <c:pt idx="742">
                  <c:v>214.90317544190003</c:v>
                </c:pt>
                <c:pt idx="743">
                  <c:v>214.24288384784697</c:v>
                </c:pt>
                <c:pt idx="744">
                  <c:v>216.08249050088145</c:v>
                </c:pt>
                <c:pt idx="745">
                  <c:v>214.68863442143845</c:v>
                </c:pt>
                <c:pt idx="746">
                  <c:v>208.85244162571672</c:v>
                </c:pt>
                <c:pt idx="747">
                  <c:v>207.86892254514109</c:v>
                </c:pt>
                <c:pt idx="748">
                  <c:v>210.97453033773428</c:v>
                </c:pt>
                <c:pt idx="749">
                  <c:v>212.35895913230743</c:v>
                </c:pt>
                <c:pt idx="750">
                  <c:v>207.53909178134955</c:v>
                </c:pt>
                <c:pt idx="751">
                  <c:v>207.32211631051317</c:v>
                </c:pt>
                <c:pt idx="752">
                  <c:v>202.07622691887138</c:v>
                </c:pt>
                <c:pt idx="753">
                  <c:v>200.60606391833406</c:v>
                </c:pt>
                <c:pt idx="754">
                  <c:v>199.06667603415636</c:v>
                </c:pt>
                <c:pt idx="755">
                  <c:v>197.46765540730956</c:v>
                </c:pt>
                <c:pt idx="756">
                  <c:v>197.79479540336308</c:v>
                </c:pt>
                <c:pt idx="757">
                  <c:v>196.46450151339087</c:v>
                </c:pt>
                <c:pt idx="758">
                  <c:v>194.51792809184681</c:v>
                </c:pt>
                <c:pt idx="759">
                  <c:v>192.78090032506014</c:v>
                </c:pt>
                <c:pt idx="760">
                  <c:v>198.39755447631342</c:v>
                </c:pt>
                <c:pt idx="761">
                  <c:v>201.78536994410442</c:v>
                </c:pt>
                <c:pt idx="762">
                  <c:v>204.49183514460944</c:v>
                </c:pt>
                <c:pt idx="763">
                  <c:v>199.54015179072704</c:v>
                </c:pt>
                <c:pt idx="764">
                  <c:v>197.14427548535068</c:v>
                </c:pt>
                <c:pt idx="765">
                  <c:v>205.98927279672543</c:v>
                </c:pt>
                <c:pt idx="766">
                  <c:v>207.75160032932749</c:v>
                </c:pt>
                <c:pt idx="767">
                  <c:v>211.35685873662612</c:v>
                </c:pt>
                <c:pt idx="768">
                  <c:v>208.44054301049118</c:v>
                </c:pt>
                <c:pt idx="769">
                  <c:v>204.6446206178079</c:v>
                </c:pt>
                <c:pt idx="770">
                  <c:v>200.75426729523335</c:v>
                </c:pt>
                <c:pt idx="771">
                  <c:v>195.98257067128836</c:v>
                </c:pt>
                <c:pt idx="772">
                  <c:v>190.81606626740225</c:v>
                </c:pt>
                <c:pt idx="773">
                  <c:v>188.7655567196519</c:v>
                </c:pt>
                <c:pt idx="774">
                  <c:v>185.50450204405811</c:v>
                </c:pt>
                <c:pt idx="775">
                  <c:v>187.94682937889598</c:v>
                </c:pt>
                <c:pt idx="776">
                  <c:v>192.35502507405562</c:v>
                </c:pt>
                <c:pt idx="777">
                  <c:v>194.75018775575995</c:v>
                </c:pt>
                <c:pt idx="778">
                  <c:v>197.50007560172588</c:v>
                </c:pt>
                <c:pt idx="779">
                  <c:v>202.33015386861115</c:v>
                </c:pt>
                <c:pt idx="780">
                  <c:v>204.05593754595793</c:v>
                </c:pt>
                <c:pt idx="781">
                  <c:v>205.59688591734252</c:v>
                </c:pt>
                <c:pt idx="782">
                  <c:v>199.81406584904036</c:v>
                </c:pt>
                <c:pt idx="783">
                  <c:v>191.30286826855715</c:v>
                </c:pt>
                <c:pt idx="784">
                  <c:v>188.26491471003504</c:v>
                </c:pt>
                <c:pt idx="785">
                  <c:v>191.3204186684531</c:v>
                </c:pt>
                <c:pt idx="786">
                  <c:v>192.61109063650872</c:v>
                </c:pt>
                <c:pt idx="787">
                  <c:v>196.41641998933696</c:v>
                </c:pt>
                <c:pt idx="788">
                  <c:v>196.75965942576343</c:v>
                </c:pt>
                <c:pt idx="789">
                  <c:v>199.50200679881522</c:v>
                </c:pt>
                <c:pt idx="790">
                  <c:v>196.94403065050855</c:v>
                </c:pt>
                <c:pt idx="791">
                  <c:v>192.27228537755062</c:v>
                </c:pt>
                <c:pt idx="792">
                  <c:v>192.67412889973926</c:v>
                </c:pt>
                <c:pt idx="793">
                  <c:v>192.73322303720019</c:v>
                </c:pt>
                <c:pt idx="794">
                  <c:v>191.55617757249215</c:v>
                </c:pt>
                <c:pt idx="795">
                  <c:v>196.50821322160505</c:v>
                </c:pt>
                <c:pt idx="796">
                  <c:v>193.68867254362581</c:v>
                </c:pt>
                <c:pt idx="797">
                  <c:v>193.18825749343625</c:v>
                </c:pt>
                <c:pt idx="798">
                  <c:v>192.00682188816361</c:v>
                </c:pt>
                <c:pt idx="799">
                  <c:v>192.75000335585514</c:v>
                </c:pt>
                <c:pt idx="800">
                  <c:v>192.73773399696245</c:v>
                </c:pt>
                <c:pt idx="801">
                  <c:v>193.54118504870129</c:v>
                </c:pt>
                <c:pt idx="802">
                  <c:v>195.1765417669495</c:v>
                </c:pt>
                <c:pt idx="803">
                  <c:v>194.3484842483424</c:v>
                </c:pt>
                <c:pt idx="804">
                  <c:v>191.56376659891566</c:v>
                </c:pt>
                <c:pt idx="805">
                  <c:v>190.79100023592247</c:v>
                </c:pt>
                <c:pt idx="806">
                  <c:v>190.24706430410191</c:v>
                </c:pt>
                <c:pt idx="807">
                  <c:v>188.24797969764103</c:v>
                </c:pt>
                <c:pt idx="808">
                  <c:v>178.11783761421475</c:v>
                </c:pt>
                <c:pt idx="809">
                  <c:v>179.56018735796525</c:v>
                </c:pt>
                <c:pt idx="810">
                  <c:v>175.05769510192852</c:v>
                </c:pt>
                <c:pt idx="811">
                  <c:v>175.77248179987265</c:v>
                </c:pt>
                <c:pt idx="812">
                  <c:v>176.22647517853653</c:v>
                </c:pt>
                <c:pt idx="813">
                  <c:v>175.852433621621</c:v>
                </c:pt>
                <c:pt idx="814">
                  <c:v>174.33632093483473</c:v>
                </c:pt>
                <c:pt idx="815">
                  <c:v>171.05993915841179</c:v>
                </c:pt>
                <c:pt idx="816">
                  <c:v>170.23928435625055</c:v>
                </c:pt>
                <c:pt idx="817">
                  <c:v>166.72899774235415</c:v>
                </c:pt>
                <c:pt idx="818">
                  <c:v>168.2497230125268</c:v>
                </c:pt>
                <c:pt idx="819">
                  <c:v>168.06859583969575</c:v>
                </c:pt>
                <c:pt idx="820">
                  <c:v>170.91032885889328</c:v>
                </c:pt>
                <c:pt idx="821">
                  <c:v>174.58983122771537</c:v>
                </c:pt>
                <c:pt idx="822">
                  <c:v>176.67210380377904</c:v>
                </c:pt>
                <c:pt idx="823">
                  <c:v>176.44062099601518</c:v>
                </c:pt>
                <c:pt idx="824">
                  <c:v>179.49004108679901</c:v>
                </c:pt>
                <c:pt idx="825">
                  <c:v>179.39392659220044</c:v>
                </c:pt>
                <c:pt idx="826">
                  <c:v>178.54147037057905</c:v>
                </c:pt>
                <c:pt idx="827">
                  <c:v>181.16112641300631</c:v>
                </c:pt>
                <c:pt idx="828">
                  <c:v>175.82363687398237</c:v>
                </c:pt>
                <c:pt idx="829">
                  <c:v>177.41814202446142</c:v>
                </c:pt>
                <c:pt idx="830">
                  <c:v>177.45403435937058</c:v>
                </c:pt>
                <c:pt idx="831">
                  <c:v>174.46332901118413</c:v>
                </c:pt>
                <c:pt idx="832">
                  <c:v>170.97339309260556</c:v>
                </c:pt>
                <c:pt idx="833">
                  <c:v>168.88343551225111</c:v>
                </c:pt>
                <c:pt idx="834">
                  <c:v>167.5567944269925</c:v>
                </c:pt>
                <c:pt idx="835">
                  <c:v>170.6409765721543</c:v>
                </c:pt>
                <c:pt idx="836">
                  <c:v>169.05666088372638</c:v>
                </c:pt>
                <c:pt idx="837">
                  <c:v>167.90779903745775</c:v>
                </c:pt>
                <c:pt idx="838">
                  <c:v>170.31876758017626</c:v>
                </c:pt>
                <c:pt idx="839">
                  <c:v>173.10210653576829</c:v>
                </c:pt>
                <c:pt idx="840">
                  <c:v>170.51677895358918</c:v>
                </c:pt>
                <c:pt idx="841">
                  <c:v>173.91795115305163</c:v>
                </c:pt>
                <c:pt idx="842">
                  <c:v>179.55950760883459</c:v>
                </c:pt>
                <c:pt idx="843">
                  <c:v>180.98105612586676</c:v>
                </c:pt>
                <c:pt idx="844">
                  <c:v>178.88099941557155</c:v>
                </c:pt>
                <c:pt idx="845">
                  <c:v>180.93337657970403</c:v>
                </c:pt>
                <c:pt idx="846">
                  <c:v>184.28205566067177</c:v>
                </c:pt>
                <c:pt idx="847">
                  <c:v>183.60385233828123</c:v>
                </c:pt>
                <c:pt idx="848">
                  <c:v>181.94892855577274</c:v>
                </c:pt>
                <c:pt idx="849">
                  <c:v>182.75094784356202</c:v>
                </c:pt>
                <c:pt idx="850">
                  <c:v>181.06398100319802</c:v>
                </c:pt>
                <c:pt idx="851">
                  <c:v>184.91909802781504</c:v>
                </c:pt>
                <c:pt idx="852">
                  <c:v>189.72971649982114</c:v>
                </c:pt>
                <c:pt idx="853">
                  <c:v>180.36284800373826</c:v>
                </c:pt>
                <c:pt idx="854">
                  <c:v>169.10597995769257</c:v>
                </c:pt>
                <c:pt idx="855">
                  <c:v>178.61153985945145</c:v>
                </c:pt>
                <c:pt idx="856">
                  <c:v>181.63137053832804</c:v>
                </c:pt>
                <c:pt idx="857">
                  <c:v>181.38020210540907</c:v>
                </c:pt>
                <c:pt idx="858">
                  <c:v>181.10173079212697</c:v>
                </c:pt>
                <c:pt idx="859">
                  <c:v>189.57519665010335</c:v>
                </c:pt>
                <c:pt idx="860">
                  <c:v>201.29443073229402</c:v>
                </c:pt>
                <c:pt idx="861">
                  <c:v>201.29087842205323</c:v>
                </c:pt>
                <c:pt idx="862">
                  <c:v>205.81408721845483</c:v>
                </c:pt>
                <c:pt idx="863">
                  <c:v>205.75930982671878</c:v>
                </c:pt>
                <c:pt idx="864">
                  <c:v>205.37999626201096</c:v>
                </c:pt>
                <c:pt idx="865">
                  <c:v>208.80298253697944</c:v>
                </c:pt>
                <c:pt idx="866">
                  <c:v>212.21364073718348</c:v>
                </c:pt>
                <c:pt idx="867">
                  <c:v>215.19257694053843</c:v>
                </c:pt>
                <c:pt idx="868">
                  <c:v>220.86497052050333</c:v>
                </c:pt>
                <c:pt idx="869">
                  <c:v>216.5415899020847</c:v>
                </c:pt>
                <c:pt idx="870">
                  <c:v>226.72449610033689</c:v>
                </c:pt>
                <c:pt idx="871">
                  <c:v>236.50776175074242</c:v>
                </c:pt>
                <c:pt idx="872">
                  <c:v>240.37768646655394</c:v>
                </c:pt>
                <c:pt idx="873">
                  <c:v>244.60527665682</c:v>
                </c:pt>
                <c:pt idx="874">
                  <c:v>241.0889592454042</c:v>
                </c:pt>
                <c:pt idx="875">
                  <c:v>241.40867845858978</c:v>
                </c:pt>
                <c:pt idx="876">
                  <c:v>242.57929227703858</c:v>
                </c:pt>
                <c:pt idx="877">
                  <c:v>247.62882788949298</c:v>
                </c:pt>
                <c:pt idx="878">
                  <c:v>244.5918849214558</c:v>
                </c:pt>
                <c:pt idx="879">
                  <c:v>241.96419609611272</c:v>
                </c:pt>
                <c:pt idx="880">
                  <c:v>240.43677721656073</c:v>
                </c:pt>
                <c:pt idx="881">
                  <c:v>241.90287640128224</c:v>
                </c:pt>
                <c:pt idx="882">
                  <c:v>241.01937867907918</c:v>
                </c:pt>
                <c:pt idx="883">
                  <c:v>248.04881800350609</c:v>
                </c:pt>
                <c:pt idx="884">
                  <c:v>249.81011123344427</c:v>
                </c:pt>
                <c:pt idx="885">
                  <c:v>251.21140390387447</c:v>
                </c:pt>
                <c:pt idx="886">
                  <c:v>242.48443904453126</c:v>
                </c:pt>
                <c:pt idx="887">
                  <c:v>246.47061666979971</c:v>
                </c:pt>
                <c:pt idx="888">
                  <c:v>237.29231193753506</c:v>
                </c:pt>
                <c:pt idx="889">
                  <c:v>226.274757364072</c:v>
                </c:pt>
                <c:pt idx="890">
                  <c:v>224.64732954681261</c:v>
                </c:pt>
                <c:pt idx="891">
                  <c:v>225.02933275010707</c:v>
                </c:pt>
                <c:pt idx="892">
                  <c:v>224.19819603568732</c:v>
                </c:pt>
                <c:pt idx="893">
                  <c:v>220.93432525655237</c:v>
                </c:pt>
                <c:pt idx="894">
                  <c:v>224.78708009648287</c:v>
                </c:pt>
                <c:pt idx="895">
                  <c:v>225.56122628246217</c:v>
                </c:pt>
                <c:pt idx="896">
                  <c:v>224.55032866838098</c:v>
                </c:pt>
                <c:pt idx="897">
                  <c:v>224.05390178086483</c:v>
                </c:pt>
                <c:pt idx="898">
                  <c:v>224.27586358419433</c:v>
                </c:pt>
                <c:pt idx="899">
                  <c:v>229.17705354667558</c:v>
                </c:pt>
                <c:pt idx="900">
                  <c:v>225.74927289494855</c:v>
                </c:pt>
                <c:pt idx="901">
                  <c:v>219.19478625709704</c:v>
                </c:pt>
                <c:pt idx="902">
                  <c:v>220.45972034860188</c:v>
                </c:pt>
                <c:pt idx="903">
                  <c:v>221.84646051604949</c:v>
                </c:pt>
                <c:pt idx="904">
                  <c:v>220.1405431280786</c:v>
                </c:pt>
                <c:pt idx="905">
                  <c:v>222.54134705007633</c:v>
                </c:pt>
                <c:pt idx="906">
                  <c:v>213.04737449977674</c:v>
                </c:pt>
                <c:pt idx="907">
                  <c:v>206.86147900513063</c:v>
                </c:pt>
                <c:pt idx="908">
                  <c:v>210.25417918179056</c:v>
                </c:pt>
                <c:pt idx="909">
                  <c:v>216.05705975350594</c:v>
                </c:pt>
                <c:pt idx="910">
                  <c:v>217.44511876976512</c:v>
                </c:pt>
                <c:pt idx="911">
                  <c:v>219.56723683971853</c:v>
                </c:pt>
                <c:pt idx="912">
                  <c:v>219.70022151432113</c:v>
                </c:pt>
                <c:pt idx="913">
                  <c:v>219.91042659348429</c:v>
                </c:pt>
                <c:pt idx="914">
                  <c:v>230.16387765333982</c:v>
                </c:pt>
                <c:pt idx="915">
                  <c:v>228.47352674629064</c:v>
                </c:pt>
                <c:pt idx="916">
                  <c:v>228.33234894927637</c:v>
                </c:pt>
                <c:pt idx="917">
                  <c:v>232.29522540667162</c:v>
                </c:pt>
                <c:pt idx="918">
                  <c:v>232.15622461351751</c:v>
                </c:pt>
                <c:pt idx="919">
                  <c:v>231.00491025045201</c:v>
                </c:pt>
                <c:pt idx="920">
                  <c:v>230.30764798192212</c:v>
                </c:pt>
                <c:pt idx="921">
                  <c:v>232.18114046786386</c:v>
                </c:pt>
                <c:pt idx="922">
                  <c:v>252.88746427106116</c:v>
                </c:pt>
                <c:pt idx="923">
                  <c:v>258.80572604736824</c:v>
                </c:pt>
                <c:pt idx="924">
                  <c:v>261.06263543413195</c:v>
                </c:pt>
                <c:pt idx="925">
                  <c:v>262.47628553726247</c:v>
                </c:pt>
                <c:pt idx="926">
                  <c:v>266.99645691645247</c:v>
                </c:pt>
                <c:pt idx="927">
                  <c:v>271.35730051934956</c:v>
                </c:pt>
                <c:pt idx="928">
                  <c:v>271.73495423152906</c:v>
                </c:pt>
                <c:pt idx="929">
                  <c:v>279.10489141283233</c:v>
                </c:pt>
                <c:pt idx="930">
                  <c:v>265.87988879964564</c:v>
                </c:pt>
                <c:pt idx="931">
                  <c:v>264.76074847599563</c:v>
                </c:pt>
                <c:pt idx="932">
                  <c:v>259.08100186224561</c:v>
                </c:pt>
                <c:pt idx="933">
                  <c:v>259.40272870658447</c:v>
                </c:pt>
                <c:pt idx="934">
                  <c:v>263.40013009656792</c:v>
                </c:pt>
                <c:pt idx="935">
                  <c:v>259.73890643028182</c:v>
                </c:pt>
                <c:pt idx="936">
                  <c:v>271.01588579155282</c:v>
                </c:pt>
                <c:pt idx="937">
                  <c:v>281.97530487707633</c:v>
                </c:pt>
                <c:pt idx="938">
                  <c:v>287.72138687608583</c:v>
                </c:pt>
                <c:pt idx="939">
                  <c:v>294.91382371878996</c:v>
                </c:pt>
                <c:pt idx="940">
                  <c:v>306.0397045590239</c:v>
                </c:pt>
                <c:pt idx="941">
                  <c:v>314.21527318338036</c:v>
                </c:pt>
                <c:pt idx="942">
                  <c:v>319.84327982260601</c:v>
                </c:pt>
                <c:pt idx="943">
                  <c:v>318.55245880656821</c:v>
                </c:pt>
                <c:pt idx="944">
                  <c:v>320.36622144282217</c:v>
                </c:pt>
                <c:pt idx="945">
                  <c:v>323.54673826710155</c:v>
                </c:pt>
                <c:pt idx="946">
                  <c:v>327.71489218703863</c:v>
                </c:pt>
                <c:pt idx="947">
                  <c:v>332.77423109177232</c:v>
                </c:pt>
                <c:pt idx="948">
                  <c:v>335.66552482333128</c:v>
                </c:pt>
                <c:pt idx="949">
                  <c:v>337.26711991532397</c:v>
                </c:pt>
                <c:pt idx="950">
                  <c:v>341.13101496276744</c:v>
                </c:pt>
                <c:pt idx="951">
                  <c:v>337.76719396179681</c:v>
                </c:pt>
                <c:pt idx="952">
                  <c:v>333.29853898515807</c:v>
                </c:pt>
                <c:pt idx="953">
                  <c:v>329.42253943492329</c:v>
                </c:pt>
                <c:pt idx="954">
                  <c:v>321.81858111355444</c:v>
                </c:pt>
                <c:pt idx="955">
                  <c:v>316.29568943457565</c:v>
                </c:pt>
                <c:pt idx="956">
                  <c:v>313.27406679245939</c:v>
                </c:pt>
                <c:pt idx="957">
                  <c:v>311.38014344145188</c:v>
                </c:pt>
                <c:pt idx="958">
                  <c:v>308.84942387830182</c:v>
                </c:pt>
                <c:pt idx="959">
                  <c:v>308.59816737157524</c:v>
                </c:pt>
                <c:pt idx="960">
                  <c:v>301.15061006612285</c:v>
                </c:pt>
                <c:pt idx="961">
                  <c:v>309.2485359833027</c:v>
                </c:pt>
                <c:pt idx="962">
                  <c:v>318.50325038943726</c:v>
                </c:pt>
                <c:pt idx="963">
                  <c:v>315.68177208769032</c:v>
                </c:pt>
                <c:pt idx="964">
                  <c:v>315.39079655202846</c:v>
                </c:pt>
                <c:pt idx="965">
                  <c:v>311.87219373821995</c:v>
                </c:pt>
                <c:pt idx="966">
                  <c:v>316.23459331171836</c:v>
                </c:pt>
                <c:pt idx="967">
                  <c:v>316.66567169228091</c:v>
                </c:pt>
                <c:pt idx="968">
                  <c:v>315.72885092531902</c:v>
                </c:pt>
                <c:pt idx="969">
                  <c:v>315.79801370563348</c:v>
                </c:pt>
                <c:pt idx="970">
                  <c:v>323.25721707841689</c:v>
                </c:pt>
                <c:pt idx="971">
                  <c:v>325.94766187914553</c:v>
                </c:pt>
                <c:pt idx="972">
                  <c:v>329.72493069103479</c:v>
                </c:pt>
                <c:pt idx="973">
                  <c:v>324.16505478776253</c:v>
                </c:pt>
                <c:pt idx="974">
                  <c:v>331.68742288873102</c:v>
                </c:pt>
                <c:pt idx="975">
                  <c:v>331.44462372583899</c:v>
                </c:pt>
                <c:pt idx="976">
                  <c:v>319.47413539522455</c:v>
                </c:pt>
                <c:pt idx="977">
                  <c:v>305.32152814863764</c:v>
                </c:pt>
                <c:pt idx="978">
                  <c:v>307.55001227856667</c:v>
                </c:pt>
                <c:pt idx="979">
                  <c:v>307.30511289410822</c:v>
                </c:pt>
                <c:pt idx="980">
                  <c:v>310.19388410148474</c:v>
                </c:pt>
                <c:pt idx="981">
                  <c:v>321.1272491480712</c:v>
                </c:pt>
                <c:pt idx="982">
                  <c:v>327.85320871445651</c:v>
                </c:pt>
                <c:pt idx="983">
                  <c:v>321.84723897557336</c:v>
                </c:pt>
                <c:pt idx="984">
                  <c:v>329.16442897932149</c:v>
                </c:pt>
                <c:pt idx="985">
                  <c:v>319.1246269103375</c:v>
                </c:pt>
                <c:pt idx="986">
                  <c:v>315.05593090223448</c:v>
                </c:pt>
                <c:pt idx="987">
                  <c:v>320.4975349733827</c:v>
                </c:pt>
                <c:pt idx="988">
                  <c:v>322.51540301304624</c:v>
                </c:pt>
                <c:pt idx="989">
                  <c:v>321.87633043172212</c:v>
                </c:pt>
                <c:pt idx="990">
                  <c:v>318.24562546892872</c:v>
                </c:pt>
                <c:pt idx="991">
                  <c:v>317.55514714188854</c:v>
                </c:pt>
                <c:pt idx="992">
                  <c:v>316.32109308231799</c:v>
                </c:pt>
                <c:pt idx="993">
                  <c:v>316.86230888846467</c:v>
                </c:pt>
                <c:pt idx="994">
                  <c:v>309.69889801112924</c:v>
                </c:pt>
                <c:pt idx="995">
                  <c:v>311.69022421845966</c:v>
                </c:pt>
                <c:pt idx="996">
                  <c:v>307.07257094235018</c:v>
                </c:pt>
                <c:pt idx="997">
                  <c:v>311.3292864633064</c:v>
                </c:pt>
                <c:pt idx="998">
                  <c:v>304.9191053717912</c:v>
                </c:pt>
                <c:pt idx="999">
                  <c:v>300.50887042923972</c:v>
                </c:pt>
                <c:pt idx="1000">
                  <c:v>308.75476711813457</c:v>
                </c:pt>
                <c:pt idx="1001">
                  <c:v>309.92800734269275</c:v>
                </c:pt>
                <c:pt idx="1002">
                  <c:v>312.53732261678402</c:v>
                </c:pt>
                <c:pt idx="1003">
                  <c:v>308.07899034205923</c:v>
                </c:pt>
                <c:pt idx="1004">
                  <c:v>308.63265842962204</c:v>
                </c:pt>
                <c:pt idx="1005">
                  <c:v>315.26265593684519</c:v>
                </c:pt>
                <c:pt idx="1006">
                  <c:v>312.58159212577976</c:v>
                </c:pt>
                <c:pt idx="1007">
                  <c:v>315.34246435636823</c:v>
                </c:pt>
                <c:pt idx="1008">
                  <c:v>315.4516036121326</c:v>
                </c:pt>
                <c:pt idx="1009">
                  <c:v>313.6328252854496</c:v>
                </c:pt>
                <c:pt idx="1010">
                  <c:v>316.03855456576593</c:v>
                </c:pt>
                <c:pt idx="1011">
                  <c:v>321.48869953795082</c:v>
                </c:pt>
                <c:pt idx="1012">
                  <c:v>319.01376231126483</c:v>
                </c:pt>
                <c:pt idx="1013">
                  <c:v>313.43701011147033</c:v>
                </c:pt>
                <c:pt idx="1014">
                  <c:v>311.12808749554836</c:v>
                </c:pt>
                <c:pt idx="1015">
                  <c:v>313.58471666176257</c:v>
                </c:pt>
                <c:pt idx="1016">
                  <c:v>314.70913012235616</c:v>
                </c:pt>
                <c:pt idx="1017">
                  <c:v>326.39150870351068</c:v>
                </c:pt>
                <c:pt idx="1018">
                  <c:v>334.47892899625305</c:v>
                </c:pt>
                <c:pt idx="1019">
                  <c:v>342.82966513245799</c:v>
                </c:pt>
                <c:pt idx="1020">
                  <c:v>337.29864808015026</c:v>
                </c:pt>
                <c:pt idx="1021">
                  <c:v>337.87037807318416</c:v>
                </c:pt>
                <c:pt idx="1022">
                  <c:v>336.40677205470928</c:v>
                </c:pt>
                <c:pt idx="1023">
                  <c:v>343.84900202395175</c:v>
                </c:pt>
                <c:pt idx="1024">
                  <c:v>351.64119891354147</c:v>
                </c:pt>
                <c:pt idx="1025">
                  <c:v>356.33778890430881</c:v>
                </c:pt>
                <c:pt idx="1026">
                  <c:v>349.21777357280121</c:v>
                </c:pt>
                <c:pt idx="1027">
                  <c:v>350.38421206489892</c:v>
                </c:pt>
                <c:pt idx="1028">
                  <c:v>345.63846191584872</c:v>
                </c:pt>
                <c:pt idx="1029">
                  <c:v>340.31462791077723</c:v>
                </c:pt>
                <c:pt idx="1030">
                  <c:v>338.8939336744121</c:v>
                </c:pt>
                <c:pt idx="1031">
                  <c:v>341.09528496589826</c:v>
                </c:pt>
                <c:pt idx="1032">
                  <c:v>338.56326924715984</c:v>
                </c:pt>
                <c:pt idx="1033">
                  <c:v>342.17126583306947</c:v>
                </c:pt>
                <c:pt idx="1034">
                  <c:v>346.1492864623246</c:v>
                </c:pt>
                <c:pt idx="1035">
                  <c:v>337.26875959682661</c:v>
                </c:pt>
                <c:pt idx="1036">
                  <c:v>329.33727889931788</c:v>
                </c:pt>
                <c:pt idx="1037">
                  <c:v>321.08215322804841</c:v>
                </c:pt>
                <c:pt idx="1038">
                  <c:v>318.51169107444304</c:v>
                </c:pt>
                <c:pt idx="1039">
                  <c:v>320.25217936923315</c:v>
                </c:pt>
                <c:pt idx="1040">
                  <c:v>320.94444850962441</c:v>
                </c:pt>
                <c:pt idx="1041">
                  <c:v>319.19526743200794</c:v>
                </c:pt>
                <c:pt idx="1042">
                  <c:v>324.37300247584534</c:v>
                </c:pt>
                <c:pt idx="1043">
                  <c:v>334.43506793728864</c:v>
                </c:pt>
                <c:pt idx="1044">
                  <c:v>324.06245814044513</c:v>
                </c:pt>
                <c:pt idx="1045">
                  <c:v>322.58676731385793</c:v>
                </c:pt>
                <c:pt idx="1046">
                  <c:v>322.22634170834613</c:v>
                </c:pt>
                <c:pt idx="1047">
                  <c:v>321.72270720965679</c:v>
                </c:pt>
                <c:pt idx="1048">
                  <c:v>319.70365850104037</c:v>
                </c:pt>
                <c:pt idx="1049">
                  <c:v>328.22281145744552</c:v>
                </c:pt>
                <c:pt idx="1050">
                  <c:v>329.52160101759171</c:v>
                </c:pt>
                <c:pt idx="1051">
                  <c:v>336.46065442138723</c:v>
                </c:pt>
                <c:pt idx="1052">
                  <c:v>339.90215850159069</c:v>
                </c:pt>
                <c:pt idx="1053">
                  <c:v>332.67957236201738</c:v>
                </c:pt>
                <c:pt idx="1054">
                  <c:v>334.01575217764525</c:v>
                </c:pt>
                <c:pt idx="1055">
                  <c:v>323.11252387862595</c:v>
                </c:pt>
                <c:pt idx="1056">
                  <c:v>313.00206733841276</c:v>
                </c:pt>
                <c:pt idx="1057">
                  <c:v>328.45611420830289</c:v>
                </c:pt>
                <c:pt idx="1058">
                  <c:v>319.33610807497246</c:v>
                </c:pt>
                <c:pt idx="1059">
                  <c:v>318.57965784856481</c:v>
                </c:pt>
                <c:pt idx="1060">
                  <c:v>313.47050422005913</c:v>
                </c:pt>
                <c:pt idx="1061">
                  <c:v>306.83669418482049</c:v>
                </c:pt>
                <c:pt idx="1062">
                  <c:v>300.18505202827453</c:v>
                </c:pt>
                <c:pt idx="1063">
                  <c:v>302.53659403533527</c:v>
                </c:pt>
                <c:pt idx="1064">
                  <c:v>306.62597510813424</c:v>
                </c:pt>
                <c:pt idx="1065">
                  <c:v>305.8958616303878</c:v>
                </c:pt>
                <c:pt idx="1066">
                  <c:v>306.37768012923351</c:v>
                </c:pt>
                <c:pt idx="1067">
                  <c:v>308.25299310934957</c:v>
                </c:pt>
                <c:pt idx="1068">
                  <c:v>307.77403457368479</c:v>
                </c:pt>
                <c:pt idx="1069">
                  <c:v>313.54679499228126</c:v>
                </c:pt>
                <c:pt idx="1070">
                  <c:v>314.93131320314677</c:v>
                </c:pt>
                <c:pt idx="1071">
                  <c:v>312.40932240797957</c:v>
                </c:pt>
                <c:pt idx="1072">
                  <c:v>312.40438019090368</c:v>
                </c:pt>
                <c:pt idx="1073">
                  <c:v>313.27455158484941</c:v>
                </c:pt>
                <c:pt idx="1074">
                  <c:v>307.12412550198707</c:v>
                </c:pt>
                <c:pt idx="1075">
                  <c:v>303.38188374960657</c:v>
                </c:pt>
                <c:pt idx="1076">
                  <c:v>298.19380015478544</c:v>
                </c:pt>
                <c:pt idx="1077">
                  <c:v>298.36546317287394</c:v>
                </c:pt>
                <c:pt idx="1078">
                  <c:v>292.77631239049572</c:v>
                </c:pt>
                <c:pt idx="1079">
                  <c:v>291.52093406094906</c:v>
                </c:pt>
                <c:pt idx="1080">
                  <c:v>300.71983002076081</c:v>
                </c:pt>
                <c:pt idx="1081">
                  <c:v>296.21581449647255</c:v>
                </c:pt>
                <c:pt idx="1082">
                  <c:v>297.71418934681617</c:v>
                </c:pt>
                <c:pt idx="1083">
                  <c:v>290.28315203118433</c:v>
                </c:pt>
                <c:pt idx="1084">
                  <c:v>288.93068547786277</c:v>
                </c:pt>
                <c:pt idx="1085">
                  <c:v>290.32840216793448</c:v>
                </c:pt>
                <c:pt idx="1086">
                  <c:v>289.0483353316651</c:v>
                </c:pt>
                <c:pt idx="1087">
                  <c:v>290.18049189668574</c:v>
                </c:pt>
                <c:pt idx="1088">
                  <c:v>294.03080262621239</c:v>
                </c:pt>
                <c:pt idx="1089">
                  <c:v>297.59265596406283</c:v>
                </c:pt>
                <c:pt idx="1090">
                  <c:v>296.99601997845974</c:v>
                </c:pt>
                <c:pt idx="1091">
                  <c:v>291.57806558859841</c:v>
                </c:pt>
                <c:pt idx="1092">
                  <c:v>275.79798542481751</c:v>
                </c:pt>
                <c:pt idx="1093">
                  <c:v>278.284073647105</c:v>
                </c:pt>
                <c:pt idx="1094">
                  <c:v>277.67686332395124</c:v>
                </c:pt>
                <c:pt idx="1095">
                  <c:v>259.57415939485253</c:v>
                </c:pt>
                <c:pt idx="1096">
                  <c:v>258.6285025341067</c:v>
                </c:pt>
                <c:pt idx="1097">
                  <c:v>260.07028774456171</c:v>
                </c:pt>
                <c:pt idx="1098">
                  <c:v>259.95287622102438</c:v>
                </c:pt>
                <c:pt idx="1099">
                  <c:v>266.26858559708995</c:v>
                </c:pt>
                <c:pt idx="1100">
                  <c:v>255.90536099521137</c:v>
                </c:pt>
                <c:pt idx="1101">
                  <c:v>246.62424611142606</c:v>
                </c:pt>
                <c:pt idx="1102">
                  <c:v>248.2261942774945</c:v>
                </c:pt>
                <c:pt idx="1103">
                  <c:v>246.95772785328552</c:v>
                </c:pt>
                <c:pt idx="1104">
                  <c:v>248.61838303549249</c:v>
                </c:pt>
                <c:pt idx="1105">
                  <c:v>249.45498498441665</c:v>
                </c:pt>
                <c:pt idx="1106">
                  <c:v>250.94362090750718</c:v>
                </c:pt>
                <c:pt idx="1107">
                  <c:v>249.3400997616892</c:v>
                </c:pt>
                <c:pt idx="1108">
                  <c:v>249.83036267813767</c:v>
                </c:pt>
                <c:pt idx="1109">
                  <c:v>246.38200722999801</c:v>
                </c:pt>
                <c:pt idx="1110">
                  <c:v>245.54937159843271</c:v>
                </c:pt>
                <c:pt idx="1111">
                  <c:v>248.96184454360977</c:v>
                </c:pt>
                <c:pt idx="1112">
                  <c:v>251.25656108925634</c:v>
                </c:pt>
                <c:pt idx="1113">
                  <c:v>253.61901360497856</c:v>
                </c:pt>
                <c:pt idx="1114">
                  <c:v>251.55268268050969</c:v>
                </c:pt>
                <c:pt idx="1115">
                  <c:v>253.37769793973524</c:v>
                </c:pt>
                <c:pt idx="1116">
                  <c:v>251.54909016535609</c:v>
                </c:pt>
                <c:pt idx="1117">
                  <c:v>250.57432690739478</c:v>
                </c:pt>
                <c:pt idx="1118">
                  <c:v>258.54883750707893</c:v>
                </c:pt>
                <c:pt idx="1119">
                  <c:v>257.8896210113449</c:v>
                </c:pt>
                <c:pt idx="1120">
                  <c:v>258.25470534635411</c:v>
                </c:pt>
                <c:pt idx="1121">
                  <c:v>254.62539199978769</c:v>
                </c:pt>
                <c:pt idx="1122">
                  <c:v>251.32143709615096</c:v>
                </c:pt>
                <c:pt idx="1123">
                  <c:v>250.68412440614765</c:v>
                </c:pt>
                <c:pt idx="1124">
                  <c:v>254.94546703705146</c:v>
                </c:pt>
                <c:pt idx="1125">
                  <c:v>255.47862689247486</c:v>
                </c:pt>
                <c:pt idx="1126">
                  <c:v>257.92171029998332</c:v>
                </c:pt>
                <c:pt idx="1127">
                  <c:v>264.88486265668797</c:v>
                </c:pt>
                <c:pt idx="1128">
                  <c:v>259.54485480720615</c:v>
                </c:pt>
                <c:pt idx="1129">
                  <c:v>259.7277594875876</c:v>
                </c:pt>
                <c:pt idx="1130">
                  <c:v>258.28857333139189</c:v>
                </c:pt>
                <c:pt idx="1131">
                  <c:v>281.98471297016101</c:v>
                </c:pt>
                <c:pt idx="1132">
                  <c:v>271.66122680406011</c:v>
                </c:pt>
                <c:pt idx="1133">
                  <c:v>267.19281531263522</c:v>
                </c:pt>
                <c:pt idx="1134">
                  <c:v>255.72936036629829</c:v>
                </c:pt>
                <c:pt idx="1135">
                  <c:v>257.71155318097476</c:v>
                </c:pt>
                <c:pt idx="1136">
                  <c:v>250.76489829609298</c:v>
                </c:pt>
                <c:pt idx="1137">
                  <c:v>237.62188230567915</c:v>
                </c:pt>
                <c:pt idx="1138">
                  <c:v>237.58683270427449</c:v>
                </c:pt>
                <c:pt idx="1139">
                  <c:v>232.09729142900181</c:v>
                </c:pt>
                <c:pt idx="1140">
                  <c:v>224.42762781701262</c:v>
                </c:pt>
                <c:pt idx="1141">
                  <c:v>216.62748214800115</c:v>
                </c:pt>
                <c:pt idx="1142">
                  <c:v>218.49605163598525</c:v>
                </c:pt>
                <c:pt idx="1143">
                  <c:v>223.02117820428043</c:v>
                </c:pt>
                <c:pt idx="1144">
                  <c:v>220.13202332894869</c:v>
                </c:pt>
                <c:pt idx="1145">
                  <c:v>216.11324571562517</c:v>
                </c:pt>
                <c:pt idx="1146">
                  <c:v>210.32385737074497</c:v>
                </c:pt>
                <c:pt idx="1147">
                  <c:v>211.65797249365534</c:v>
                </c:pt>
                <c:pt idx="1148">
                  <c:v>217.05503159111817</c:v>
                </c:pt>
                <c:pt idx="1149">
                  <c:v>211.1711390242844</c:v>
                </c:pt>
                <c:pt idx="1150">
                  <c:v>208.08803348796962</c:v>
                </c:pt>
                <c:pt idx="1151">
                  <c:v>209.25903537745879</c:v>
                </c:pt>
                <c:pt idx="1152">
                  <c:v>209.5444797728365</c:v>
                </c:pt>
                <c:pt idx="1153">
                  <c:v>207.4764554491158</c:v>
                </c:pt>
                <c:pt idx="1154">
                  <c:v>207.29615985795206</c:v>
                </c:pt>
                <c:pt idx="1155">
                  <c:v>210.76729967943345</c:v>
                </c:pt>
                <c:pt idx="1156">
                  <c:v>210.10937016713086</c:v>
                </c:pt>
                <c:pt idx="1157">
                  <c:v>209.27817455211456</c:v>
                </c:pt>
                <c:pt idx="1158">
                  <c:v>210.41656533512176</c:v>
                </c:pt>
                <c:pt idx="1159">
                  <c:v>208.19599208057193</c:v>
                </c:pt>
                <c:pt idx="1160">
                  <c:v>209.42599701747616</c:v>
                </c:pt>
                <c:pt idx="1161">
                  <c:v>207.69673282380157</c:v>
                </c:pt>
                <c:pt idx="1162">
                  <c:v>208.38757950882126</c:v>
                </c:pt>
                <c:pt idx="1163">
                  <c:v>214.06817385080157</c:v>
                </c:pt>
                <c:pt idx="1164">
                  <c:v>215.80897573804569</c:v>
                </c:pt>
                <c:pt idx="1165">
                  <c:v>220.99831370268308</c:v>
                </c:pt>
                <c:pt idx="1166">
                  <c:v>225.12362745323733</c:v>
                </c:pt>
                <c:pt idx="1167">
                  <c:v>212.50088392275509</c:v>
                </c:pt>
                <c:pt idx="1168">
                  <c:v>215.49613339714219</c:v>
                </c:pt>
                <c:pt idx="1169">
                  <c:v>216.82626715025592</c:v>
                </c:pt>
                <c:pt idx="1170">
                  <c:v>218.30993326013464</c:v>
                </c:pt>
                <c:pt idx="1171">
                  <c:v>219.14017053661132</c:v>
                </c:pt>
                <c:pt idx="1172">
                  <c:v>220.64505305756148</c:v>
                </c:pt>
                <c:pt idx="1173">
                  <c:v>221.57009309600804</c:v>
                </c:pt>
                <c:pt idx="1174">
                  <c:v>220.13585166562783</c:v>
                </c:pt>
                <c:pt idx="1175">
                  <c:v>226.05933716134058</c:v>
                </c:pt>
                <c:pt idx="1176">
                  <c:v>219.15532834147047</c:v>
                </c:pt>
                <c:pt idx="1177">
                  <c:v>217.5401842049354</c:v>
                </c:pt>
                <c:pt idx="1178">
                  <c:v>209.43549008824527</c:v>
                </c:pt>
                <c:pt idx="1179">
                  <c:v>208.57627937775365</c:v>
                </c:pt>
                <c:pt idx="1180">
                  <c:v>210.21475730160992</c:v>
                </c:pt>
                <c:pt idx="1181">
                  <c:v>214.99287771813735</c:v>
                </c:pt>
                <c:pt idx="1182">
                  <c:v>209.20899103927107</c:v>
                </c:pt>
                <c:pt idx="1183">
                  <c:v>215.45175128430486</c:v>
                </c:pt>
                <c:pt idx="1184">
                  <c:v>216.99831902298749</c:v>
                </c:pt>
                <c:pt idx="1185">
                  <c:v>218.09166036841518</c:v>
                </c:pt>
                <c:pt idx="1186">
                  <c:v>216.11863699709525</c:v>
                </c:pt>
                <c:pt idx="1187">
                  <c:v>213.10837271600806</c:v>
                </c:pt>
                <c:pt idx="1188">
                  <c:v>215.58568285832172</c:v>
                </c:pt>
                <c:pt idx="1189">
                  <c:v>218.38198175363831</c:v>
                </c:pt>
                <c:pt idx="1190">
                  <c:v>222.03422999792443</c:v>
                </c:pt>
                <c:pt idx="1191">
                  <c:v>221.68625777594804</c:v>
                </c:pt>
                <c:pt idx="1192">
                  <c:v>219.83786608082755</c:v>
                </c:pt>
                <c:pt idx="1193">
                  <c:v>220.45718609018707</c:v>
                </c:pt>
                <c:pt idx="1194">
                  <c:v>219.13473660656749</c:v>
                </c:pt>
                <c:pt idx="1195">
                  <c:v>216.41482632431868</c:v>
                </c:pt>
                <c:pt idx="1196">
                  <c:v>219.31970848840609</c:v>
                </c:pt>
                <c:pt idx="1197">
                  <c:v>216.96897178676736</c:v>
                </c:pt>
                <c:pt idx="1198">
                  <c:v>216.33076347671525</c:v>
                </c:pt>
                <c:pt idx="1199">
                  <c:v>208.63753778209832</c:v>
                </c:pt>
                <c:pt idx="1200">
                  <c:v>209.12663915209697</c:v>
                </c:pt>
                <c:pt idx="1201">
                  <c:v>208.72440790935042</c:v>
                </c:pt>
                <c:pt idx="1202">
                  <c:v>209.6570970949362</c:v>
                </c:pt>
                <c:pt idx="1203">
                  <c:v>207.17388137952781</c:v>
                </c:pt>
                <c:pt idx="1204">
                  <c:v>204.67983543512622</c:v>
                </c:pt>
                <c:pt idx="1205">
                  <c:v>200.1801098556094</c:v>
                </c:pt>
                <c:pt idx="1206">
                  <c:v>201.30263536918113</c:v>
                </c:pt>
                <c:pt idx="1207">
                  <c:v>201.13211131888568</c:v>
                </c:pt>
                <c:pt idx="1208">
                  <c:v>201.30742455313941</c:v>
                </c:pt>
                <c:pt idx="1209">
                  <c:v>203.80849998599109</c:v>
                </c:pt>
                <c:pt idx="1210">
                  <c:v>205.20883830897867</c:v>
                </c:pt>
                <c:pt idx="1211">
                  <c:v>203.09904848785732</c:v>
                </c:pt>
                <c:pt idx="1212">
                  <c:v>207.25132617198088</c:v>
                </c:pt>
                <c:pt idx="1213">
                  <c:v>205.57885984358447</c:v>
                </c:pt>
                <c:pt idx="1214">
                  <c:v>206.81635838577077</c:v>
                </c:pt>
                <c:pt idx="1215">
                  <c:v>209.1066219185698</c:v>
                </c:pt>
                <c:pt idx="1216">
                  <c:v>209.25700831583575</c:v>
                </c:pt>
                <c:pt idx="1217">
                  <c:v>210.64142115963674</c:v>
                </c:pt>
                <c:pt idx="1218">
                  <c:v>212.87507498263</c:v>
                </c:pt>
                <c:pt idx="1219">
                  <c:v>215.1585573922026</c:v>
                </c:pt>
                <c:pt idx="1220">
                  <c:v>218.70224243763491</c:v>
                </c:pt>
                <c:pt idx="1221">
                  <c:v>222.40690577906136</c:v>
                </c:pt>
                <c:pt idx="1222">
                  <c:v>215.72245934308177</c:v>
                </c:pt>
                <c:pt idx="1223">
                  <c:v>218.09557149350209</c:v>
                </c:pt>
                <c:pt idx="1224">
                  <c:v>222.942391236124</c:v>
                </c:pt>
                <c:pt idx="1225">
                  <c:v>221.9637444492117</c:v>
                </c:pt>
                <c:pt idx="1226">
                  <c:v>212.53305349106174</c:v>
                </c:pt>
                <c:pt idx="1227">
                  <c:v>204.8422913787638</c:v>
                </c:pt>
                <c:pt idx="1228">
                  <c:v>206.0315669277355</c:v>
                </c:pt>
                <c:pt idx="1229">
                  <c:v>206.23810895293374</c:v>
                </c:pt>
                <c:pt idx="1230">
                  <c:v>206.79336578703959</c:v>
                </c:pt>
                <c:pt idx="1231">
                  <c:v>204.71611431895076</c:v>
                </c:pt>
                <c:pt idx="1232">
                  <c:v>202.68277833812766</c:v>
                </c:pt>
                <c:pt idx="1233">
                  <c:v>203.15348562914139</c:v>
                </c:pt>
                <c:pt idx="1234">
                  <c:v>200.40970719802965</c:v>
                </c:pt>
                <c:pt idx="1235">
                  <c:v>214.17256250690693</c:v>
                </c:pt>
                <c:pt idx="1236">
                  <c:v>216.5556318449284</c:v>
                </c:pt>
                <c:pt idx="1237">
                  <c:v>216.57937455680968</c:v>
                </c:pt>
                <c:pt idx="1238">
                  <c:v>214.12008218253615</c:v>
                </c:pt>
                <c:pt idx="1239">
                  <c:v>214.70180371102444</c:v>
                </c:pt>
                <c:pt idx="1240">
                  <c:v>214.49626769041882</c:v>
                </c:pt>
                <c:pt idx="1241">
                  <c:v>215.79477627172614</c:v>
                </c:pt>
                <c:pt idx="1242">
                  <c:v>214.45877959409145</c:v>
                </c:pt>
                <c:pt idx="1243">
                  <c:v>211.1471404209606</c:v>
                </c:pt>
                <c:pt idx="1244">
                  <c:v>213.99381982557563</c:v>
                </c:pt>
                <c:pt idx="1245">
                  <c:v>212.7865967532735</c:v>
                </c:pt>
                <c:pt idx="1246">
                  <c:v>211.96565435713495</c:v>
                </c:pt>
                <c:pt idx="1247">
                  <c:v>207.46953383646991</c:v>
                </c:pt>
                <c:pt idx="1248">
                  <c:v>206.15709171524409</c:v>
                </c:pt>
                <c:pt idx="1249">
                  <c:v>202.00346683793788</c:v>
                </c:pt>
                <c:pt idx="1250">
                  <c:v>200.45629700174348</c:v>
                </c:pt>
                <c:pt idx="1251">
                  <c:v>197.05466933799741</c:v>
                </c:pt>
                <c:pt idx="1252">
                  <c:v>198.39986556386424</c:v>
                </c:pt>
                <c:pt idx="1253">
                  <c:v>198.8064143475182</c:v>
                </c:pt>
                <c:pt idx="1254">
                  <c:v>205.14198541525371</c:v>
                </c:pt>
                <c:pt idx="1255">
                  <c:v>209.41481556493443</c:v>
                </c:pt>
                <c:pt idx="1256">
                  <c:v>200.82473803038087</c:v>
                </c:pt>
                <c:pt idx="1257">
                  <c:v>203.01461936426753</c:v>
                </c:pt>
                <c:pt idx="1258">
                  <c:v>211.4610740636042</c:v>
                </c:pt>
                <c:pt idx="1259">
                  <c:v>191.26136234181138</c:v>
                </c:pt>
                <c:pt idx="1260">
                  <c:v>183.15762907240043</c:v>
                </c:pt>
                <c:pt idx="1261">
                  <c:v>175.32700472559461</c:v>
                </c:pt>
                <c:pt idx="1262">
                  <c:v>176.45684321519485</c:v>
                </c:pt>
                <c:pt idx="1263">
                  <c:v>176.45257334034045</c:v>
                </c:pt>
                <c:pt idx="1264">
                  <c:v>179.43325707242167</c:v>
                </c:pt>
                <c:pt idx="1265">
                  <c:v>172.68922305269263</c:v>
                </c:pt>
                <c:pt idx="1266">
                  <c:v>171.45938871008343</c:v>
                </c:pt>
                <c:pt idx="1267">
                  <c:v>171.99867239894957</c:v>
                </c:pt>
                <c:pt idx="1268">
                  <c:v>172.43405663593867</c:v>
                </c:pt>
                <c:pt idx="1269">
                  <c:v>177.22242023638532</c:v>
                </c:pt>
                <c:pt idx="1270">
                  <c:v>185.73707251388993</c:v>
                </c:pt>
                <c:pt idx="1271">
                  <c:v>187.03171763616328</c:v>
                </c:pt>
                <c:pt idx="1272">
                  <c:v>185.97060606879344</c:v>
                </c:pt>
                <c:pt idx="1273">
                  <c:v>186.5883204847882</c:v>
                </c:pt>
                <c:pt idx="1274">
                  <c:v>184.14280610857594</c:v>
                </c:pt>
                <c:pt idx="1275">
                  <c:v>174.00332345081551</c:v>
                </c:pt>
                <c:pt idx="1276">
                  <c:v>170.97947434461869</c:v>
                </c:pt>
                <c:pt idx="1277">
                  <c:v>169.78947376989319</c:v>
                </c:pt>
                <c:pt idx="1278">
                  <c:v>171.95158586478854</c:v>
                </c:pt>
                <c:pt idx="1279">
                  <c:v>172.62363958122168</c:v>
                </c:pt>
                <c:pt idx="1280">
                  <c:v>174.20120279806295</c:v>
                </c:pt>
                <c:pt idx="1281">
                  <c:v>175.73945908234333</c:v>
                </c:pt>
                <c:pt idx="1282">
                  <c:v>174.62091242982865</c:v>
                </c:pt>
                <c:pt idx="1283">
                  <c:v>172.64342601070265</c:v>
                </c:pt>
                <c:pt idx="1284">
                  <c:v>171.96715510294737</c:v>
                </c:pt>
                <c:pt idx="1285">
                  <c:v>175.26143128908217</c:v>
                </c:pt>
                <c:pt idx="1286">
                  <c:v>175.61029913110735</c:v>
                </c:pt>
                <c:pt idx="1287">
                  <c:v>176.08139778550373</c:v>
                </c:pt>
                <c:pt idx="1288">
                  <c:v>175.92232864036995</c:v>
                </c:pt>
                <c:pt idx="1289">
                  <c:v>175.62841724873277</c:v>
                </c:pt>
                <c:pt idx="1290">
                  <c:v>174.01867693736597</c:v>
                </c:pt>
                <c:pt idx="1291">
                  <c:v>175.11966492119325</c:v>
                </c:pt>
                <c:pt idx="1292">
                  <c:v>173.86051846471875</c:v>
                </c:pt>
                <c:pt idx="1293">
                  <c:v>174.28199174044605</c:v>
                </c:pt>
                <c:pt idx="1294">
                  <c:v>177.51254343117753</c:v>
                </c:pt>
                <c:pt idx="1295">
                  <c:v>169.88033028442126</c:v>
                </c:pt>
                <c:pt idx="1296">
                  <c:v>169.93231387834481</c:v>
                </c:pt>
                <c:pt idx="1297">
                  <c:v>167.12101272002627</c:v>
                </c:pt>
                <c:pt idx="1298">
                  <c:v>167.72392306345006</c:v>
                </c:pt>
                <c:pt idx="1299">
                  <c:v>172.4844346364975</c:v>
                </c:pt>
                <c:pt idx="1300">
                  <c:v>171.20055953346613</c:v>
                </c:pt>
                <c:pt idx="1301">
                  <c:v>168.02070947070604</c:v>
                </c:pt>
                <c:pt idx="1302">
                  <c:v>167.1060305269414</c:v>
                </c:pt>
                <c:pt idx="1303">
                  <c:v>166.55653626777126</c:v>
                </c:pt>
                <c:pt idx="1304">
                  <c:v>167.25033824807795</c:v>
                </c:pt>
                <c:pt idx="1305">
                  <c:v>168.13580291882295</c:v>
                </c:pt>
                <c:pt idx="1306">
                  <c:v>167.64500062335347</c:v>
                </c:pt>
                <c:pt idx="1307">
                  <c:v>168.73396170938292</c:v>
                </c:pt>
                <c:pt idx="1308">
                  <c:v>172.19084687227289</c:v>
                </c:pt>
                <c:pt idx="1309">
                  <c:v>167.45796655753702</c:v>
                </c:pt>
                <c:pt idx="1310">
                  <c:v>166.22034508710877</c:v>
                </c:pt>
                <c:pt idx="1311">
                  <c:v>166.72758966212916</c:v>
                </c:pt>
                <c:pt idx="1312">
                  <c:v>164.17163931292757</c:v>
                </c:pt>
                <c:pt idx="1313">
                  <c:v>165.92127321804767</c:v>
                </c:pt>
                <c:pt idx="1314">
                  <c:v>163.045086017876</c:v>
                </c:pt>
                <c:pt idx="1315">
                  <c:v>160.89860713400014</c:v>
                </c:pt>
                <c:pt idx="1316">
                  <c:v>162.71407162144499</c:v>
                </c:pt>
                <c:pt idx="1317">
                  <c:v>165.81618964106411</c:v>
                </c:pt>
                <c:pt idx="1318">
                  <c:v>163.71677596706246</c:v>
                </c:pt>
                <c:pt idx="1319">
                  <c:v>164.68858267536694</c:v>
                </c:pt>
                <c:pt idx="1320">
                  <c:v>154.19637624276626</c:v>
                </c:pt>
                <c:pt idx="1321">
                  <c:v>155.31285443945401</c:v>
                </c:pt>
                <c:pt idx="1322">
                  <c:v>150.97036411639965</c:v>
                </c:pt>
                <c:pt idx="1323">
                  <c:v>147.50757087167534</c:v>
                </c:pt>
                <c:pt idx="1324">
                  <c:v>144.42978260901151</c:v>
                </c:pt>
                <c:pt idx="1325">
                  <c:v>141.2938668490643</c:v>
                </c:pt>
                <c:pt idx="1326">
                  <c:v>138.91302276309679</c:v>
                </c:pt>
                <c:pt idx="1327">
                  <c:v>138.74294777719555</c:v>
                </c:pt>
                <c:pt idx="1328">
                  <c:v>138.51727786666987</c:v>
                </c:pt>
                <c:pt idx="1329">
                  <c:v>138.48507443037821</c:v>
                </c:pt>
                <c:pt idx="1330">
                  <c:v>139.61881401010689</c:v>
                </c:pt>
                <c:pt idx="1331">
                  <c:v>139.99665528614696</c:v>
                </c:pt>
                <c:pt idx="1332">
                  <c:v>139.92842258562416</c:v>
                </c:pt>
                <c:pt idx="1333">
                  <c:v>143.47379224971968</c:v>
                </c:pt>
                <c:pt idx="1334">
                  <c:v>141.82634934478693</c:v>
                </c:pt>
                <c:pt idx="1335">
                  <c:v>140.47582706468046</c:v>
                </c:pt>
                <c:pt idx="1336">
                  <c:v>141.53907231510772</c:v>
                </c:pt>
                <c:pt idx="1337">
                  <c:v>142.72125816587823</c:v>
                </c:pt>
                <c:pt idx="1338">
                  <c:v>142.45636411119949</c:v>
                </c:pt>
                <c:pt idx="1339">
                  <c:v>142.85177659962511</c:v>
                </c:pt>
                <c:pt idx="1340">
                  <c:v>144.40991589986231</c:v>
                </c:pt>
                <c:pt idx="1341">
                  <c:v>143.60685830856335</c:v>
                </c:pt>
                <c:pt idx="1342">
                  <c:v>144.76836963602301</c:v>
                </c:pt>
                <c:pt idx="1343">
                  <c:v>143.68624486549191</c:v>
                </c:pt>
                <c:pt idx="1344">
                  <c:v>147.02792995883058</c:v>
                </c:pt>
                <c:pt idx="1345">
                  <c:v>146.32615018649273</c:v>
                </c:pt>
                <c:pt idx="1346">
                  <c:v>140.69608813255866</c:v>
                </c:pt>
                <c:pt idx="1347">
                  <c:v>139.86718048808712</c:v>
                </c:pt>
                <c:pt idx="1348">
                  <c:v>139.18753783426587</c:v>
                </c:pt>
                <c:pt idx="1349">
                  <c:v>138.38888057228218</c:v>
                </c:pt>
                <c:pt idx="1350">
                  <c:v>138.10451242620672</c:v>
                </c:pt>
                <c:pt idx="1351">
                  <c:v>136.98403028106566</c:v>
                </c:pt>
                <c:pt idx="1352">
                  <c:v>136.86309272397497</c:v>
                </c:pt>
                <c:pt idx="1353">
                  <c:v>135.04648048814829</c:v>
                </c:pt>
                <c:pt idx="1354">
                  <c:v>134.10038961544603</c:v>
                </c:pt>
                <c:pt idx="1355">
                  <c:v>133.19419021163904</c:v>
                </c:pt>
                <c:pt idx="1356">
                  <c:v>136.22878550405133</c:v>
                </c:pt>
                <c:pt idx="1357">
                  <c:v>134.16576486152749</c:v>
                </c:pt>
                <c:pt idx="1358">
                  <c:v>136.29769430990507</c:v>
                </c:pt>
                <c:pt idx="1359">
                  <c:v>137.93483256679761</c:v>
                </c:pt>
                <c:pt idx="1360">
                  <c:v>137.5612298063665</c:v>
                </c:pt>
                <c:pt idx="1361">
                  <c:v>136.3705004427778</c:v>
                </c:pt>
                <c:pt idx="1362">
                  <c:v>135.71965059371789</c:v>
                </c:pt>
                <c:pt idx="1363">
                  <c:v>133.11685580372978</c:v>
                </c:pt>
                <c:pt idx="1364">
                  <c:v>132.77730416632963</c:v>
                </c:pt>
                <c:pt idx="1365">
                  <c:v>134.64565539396571</c:v>
                </c:pt>
                <c:pt idx="1366">
                  <c:v>135.83757013703075</c:v>
                </c:pt>
                <c:pt idx="1367">
                  <c:v>133.06481325442485</c:v>
                </c:pt>
                <c:pt idx="1368">
                  <c:v>131.94453933467327</c:v>
                </c:pt>
                <c:pt idx="1369">
                  <c:v>136.57136142707839</c:v>
                </c:pt>
                <c:pt idx="1370">
                  <c:v>135.62837135656179</c:v>
                </c:pt>
                <c:pt idx="1371">
                  <c:v>136.93301255190059</c:v>
                </c:pt>
                <c:pt idx="1372">
                  <c:v>134.17147475293092</c:v>
                </c:pt>
                <c:pt idx="1373">
                  <c:v>130.46026109232423</c:v>
                </c:pt>
                <c:pt idx="1374">
                  <c:v>131.04884276933743</c:v>
                </c:pt>
                <c:pt idx="1375">
                  <c:v>130.5415053709506</c:v>
                </c:pt>
                <c:pt idx="1376">
                  <c:v>129.92120068128537</c:v>
                </c:pt>
                <c:pt idx="1377">
                  <c:v>132.08440909540008</c:v>
                </c:pt>
                <c:pt idx="1378">
                  <c:v>134.06245370909429</c:v>
                </c:pt>
                <c:pt idx="1379">
                  <c:v>132.26097795383984</c:v>
                </c:pt>
                <c:pt idx="1380">
                  <c:v>132.34401723567325</c:v>
                </c:pt>
                <c:pt idx="1381">
                  <c:v>135.27534904170531</c:v>
                </c:pt>
                <c:pt idx="1382">
                  <c:v>134.78162531893392</c:v>
                </c:pt>
                <c:pt idx="1383">
                  <c:v>133.54790744737369</c:v>
                </c:pt>
                <c:pt idx="1384">
                  <c:v>127.74678949034207</c:v>
                </c:pt>
                <c:pt idx="1385">
                  <c:v>123.3865510887581</c:v>
                </c:pt>
                <c:pt idx="1386">
                  <c:v>126.44059663954063</c:v>
                </c:pt>
                <c:pt idx="1387">
                  <c:v>127.45379880614998</c:v>
                </c:pt>
                <c:pt idx="1388">
                  <c:v>128.28792212031732</c:v>
                </c:pt>
                <c:pt idx="1389">
                  <c:v>136.05722158117825</c:v>
                </c:pt>
                <c:pt idx="1390">
                  <c:v>132.44597868618422</c:v>
                </c:pt>
                <c:pt idx="1391">
                  <c:v>129.01331164133592</c:v>
                </c:pt>
                <c:pt idx="1392">
                  <c:v>120.38592789407834</c:v>
                </c:pt>
                <c:pt idx="1393">
                  <c:v>117.53087557094007</c:v>
                </c:pt>
                <c:pt idx="1394">
                  <c:v>136.32745674253439</c:v>
                </c:pt>
                <c:pt idx="1395">
                  <c:v>133.02894956700948</c:v>
                </c:pt>
                <c:pt idx="1396">
                  <c:v>140.23316546062438</c:v>
                </c:pt>
                <c:pt idx="1397">
                  <c:v>145.27946010889991</c:v>
                </c:pt>
                <c:pt idx="1398">
                  <c:v>139.66949807690082</c:v>
                </c:pt>
                <c:pt idx="1399">
                  <c:v>148.53284007591668</c:v>
                </c:pt>
                <c:pt idx="1400">
                  <c:v>150.14614530630118</c:v>
                </c:pt>
                <c:pt idx="1401">
                  <c:v>153.96451099971833</c:v>
                </c:pt>
                <c:pt idx="1402">
                  <c:v>153.06739825085995</c:v>
                </c:pt>
                <c:pt idx="1403">
                  <c:v>158.66127173559627</c:v>
                </c:pt>
                <c:pt idx="1404">
                  <c:v>161.72641218740321</c:v>
                </c:pt>
                <c:pt idx="1405">
                  <c:v>163.87407143327613</c:v>
                </c:pt>
                <c:pt idx="1406">
                  <c:v>166.11858182702872</c:v>
                </c:pt>
                <c:pt idx="1407">
                  <c:v>161.74928060352261</c:v>
                </c:pt>
                <c:pt idx="1408">
                  <c:v>158.96565335208942</c:v>
                </c:pt>
                <c:pt idx="1409">
                  <c:v>159.94252771445139</c:v>
                </c:pt>
                <c:pt idx="1410">
                  <c:v>160.40592830128563</c:v>
                </c:pt>
                <c:pt idx="1411">
                  <c:v>159.03477289207228</c:v>
                </c:pt>
                <c:pt idx="1412">
                  <c:v>157.62748661467265</c:v>
                </c:pt>
                <c:pt idx="1413">
                  <c:v>158.61369599720689</c:v>
                </c:pt>
                <c:pt idx="1414">
                  <c:v>159.81859095913012</c:v>
                </c:pt>
                <c:pt idx="1415">
                  <c:v>159.21354567827913</c:v>
                </c:pt>
                <c:pt idx="1416">
                  <c:v>158.61192733576604</c:v>
                </c:pt>
                <c:pt idx="1417">
                  <c:v>158.26654915056957</c:v>
                </c:pt>
                <c:pt idx="1418">
                  <c:v>158.70476951771312</c:v>
                </c:pt>
                <c:pt idx="1419">
                  <c:v>160.47484463335829</c:v>
                </c:pt>
                <c:pt idx="1420">
                  <c:v>155.59058195172238</c:v>
                </c:pt>
                <c:pt idx="1421">
                  <c:v>151.52838683595022</c:v>
                </c:pt>
                <c:pt idx="1422">
                  <c:v>153.15657390983426</c:v>
                </c:pt>
                <c:pt idx="1423">
                  <c:v>150.84361004647121</c:v>
                </c:pt>
                <c:pt idx="1424">
                  <c:v>157.26992222671166</c:v>
                </c:pt>
                <c:pt idx="1425">
                  <c:v>158.40256172411151</c:v>
                </c:pt>
                <c:pt idx="1426">
                  <c:v>159.54891273797239</c:v>
                </c:pt>
                <c:pt idx="1427">
                  <c:v>158.68095530675231</c:v>
                </c:pt>
                <c:pt idx="1428">
                  <c:v>159.31341107682724</c:v>
                </c:pt>
                <c:pt idx="1429">
                  <c:v>157.04168336680237</c:v>
                </c:pt>
                <c:pt idx="1430">
                  <c:v>160.38323047946122</c:v>
                </c:pt>
                <c:pt idx="1431">
                  <c:v>159.84158857534061</c:v>
                </c:pt>
                <c:pt idx="1432">
                  <c:v>158.19465118144379</c:v>
                </c:pt>
                <c:pt idx="1433">
                  <c:v>155.69463067360755</c:v>
                </c:pt>
                <c:pt idx="1434">
                  <c:v>152.68919446194298</c:v>
                </c:pt>
                <c:pt idx="1435">
                  <c:v>149.93377297019717</c:v>
                </c:pt>
                <c:pt idx="1436">
                  <c:v>150.75180021088283</c:v>
                </c:pt>
                <c:pt idx="1437">
                  <c:v>153.38606086771068</c:v>
                </c:pt>
                <c:pt idx="1438">
                  <c:v>153.75012790879893</c:v>
                </c:pt>
                <c:pt idx="1439">
                  <c:v>152.96303468215092</c:v>
                </c:pt>
                <c:pt idx="1440">
                  <c:v>151.16201050003033</c:v>
                </c:pt>
                <c:pt idx="1441">
                  <c:v>151.19995769571045</c:v>
                </c:pt>
                <c:pt idx="1442">
                  <c:v>152.17835611739915</c:v>
                </c:pt>
                <c:pt idx="1443">
                  <c:v>150.76515799505572</c:v>
                </c:pt>
                <c:pt idx="1444">
                  <c:v>150.0595110005745</c:v>
                </c:pt>
                <c:pt idx="1445">
                  <c:v>142.72842061752877</c:v>
                </c:pt>
                <c:pt idx="1446">
                  <c:v>139.56875461948138</c:v>
                </c:pt>
                <c:pt idx="1447">
                  <c:v>136.4301871217427</c:v>
                </c:pt>
                <c:pt idx="1448">
                  <c:v>139.00484890549276</c:v>
                </c:pt>
                <c:pt idx="1449">
                  <c:v>139.01070179505524</c:v>
                </c:pt>
                <c:pt idx="1450">
                  <c:v>139.8275536912231</c:v>
                </c:pt>
                <c:pt idx="1451">
                  <c:v>138.64225951204801</c:v>
                </c:pt>
                <c:pt idx="1452">
                  <c:v>137.94903203311716</c:v>
                </c:pt>
                <c:pt idx="1453">
                  <c:v>137.61452045363856</c:v>
                </c:pt>
                <c:pt idx="1454">
                  <c:v>136.09420291209989</c:v>
                </c:pt>
                <c:pt idx="1455">
                  <c:v>134.61590174192511</c:v>
                </c:pt>
                <c:pt idx="1456">
                  <c:v>133.17832870531299</c:v>
                </c:pt>
                <c:pt idx="1457">
                  <c:v>133.12693090209362</c:v>
                </c:pt>
                <c:pt idx="1458">
                  <c:v>134.40129537317844</c:v>
                </c:pt>
                <c:pt idx="1459">
                  <c:v>133.58937816786755</c:v>
                </c:pt>
                <c:pt idx="1460">
                  <c:v>131.9052035516066</c:v>
                </c:pt>
                <c:pt idx="1461">
                  <c:v>131.254051399421</c:v>
                </c:pt>
                <c:pt idx="1462">
                  <c:v>132.05170265681207</c:v>
                </c:pt>
                <c:pt idx="1463">
                  <c:v>134.27209653647816</c:v>
                </c:pt>
                <c:pt idx="1464">
                  <c:v>135.97324403072233</c:v>
                </c:pt>
                <c:pt idx="1465">
                  <c:v>135.33367974689892</c:v>
                </c:pt>
                <c:pt idx="1466">
                  <c:v>142.52432837658162</c:v>
                </c:pt>
                <c:pt idx="1467">
                  <c:v>145.28638799339487</c:v>
                </c:pt>
                <c:pt idx="1468">
                  <c:v>145.38964646229579</c:v>
                </c:pt>
                <c:pt idx="1469">
                  <c:v>146.01078405351902</c:v>
                </c:pt>
                <c:pt idx="1470">
                  <c:v>144.12120136237371</c:v>
                </c:pt>
                <c:pt idx="1471">
                  <c:v>141.20729902493792</c:v>
                </c:pt>
                <c:pt idx="1472">
                  <c:v>140.66031601413985</c:v>
                </c:pt>
                <c:pt idx="1473">
                  <c:v>142.4302631840637</c:v>
                </c:pt>
                <c:pt idx="1474">
                  <c:v>143.31137644591624</c:v>
                </c:pt>
                <c:pt idx="1475">
                  <c:v>143.25170732812876</c:v>
                </c:pt>
                <c:pt idx="1476">
                  <c:v>140.92083859000903</c:v>
                </c:pt>
                <c:pt idx="1477">
                  <c:v>142.04857851890674</c:v>
                </c:pt>
                <c:pt idx="1478">
                  <c:v>143.02111276170461</c:v>
                </c:pt>
                <c:pt idx="1479">
                  <c:v>143.66344669408224</c:v>
                </c:pt>
                <c:pt idx="1480">
                  <c:v>144.85394525362477</c:v>
                </c:pt>
                <c:pt idx="1481">
                  <c:v>142.78706491517644</c:v>
                </c:pt>
                <c:pt idx="1482">
                  <c:v>142.28760119612605</c:v>
                </c:pt>
                <c:pt idx="1483">
                  <c:v>142.49005523009322</c:v>
                </c:pt>
                <c:pt idx="1484">
                  <c:v>137.94615952623803</c:v>
                </c:pt>
                <c:pt idx="1485">
                  <c:v>136.58279751669281</c:v>
                </c:pt>
                <c:pt idx="1486">
                  <c:v>133.58606663155274</c:v>
                </c:pt>
                <c:pt idx="1487">
                  <c:v>137.02619090495844</c:v>
                </c:pt>
                <c:pt idx="1488">
                  <c:v>138.12182147530069</c:v>
                </c:pt>
                <c:pt idx="1489">
                  <c:v>137.27465146067493</c:v>
                </c:pt>
                <c:pt idx="1490">
                  <c:v>136.54291733712591</c:v>
                </c:pt>
                <c:pt idx="1491">
                  <c:v>137.07162041659225</c:v>
                </c:pt>
                <c:pt idx="1492">
                  <c:v>141.31791939029023</c:v>
                </c:pt>
                <c:pt idx="1493">
                  <c:v>142.75167537955159</c:v>
                </c:pt>
                <c:pt idx="1494">
                  <c:v>145.55222031669607</c:v>
                </c:pt>
                <c:pt idx="1495">
                  <c:v>144.9997130612274</c:v>
                </c:pt>
                <c:pt idx="1496">
                  <c:v>138.39749056670067</c:v>
                </c:pt>
                <c:pt idx="1497">
                  <c:v>135.05182159482573</c:v>
                </c:pt>
                <c:pt idx="1498">
                  <c:v>132.97544943997812</c:v>
                </c:pt>
                <c:pt idx="1499">
                  <c:v>133.44876582020956</c:v>
                </c:pt>
                <c:pt idx="1500">
                  <c:v>130.74397696609523</c:v>
                </c:pt>
                <c:pt idx="1501">
                  <c:v>126.12991181472103</c:v>
                </c:pt>
                <c:pt idx="1502">
                  <c:v>125.42677105113262</c:v>
                </c:pt>
                <c:pt idx="1503">
                  <c:v>125.66414548641337</c:v>
                </c:pt>
                <c:pt idx="1504">
                  <c:v>126.70316509258006</c:v>
                </c:pt>
                <c:pt idx="1505">
                  <c:v>126.35687748926685</c:v>
                </c:pt>
                <c:pt idx="1506">
                  <c:v>126.03138733750646</c:v>
                </c:pt>
                <c:pt idx="1507">
                  <c:v>122.60889197749783</c:v>
                </c:pt>
                <c:pt idx="1508">
                  <c:v>123.16638911609542</c:v>
                </c:pt>
                <c:pt idx="1509">
                  <c:v>122.75639332418649</c:v>
                </c:pt>
                <c:pt idx="1510">
                  <c:v>125.18049435326616</c:v>
                </c:pt>
                <c:pt idx="1511">
                  <c:v>122.94466796175118</c:v>
                </c:pt>
                <c:pt idx="1512">
                  <c:v>126.89161910502847</c:v>
                </c:pt>
                <c:pt idx="1513">
                  <c:v>127.09513559022999</c:v>
                </c:pt>
                <c:pt idx="1514">
                  <c:v>127.1706398725774</c:v>
                </c:pt>
                <c:pt idx="1515">
                  <c:v>126.80114768203403</c:v>
                </c:pt>
                <c:pt idx="1516">
                  <c:v>128.00286783395239</c:v>
                </c:pt>
                <c:pt idx="1517">
                  <c:v>128.97177193050217</c:v>
                </c:pt>
                <c:pt idx="1518">
                  <c:v>122.59883820342088</c:v>
                </c:pt>
                <c:pt idx="1519">
                  <c:v>117.13939427751846</c:v>
                </c:pt>
                <c:pt idx="1520">
                  <c:v>116.52158829252711</c:v>
                </c:pt>
                <c:pt idx="1521">
                  <c:v>116.59136512229365</c:v>
                </c:pt>
                <c:pt idx="1522">
                  <c:v>119.45691150331439</c:v>
                </c:pt>
                <c:pt idx="1523">
                  <c:v>122.02827053133835</c:v>
                </c:pt>
                <c:pt idx="1524">
                  <c:v>120.44184142863608</c:v>
                </c:pt>
                <c:pt idx="1525">
                  <c:v>122.37319588903117</c:v>
                </c:pt>
                <c:pt idx="1526">
                  <c:v>121.43182771868695</c:v>
                </c:pt>
                <c:pt idx="1527">
                  <c:v>116.39030971067156</c:v>
                </c:pt>
                <c:pt idx="1528">
                  <c:v>115.33664157379113</c:v>
                </c:pt>
                <c:pt idx="1529">
                  <c:v>116.63477258978376</c:v>
                </c:pt>
                <c:pt idx="1530">
                  <c:v>112.59288195822666</c:v>
                </c:pt>
                <c:pt idx="1531">
                  <c:v>114.24063970998327</c:v>
                </c:pt>
                <c:pt idx="1532">
                  <c:v>108.70196476900946</c:v>
                </c:pt>
                <c:pt idx="1533">
                  <c:v>107.84900834642148</c:v>
                </c:pt>
                <c:pt idx="1534">
                  <c:v>107.87645646673991</c:v>
                </c:pt>
                <c:pt idx="1535">
                  <c:v>107.15919275339073</c:v>
                </c:pt>
                <c:pt idx="1536">
                  <c:v>104.99093550076577</c:v>
                </c:pt>
                <c:pt idx="1537">
                  <c:v>106.31558765778264</c:v>
                </c:pt>
                <c:pt idx="1538">
                  <c:v>107.77539314501733</c:v>
                </c:pt>
                <c:pt idx="1539">
                  <c:v>107.29508490743032</c:v>
                </c:pt>
                <c:pt idx="1540">
                  <c:v>106.64334194706127</c:v>
                </c:pt>
                <c:pt idx="1541">
                  <c:v>105.48769354412264</c:v>
                </c:pt>
                <c:pt idx="1542">
                  <c:v>102.62358968839055</c:v>
                </c:pt>
                <c:pt idx="1543">
                  <c:v>101.63638182748259</c:v>
                </c:pt>
                <c:pt idx="1544">
                  <c:v>103.07363123668213</c:v>
                </c:pt>
                <c:pt idx="1545">
                  <c:v>102.77500216016615</c:v>
                </c:pt>
                <c:pt idx="1546">
                  <c:v>102.44116292290904</c:v>
                </c:pt>
                <c:pt idx="1547">
                  <c:v>102.96751782207947</c:v>
                </c:pt>
                <c:pt idx="1548">
                  <c:v>100.4677343901385</c:v>
                </c:pt>
                <c:pt idx="1549">
                  <c:v>101.57785669496748</c:v>
                </c:pt>
                <c:pt idx="1550">
                  <c:v>100.6463240383522</c:v>
                </c:pt>
                <c:pt idx="1551">
                  <c:v>101.11756443653782</c:v>
                </c:pt>
                <c:pt idx="1552">
                  <c:v>99.654473754754449</c:v>
                </c:pt>
                <c:pt idx="1553">
                  <c:v>102.35182419585861</c:v>
                </c:pt>
                <c:pt idx="1554">
                  <c:v>102.70462825036708</c:v>
                </c:pt>
                <c:pt idx="1555">
                  <c:v>104.56576434282029</c:v>
                </c:pt>
                <c:pt idx="1556">
                  <c:v>101.9765180012171</c:v>
                </c:pt>
                <c:pt idx="1557">
                  <c:v>102.44572632030042</c:v>
                </c:pt>
                <c:pt idx="1558">
                  <c:v>101.47346553012248</c:v>
                </c:pt>
                <c:pt idx="1559">
                  <c:v>100.81737994144972</c:v>
                </c:pt>
                <c:pt idx="1560">
                  <c:v>103.46436994317253</c:v>
                </c:pt>
                <c:pt idx="1561">
                  <c:v>102.69107980198216</c:v>
                </c:pt>
                <c:pt idx="1562">
                  <c:v>101.46108615440627</c:v>
                </c:pt>
                <c:pt idx="1563">
                  <c:v>100.89045450946311</c:v>
                </c:pt>
                <c:pt idx="1564">
                  <c:v>103.21595078165998</c:v>
                </c:pt>
                <c:pt idx="1565">
                  <c:v>101.89164106760295</c:v>
                </c:pt>
                <c:pt idx="1566">
                  <c:v>101.4496237230257</c:v>
                </c:pt>
                <c:pt idx="1567">
                  <c:v>101.0276386644134</c:v>
                </c:pt>
                <c:pt idx="1568">
                  <c:v>101.69894226769647</c:v>
                </c:pt>
                <c:pt idx="1569">
                  <c:v>100.14725670016371</c:v>
                </c:pt>
                <c:pt idx="1570">
                  <c:v>100.42726340238816</c:v>
                </c:pt>
                <c:pt idx="1571">
                  <c:v>99.597471427196211</c:v>
                </c:pt>
                <c:pt idx="1572">
                  <c:v>98.148898821665725</c:v>
                </c:pt>
                <c:pt idx="1573">
                  <c:v>98.677831450808483</c:v>
                </c:pt>
                <c:pt idx="1574">
                  <c:v>99.720353257502026</c:v>
                </c:pt>
                <c:pt idx="1575">
                  <c:v>100.72157493799672</c:v>
                </c:pt>
                <c:pt idx="1576">
                  <c:v>102.8188147891069</c:v>
                </c:pt>
                <c:pt idx="1577">
                  <c:v>104.56215552085904</c:v>
                </c:pt>
                <c:pt idx="1578">
                  <c:v>105.26532764369286</c:v>
                </c:pt>
                <c:pt idx="1579">
                  <c:v>105.27171614916682</c:v>
                </c:pt>
                <c:pt idx="1580">
                  <c:v>103.54140330232589</c:v>
                </c:pt>
                <c:pt idx="1581">
                  <c:v>101.13945193546093</c:v>
                </c:pt>
                <c:pt idx="1582">
                  <c:v>101.39201302610661</c:v>
                </c:pt>
                <c:pt idx="1583">
                  <c:v>100.15129200786247</c:v>
                </c:pt>
                <c:pt idx="1584">
                  <c:v>100.71324341367743</c:v>
                </c:pt>
                <c:pt idx="1585">
                  <c:v>101.03059521407022</c:v>
                </c:pt>
                <c:pt idx="1586">
                  <c:v>100.08147002078253</c:v>
                </c:pt>
                <c:pt idx="1587">
                  <c:v>98.774163289584294</c:v>
                </c:pt>
                <c:pt idx="1588">
                  <c:v>98.85634709120302</c:v>
                </c:pt>
                <c:pt idx="1589">
                  <c:v>97.353045076221278</c:v>
                </c:pt>
                <c:pt idx="1590">
                  <c:v>98.525633743527919</c:v>
                </c:pt>
                <c:pt idx="1591">
                  <c:v>98.773311572479074</c:v>
                </c:pt>
                <c:pt idx="1592">
                  <c:v>100.31362753199767</c:v>
                </c:pt>
                <c:pt idx="1593">
                  <c:v>97.998344338844419</c:v>
                </c:pt>
                <c:pt idx="1594">
                  <c:v>97.879024918816668</c:v>
                </c:pt>
                <c:pt idx="1595">
                  <c:v>98.505097200896856</c:v>
                </c:pt>
                <c:pt idx="1596">
                  <c:v>100.37467143910375</c:v>
                </c:pt>
                <c:pt idx="1597">
                  <c:v>98.121030487458896</c:v>
                </c:pt>
                <c:pt idx="1598">
                  <c:v>97.169805479098869</c:v>
                </c:pt>
                <c:pt idx="1599">
                  <c:v>95.727495942060742</c:v>
                </c:pt>
                <c:pt idx="1600">
                  <c:v>96.989379433474227</c:v>
                </c:pt>
                <c:pt idx="1601">
                  <c:v>99.482827043473492</c:v>
                </c:pt>
                <c:pt idx="1602">
                  <c:v>99.341286462151501</c:v>
                </c:pt>
                <c:pt idx="1603">
                  <c:v>97.011418711145126</c:v>
                </c:pt>
                <c:pt idx="1604">
                  <c:v>95.52605293016542</c:v>
                </c:pt>
                <c:pt idx="1605">
                  <c:v>94.598601992932117</c:v>
                </c:pt>
                <c:pt idx="1606">
                  <c:v>93.150871069548302</c:v>
                </c:pt>
                <c:pt idx="1607">
                  <c:v>92.868723158047572</c:v>
                </c:pt>
                <c:pt idx="1608">
                  <c:v>94.005889676114137</c:v>
                </c:pt>
                <c:pt idx="1609">
                  <c:v>93.846919626195842</c:v>
                </c:pt>
                <c:pt idx="1610">
                  <c:v>95.219124942945385</c:v>
                </c:pt>
                <c:pt idx="1611">
                  <c:v>96.047444287973093</c:v>
                </c:pt>
                <c:pt idx="1612">
                  <c:v>96.994543674007588</c:v>
                </c:pt>
                <c:pt idx="1613">
                  <c:v>98.203196727900206</c:v>
                </c:pt>
                <c:pt idx="1614">
                  <c:v>99.535057748250836</c:v>
                </c:pt>
                <c:pt idx="1615">
                  <c:v>98.345006998732686</c:v>
                </c:pt>
                <c:pt idx="1616">
                  <c:v>98.122542003087432</c:v>
                </c:pt>
                <c:pt idx="1617">
                  <c:v>99.655292858244437</c:v>
                </c:pt>
                <c:pt idx="1618">
                  <c:v>100.20871705804878</c:v>
                </c:pt>
                <c:pt idx="1619">
                  <c:v>99.251530029952278</c:v>
                </c:pt>
                <c:pt idx="1620">
                  <c:v>99.095417434475323</c:v>
                </c:pt>
                <c:pt idx="1621">
                  <c:v>100.65392050195921</c:v>
                </c:pt>
                <c:pt idx="1622">
                  <c:v>100.79975855427155</c:v>
                </c:pt>
                <c:pt idx="1623">
                  <c:v>100.56027050585045</c:v>
                </c:pt>
                <c:pt idx="1624">
                  <c:v>98.482215737809582</c:v>
                </c:pt>
                <c:pt idx="1625">
                  <c:v>97.656544223359674</c:v>
                </c:pt>
                <c:pt idx="1626">
                  <c:v>97.481854539805198</c:v>
                </c:pt>
                <c:pt idx="1627">
                  <c:v>97.153559848812336</c:v>
                </c:pt>
                <c:pt idx="1628">
                  <c:v>98.479331195067658</c:v>
                </c:pt>
                <c:pt idx="1629">
                  <c:v>98.680956294970471</c:v>
                </c:pt>
                <c:pt idx="1630">
                  <c:v>97.880178828159217</c:v>
                </c:pt>
                <c:pt idx="1631">
                  <c:v>99.45644741633015</c:v>
                </c:pt>
                <c:pt idx="1632">
                  <c:v>99.833079943264863</c:v>
                </c:pt>
                <c:pt idx="1633">
                  <c:v>100</c:v>
                </c:pt>
              </c:numCache>
            </c:numRef>
          </c:val>
          <c:smooth val="0"/>
          <c:extLst>
            <c:ext xmlns:c16="http://schemas.microsoft.com/office/drawing/2014/chart" uri="{C3380CC4-5D6E-409C-BE32-E72D297353CC}">
              <c16:uniqueId val="{00000003-A988-4359-AE19-57C4916E4C7F}"/>
            </c:ext>
          </c:extLst>
        </c:ser>
        <c:ser>
          <c:idx val="4"/>
          <c:order val="4"/>
          <c:tx>
            <c:strRef>
              <c:f>Sheet1!$F$1</c:f>
              <c:strCache>
                <c:ptCount val="1"/>
                <c:pt idx="0">
                  <c:v>Med Tech</c:v>
                </c:pt>
              </c:strCache>
            </c:strRef>
          </c:tx>
          <c:spPr>
            <a:ln w="25400" cap="rnd">
              <a:solidFill>
                <a:schemeClr val="accent3">
                  <a:lumMod val="50000"/>
                </a:schemeClr>
              </a:solidFill>
              <a:round/>
            </a:ln>
            <a:effectLst/>
          </c:spPr>
          <c:marker>
            <c:symbol val="none"/>
          </c:marker>
          <c:cat>
            <c:numRef>
              <c:f>Sheet1!$A$2:$A$1635</c:f>
              <c:numCache>
                <c:formatCode>m/d/yyyy</c:formatCode>
                <c:ptCount val="1634"/>
                <c:pt idx="0">
                  <c:v>45961</c:v>
                </c:pt>
                <c:pt idx="1">
                  <c:v>45960</c:v>
                </c:pt>
                <c:pt idx="2">
                  <c:v>45959</c:v>
                </c:pt>
                <c:pt idx="3">
                  <c:v>45958</c:v>
                </c:pt>
                <c:pt idx="4">
                  <c:v>45957</c:v>
                </c:pt>
                <c:pt idx="5">
                  <c:v>45954</c:v>
                </c:pt>
                <c:pt idx="6">
                  <c:v>45953</c:v>
                </c:pt>
                <c:pt idx="7">
                  <c:v>45951</c:v>
                </c:pt>
                <c:pt idx="8">
                  <c:v>45950</c:v>
                </c:pt>
                <c:pt idx="9">
                  <c:v>45947</c:v>
                </c:pt>
                <c:pt idx="10">
                  <c:v>45946</c:v>
                </c:pt>
                <c:pt idx="11">
                  <c:v>45945</c:v>
                </c:pt>
                <c:pt idx="12">
                  <c:v>45944</c:v>
                </c:pt>
                <c:pt idx="13">
                  <c:v>45943</c:v>
                </c:pt>
                <c:pt idx="14">
                  <c:v>45940</c:v>
                </c:pt>
                <c:pt idx="15">
                  <c:v>45939</c:v>
                </c:pt>
                <c:pt idx="16">
                  <c:v>45938</c:v>
                </c:pt>
                <c:pt idx="17">
                  <c:v>45937</c:v>
                </c:pt>
                <c:pt idx="18">
                  <c:v>45936</c:v>
                </c:pt>
                <c:pt idx="19">
                  <c:v>45933</c:v>
                </c:pt>
                <c:pt idx="20">
                  <c:v>45931</c:v>
                </c:pt>
                <c:pt idx="21">
                  <c:v>45930</c:v>
                </c:pt>
                <c:pt idx="22">
                  <c:v>45929</c:v>
                </c:pt>
                <c:pt idx="23">
                  <c:v>45926</c:v>
                </c:pt>
                <c:pt idx="24">
                  <c:v>45925</c:v>
                </c:pt>
                <c:pt idx="25">
                  <c:v>45924</c:v>
                </c:pt>
                <c:pt idx="26">
                  <c:v>45923</c:v>
                </c:pt>
                <c:pt idx="27">
                  <c:v>45922</c:v>
                </c:pt>
                <c:pt idx="28">
                  <c:v>45919</c:v>
                </c:pt>
                <c:pt idx="29">
                  <c:v>45918</c:v>
                </c:pt>
                <c:pt idx="30">
                  <c:v>45917</c:v>
                </c:pt>
                <c:pt idx="31">
                  <c:v>45916</c:v>
                </c:pt>
                <c:pt idx="32">
                  <c:v>45915</c:v>
                </c:pt>
                <c:pt idx="33">
                  <c:v>45912</c:v>
                </c:pt>
                <c:pt idx="34">
                  <c:v>45911</c:v>
                </c:pt>
                <c:pt idx="35">
                  <c:v>45910</c:v>
                </c:pt>
                <c:pt idx="36">
                  <c:v>45909</c:v>
                </c:pt>
                <c:pt idx="37">
                  <c:v>45908</c:v>
                </c:pt>
                <c:pt idx="38">
                  <c:v>45905</c:v>
                </c:pt>
                <c:pt idx="39">
                  <c:v>45904</c:v>
                </c:pt>
                <c:pt idx="40">
                  <c:v>45903</c:v>
                </c:pt>
                <c:pt idx="41">
                  <c:v>45902</c:v>
                </c:pt>
                <c:pt idx="42">
                  <c:v>45901</c:v>
                </c:pt>
                <c:pt idx="43">
                  <c:v>45898</c:v>
                </c:pt>
                <c:pt idx="44">
                  <c:v>45897</c:v>
                </c:pt>
                <c:pt idx="45">
                  <c:v>45895</c:v>
                </c:pt>
                <c:pt idx="46">
                  <c:v>45894</c:v>
                </c:pt>
                <c:pt idx="47">
                  <c:v>45891</c:v>
                </c:pt>
                <c:pt idx="48">
                  <c:v>45890</c:v>
                </c:pt>
                <c:pt idx="49">
                  <c:v>45889</c:v>
                </c:pt>
                <c:pt idx="50">
                  <c:v>45888</c:v>
                </c:pt>
                <c:pt idx="51">
                  <c:v>45887</c:v>
                </c:pt>
                <c:pt idx="52">
                  <c:v>45883</c:v>
                </c:pt>
                <c:pt idx="53">
                  <c:v>45882</c:v>
                </c:pt>
                <c:pt idx="54">
                  <c:v>45881</c:v>
                </c:pt>
                <c:pt idx="55">
                  <c:v>45880</c:v>
                </c:pt>
                <c:pt idx="56">
                  <c:v>45877</c:v>
                </c:pt>
                <c:pt idx="57">
                  <c:v>45876</c:v>
                </c:pt>
                <c:pt idx="58">
                  <c:v>45875</c:v>
                </c:pt>
                <c:pt idx="59">
                  <c:v>45874</c:v>
                </c:pt>
                <c:pt idx="60">
                  <c:v>45873</c:v>
                </c:pt>
                <c:pt idx="61">
                  <c:v>45870</c:v>
                </c:pt>
                <c:pt idx="62">
                  <c:v>45869</c:v>
                </c:pt>
                <c:pt idx="63">
                  <c:v>45868</c:v>
                </c:pt>
                <c:pt idx="64">
                  <c:v>45867</c:v>
                </c:pt>
                <c:pt idx="65">
                  <c:v>45866</c:v>
                </c:pt>
                <c:pt idx="66">
                  <c:v>45863</c:v>
                </c:pt>
                <c:pt idx="67">
                  <c:v>45862</c:v>
                </c:pt>
                <c:pt idx="68">
                  <c:v>45861</c:v>
                </c:pt>
                <c:pt idx="69">
                  <c:v>45860</c:v>
                </c:pt>
                <c:pt idx="70">
                  <c:v>45859</c:v>
                </c:pt>
                <c:pt idx="71">
                  <c:v>45856</c:v>
                </c:pt>
                <c:pt idx="72">
                  <c:v>45855</c:v>
                </c:pt>
                <c:pt idx="73">
                  <c:v>45854</c:v>
                </c:pt>
                <c:pt idx="74">
                  <c:v>45853</c:v>
                </c:pt>
                <c:pt idx="75">
                  <c:v>45852</c:v>
                </c:pt>
                <c:pt idx="76">
                  <c:v>45849</c:v>
                </c:pt>
                <c:pt idx="77">
                  <c:v>45848</c:v>
                </c:pt>
                <c:pt idx="78">
                  <c:v>45847</c:v>
                </c:pt>
                <c:pt idx="79">
                  <c:v>45846</c:v>
                </c:pt>
                <c:pt idx="80">
                  <c:v>45845</c:v>
                </c:pt>
                <c:pt idx="81">
                  <c:v>45842</c:v>
                </c:pt>
                <c:pt idx="82">
                  <c:v>45841</c:v>
                </c:pt>
                <c:pt idx="83">
                  <c:v>45840</c:v>
                </c:pt>
                <c:pt idx="84">
                  <c:v>45839</c:v>
                </c:pt>
                <c:pt idx="85">
                  <c:v>45838</c:v>
                </c:pt>
                <c:pt idx="86">
                  <c:v>45835</c:v>
                </c:pt>
                <c:pt idx="87">
                  <c:v>45834</c:v>
                </c:pt>
                <c:pt idx="88">
                  <c:v>45833</c:v>
                </c:pt>
                <c:pt idx="89">
                  <c:v>45832</c:v>
                </c:pt>
                <c:pt idx="90">
                  <c:v>45831</c:v>
                </c:pt>
                <c:pt idx="91">
                  <c:v>45828</c:v>
                </c:pt>
                <c:pt idx="92">
                  <c:v>45827</c:v>
                </c:pt>
                <c:pt idx="93">
                  <c:v>45826</c:v>
                </c:pt>
                <c:pt idx="94">
                  <c:v>45825</c:v>
                </c:pt>
                <c:pt idx="95">
                  <c:v>45824</c:v>
                </c:pt>
                <c:pt idx="96">
                  <c:v>45821</c:v>
                </c:pt>
                <c:pt idx="97">
                  <c:v>45820</c:v>
                </c:pt>
                <c:pt idx="98">
                  <c:v>45819</c:v>
                </c:pt>
                <c:pt idx="99">
                  <c:v>45818</c:v>
                </c:pt>
                <c:pt idx="100">
                  <c:v>45817</c:v>
                </c:pt>
                <c:pt idx="101">
                  <c:v>45814</c:v>
                </c:pt>
                <c:pt idx="102">
                  <c:v>45813</c:v>
                </c:pt>
                <c:pt idx="103">
                  <c:v>45812</c:v>
                </c:pt>
                <c:pt idx="104">
                  <c:v>45811</c:v>
                </c:pt>
                <c:pt idx="105">
                  <c:v>45810</c:v>
                </c:pt>
                <c:pt idx="106">
                  <c:v>45807</c:v>
                </c:pt>
                <c:pt idx="107">
                  <c:v>45806</c:v>
                </c:pt>
                <c:pt idx="108">
                  <c:v>45805</c:v>
                </c:pt>
                <c:pt idx="109">
                  <c:v>45804</c:v>
                </c:pt>
                <c:pt idx="110">
                  <c:v>45803</c:v>
                </c:pt>
                <c:pt idx="111">
                  <c:v>45800</c:v>
                </c:pt>
                <c:pt idx="112">
                  <c:v>45799</c:v>
                </c:pt>
                <c:pt idx="113">
                  <c:v>45798</c:v>
                </c:pt>
                <c:pt idx="114">
                  <c:v>45797</c:v>
                </c:pt>
                <c:pt idx="115">
                  <c:v>45796</c:v>
                </c:pt>
                <c:pt idx="116">
                  <c:v>45793</c:v>
                </c:pt>
                <c:pt idx="117">
                  <c:v>45792</c:v>
                </c:pt>
                <c:pt idx="118">
                  <c:v>45791</c:v>
                </c:pt>
                <c:pt idx="119">
                  <c:v>45790</c:v>
                </c:pt>
                <c:pt idx="120">
                  <c:v>45789</c:v>
                </c:pt>
                <c:pt idx="121">
                  <c:v>45786</c:v>
                </c:pt>
                <c:pt idx="122">
                  <c:v>45785</c:v>
                </c:pt>
                <c:pt idx="123">
                  <c:v>45784</c:v>
                </c:pt>
                <c:pt idx="124">
                  <c:v>45783</c:v>
                </c:pt>
                <c:pt idx="125">
                  <c:v>45782</c:v>
                </c:pt>
                <c:pt idx="126">
                  <c:v>45779</c:v>
                </c:pt>
                <c:pt idx="127">
                  <c:v>45777</c:v>
                </c:pt>
                <c:pt idx="128">
                  <c:v>45776</c:v>
                </c:pt>
                <c:pt idx="129">
                  <c:v>45775</c:v>
                </c:pt>
                <c:pt idx="130">
                  <c:v>45772</c:v>
                </c:pt>
                <c:pt idx="131">
                  <c:v>45771</c:v>
                </c:pt>
                <c:pt idx="132">
                  <c:v>45770</c:v>
                </c:pt>
                <c:pt idx="133">
                  <c:v>45769</c:v>
                </c:pt>
                <c:pt idx="134">
                  <c:v>45768</c:v>
                </c:pt>
                <c:pt idx="135">
                  <c:v>45764</c:v>
                </c:pt>
                <c:pt idx="136">
                  <c:v>45763</c:v>
                </c:pt>
                <c:pt idx="137">
                  <c:v>45762</c:v>
                </c:pt>
                <c:pt idx="138">
                  <c:v>45758</c:v>
                </c:pt>
                <c:pt idx="139">
                  <c:v>45756</c:v>
                </c:pt>
                <c:pt idx="140">
                  <c:v>45755</c:v>
                </c:pt>
                <c:pt idx="141">
                  <c:v>45754</c:v>
                </c:pt>
                <c:pt idx="142">
                  <c:v>45751</c:v>
                </c:pt>
                <c:pt idx="143">
                  <c:v>45750</c:v>
                </c:pt>
                <c:pt idx="144">
                  <c:v>45749</c:v>
                </c:pt>
                <c:pt idx="145">
                  <c:v>45748</c:v>
                </c:pt>
                <c:pt idx="146">
                  <c:v>45744</c:v>
                </c:pt>
                <c:pt idx="147">
                  <c:v>45743</c:v>
                </c:pt>
                <c:pt idx="148">
                  <c:v>45742</c:v>
                </c:pt>
                <c:pt idx="149">
                  <c:v>45741</c:v>
                </c:pt>
                <c:pt idx="150">
                  <c:v>45740</c:v>
                </c:pt>
                <c:pt idx="151">
                  <c:v>45737</c:v>
                </c:pt>
                <c:pt idx="152">
                  <c:v>45736</c:v>
                </c:pt>
                <c:pt idx="153">
                  <c:v>45735</c:v>
                </c:pt>
                <c:pt idx="154">
                  <c:v>45734</c:v>
                </c:pt>
                <c:pt idx="155">
                  <c:v>45733</c:v>
                </c:pt>
                <c:pt idx="156">
                  <c:v>45729</c:v>
                </c:pt>
                <c:pt idx="157">
                  <c:v>45728</c:v>
                </c:pt>
                <c:pt idx="158">
                  <c:v>45727</c:v>
                </c:pt>
                <c:pt idx="159">
                  <c:v>45726</c:v>
                </c:pt>
                <c:pt idx="160">
                  <c:v>45723</c:v>
                </c:pt>
                <c:pt idx="161">
                  <c:v>45722</c:v>
                </c:pt>
                <c:pt idx="162">
                  <c:v>45721</c:v>
                </c:pt>
                <c:pt idx="163">
                  <c:v>45720</c:v>
                </c:pt>
                <c:pt idx="164">
                  <c:v>45719</c:v>
                </c:pt>
                <c:pt idx="165">
                  <c:v>45716</c:v>
                </c:pt>
                <c:pt idx="166">
                  <c:v>45715</c:v>
                </c:pt>
                <c:pt idx="167">
                  <c:v>45713</c:v>
                </c:pt>
                <c:pt idx="168">
                  <c:v>45712</c:v>
                </c:pt>
                <c:pt idx="169">
                  <c:v>45709</c:v>
                </c:pt>
                <c:pt idx="170">
                  <c:v>45708</c:v>
                </c:pt>
                <c:pt idx="171">
                  <c:v>45707</c:v>
                </c:pt>
                <c:pt idx="172">
                  <c:v>45706</c:v>
                </c:pt>
                <c:pt idx="173">
                  <c:v>45705</c:v>
                </c:pt>
                <c:pt idx="174">
                  <c:v>45702</c:v>
                </c:pt>
                <c:pt idx="175">
                  <c:v>45701</c:v>
                </c:pt>
                <c:pt idx="176">
                  <c:v>45700</c:v>
                </c:pt>
                <c:pt idx="177">
                  <c:v>45699</c:v>
                </c:pt>
                <c:pt idx="178">
                  <c:v>45698</c:v>
                </c:pt>
                <c:pt idx="179">
                  <c:v>45695</c:v>
                </c:pt>
                <c:pt idx="180">
                  <c:v>45694</c:v>
                </c:pt>
                <c:pt idx="181">
                  <c:v>45693</c:v>
                </c:pt>
                <c:pt idx="182">
                  <c:v>45692</c:v>
                </c:pt>
                <c:pt idx="183">
                  <c:v>45691</c:v>
                </c:pt>
                <c:pt idx="184">
                  <c:v>45689</c:v>
                </c:pt>
                <c:pt idx="185">
                  <c:v>45688</c:v>
                </c:pt>
                <c:pt idx="186">
                  <c:v>45687</c:v>
                </c:pt>
                <c:pt idx="187">
                  <c:v>45686</c:v>
                </c:pt>
                <c:pt idx="188">
                  <c:v>45685</c:v>
                </c:pt>
                <c:pt idx="189">
                  <c:v>45684</c:v>
                </c:pt>
                <c:pt idx="190">
                  <c:v>45681</c:v>
                </c:pt>
                <c:pt idx="191">
                  <c:v>45680</c:v>
                </c:pt>
                <c:pt idx="192">
                  <c:v>45679</c:v>
                </c:pt>
                <c:pt idx="193">
                  <c:v>45678</c:v>
                </c:pt>
                <c:pt idx="194">
                  <c:v>45677</c:v>
                </c:pt>
                <c:pt idx="195">
                  <c:v>45674</c:v>
                </c:pt>
                <c:pt idx="196">
                  <c:v>45673</c:v>
                </c:pt>
                <c:pt idx="197">
                  <c:v>45672</c:v>
                </c:pt>
                <c:pt idx="198">
                  <c:v>45671</c:v>
                </c:pt>
                <c:pt idx="199">
                  <c:v>45670</c:v>
                </c:pt>
                <c:pt idx="200">
                  <c:v>45667</c:v>
                </c:pt>
                <c:pt idx="201">
                  <c:v>45666</c:v>
                </c:pt>
                <c:pt idx="202">
                  <c:v>45665</c:v>
                </c:pt>
                <c:pt idx="203">
                  <c:v>45664</c:v>
                </c:pt>
                <c:pt idx="204">
                  <c:v>45663</c:v>
                </c:pt>
                <c:pt idx="205">
                  <c:v>45660</c:v>
                </c:pt>
                <c:pt idx="206">
                  <c:v>45659</c:v>
                </c:pt>
                <c:pt idx="207">
                  <c:v>45658</c:v>
                </c:pt>
                <c:pt idx="208">
                  <c:v>45657</c:v>
                </c:pt>
                <c:pt idx="209">
                  <c:v>45656</c:v>
                </c:pt>
                <c:pt idx="210">
                  <c:v>45653</c:v>
                </c:pt>
                <c:pt idx="211">
                  <c:v>45652</c:v>
                </c:pt>
                <c:pt idx="212">
                  <c:v>45650</c:v>
                </c:pt>
                <c:pt idx="213">
                  <c:v>45649</c:v>
                </c:pt>
                <c:pt idx="214">
                  <c:v>45646</c:v>
                </c:pt>
                <c:pt idx="215">
                  <c:v>45645</c:v>
                </c:pt>
                <c:pt idx="216">
                  <c:v>45644</c:v>
                </c:pt>
                <c:pt idx="217">
                  <c:v>45643</c:v>
                </c:pt>
                <c:pt idx="218">
                  <c:v>45642</c:v>
                </c:pt>
                <c:pt idx="219">
                  <c:v>45639</c:v>
                </c:pt>
                <c:pt idx="220">
                  <c:v>45638</c:v>
                </c:pt>
                <c:pt idx="221">
                  <c:v>45637</c:v>
                </c:pt>
                <c:pt idx="222">
                  <c:v>45636</c:v>
                </c:pt>
                <c:pt idx="223">
                  <c:v>45635</c:v>
                </c:pt>
                <c:pt idx="224">
                  <c:v>45632</c:v>
                </c:pt>
                <c:pt idx="225">
                  <c:v>45631</c:v>
                </c:pt>
                <c:pt idx="226">
                  <c:v>45630</c:v>
                </c:pt>
                <c:pt idx="227">
                  <c:v>45629</c:v>
                </c:pt>
                <c:pt idx="228">
                  <c:v>45628</c:v>
                </c:pt>
                <c:pt idx="229">
                  <c:v>45625</c:v>
                </c:pt>
                <c:pt idx="230">
                  <c:v>45624</c:v>
                </c:pt>
                <c:pt idx="231">
                  <c:v>45623</c:v>
                </c:pt>
                <c:pt idx="232">
                  <c:v>45622</c:v>
                </c:pt>
                <c:pt idx="233">
                  <c:v>45621</c:v>
                </c:pt>
                <c:pt idx="234">
                  <c:v>45618</c:v>
                </c:pt>
                <c:pt idx="235">
                  <c:v>45617</c:v>
                </c:pt>
                <c:pt idx="236">
                  <c:v>45615</c:v>
                </c:pt>
                <c:pt idx="237">
                  <c:v>45614</c:v>
                </c:pt>
                <c:pt idx="238">
                  <c:v>45610</c:v>
                </c:pt>
                <c:pt idx="239">
                  <c:v>45609</c:v>
                </c:pt>
                <c:pt idx="240">
                  <c:v>45608</c:v>
                </c:pt>
                <c:pt idx="241">
                  <c:v>45607</c:v>
                </c:pt>
                <c:pt idx="242">
                  <c:v>45604</c:v>
                </c:pt>
                <c:pt idx="243">
                  <c:v>45603</c:v>
                </c:pt>
                <c:pt idx="244">
                  <c:v>45602</c:v>
                </c:pt>
                <c:pt idx="245">
                  <c:v>45601</c:v>
                </c:pt>
                <c:pt idx="246">
                  <c:v>45600</c:v>
                </c:pt>
                <c:pt idx="247">
                  <c:v>45597</c:v>
                </c:pt>
                <c:pt idx="248">
                  <c:v>45596</c:v>
                </c:pt>
                <c:pt idx="249">
                  <c:v>45595</c:v>
                </c:pt>
                <c:pt idx="250">
                  <c:v>45594</c:v>
                </c:pt>
                <c:pt idx="251">
                  <c:v>45593</c:v>
                </c:pt>
                <c:pt idx="252">
                  <c:v>45590</c:v>
                </c:pt>
                <c:pt idx="253">
                  <c:v>45589</c:v>
                </c:pt>
                <c:pt idx="254">
                  <c:v>45588</c:v>
                </c:pt>
                <c:pt idx="255">
                  <c:v>45587</c:v>
                </c:pt>
                <c:pt idx="256">
                  <c:v>45586</c:v>
                </c:pt>
                <c:pt idx="257">
                  <c:v>45583</c:v>
                </c:pt>
                <c:pt idx="258">
                  <c:v>45582</c:v>
                </c:pt>
                <c:pt idx="259">
                  <c:v>45581</c:v>
                </c:pt>
                <c:pt idx="260">
                  <c:v>45580</c:v>
                </c:pt>
                <c:pt idx="261">
                  <c:v>45579</c:v>
                </c:pt>
                <c:pt idx="262">
                  <c:v>45576</c:v>
                </c:pt>
                <c:pt idx="263">
                  <c:v>45575</c:v>
                </c:pt>
                <c:pt idx="264">
                  <c:v>45574</c:v>
                </c:pt>
                <c:pt idx="265">
                  <c:v>45573</c:v>
                </c:pt>
                <c:pt idx="266">
                  <c:v>45572</c:v>
                </c:pt>
                <c:pt idx="267">
                  <c:v>45569</c:v>
                </c:pt>
                <c:pt idx="268">
                  <c:v>45568</c:v>
                </c:pt>
                <c:pt idx="269">
                  <c:v>45566</c:v>
                </c:pt>
                <c:pt idx="270">
                  <c:v>45565</c:v>
                </c:pt>
                <c:pt idx="271">
                  <c:v>45562</c:v>
                </c:pt>
                <c:pt idx="272">
                  <c:v>45561</c:v>
                </c:pt>
                <c:pt idx="273">
                  <c:v>45560</c:v>
                </c:pt>
                <c:pt idx="274">
                  <c:v>45559</c:v>
                </c:pt>
                <c:pt idx="275">
                  <c:v>45558</c:v>
                </c:pt>
                <c:pt idx="276">
                  <c:v>45555</c:v>
                </c:pt>
                <c:pt idx="277">
                  <c:v>45554</c:v>
                </c:pt>
                <c:pt idx="278">
                  <c:v>45553</c:v>
                </c:pt>
                <c:pt idx="279">
                  <c:v>45552</c:v>
                </c:pt>
                <c:pt idx="280">
                  <c:v>45551</c:v>
                </c:pt>
                <c:pt idx="281">
                  <c:v>45548</c:v>
                </c:pt>
                <c:pt idx="282">
                  <c:v>45547</c:v>
                </c:pt>
                <c:pt idx="283">
                  <c:v>45546</c:v>
                </c:pt>
                <c:pt idx="284">
                  <c:v>45545</c:v>
                </c:pt>
                <c:pt idx="285">
                  <c:v>45544</c:v>
                </c:pt>
                <c:pt idx="286">
                  <c:v>45541</c:v>
                </c:pt>
                <c:pt idx="287">
                  <c:v>45540</c:v>
                </c:pt>
                <c:pt idx="288">
                  <c:v>45539</c:v>
                </c:pt>
                <c:pt idx="289">
                  <c:v>45538</c:v>
                </c:pt>
                <c:pt idx="290">
                  <c:v>45537</c:v>
                </c:pt>
                <c:pt idx="291">
                  <c:v>45534</c:v>
                </c:pt>
                <c:pt idx="292">
                  <c:v>45533</c:v>
                </c:pt>
                <c:pt idx="293">
                  <c:v>45532</c:v>
                </c:pt>
                <c:pt idx="294">
                  <c:v>45531</c:v>
                </c:pt>
                <c:pt idx="295">
                  <c:v>45530</c:v>
                </c:pt>
                <c:pt idx="296">
                  <c:v>45527</c:v>
                </c:pt>
                <c:pt idx="297">
                  <c:v>45526</c:v>
                </c:pt>
                <c:pt idx="298">
                  <c:v>45525</c:v>
                </c:pt>
                <c:pt idx="299">
                  <c:v>45524</c:v>
                </c:pt>
                <c:pt idx="300">
                  <c:v>45523</c:v>
                </c:pt>
                <c:pt idx="301">
                  <c:v>45520</c:v>
                </c:pt>
                <c:pt idx="302">
                  <c:v>45518</c:v>
                </c:pt>
                <c:pt idx="303">
                  <c:v>45517</c:v>
                </c:pt>
                <c:pt idx="304">
                  <c:v>45516</c:v>
                </c:pt>
                <c:pt idx="305">
                  <c:v>45513</c:v>
                </c:pt>
                <c:pt idx="306">
                  <c:v>45512</c:v>
                </c:pt>
                <c:pt idx="307">
                  <c:v>45511</c:v>
                </c:pt>
                <c:pt idx="308">
                  <c:v>45510</c:v>
                </c:pt>
                <c:pt idx="309">
                  <c:v>45509</c:v>
                </c:pt>
                <c:pt idx="310">
                  <c:v>45506</c:v>
                </c:pt>
                <c:pt idx="311">
                  <c:v>45505</c:v>
                </c:pt>
                <c:pt idx="312">
                  <c:v>45504</c:v>
                </c:pt>
                <c:pt idx="313">
                  <c:v>45503</c:v>
                </c:pt>
                <c:pt idx="314">
                  <c:v>45502</c:v>
                </c:pt>
                <c:pt idx="315">
                  <c:v>45499</c:v>
                </c:pt>
                <c:pt idx="316">
                  <c:v>45498</c:v>
                </c:pt>
                <c:pt idx="317">
                  <c:v>45497</c:v>
                </c:pt>
                <c:pt idx="318">
                  <c:v>45496</c:v>
                </c:pt>
                <c:pt idx="319">
                  <c:v>45495</c:v>
                </c:pt>
                <c:pt idx="320">
                  <c:v>45492</c:v>
                </c:pt>
                <c:pt idx="321">
                  <c:v>45491</c:v>
                </c:pt>
                <c:pt idx="322">
                  <c:v>45489</c:v>
                </c:pt>
                <c:pt idx="323">
                  <c:v>45488</c:v>
                </c:pt>
                <c:pt idx="324">
                  <c:v>45485</c:v>
                </c:pt>
                <c:pt idx="325">
                  <c:v>45484</c:v>
                </c:pt>
                <c:pt idx="326">
                  <c:v>45483</c:v>
                </c:pt>
                <c:pt idx="327">
                  <c:v>45482</c:v>
                </c:pt>
                <c:pt idx="328">
                  <c:v>45481</c:v>
                </c:pt>
                <c:pt idx="329">
                  <c:v>45478</c:v>
                </c:pt>
                <c:pt idx="330">
                  <c:v>45477</c:v>
                </c:pt>
                <c:pt idx="331">
                  <c:v>45476</c:v>
                </c:pt>
                <c:pt idx="332">
                  <c:v>45475</c:v>
                </c:pt>
                <c:pt idx="333">
                  <c:v>45474</c:v>
                </c:pt>
                <c:pt idx="334">
                  <c:v>45471</c:v>
                </c:pt>
                <c:pt idx="335">
                  <c:v>45470</c:v>
                </c:pt>
                <c:pt idx="336">
                  <c:v>45469</c:v>
                </c:pt>
                <c:pt idx="337">
                  <c:v>45468</c:v>
                </c:pt>
                <c:pt idx="338">
                  <c:v>45467</c:v>
                </c:pt>
                <c:pt idx="339">
                  <c:v>45464</c:v>
                </c:pt>
                <c:pt idx="340">
                  <c:v>45463</c:v>
                </c:pt>
                <c:pt idx="341">
                  <c:v>45462</c:v>
                </c:pt>
                <c:pt idx="342">
                  <c:v>45461</c:v>
                </c:pt>
                <c:pt idx="343">
                  <c:v>45457</c:v>
                </c:pt>
                <c:pt idx="344">
                  <c:v>45456</c:v>
                </c:pt>
                <c:pt idx="345">
                  <c:v>45455</c:v>
                </c:pt>
                <c:pt idx="346">
                  <c:v>45454</c:v>
                </c:pt>
                <c:pt idx="347">
                  <c:v>45453</c:v>
                </c:pt>
                <c:pt idx="348">
                  <c:v>45450</c:v>
                </c:pt>
                <c:pt idx="349">
                  <c:v>45449</c:v>
                </c:pt>
                <c:pt idx="350">
                  <c:v>45448</c:v>
                </c:pt>
                <c:pt idx="351">
                  <c:v>45447</c:v>
                </c:pt>
                <c:pt idx="352">
                  <c:v>45446</c:v>
                </c:pt>
                <c:pt idx="353">
                  <c:v>45443</c:v>
                </c:pt>
                <c:pt idx="354">
                  <c:v>45442</c:v>
                </c:pt>
                <c:pt idx="355">
                  <c:v>45441</c:v>
                </c:pt>
                <c:pt idx="356">
                  <c:v>45440</c:v>
                </c:pt>
                <c:pt idx="357">
                  <c:v>45439</c:v>
                </c:pt>
                <c:pt idx="358">
                  <c:v>45436</c:v>
                </c:pt>
                <c:pt idx="359">
                  <c:v>45435</c:v>
                </c:pt>
                <c:pt idx="360">
                  <c:v>45434</c:v>
                </c:pt>
                <c:pt idx="361">
                  <c:v>45433</c:v>
                </c:pt>
                <c:pt idx="362">
                  <c:v>45430</c:v>
                </c:pt>
                <c:pt idx="363">
                  <c:v>45429</c:v>
                </c:pt>
                <c:pt idx="364">
                  <c:v>45428</c:v>
                </c:pt>
                <c:pt idx="365">
                  <c:v>45427</c:v>
                </c:pt>
                <c:pt idx="366">
                  <c:v>45426</c:v>
                </c:pt>
                <c:pt idx="367">
                  <c:v>45425</c:v>
                </c:pt>
                <c:pt idx="368">
                  <c:v>45422</c:v>
                </c:pt>
                <c:pt idx="369">
                  <c:v>45421</c:v>
                </c:pt>
                <c:pt idx="370">
                  <c:v>45420</c:v>
                </c:pt>
                <c:pt idx="371">
                  <c:v>45419</c:v>
                </c:pt>
                <c:pt idx="372">
                  <c:v>45418</c:v>
                </c:pt>
                <c:pt idx="373">
                  <c:v>45415</c:v>
                </c:pt>
                <c:pt idx="374">
                  <c:v>45414</c:v>
                </c:pt>
                <c:pt idx="375">
                  <c:v>45412</c:v>
                </c:pt>
                <c:pt idx="376">
                  <c:v>45411</c:v>
                </c:pt>
                <c:pt idx="377">
                  <c:v>45408</c:v>
                </c:pt>
                <c:pt idx="378">
                  <c:v>45407</c:v>
                </c:pt>
                <c:pt idx="379">
                  <c:v>45406</c:v>
                </c:pt>
                <c:pt idx="380">
                  <c:v>45405</c:v>
                </c:pt>
                <c:pt idx="381">
                  <c:v>45404</c:v>
                </c:pt>
                <c:pt idx="382">
                  <c:v>45401</c:v>
                </c:pt>
                <c:pt idx="383">
                  <c:v>45400</c:v>
                </c:pt>
                <c:pt idx="384">
                  <c:v>45398</c:v>
                </c:pt>
                <c:pt idx="385">
                  <c:v>45397</c:v>
                </c:pt>
                <c:pt idx="386">
                  <c:v>45394</c:v>
                </c:pt>
                <c:pt idx="387">
                  <c:v>45392</c:v>
                </c:pt>
                <c:pt idx="388">
                  <c:v>45391</c:v>
                </c:pt>
                <c:pt idx="389">
                  <c:v>45390</c:v>
                </c:pt>
                <c:pt idx="390">
                  <c:v>45387</c:v>
                </c:pt>
                <c:pt idx="391">
                  <c:v>45386</c:v>
                </c:pt>
                <c:pt idx="392">
                  <c:v>45385</c:v>
                </c:pt>
                <c:pt idx="393">
                  <c:v>45384</c:v>
                </c:pt>
                <c:pt idx="394">
                  <c:v>45383</c:v>
                </c:pt>
                <c:pt idx="395">
                  <c:v>45379</c:v>
                </c:pt>
                <c:pt idx="396">
                  <c:v>45378</c:v>
                </c:pt>
                <c:pt idx="397">
                  <c:v>45377</c:v>
                </c:pt>
                <c:pt idx="398">
                  <c:v>45373</c:v>
                </c:pt>
                <c:pt idx="399">
                  <c:v>45372</c:v>
                </c:pt>
                <c:pt idx="400">
                  <c:v>45371</c:v>
                </c:pt>
                <c:pt idx="401">
                  <c:v>45370</c:v>
                </c:pt>
                <c:pt idx="402">
                  <c:v>45369</c:v>
                </c:pt>
                <c:pt idx="403">
                  <c:v>45366</c:v>
                </c:pt>
                <c:pt idx="404">
                  <c:v>45365</c:v>
                </c:pt>
                <c:pt idx="405">
                  <c:v>45364</c:v>
                </c:pt>
                <c:pt idx="406">
                  <c:v>45363</c:v>
                </c:pt>
                <c:pt idx="407">
                  <c:v>45362</c:v>
                </c:pt>
                <c:pt idx="408">
                  <c:v>45358</c:v>
                </c:pt>
                <c:pt idx="409">
                  <c:v>45357</c:v>
                </c:pt>
                <c:pt idx="410">
                  <c:v>45356</c:v>
                </c:pt>
                <c:pt idx="411">
                  <c:v>45355</c:v>
                </c:pt>
                <c:pt idx="412">
                  <c:v>45353</c:v>
                </c:pt>
                <c:pt idx="413">
                  <c:v>45352</c:v>
                </c:pt>
                <c:pt idx="414">
                  <c:v>45351</c:v>
                </c:pt>
                <c:pt idx="415">
                  <c:v>45350</c:v>
                </c:pt>
                <c:pt idx="416">
                  <c:v>45349</c:v>
                </c:pt>
                <c:pt idx="417">
                  <c:v>45348</c:v>
                </c:pt>
                <c:pt idx="418">
                  <c:v>45345</c:v>
                </c:pt>
                <c:pt idx="419">
                  <c:v>45344</c:v>
                </c:pt>
                <c:pt idx="420">
                  <c:v>45343</c:v>
                </c:pt>
                <c:pt idx="421">
                  <c:v>45342</c:v>
                </c:pt>
                <c:pt idx="422">
                  <c:v>45341</c:v>
                </c:pt>
                <c:pt idx="423">
                  <c:v>45338</c:v>
                </c:pt>
                <c:pt idx="424">
                  <c:v>45337</c:v>
                </c:pt>
                <c:pt idx="425">
                  <c:v>45336</c:v>
                </c:pt>
                <c:pt idx="426">
                  <c:v>45335</c:v>
                </c:pt>
                <c:pt idx="427">
                  <c:v>45334</c:v>
                </c:pt>
                <c:pt idx="428">
                  <c:v>45331</c:v>
                </c:pt>
                <c:pt idx="429">
                  <c:v>45330</c:v>
                </c:pt>
                <c:pt idx="430">
                  <c:v>45329</c:v>
                </c:pt>
                <c:pt idx="431">
                  <c:v>45328</c:v>
                </c:pt>
                <c:pt idx="432">
                  <c:v>45327</c:v>
                </c:pt>
                <c:pt idx="433">
                  <c:v>45324</c:v>
                </c:pt>
                <c:pt idx="434">
                  <c:v>45323</c:v>
                </c:pt>
                <c:pt idx="435">
                  <c:v>45322</c:v>
                </c:pt>
                <c:pt idx="436">
                  <c:v>45321</c:v>
                </c:pt>
                <c:pt idx="437">
                  <c:v>45320</c:v>
                </c:pt>
                <c:pt idx="438">
                  <c:v>45316</c:v>
                </c:pt>
                <c:pt idx="439">
                  <c:v>45315</c:v>
                </c:pt>
                <c:pt idx="440">
                  <c:v>45314</c:v>
                </c:pt>
                <c:pt idx="441">
                  <c:v>45311</c:v>
                </c:pt>
                <c:pt idx="442">
                  <c:v>45310</c:v>
                </c:pt>
                <c:pt idx="443">
                  <c:v>45309</c:v>
                </c:pt>
                <c:pt idx="444">
                  <c:v>45308</c:v>
                </c:pt>
                <c:pt idx="445">
                  <c:v>45307</c:v>
                </c:pt>
                <c:pt idx="446">
                  <c:v>45306</c:v>
                </c:pt>
                <c:pt idx="447">
                  <c:v>45303</c:v>
                </c:pt>
                <c:pt idx="448">
                  <c:v>45302</c:v>
                </c:pt>
                <c:pt idx="449">
                  <c:v>45301</c:v>
                </c:pt>
                <c:pt idx="450">
                  <c:v>45300</c:v>
                </c:pt>
                <c:pt idx="451">
                  <c:v>45299</c:v>
                </c:pt>
                <c:pt idx="452">
                  <c:v>45296</c:v>
                </c:pt>
                <c:pt idx="453">
                  <c:v>45295</c:v>
                </c:pt>
                <c:pt idx="454">
                  <c:v>45294</c:v>
                </c:pt>
                <c:pt idx="455">
                  <c:v>45293</c:v>
                </c:pt>
                <c:pt idx="456">
                  <c:v>45292</c:v>
                </c:pt>
                <c:pt idx="457">
                  <c:v>45289</c:v>
                </c:pt>
                <c:pt idx="458">
                  <c:v>45288</c:v>
                </c:pt>
                <c:pt idx="459">
                  <c:v>45287</c:v>
                </c:pt>
                <c:pt idx="460">
                  <c:v>45286</c:v>
                </c:pt>
                <c:pt idx="461">
                  <c:v>45282</c:v>
                </c:pt>
                <c:pt idx="462">
                  <c:v>45281</c:v>
                </c:pt>
                <c:pt idx="463">
                  <c:v>45280</c:v>
                </c:pt>
                <c:pt idx="464">
                  <c:v>45279</c:v>
                </c:pt>
                <c:pt idx="465">
                  <c:v>45278</c:v>
                </c:pt>
                <c:pt idx="466">
                  <c:v>45275</c:v>
                </c:pt>
                <c:pt idx="467">
                  <c:v>45274</c:v>
                </c:pt>
                <c:pt idx="468">
                  <c:v>45273</c:v>
                </c:pt>
                <c:pt idx="469">
                  <c:v>45272</c:v>
                </c:pt>
                <c:pt idx="470">
                  <c:v>45271</c:v>
                </c:pt>
                <c:pt idx="471">
                  <c:v>45268</c:v>
                </c:pt>
                <c:pt idx="472">
                  <c:v>45267</c:v>
                </c:pt>
                <c:pt idx="473">
                  <c:v>45266</c:v>
                </c:pt>
                <c:pt idx="474">
                  <c:v>45265</c:v>
                </c:pt>
                <c:pt idx="475">
                  <c:v>45264</c:v>
                </c:pt>
                <c:pt idx="476">
                  <c:v>45261</c:v>
                </c:pt>
                <c:pt idx="477">
                  <c:v>45260</c:v>
                </c:pt>
                <c:pt idx="478">
                  <c:v>45259</c:v>
                </c:pt>
                <c:pt idx="479">
                  <c:v>45258</c:v>
                </c:pt>
                <c:pt idx="480">
                  <c:v>45254</c:v>
                </c:pt>
                <c:pt idx="481">
                  <c:v>45253</c:v>
                </c:pt>
                <c:pt idx="482">
                  <c:v>45252</c:v>
                </c:pt>
                <c:pt idx="483">
                  <c:v>45251</c:v>
                </c:pt>
                <c:pt idx="484">
                  <c:v>45250</c:v>
                </c:pt>
                <c:pt idx="485">
                  <c:v>45247</c:v>
                </c:pt>
                <c:pt idx="486">
                  <c:v>45246</c:v>
                </c:pt>
                <c:pt idx="487">
                  <c:v>45245</c:v>
                </c:pt>
                <c:pt idx="488">
                  <c:v>45243</c:v>
                </c:pt>
                <c:pt idx="489">
                  <c:v>45242</c:v>
                </c:pt>
                <c:pt idx="490">
                  <c:v>45240</c:v>
                </c:pt>
                <c:pt idx="491">
                  <c:v>45239</c:v>
                </c:pt>
                <c:pt idx="492">
                  <c:v>45238</c:v>
                </c:pt>
                <c:pt idx="493">
                  <c:v>45237</c:v>
                </c:pt>
                <c:pt idx="494">
                  <c:v>45236</c:v>
                </c:pt>
                <c:pt idx="495">
                  <c:v>45233</c:v>
                </c:pt>
                <c:pt idx="496">
                  <c:v>45232</c:v>
                </c:pt>
                <c:pt idx="497">
                  <c:v>45231</c:v>
                </c:pt>
                <c:pt idx="498">
                  <c:v>45230</c:v>
                </c:pt>
                <c:pt idx="499">
                  <c:v>45229</c:v>
                </c:pt>
                <c:pt idx="500">
                  <c:v>45226</c:v>
                </c:pt>
                <c:pt idx="501">
                  <c:v>45225</c:v>
                </c:pt>
                <c:pt idx="502">
                  <c:v>45224</c:v>
                </c:pt>
                <c:pt idx="503">
                  <c:v>45222</c:v>
                </c:pt>
                <c:pt idx="504">
                  <c:v>45219</c:v>
                </c:pt>
                <c:pt idx="505">
                  <c:v>45218</c:v>
                </c:pt>
                <c:pt idx="506">
                  <c:v>45217</c:v>
                </c:pt>
                <c:pt idx="507">
                  <c:v>45216</c:v>
                </c:pt>
                <c:pt idx="508">
                  <c:v>45215</c:v>
                </c:pt>
                <c:pt idx="509">
                  <c:v>45212</c:v>
                </c:pt>
                <c:pt idx="510">
                  <c:v>45211</c:v>
                </c:pt>
                <c:pt idx="511">
                  <c:v>45210</c:v>
                </c:pt>
                <c:pt idx="512">
                  <c:v>45209</c:v>
                </c:pt>
                <c:pt idx="513">
                  <c:v>45208</c:v>
                </c:pt>
                <c:pt idx="514">
                  <c:v>45205</c:v>
                </c:pt>
                <c:pt idx="515">
                  <c:v>45204</c:v>
                </c:pt>
                <c:pt idx="516">
                  <c:v>45203</c:v>
                </c:pt>
                <c:pt idx="517">
                  <c:v>45202</c:v>
                </c:pt>
                <c:pt idx="518">
                  <c:v>45198</c:v>
                </c:pt>
                <c:pt idx="519">
                  <c:v>45197</c:v>
                </c:pt>
                <c:pt idx="520">
                  <c:v>45196</c:v>
                </c:pt>
                <c:pt idx="521">
                  <c:v>45195</c:v>
                </c:pt>
                <c:pt idx="522">
                  <c:v>45194</c:v>
                </c:pt>
                <c:pt idx="523">
                  <c:v>45191</c:v>
                </c:pt>
                <c:pt idx="524">
                  <c:v>45190</c:v>
                </c:pt>
                <c:pt idx="525">
                  <c:v>45189</c:v>
                </c:pt>
                <c:pt idx="526">
                  <c:v>45187</c:v>
                </c:pt>
                <c:pt idx="527">
                  <c:v>45184</c:v>
                </c:pt>
                <c:pt idx="528">
                  <c:v>45183</c:v>
                </c:pt>
                <c:pt idx="529">
                  <c:v>45182</c:v>
                </c:pt>
                <c:pt idx="530">
                  <c:v>45181</c:v>
                </c:pt>
                <c:pt idx="531">
                  <c:v>45180</c:v>
                </c:pt>
                <c:pt idx="532">
                  <c:v>45177</c:v>
                </c:pt>
                <c:pt idx="533">
                  <c:v>45176</c:v>
                </c:pt>
                <c:pt idx="534">
                  <c:v>45175</c:v>
                </c:pt>
                <c:pt idx="535">
                  <c:v>45174</c:v>
                </c:pt>
                <c:pt idx="536">
                  <c:v>45173</c:v>
                </c:pt>
                <c:pt idx="537">
                  <c:v>45170</c:v>
                </c:pt>
                <c:pt idx="538">
                  <c:v>45169</c:v>
                </c:pt>
                <c:pt idx="539">
                  <c:v>45168</c:v>
                </c:pt>
                <c:pt idx="540">
                  <c:v>45167</c:v>
                </c:pt>
                <c:pt idx="541">
                  <c:v>45166</c:v>
                </c:pt>
                <c:pt idx="542">
                  <c:v>45163</c:v>
                </c:pt>
                <c:pt idx="543">
                  <c:v>45162</c:v>
                </c:pt>
                <c:pt idx="544">
                  <c:v>45161</c:v>
                </c:pt>
                <c:pt idx="545">
                  <c:v>45160</c:v>
                </c:pt>
                <c:pt idx="546">
                  <c:v>45159</c:v>
                </c:pt>
                <c:pt idx="547">
                  <c:v>45156</c:v>
                </c:pt>
                <c:pt idx="548">
                  <c:v>45155</c:v>
                </c:pt>
                <c:pt idx="549">
                  <c:v>45154</c:v>
                </c:pt>
                <c:pt idx="550">
                  <c:v>45152</c:v>
                </c:pt>
                <c:pt idx="551">
                  <c:v>45149</c:v>
                </c:pt>
                <c:pt idx="552">
                  <c:v>45148</c:v>
                </c:pt>
                <c:pt idx="553">
                  <c:v>45147</c:v>
                </c:pt>
                <c:pt idx="554">
                  <c:v>45146</c:v>
                </c:pt>
                <c:pt idx="555">
                  <c:v>45145</c:v>
                </c:pt>
                <c:pt idx="556">
                  <c:v>45142</c:v>
                </c:pt>
                <c:pt idx="557">
                  <c:v>45141</c:v>
                </c:pt>
                <c:pt idx="558">
                  <c:v>45140</c:v>
                </c:pt>
                <c:pt idx="559">
                  <c:v>45139</c:v>
                </c:pt>
                <c:pt idx="560">
                  <c:v>45138</c:v>
                </c:pt>
                <c:pt idx="561">
                  <c:v>45135</c:v>
                </c:pt>
                <c:pt idx="562">
                  <c:v>45134</c:v>
                </c:pt>
                <c:pt idx="563">
                  <c:v>45133</c:v>
                </c:pt>
                <c:pt idx="564">
                  <c:v>45132</c:v>
                </c:pt>
                <c:pt idx="565">
                  <c:v>45131</c:v>
                </c:pt>
                <c:pt idx="566">
                  <c:v>45128</c:v>
                </c:pt>
                <c:pt idx="567">
                  <c:v>45127</c:v>
                </c:pt>
                <c:pt idx="568">
                  <c:v>45126</c:v>
                </c:pt>
                <c:pt idx="569">
                  <c:v>45125</c:v>
                </c:pt>
                <c:pt idx="570">
                  <c:v>45124</c:v>
                </c:pt>
                <c:pt idx="571">
                  <c:v>45121</c:v>
                </c:pt>
                <c:pt idx="572">
                  <c:v>45120</c:v>
                </c:pt>
                <c:pt idx="573">
                  <c:v>45119</c:v>
                </c:pt>
                <c:pt idx="574">
                  <c:v>45118</c:v>
                </c:pt>
                <c:pt idx="575">
                  <c:v>45117</c:v>
                </c:pt>
                <c:pt idx="576">
                  <c:v>45114</c:v>
                </c:pt>
                <c:pt idx="577">
                  <c:v>45113</c:v>
                </c:pt>
                <c:pt idx="578">
                  <c:v>45112</c:v>
                </c:pt>
                <c:pt idx="579">
                  <c:v>45111</c:v>
                </c:pt>
                <c:pt idx="580">
                  <c:v>45110</c:v>
                </c:pt>
                <c:pt idx="581">
                  <c:v>45107</c:v>
                </c:pt>
                <c:pt idx="582">
                  <c:v>45105</c:v>
                </c:pt>
                <c:pt idx="583">
                  <c:v>45104</c:v>
                </c:pt>
                <c:pt idx="584">
                  <c:v>45103</c:v>
                </c:pt>
                <c:pt idx="585">
                  <c:v>45100</c:v>
                </c:pt>
                <c:pt idx="586">
                  <c:v>45099</c:v>
                </c:pt>
                <c:pt idx="587">
                  <c:v>45098</c:v>
                </c:pt>
                <c:pt idx="588">
                  <c:v>45097</c:v>
                </c:pt>
                <c:pt idx="589">
                  <c:v>45096</c:v>
                </c:pt>
                <c:pt idx="590">
                  <c:v>45093</c:v>
                </c:pt>
                <c:pt idx="591">
                  <c:v>45092</c:v>
                </c:pt>
                <c:pt idx="592">
                  <c:v>45091</c:v>
                </c:pt>
                <c:pt idx="593">
                  <c:v>45090</c:v>
                </c:pt>
                <c:pt idx="594">
                  <c:v>45089</c:v>
                </c:pt>
                <c:pt idx="595">
                  <c:v>45086</c:v>
                </c:pt>
                <c:pt idx="596">
                  <c:v>45085</c:v>
                </c:pt>
                <c:pt idx="597">
                  <c:v>45084</c:v>
                </c:pt>
                <c:pt idx="598">
                  <c:v>45083</c:v>
                </c:pt>
                <c:pt idx="599">
                  <c:v>45082</c:v>
                </c:pt>
                <c:pt idx="600">
                  <c:v>45079</c:v>
                </c:pt>
                <c:pt idx="601">
                  <c:v>45078</c:v>
                </c:pt>
                <c:pt idx="602">
                  <c:v>45077</c:v>
                </c:pt>
                <c:pt idx="603">
                  <c:v>45076</c:v>
                </c:pt>
                <c:pt idx="604">
                  <c:v>45075</c:v>
                </c:pt>
                <c:pt idx="605">
                  <c:v>45072</c:v>
                </c:pt>
                <c:pt idx="606">
                  <c:v>45071</c:v>
                </c:pt>
                <c:pt idx="607">
                  <c:v>45070</c:v>
                </c:pt>
                <c:pt idx="608">
                  <c:v>45069</c:v>
                </c:pt>
                <c:pt idx="609">
                  <c:v>45068</c:v>
                </c:pt>
                <c:pt idx="610">
                  <c:v>45065</c:v>
                </c:pt>
                <c:pt idx="611">
                  <c:v>45064</c:v>
                </c:pt>
                <c:pt idx="612">
                  <c:v>45063</c:v>
                </c:pt>
                <c:pt idx="613">
                  <c:v>45062</c:v>
                </c:pt>
                <c:pt idx="614">
                  <c:v>45061</c:v>
                </c:pt>
                <c:pt idx="615">
                  <c:v>45058</c:v>
                </c:pt>
                <c:pt idx="616">
                  <c:v>45057</c:v>
                </c:pt>
                <c:pt idx="617">
                  <c:v>45056</c:v>
                </c:pt>
                <c:pt idx="618">
                  <c:v>45055</c:v>
                </c:pt>
                <c:pt idx="619">
                  <c:v>45054</c:v>
                </c:pt>
                <c:pt idx="620">
                  <c:v>45051</c:v>
                </c:pt>
                <c:pt idx="621">
                  <c:v>45050</c:v>
                </c:pt>
                <c:pt idx="622">
                  <c:v>45049</c:v>
                </c:pt>
                <c:pt idx="623">
                  <c:v>45048</c:v>
                </c:pt>
                <c:pt idx="624">
                  <c:v>45044</c:v>
                </c:pt>
                <c:pt idx="625">
                  <c:v>45043</c:v>
                </c:pt>
                <c:pt idx="626">
                  <c:v>45042</c:v>
                </c:pt>
                <c:pt idx="627">
                  <c:v>45041</c:v>
                </c:pt>
                <c:pt idx="628">
                  <c:v>45040</c:v>
                </c:pt>
                <c:pt idx="629">
                  <c:v>45037</c:v>
                </c:pt>
                <c:pt idx="630">
                  <c:v>45036</c:v>
                </c:pt>
                <c:pt idx="631">
                  <c:v>45035</c:v>
                </c:pt>
                <c:pt idx="632">
                  <c:v>45034</c:v>
                </c:pt>
                <c:pt idx="633">
                  <c:v>45033</c:v>
                </c:pt>
                <c:pt idx="634">
                  <c:v>45029</c:v>
                </c:pt>
                <c:pt idx="635">
                  <c:v>45028</c:v>
                </c:pt>
                <c:pt idx="636">
                  <c:v>45027</c:v>
                </c:pt>
                <c:pt idx="637">
                  <c:v>45026</c:v>
                </c:pt>
                <c:pt idx="638">
                  <c:v>45022</c:v>
                </c:pt>
                <c:pt idx="639">
                  <c:v>45021</c:v>
                </c:pt>
                <c:pt idx="640">
                  <c:v>45019</c:v>
                </c:pt>
                <c:pt idx="641">
                  <c:v>45016</c:v>
                </c:pt>
                <c:pt idx="642">
                  <c:v>45014</c:v>
                </c:pt>
                <c:pt idx="643">
                  <c:v>45013</c:v>
                </c:pt>
                <c:pt idx="644">
                  <c:v>45012</c:v>
                </c:pt>
                <c:pt idx="645">
                  <c:v>45009</c:v>
                </c:pt>
                <c:pt idx="646">
                  <c:v>45008</c:v>
                </c:pt>
                <c:pt idx="647">
                  <c:v>45007</c:v>
                </c:pt>
                <c:pt idx="648">
                  <c:v>45006</c:v>
                </c:pt>
                <c:pt idx="649">
                  <c:v>45005</c:v>
                </c:pt>
                <c:pt idx="650">
                  <c:v>45002</c:v>
                </c:pt>
                <c:pt idx="651">
                  <c:v>45001</c:v>
                </c:pt>
                <c:pt idx="652">
                  <c:v>45000</c:v>
                </c:pt>
                <c:pt idx="653">
                  <c:v>44999</c:v>
                </c:pt>
                <c:pt idx="654">
                  <c:v>44998</c:v>
                </c:pt>
                <c:pt idx="655">
                  <c:v>44995</c:v>
                </c:pt>
                <c:pt idx="656">
                  <c:v>44994</c:v>
                </c:pt>
                <c:pt idx="657">
                  <c:v>44993</c:v>
                </c:pt>
                <c:pt idx="658">
                  <c:v>44991</c:v>
                </c:pt>
                <c:pt idx="659">
                  <c:v>44988</c:v>
                </c:pt>
                <c:pt idx="660">
                  <c:v>44987</c:v>
                </c:pt>
                <c:pt idx="661">
                  <c:v>44986</c:v>
                </c:pt>
                <c:pt idx="662">
                  <c:v>44985</c:v>
                </c:pt>
                <c:pt idx="663">
                  <c:v>44984</c:v>
                </c:pt>
                <c:pt idx="664">
                  <c:v>44981</c:v>
                </c:pt>
                <c:pt idx="665">
                  <c:v>44980</c:v>
                </c:pt>
                <c:pt idx="666">
                  <c:v>44979</c:v>
                </c:pt>
                <c:pt idx="667">
                  <c:v>44978</c:v>
                </c:pt>
                <c:pt idx="668">
                  <c:v>44977</c:v>
                </c:pt>
                <c:pt idx="669">
                  <c:v>44974</c:v>
                </c:pt>
                <c:pt idx="670">
                  <c:v>44973</c:v>
                </c:pt>
                <c:pt idx="671">
                  <c:v>44972</c:v>
                </c:pt>
                <c:pt idx="672">
                  <c:v>44971</c:v>
                </c:pt>
                <c:pt idx="673">
                  <c:v>44970</c:v>
                </c:pt>
                <c:pt idx="674">
                  <c:v>44967</c:v>
                </c:pt>
                <c:pt idx="675">
                  <c:v>44966</c:v>
                </c:pt>
                <c:pt idx="676">
                  <c:v>44965</c:v>
                </c:pt>
                <c:pt idx="677">
                  <c:v>44964</c:v>
                </c:pt>
                <c:pt idx="678">
                  <c:v>44963</c:v>
                </c:pt>
                <c:pt idx="679">
                  <c:v>44960</c:v>
                </c:pt>
                <c:pt idx="680">
                  <c:v>44959</c:v>
                </c:pt>
                <c:pt idx="681">
                  <c:v>44958</c:v>
                </c:pt>
                <c:pt idx="682">
                  <c:v>44957</c:v>
                </c:pt>
                <c:pt idx="683">
                  <c:v>44956</c:v>
                </c:pt>
                <c:pt idx="684">
                  <c:v>44953</c:v>
                </c:pt>
                <c:pt idx="685">
                  <c:v>44951</c:v>
                </c:pt>
                <c:pt idx="686">
                  <c:v>44950</c:v>
                </c:pt>
                <c:pt idx="687">
                  <c:v>44949</c:v>
                </c:pt>
                <c:pt idx="688">
                  <c:v>44946</c:v>
                </c:pt>
                <c:pt idx="689">
                  <c:v>44945</c:v>
                </c:pt>
                <c:pt idx="690">
                  <c:v>44944</c:v>
                </c:pt>
                <c:pt idx="691">
                  <c:v>44943</c:v>
                </c:pt>
                <c:pt idx="692">
                  <c:v>44942</c:v>
                </c:pt>
                <c:pt idx="693">
                  <c:v>44939</c:v>
                </c:pt>
                <c:pt idx="694">
                  <c:v>44938</c:v>
                </c:pt>
                <c:pt idx="695">
                  <c:v>44937</c:v>
                </c:pt>
                <c:pt idx="696">
                  <c:v>44936</c:v>
                </c:pt>
                <c:pt idx="697">
                  <c:v>44935</c:v>
                </c:pt>
                <c:pt idx="698">
                  <c:v>44932</c:v>
                </c:pt>
                <c:pt idx="699">
                  <c:v>44931</c:v>
                </c:pt>
                <c:pt idx="700">
                  <c:v>44930</c:v>
                </c:pt>
                <c:pt idx="701">
                  <c:v>44929</c:v>
                </c:pt>
                <c:pt idx="702">
                  <c:v>44928</c:v>
                </c:pt>
                <c:pt idx="703">
                  <c:v>44925</c:v>
                </c:pt>
                <c:pt idx="704">
                  <c:v>44924</c:v>
                </c:pt>
                <c:pt idx="705">
                  <c:v>44923</c:v>
                </c:pt>
                <c:pt idx="706">
                  <c:v>44922</c:v>
                </c:pt>
                <c:pt idx="707">
                  <c:v>44921</c:v>
                </c:pt>
                <c:pt idx="708">
                  <c:v>44918</c:v>
                </c:pt>
                <c:pt idx="709">
                  <c:v>44917</c:v>
                </c:pt>
                <c:pt idx="710">
                  <c:v>44916</c:v>
                </c:pt>
                <c:pt idx="711">
                  <c:v>44915</c:v>
                </c:pt>
                <c:pt idx="712">
                  <c:v>44914</c:v>
                </c:pt>
                <c:pt idx="713">
                  <c:v>44911</c:v>
                </c:pt>
                <c:pt idx="714">
                  <c:v>44910</c:v>
                </c:pt>
                <c:pt idx="715">
                  <c:v>44909</c:v>
                </c:pt>
                <c:pt idx="716">
                  <c:v>44908</c:v>
                </c:pt>
                <c:pt idx="717">
                  <c:v>44907</c:v>
                </c:pt>
                <c:pt idx="718">
                  <c:v>44904</c:v>
                </c:pt>
                <c:pt idx="719">
                  <c:v>44903</c:v>
                </c:pt>
                <c:pt idx="720">
                  <c:v>44902</c:v>
                </c:pt>
                <c:pt idx="721">
                  <c:v>44901</c:v>
                </c:pt>
                <c:pt idx="722">
                  <c:v>44900</c:v>
                </c:pt>
                <c:pt idx="723">
                  <c:v>44897</c:v>
                </c:pt>
                <c:pt idx="724">
                  <c:v>44896</c:v>
                </c:pt>
                <c:pt idx="725">
                  <c:v>44895</c:v>
                </c:pt>
                <c:pt idx="726">
                  <c:v>44894</c:v>
                </c:pt>
                <c:pt idx="727">
                  <c:v>44893</c:v>
                </c:pt>
                <c:pt idx="728">
                  <c:v>44890</c:v>
                </c:pt>
                <c:pt idx="729">
                  <c:v>44889</c:v>
                </c:pt>
                <c:pt idx="730">
                  <c:v>44888</c:v>
                </c:pt>
                <c:pt idx="731">
                  <c:v>44887</c:v>
                </c:pt>
                <c:pt idx="732">
                  <c:v>44886</c:v>
                </c:pt>
                <c:pt idx="733">
                  <c:v>44883</c:v>
                </c:pt>
                <c:pt idx="734">
                  <c:v>44882</c:v>
                </c:pt>
                <c:pt idx="735">
                  <c:v>44881</c:v>
                </c:pt>
                <c:pt idx="736">
                  <c:v>44880</c:v>
                </c:pt>
                <c:pt idx="737">
                  <c:v>44879</c:v>
                </c:pt>
                <c:pt idx="738">
                  <c:v>44876</c:v>
                </c:pt>
                <c:pt idx="739">
                  <c:v>44875</c:v>
                </c:pt>
                <c:pt idx="740">
                  <c:v>44874</c:v>
                </c:pt>
                <c:pt idx="741">
                  <c:v>44872</c:v>
                </c:pt>
                <c:pt idx="742">
                  <c:v>44869</c:v>
                </c:pt>
                <c:pt idx="743">
                  <c:v>44868</c:v>
                </c:pt>
                <c:pt idx="744">
                  <c:v>44867</c:v>
                </c:pt>
                <c:pt idx="745">
                  <c:v>44866</c:v>
                </c:pt>
                <c:pt idx="746">
                  <c:v>44865</c:v>
                </c:pt>
                <c:pt idx="747">
                  <c:v>44862</c:v>
                </c:pt>
                <c:pt idx="748">
                  <c:v>44861</c:v>
                </c:pt>
                <c:pt idx="749">
                  <c:v>44859</c:v>
                </c:pt>
                <c:pt idx="750">
                  <c:v>44858</c:v>
                </c:pt>
                <c:pt idx="751">
                  <c:v>44855</c:v>
                </c:pt>
                <c:pt idx="752">
                  <c:v>44854</c:v>
                </c:pt>
                <c:pt idx="753">
                  <c:v>44853</c:v>
                </c:pt>
                <c:pt idx="754">
                  <c:v>44852</c:v>
                </c:pt>
                <c:pt idx="755">
                  <c:v>44851</c:v>
                </c:pt>
                <c:pt idx="756">
                  <c:v>44848</c:v>
                </c:pt>
                <c:pt idx="757">
                  <c:v>44847</c:v>
                </c:pt>
                <c:pt idx="758">
                  <c:v>44846</c:v>
                </c:pt>
                <c:pt idx="759">
                  <c:v>44845</c:v>
                </c:pt>
                <c:pt idx="760">
                  <c:v>44844</c:v>
                </c:pt>
                <c:pt idx="761">
                  <c:v>44841</c:v>
                </c:pt>
                <c:pt idx="762">
                  <c:v>44840</c:v>
                </c:pt>
                <c:pt idx="763">
                  <c:v>44838</c:v>
                </c:pt>
                <c:pt idx="764">
                  <c:v>44837</c:v>
                </c:pt>
                <c:pt idx="765">
                  <c:v>44834</c:v>
                </c:pt>
                <c:pt idx="766">
                  <c:v>44833</c:v>
                </c:pt>
                <c:pt idx="767">
                  <c:v>44832</c:v>
                </c:pt>
                <c:pt idx="768">
                  <c:v>44831</c:v>
                </c:pt>
                <c:pt idx="769">
                  <c:v>44830</c:v>
                </c:pt>
                <c:pt idx="770">
                  <c:v>44827</c:v>
                </c:pt>
                <c:pt idx="771">
                  <c:v>44826</c:v>
                </c:pt>
                <c:pt idx="772">
                  <c:v>44825</c:v>
                </c:pt>
                <c:pt idx="773">
                  <c:v>44824</c:v>
                </c:pt>
                <c:pt idx="774">
                  <c:v>44823</c:v>
                </c:pt>
                <c:pt idx="775">
                  <c:v>44820</c:v>
                </c:pt>
                <c:pt idx="776">
                  <c:v>44819</c:v>
                </c:pt>
                <c:pt idx="777">
                  <c:v>44818</c:v>
                </c:pt>
                <c:pt idx="778">
                  <c:v>44817</c:v>
                </c:pt>
                <c:pt idx="779">
                  <c:v>44816</c:v>
                </c:pt>
                <c:pt idx="780">
                  <c:v>44813</c:v>
                </c:pt>
                <c:pt idx="781">
                  <c:v>44812</c:v>
                </c:pt>
                <c:pt idx="782">
                  <c:v>44811</c:v>
                </c:pt>
                <c:pt idx="783">
                  <c:v>44810</c:v>
                </c:pt>
                <c:pt idx="784">
                  <c:v>44809</c:v>
                </c:pt>
                <c:pt idx="785">
                  <c:v>44806</c:v>
                </c:pt>
                <c:pt idx="786">
                  <c:v>44805</c:v>
                </c:pt>
                <c:pt idx="787">
                  <c:v>44803</c:v>
                </c:pt>
                <c:pt idx="788">
                  <c:v>44802</c:v>
                </c:pt>
                <c:pt idx="789">
                  <c:v>44799</c:v>
                </c:pt>
                <c:pt idx="790">
                  <c:v>44798</c:v>
                </c:pt>
                <c:pt idx="791">
                  <c:v>44797</c:v>
                </c:pt>
                <c:pt idx="792">
                  <c:v>44796</c:v>
                </c:pt>
                <c:pt idx="793">
                  <c:v>44795</c:v>
                </c:pt>
                <c:pt idx="794">
                  <c:v>44792</c:v>
                </c:pt>
                <c:pt idx="795">
                  <c:v>44791</c:v>
                </c:pt>
                <c:pt idx="796">
                  <c:v>44790</c:v>
                </c:pt>
                <c:pt idx="797">
                  <c:v>44789</c:v>
                </c:pt>
                <c:pt idx="798">
                  <c:v>44785</c:v>
                </c:pt>
                <c:pt idx="799">
                  <c:v>44784</c:v>
                </c:pt>
                <c:pt idx="800">
                  <c:v>44783</c:v>
                </c:pt>
                <c:pt idx="801">
                  <c:v>44781</c:v>
                </c:pt>
                <c:pt idx="802">
                  <c:v>44778</c:v>
                </c:pt>
                <c:pt idx="803">
                  <c:v>44777</c:v>
                </c:pt>
                <c:pt idx="804">
                  <c:v>44776</c:v>
                </c:pt>
                <c:pt idx="805">
                  <c:v>44775</c:v>
                </c:pt>
                <c:pt idx="806">
                  <c:v>44774</c:v>
                </c:pt>
                <c:pt idx="807">
                  <c:v>44771</c:v>
                </c:pt>
                <c:pt idx="808">
                  <c:v>44770</c:v>
                </c:pt>
                <c:pt idx="809">
                  <c:v>44769</c:v>
                </c:pt>
                <c:pt idx="810">
                  <c:v>44768</c:v>
                </c:pt>
                <c:pt idx="811">
                  <c:v>44767</c:v>
                </c:pt>
                <c:pt idx="812">
                  <c:v>44764</c:v>
                </c:pt>
                <c:pt idx="813">
                  <c:v>44763</c:v>
                </c:pt>
                <c:pt idx="814">
                  <c:v>44762</c:v>
                </c:pt>
                <c:pt idx="815">
                  <c:v>44761</c:v>
                </c:pt>
                <c:pt idx="816">
                  <c:v>44760</c:v>
                </c:pt>
                <c:pt idx="817">
                  <c:v>44757</c:v>
                </c:pt>
                <c:pt idx="818">
                  <c:v>44756</c:v>
                </c:pt>
                <c:pt idx="819">
                  <c:v>44755</c:v>
                </c:pt>
                <c:pt idx="820">
                  <c:v>44754</c:v>
                </c:pt>
                <c:pt idx="821">
                  <c:v>44753</c:v>
                </c:pt>
                <c:pt idx="822">
                  <c:v>44750</c:v>
                </c:pt>
                <c:pt idx="823">
                  <c:v>44749</c:v>
                </c:pt>
                <c:pt idx="824">
                  <c:v>44748</c:v>
                </c:pt>
                <c:pt idx="825">
                  <c:v>44747</c:v>
                </c:pt>
                <c:pt idx="826">
                  <c:v>44746</c:v>
                </c:pt>
                <c:pt idx="827">
                  <c:v>44743</c:v>
                </c:pt>
                <c:pt idx="828">
                  <c:v>44742</c:v>
                </c:pt>
                <c:pt idx="829">
                  <c:v>44741</c:v>
                </c:pt>
                <c:pt idx="830">
                  <c:v>44740</c:v>
                </c:pt>
                <c:pt idx="831">
                  <c:v>44739</c:v>
                </c:pt>
                <c:pt idx="832">
                  <c:v>44736</c:v>
                </c:pt>
                <c:pt idx="833">
                  <c:v>44735</c:v>
                </c:pt>
                <c:pt idx="834">
                  <c:v>44734</c:v>
                </c:pt>
                <c:pt idx="835">
                  <c:v>44733</c:v>
                </c:pt>
                <c:pt idx="836">
                  <c:v>44732</c:v>
                </c:pt>
                <c:pt idx="837">
                  <c:v>44729</c:v>
                </c:pt>
                <c:pt idx="838">
                  <c:v>44728</c:v>
                </c:pt>
                <c:pt idx="839">
                  <c:v>44727</c:v>
                </c:pt>
                <c:pt idx="840">
                  <c:v>44726</c:v>
                </c:pt>
                <c:pt idx="841">
                  <c:v>44725</c:v>
                </c:pt>
                <c:pt idx="842">
                  <c:v>44722</c:v>
                </c:pt>
                <c:pt idx="843">
                  <c:v>44721</c:v>
                </c:pt>
                <c:pt idx="844">
                  <c:v>44720</c:v>
                </c:pt>
                <c:pt idx="845">
                  <c:v>44719</c:v>
                </c:pt>
                <c:pt idx="846">
                  <c:v>44718</c:v>
                </c:pt>
                <c:pt idx="847">
                  <c:v>44715</c:v>
                </c:pt>
                <c:pt idx="848">
                  <c:v>44714</c:v>
                </c:pt>
                <c:pt idx="849">
                  <c:v>44713</c:v>
                </c:pt>
                <c:pt idx="850">
                  <c:v>44712</c:v>
                </c:pt>
                <c:pt idx="851">
                  <c:v>44711</c:v>
                </c:pt>
                <c:pt idx="852">
                  <c:v>44708</c:v>
                </c:pt>
                <c:pt idx="853">
                  <c:v>44707</c:v>
                </c:pt>
                <c:pt idx="854">
                  <c:v>44706</c:v>
                </c:pt>
                <c:pt idx="855">
                  <c:v>44705</c:v>
                </c:pt>
                <c:pt idx="856">
                  <c:v>44704</c:v>
                </c:pt>
                <c:pt idx="857">
                  <c:v>44701</c:v>
                </c:pt>
                <c:pt idx="858">
                  <c:v>44700</c:v>
                </c:pt>
                <c:pt idx="859">
                  <c:v>44699</c:v>
                </c:pt>
                <c:pt idx="860">
                  <c:v>44698</c:v>
                </c:pt>
                <c:pt idx="861">
                  <c:v>44697</c:v>
                </c:pt>
                <c:pt idx="862">
                  <c:v>44694</c:v>
                </c:pt>
                <c:pt idx="863">
                  <c:v>44693</c:v>
                </c:pt>
                <c:pt idx="864">
                  <c:v>44692</c:v>
                </c:pt>
                <c:pt idx="865">
                  <c:v>44691</c:v>
                </c:pt>
                <c:pt idx="866">
                  <c:v>44690</c:v>
                </c:pt>
                <c:pt idx="867">
                  <c:v>44687</c:v>
                </c:pt>
                <c:pt idx="868">
                  <c:v>44686</c:v>
                </c:pt>
                <c:pt idx="869">
                  <c:v>44685</c:v>
                </c:pt>
                <c:pt idx="870">
                  <c:v>44683</c:v>
                </c:pt>
                <c:pt idx="871">
                  <c:v>44680</c:v>
                </c:pt>
                <c:pt idx="872">
                  <c:v>44679</c:v>
                </c:pt>
                <c:pt idx="873">
                  <c:v>44678</c:v>
                </c:pt>
                <c:pt idx="874">
                  <c:v>44677</c:v>
                </c:pt>
                <c:pt idx="875">
                  <c:v>44676</c:v>
                </c:pt>
                <c:pt idx="876">
                  <c:v>44673</c:v>
                </c:pt>
                <c:pt idx="877">
                  <c:v>44672</c:v>
                </c:pt>
                <c:pt idx="878">
                  <c:v>44671</c:v>
                </c:pt>
                <c:pt idx="879">
                  <c:v>44670</c:v>
                </c:pt>
                <c:pt idx="880">
                  <c:v>44669</c:v>
                </c:pt>
                <c:pt idx="881">
                  <c:v>44664</c:v>
                </c:pt>
                <c:pt idx="882">
                  <c:v>44663</c:v>
                </c:pt>
                <c:pt idx="883">
                  <c:v>44662</c:v>
                </c:pt>
                <c:pt idx="884">
                  <c:v>44659</c:v>
                </c:pt>
                <c:pt idx="885">
                  <c:v>44658</c:v>
                </c:pt>
                <c:pt idx="886">
                  <c:v>44657</c:v>
                </c:pt>
                <c:pt idx="887">
                  <c:v>44656</c:v>
                </c:pt>
                <c:pt idx="888">
                  <c:v>44655</c:v>
                </c:pt>
                <c:pt idx="889">
                  <c:v>44652</c:v>
                </c:pt>
                <c:pt idx="890">
                  <c:v>44651</c:v>
                </c:pt>
                <c:pt idx="891">
                  <c:v>44650</c:v>
                </c:pt>
                <c:pt idx="892">
                  <c:v>44649</c:v>
                </c:pt>
                <c:pt idx="893">
                  <c:v>44648</c:v>
                </c:pt>
                <c:pt idx="894">
                  <c:v>44645</c:v>
                </c:pt>
                <c:pt idx="895">
                  <c:v>44644</c:v>
                </c:pt>
                <c:pt idx="896">
                  <c:v>44643</c:v>
                </c:pt>
                <c:pt idx="897">
                  <c:v>44642</c:v>
                </c:pt>
                <c:pt idx="898">
                  <c:v>44641</c:v>
                </c:pt>
                <c:pt idx="899">
                  <c:v>44637</c:v>
                </c:pt>
                <c:pt idx="900">
                  <c:v>44636</c:v>
                </c:pt>
                <c:pt idx="901">
                  <c:v>44635</c:v>
                </c:pt>
                <c:pt idx="902">
                  <c:v>44634</c:v>
                </c:pt>
                <c:pt idx="903">
                  <c:v>44631</c:v>
                </c:pt>
                <c:pt idx="904">
                  <c:v>44630</c:v>
                </c:pt>
                <c:pt idx="905">
                  <c:v>44629</c:v>
                </c:pt>
                <c:pt idx="906">
                  <c:v>44628</c:v>
                </c:pt>
                <c:pt idx="907">
                  <c:v>44627</c:v>
                </c:pt>
                <c:pt idx="908">
                  <c:v>44624</c:v>
                </c:pt>
                <c:pt idx="909">
                  <c:v>44623</c:v>
                </c:pt>
                <c:pt idx="910">
                  <c:v>44622</c:v>
                </c:pt>
                <c:pt idx="911">
                  <c:v>44620</c:v>
                </c:pt>
                <c:pt idx="912">
                  <c:v>44617</c:v>
                </c:pt>
                <c:pt idx="913">
                  <c:v>44616</c:v>
                </c:pt>
                <c:pt idx="914">
                  <c:v>44615</c:v>
                </c:pt>
                <c:pt idx="915">
                  <c:v>44614</c:v>
                </c:pt>
                <c:pt idx="916">
                  <c:v>44613</c:v>
                </c:pt>
                <c:pt idx="917">
                  <c:v>44610</c:v>
                </c:pt>
                <c:pt idx="918">
                  <c:v>44609</c:v>
                </c:pt>
                <c:pt idx="919">
                  <c:v>44608</c:v>
                </c:pt>
                <c:pt idx="920">
                  <c:v>44607</c:v>
                </c:pt>
                <c:pt idx="921">
                  <c:v>44606</c:v>
                </c:pt>
                <c:pt idx="922">
                  <c:v>44603</c:v>
                </c:pt>
                <c:pt idx="923">
                  <c:v>44602</c:v>
                </c:pt>
                <c:pt idx="924">
                  <c:v>44601</c:v>
                </c:pt>
                <c:pt idx="925">
                  <c:v>44600</c:v>
                </c:pt>
                <c:pt idx="926">
                  <c:v>44599</c:v>
                </c:pt>
                <c:pt idx="927">
                  <c:v>44596</c:v>
                </c:pt>
                <c:pt idx="928">
                  <c:v>44595</c:v>
                </c:pt>
                <c:pt idx="929">
                  <c:v>44594</c:v>
                </c:pt>
                <c:pt idx="930">
                  <c:v>44593</c:v>
                </c:pt>
                <c:pt idx="931">
                  <c:v>44592</c:v>
                </c:pt>
                <c:pt idx="932">
                  <c:v>44589</c:v>
                </c:pt>
                <c:pt idx="933">
                  <c:v>44588</c:v>
                </c:pt>
                <c:pt idx="934">
                  <c:v>44586</c:v>
                </c:pt>
                <c:pt idx="935">
                  <c:v>44585</c:v>
                </c:pt>
                <c:pt idx="936">
                  <c:v>44582</c:v>
                </c:pt>
                <c:pt idx="937">
                  <c:v>44581</c:v>
                </c:pt>
                <c:pt idx="938">
                  <c:v>44580</c:v>
                </c:pt>
                <c:pt idx="939">
                  <c:v>44579</c:v>
                </c:pt>
                <c:pt idx="940">
                  <c:v>44578</c:v>
                </c:pt>
                <c:pt idx="941">
                  <c:v>44575</c:v>
                </c:pt>
                <c:pt idx="942">
                  <c:v>44574</c:v>
                </c:pt>
                <c:pt idx="943">
                  <c:v>44573</c:v>
                </c:pt>
                <c:pt idx="944">
                  <c:v>44572</c:v>
                </c:pt>
                <c:pt idx="945">
                  <c:v>44571</c:v>
                </c:pt>
                <c:pt idx="946">
                  <c:v>44568</c:v>
                </c:pt>
                <c:pt idx="947">
                  <c:v>44567</c:v>
                </c:pt>
                <c:pt idx="948">
                  <c:v>44566</c:v>
                </c:pt>
                <c:pt idx="949">
                  <c:v>44565</c:v>
                </c:pt>
                <c:pt idx="950">
                  <c:v>44564</c:v>
                </c:pt>
                <c:pt idx="951">
                  <c:v>44561</c:v>
                </c:pt>
                <c:pt idx="952">
                  <c:v>44560</c:v>
                </c:pt>
                <c:pt idx="953">
                  <c:v>44559</c:v>
                </c:pt>
                <c:pt idx="954">
                  <c:v>44558</c:v>
                </c:pt>
                <c:pt idx="955">
                  <c:v>44557</c:v>
                </c:pt>
                <c:pt idx="956">
                  <c:v>44554</c:v>
                </c:pt>
                <c:pt idx="957">
                  <c:v>44553</c:v>
                </c:pt>
                <c:pt idx="958">
                  <c:v>44552</c:v>
                </c:pt>
                <c:pt idx="959">
                  <c:v>44551</c:v>
                </c:pt>
                <c:pt idx="960">
                  <c:v>44550</c:v>
                </c:pt>
                <c:pt idx="961">
                  <c:v>44547</c:v>
                </c:pt>
                <c:pt idx="962">
                  <c:v>44546</c:v>
                </c:pt>
                <c:pt idx="963">
                  <c:v>44545</c:v>
                </c:pt>
                <c:pt idx="964">
                  <c:v>44544</c:v>
                </c:pt>
                <c:pt idx="965">
                  <c:v>44543</c:v>
                </c:pt>
                <c:pt idx="966">
                  <c:v>44540</c:v>
                </c:pt>
                <c:pt idx="967">
                  <c:v>44539</c:v>
                </c:pt>
                <c:pt idx="968">
                  <c:v>44538</c:v>
                </c:pt>
                <c:pt idx="969">
                  <c:v>44537</c:v>
                </c:pt>
                <c:pt idx="970">
                  <c:v>44536</c:v>
                </c:pt>
                <c:pt idx="971">
                  <c:v>44533</c:v>
                </c:pt>
                <c:pt idx="972">
                  <c:v>44532</c:v>
                </c:pt>
                <c:pt idx="973">
                  <c:v>44531</c:v>
                </c:pt>
                <c:pt idx="974">
                  <c:v>44530</c:v>
                </c:pt>
                <c:pt idx="975">
                  <c:v>44529</c:v>
                </c:pt>
                <c:pt idx="976">
                  <c:v>44526</c:v>
                </c:pt>
                <c:pt idx="977">
                  <c:v>44525</c:v>
                </c:pt>
                <c:pt idx="978">
                  <c:v>44524</c:v>
                </c:pt>
                <c:pt idx="979">
                  <c:v>44523</c:v>
                </c:pt>
                <c:pt idx="980">
                  <c:v>44522</c:v>
                </c:pt>
                <c:pt idx="981">
                  <c:v>44518</c:v>
                </c:pt>
                <c:pt idx="982">
                  <c:v>44517</c:v>
                </c:pt>
                <c:pt idx="983">
                  <c:v>44516</c:v>
                </c:pt>
                <c:pt idx="984">
                  <c:v>44515</c:v>
                </c:pt>
                <c:pt idx="985">
                  <c:v>44512</c:v>
                </c:pt>
                <c:pt idx="986">
                  <c:v>44511</c:v>
                </c:pt>
                <c:pt idx="987">
                  <c:v>44510</c:v>
                </c:pt>
                <c:pt idx="988">
                  <c:v>44509</c:v>
                </c:pt>
                <c:pt idx="989">
                  <c:v>44508</c:v>
                </c:pt>
                <c:pt idx="990">
                  <c:v>44504</c:v>
                </c:pt>
                <c:pt idx="991">
                  <c:v>44503</c:v>
                </c:pt>
                <c:pt idx="992">
                  <c:v>44502</c:v>
                </c:pt>
                <c:pt idx="993">
                  <c:v>44501</c:v>
                </c:pt>
                <c:pt idx="994">
                  <c:v>44498</c:v>
                </c:pt>
                <c:pt idx="995">
                  <c:v>44497</c:v>
                </c:pt>
                <c:pt idx="996">
                  <c:v>44496</c:v>
                </c:pt>
                <c:pt idx="997">
                  <c:v>44495</c:v>
                </c:pt>
                <c:pt idx="998">
                  <c:v>44494</c:v>
                </c:pt>
                <c:pt idx="999">
                  <c:v>44491</c:v>
                </c:pt>
                <c:pt idx="1000">
                  <c:v>44490</c:v>
                </c:pt>
                <c:pt idx="1001">
                  <c:v>44489</c:v>
                </c:pt>
                <c:pt idx="1002">
                  <c:v>44488</c:v>
                </c:pt>
                <c:pt idx="1003">
                  <c:v>44487</c:v>
                </c:pt>
                <c:pt idx="1004">
                  <c:v>44483</c:v>
                </c:pt>
                <c:pt idx="1005">
                  <c:v>44482</c:v>
                </c:pt>
                <c:pt idx="1006">
                  <c:v>44481</c:v>
                </c:pt>
                <c:pt idx="1007">
                  <c:v>44480</c:v>
                </c:pt>
                <c:pt idx="1008">
                  <c:v>44477</c:v>
                </c:pt>
                <c:pt idx="1009">
                  <c:v>44476</c:v>
                </c:pt>
                <c:pt idx="1010">
                  <c:v>44475</c:v>
                </c:pt>
                <c:pt idx="1011">
                  <c:v>44474</c:v>
                </c:pt>
                <c:pt idx="1012">
                  <c:v>44473</c:v>
                </c:pt>
                <c:pt idx="1013">
                  <c:v>44470</c:v>
                </c:pt>
                <c:pt idx="1014">
                  <c:v>44469</c:v>
                </c:pt>
                <c:pt idx="1015">
                  <c:v>44468</c:v>
                </c:pt>
                <c:pt idx="1016">
                  <c:v>44467</c:v>
                </c:pt>
                <c:pt idx="1017">
                  <c:v>44466</c:v>
                </c:pt>
                <c:pt idx="1018">
                  <c:v>44463</c:v>
                </c:pt>
                <c:pt idx="1019">
                  <c:v>44462</c:v>
                </c:pt>
                <c:pt idx="1020">
                  <c:v>44461</c:v>
                </c:pt>
                <c:pt idx="1021">
                  <c:v>44460</c:v>
                </c:pt>
                <c:pt idx="1022">
                  <c:v>44459</c:v>
                </c:pt>
                <c:pt idx="1023">
                  <c:v>44456</c:v>
                </c:pt>
                <c:pt idx="1024">
                  <c:v>44455</c:v>
                </c:pt>
                <c:pt idx="1025">
                  <c:v>44454</c:v>
                </c:pt>
                <c:pt idx="1026">
                  <c:v>44453</c:v>
                </c:pt>
                <c:pt idx="1027">
                  <c:v>44452</c:v>
                </c:pt>
                <c:pt idx="1028">
                  <c:v>44448</c:v>
                </c:pt>
                <c:pt idx="1029">
                  <c:v>44447</c:v>
                </c:pt>
                <c:pt idx="1030">
                  <c:v>44446</c:v>
                </c:pt>
                <c:pt idx="1031">
                  <c:v>44445</c:v>
                </c:pt>
                <c:pt idx="1032">
                  <c:v>44442</c:v>
                </c:pt>
                <c:pt idx="1033">
                  <c:v>44441</c:v>
                </c:pt>
                <c:pt idx="1034">
                  <c:v>44440</c:v>
                </c:pt>
                <c:pt idx="1035">
                  <c:v>44439</c:v>
                </c:pt>
                <c:pt idx="1036">
                  <c:v>44438</c:v>
                </c:pt>
                <c:pt idx="1037">
                  <c:v>44435</c:v>
                </c:pt>
                <c:pt idx="1038">
                  <c:v>44434</c:v>
                </c:pt>
                <c:pt idx="1039">
                  <c:v>44433</c:v>
                </c:pt>
                <c:pt idx="1040">
                  <c:v>44432</c:v>
                </c:pt>
                <c:pt idx="1041">
                  <c:v>44431</c:v>
                </c:pt>
                <c:pt idx="1042">
                  <c:v>44428</c:v>
                </c:pt>
                <c:pt idx="1043">
                  <c:v>44426</c:v>
                </c:pt>
                <c:pt idx="1044">
                  <c:v>44425</c:v>
                </c:pt>
                <c:pt idx="1045">
                  <c:v>44424</c:v>
                </c:pt>
                <c:pt idx="1046">
                  <c:v>44421</c:v>
                </c:pt>
                <c:pt idx="1047">
                  <c:v>44420</c:v>
                </c:pt>
                <c:pt idx="1048">
                  <c:v>44419</c:v>
                </c:pt>
                <c:pt idx="1049">
                  <c:v>44418</c:v>
                </c:pt>
                <c:pt idx="1050">
                  <c:v>44417</c:v>
                </c:pt>
                <c:pt idx="1051">
                  <c:v>44414</c:v>
                </c:pt>
                <c:pt idx="1052">
                  <c:v>44413</c:v>
                </c:pt>
                <c:pt idx="1053">
                  <c:v>44412</c:v>
                </c:pt>
                <c:pt idx="1054">
                  <c:v>44411</c:v>
                </c:pt>
                <c:pt idx="1055">
                  <c:v>44410</c:v>
                </c:pt>
                <c:pt idx="1056">
                  <c:v>44407</c:v>
                </c:pt>
                <c:pt idx="1057">
                  <c:v>44406</c:v>
                </c:pt>
                <c:pt idx="1058">
                  <c:v>44405</c:v>
                </c:pt>
                <c:pt idx="1059">
                  <c:v>44404</c:v>
                </c:pt>
                <c:pt idx="1060">
                  <c:v>44403</c:v>
                </c:pt>
                <c:pt idx="1061">
                  <c:v>44400</c:v>
                </c:pt>
                <c:pt idx="1062">
                  <c:v>44399</c:v>
                </c:pt>
                <c:pt idx="1063">
                  <c:v>44397</c:v>
                </c:pt>
                <c:pt idx="1064">
                  <c:v>44396</c:v>
                </c:pt>
                <c:pt idx="1065">
                  <c:v>44393</c:v>
                </c:pt>
                <c:pt idx="1066">
                  <c:v>44392</c:v>
                </c:pt>
                <c:pt idx="1067">
                  <c:v>44391</c:v>
                </c:pt>
                <c:pt idx="1068">
                  <c:v>44390</c:v>
                </c:pt>
                <c:pt idx="1069">
                  <c:v>44389</c:v>
                </c:pt>
                <c:pt idx="1070">
                  <c:v>44386</c:v>
                </c:pt>
                <c:pt idx="1071">
                  <c:v>44385</c:v>
                </c:pt>
                <c:pt idx="1072">
                  <c:v>44384</c:v>
                </c:pt>
                <c:pt idx="1073">
                  <c:v>44383</c:v>
                </c:pt>
                <c:pt idx="1074">
                  <c:v>44382</c:v>
                </c:pt>
                <c:pt idx="1075">
                  <c:v>44379</c:v>
                </c:pt>
                <c:pt idx="1076">
                  <c:v>44378</c:v>
                </c:pt>
                <c:pt idx="1077">
                  <c:v>44377</c:v>
                </c:pt>
                <c:pt idx="1078">
                  <c:v>44376</c:v>
                </c:pt>
                <c:pt idx="1079">
                  <c:v>44375</c:v>
                </c:pt>
                <c:pt idx="1080">
                  <c:v>44372</c:v>
                </c:pt>
                <c:pt idx="1081">
                  <c:v>44371</c:v>
                </c:pt>
                <c:pt idx="1082">
                  <c:v>44370</c:v>
                </c:pt>
                <c:pt idx="1083">
                  <c:v>44369</c:v>
                </c:pt>
                <c:pt idx="1084">
                  <c:v>44368</c:v>
                </c:pt>
                <c:pt idx="1085">
                  <c:v>44365</c:v>
                </c:pt>
                <c:pt idx="1086">
                  <c:v>44364</c:v>
                </c:pt>
                <c:pt idx="1087">
                  <c:v>44363</c:v>
                </c:pt>
                <c:pt idx="1088">
                  <c:v>44362</c:v>
                </c:pt>
                <c:pt idx="1089">
                  <c:v>44361</c:v>
                </c:pt>
                <c:pt idx="1090">
                  <c:v>44358</c:v>
                </c:pt>
                <c:pt idx="1091">
                  <c:v>44357</c:v>
                </c:pt>
                <c:pt idx="1092">
                  <c:v>44356</c:v>
                </c:pt>
                <c:pt idx="1093">
                  <c:v>44355</c:v>
                </c:pt>
                <c:pt idx="1094">
                  <c:v>44354</c:v>
                </c:pt>
                <c:pt idx="1095">
                  <c:v>44351</c:v>
                </c:pt>
                <c:pt idx="1096">
                  <c:v>44350</c:v>
                </c:pt>
                <c:pt idx="1097">
                  <c:v>44349</c:v>
                </c:pt>
                <c:pt idx="1098">
                  <c:v>44348</c:v>
                </c:pt>
                <c:pt idx="1099">
                  <c:v>44347</c:v>
                </c:pt>
                <c:pt idx="1100">
                  <c:v>44344</c:v>
                </c:pt>
                <c:pt idx="1101">
                  <c:v>44343</c:v>
                </c:pt>
                <c:pt idx="1102">
                  <c:v>44342</c:v>
                </c:pt>
                <c:pt idx="1103">
                  <c:v>44341</c:v>
                </c:pt>
                <c:pt idx="1104">
                  <c:v>44340</c:v>
                </c:pt>
                <c:pt idx="1105">
                  <c:v>44337</c:v>
                </c:pt>
                <c:pt idx="1106">
                  <c:v>44336</c:v>
                </c:pt>
                <c:pt idx="1107">
                  <c:v>44335</c:v>
                </c:pt>
                <c:pt idx="1108">
                  <c:v>44334</c:v>
                </c:pt>
                <c:pt idx="1109">
                  <c:v>44333</c:v>
                </c:pt>
                <c:pt idx="1110">
                  <c:v>44330</c:v>
                </c:pt>
                <c:pt idx="1111">
                  <c:v>44328</c:v>
                </c:pt>
                <c:pt idx="1112">
                  <c:v>44327</c:v>
                </c:pt>
                <c:pt idx="1113">
                  <c:v>44326</c:v>
                </c:pt>
                <c:pt idx="1114">
                  <c:v>44323</c:v>
                </c:pt>
                <c:pt idx="1115">
                  <c:v>44322</c:v>
                </c:pt>
                <c:pt idx="1116">
                  <c:v>44321</c:v>
                </c:pt>
                <c:pt idx="1117">
                  <c:v>44320</c:v>
                </c:pt>
                <c:pt idx="1118">
                  <c:v>44319</c:v>
                </c:pt>
                <c:pt idx="1119">
                  <c:v>44316</c:v>
                </c:pt>
                <c:pt idx="1120">
                  <c:v>44315</c:v>
                </c:pt>
                <c:pt idx="1121">
                  <c:v>44314</c:v>
                </c:pt>
                <c:pt idx="1122">
                  <c:v>44313</c:v>
                </c:pt>
                <c:pt idx="1123">
                  <c:v>44312</c:v>
                </c:pt>
                <c:pt idx="1124">
                  <c:v>44309</c:v>
                </c:pt>
                <c:pt idx="1125">
                  <c:v>44308</c:v>
                </c:pt>
                <c:pt idx="1126">
                  <c:v>44306</c:v>
                </c:pt>
                <c:pt idx="1127">
                  <c:v>44305</c:v>
                </c:pt>
                <c:pt idx="1128">
                  <c:v>44302</c:v>
                </c:pt>
                <c:pt idx="1129">
                  <c:v>44301</c:v>
                </c:pt>
                <c:pt idx="1130">
                  <c:v>44299</c:v>
                </c:pt>
                <c:pt idx="1131">
                  <c:v>44298</c:v>
                </c:pt>
                <c:pt idx="1132">
                  <c:v>44295</c:v>
                </c:pt>
                <c:pt idx="1133">
                  <c:v>44294</c:v>
                </c:pt>
                <c:pt idx="1134">
                  <c:v>44293</c:v>
                </c:pt>
                <c:pt idx="1135">
                  <c:v>44292</c:v>
                </c:pt>
                <c:pt idx="1136">
                  <c:v>44291</c:v>
                </c:pt>
                <c:pt idx="1137">
                  <c:v>44287</c:v>
                </c:pt>
                <c:pt idx="1138">
                  <c:v>44286</c:v>
                </c:pt>
                <c:pt idx="1139">
                  <c:v>44285</c:v>
                </c:pt>
                <c:pt idx="1140">
                  <c:v>44281</c:v>
                </c:pt>
                <c:pt idx="1141">
                  <c:v>44280</c:v>
                </c:pt>
                <c:pt idx="1142">
                  <c:v>44279</c:v>
                </c:pt>
                <c:pt idx="1143">
                  <c:v>44278</c:v>
                </c:pt>
                <c:pt idx="1144">
                  <c:v>44277</c:v>
                </c:pt>
                <c:pt idx="1145">
                  <c:v>44274</c:v>
                </c:pt>
                <c:pt idx="1146">
                  <c:v>44273</c:v>
                </c:pt>
                <c:pt idx="1147">
                  <c:v>44272</c:v>
                </c:pt>
                <c:pt idx="1148">
                  <c:v>44271</c:v>
                </c:pt>
                <c:pt idx="1149">
                  <c:v>44270</c:v>
                </c:pt>
                <c:pt idx="1150">
                  <c:v>44267</c:v>
                </c:pt>
                <c:pt idx="1151">
                  <c:v>44265</c:v>
                </c:pt>
                <c:pt idx="1152">
                  <c:v>44264</c:v>
                </c:pt>
                <c:pt idx="1153">
                  <c:v>44263</c:v>
                </c:pt>
                <c:pt idx="1154">
                  <c:v>44260</c:v>
                </c:pt>
                <c:pt idx="1155">
                  <c:v>44259</c:v>
                </c:pt>
                <c:pt idx="1156">
                  <c:v>44258</c:v>
                </c:pt>
                <c:pt idx="1157">
                  <c:v>44257</c:v>
                </c:pt>
                <c:pt idx="1158">
                  <c:v>44256</c:v>
                </c:pt>
                <c:pt idx="1159">
                  <c:v>44253</c:v>
                </c:pt>
                <c:pt idx="1160">
                  <c:v>44252</c:v>
                </c:pt>
                <c:pt idx="1161">
                  <c:v>44251</c:v>
                </c:pt>
                <c:pt idx="1162">
                  <c:v>44250</c:v>
                </c:pt>
                <c:pt idx="1163">
                  <c:v>44249</c:v>
                </c:pt>
                <c:pt idx="1164">
                  <c:v>44246</c:v>
                </c:pt>
                <c:pt idx="1165">
                  <c:v>44245</c:v>
                </c:pt>
                <c:pt idx="1166">
                  <c:v>44244</c:v>
                </c:pt>
                <c:pt idx="1167">
                  <c:v>44243</c:v>
                </c:pt>
                <c:pt idx="1168">
                  <c:v>44242</c:v>
                </c:pt>
                <c:pt idx="1169">
                  <c:v>44239</c:v>
                </c:pt>
                <c:pt idx="1170">
                  <c:v>44238</c:v>
                </c:pt>
                <c:pt idx="1171">
                  <c:v>44237</c:v>
                </c:pt>
                <c:pt idx="1172">
                  <c:v>44236</c:v>
                </c:pt>
                <c:pt idx="1173">
                  <c:v>44235</c:v>
                </c:pt>
                <c:pt idx="1174">
                  <c:v>44232</c:v>
                </c:pt>
                <c:pt idx="1175">
                  <c:v>44231</c:v>
                </c:pt>
                <c:pt idx="1176">
                  <c:v>44230</c:v>
                </c:pt>
                <c:pt idx="1177">
                  <c:v>44229</c:v>
                </c:pt>
                <c:pt idx="1178">
                  <c:v>44228</c:v>
                </c:pt>
                <c:pt idx="1179">
                  <c:v>44225</c:v>
                </c:pt>
                <c:pt idx="1180">
                  <c:v>44224</c:v>
                </c:pt>
                <c:pt idx="1181">
                  <c:v>44223</c:v>
                </c:pt>
                <c:pt idx="1182">
                  <c:v>44221</c:v>
                </c:pt>
                <c:pt idx="1183">
                  <c:v>44218</c:v>
                </c:pt>
                <c:pt idx="1184">
                  <c:v>44217</c:v>
                </c:pt>
                <c:pt idx="1185">
                  <c:v>44216</c:v>
                </c:pt>
                <c:pt idx="1186">
                  <c:v>44215</c:v>
                </c:pt>
                <c:pt idx="1187">
                  <c:v>44214</c:v>
                </c:pt>
                <c:pt idx="1188">
                  <c:v>44211</c:v>
                </c:pt>
                <c:pt idx="1189">
                  <c:v>44210</c:v>
                </c:pt>
                <c:pt idx="1190">
                  <c:v>44209</c:v>
                </c:pt>
                <c:pt idx="1191">
                  <c:v>44208</c:v>
                </c:pt>
                <c:pt idx="1192">
                  <c:v>44207</c:v>
                </c:pt>
                <c:pt idx="1193">
                  <c:v>44204</c:v>
                </c:pt>
                <c:pt idx="1194">
                  <c:v>44203</c:v>
                </c:pt>
                <c:pt idx="1195">
                  <c:v>44202</c:v>
                </c:pt>
                <c:pt idx="1196">
                  <c:v>44201</c:v>
                </c:pt>
                <c:pt idx="1197">
                  <c:v>44200</c:v>
                </c:pt>
                <c:pt idx="1198">
                  <c:v>44197</c:v>
                </c:pt>
                <c:pt idx="1199">
                  <c:v>44196</c:v>
                </c:pt>
                <c:pt idx="1200">
                  <c:v>44195</c:v>
                </c:pt>
                <c:pt idx="1201">
                  <c:v>44194</c:v>
                </c:pt>
                <c:pt idx="1202">
                  <c:v>44193</c:v>
                </c:pt>
                <c:pt idx="1203">
                  <c:v>44189</c:v>
                </c:pt>
                <c:pt idx="1204">
                  <c:v>44188</c:v>
                </c:pt>
                <c:pt idx="1205">
                  <c:v>44187</c:v>
                </c:pt>
                <c:pt idx="1206">
                  <c:v>44186</c:v>
                </c:pt>
                <c:pt idx="1207">
                  <c:v>44183</c:v>
                </c:pt>
                <c:pt idx="1208">
                  <c:v>44182</c:v>
                </c:pt>
                <c:pt idx="1209">
                  <c:v>44181</c:v>
                </c:pt>
                <c:pt idx="1210">
                  <c:v>44180</c:v>
                </c:pt>
                <c:pt idx="1211">
                  <c:v>44179</c:v>
                </c:pt>
                <c:pt idx="1212">
                  <c:v>44176</c:v>
                </c:pt>
                <c:pt idx="1213">
                  <c:v>44175</c:v>
                </c:pt>
                <c:pt idx="1214">
                  <c:v>44174</c:v>
                </c:pt>
                <c:pt idx="1215">
                  <c:v>44173</c:v>
                </c:pt>
                <c:pt idx="1216">
                  <c:v>44172</c:v>
                </c:pt>
                <c:pt idx="1217">
                  <c:v>44169</c:v>
                </c:pt>
                <c:pt idx="1218">
                  <c:v>44168</c:v>
                </c:pt>
                <c:pt idx="1219">
                  <c:v>44167</c:v>
                </c:pt>
                <c:pt idx="1220">
                  <c:v>44166</c:v>
                </c:pt>
                <c:pt idx="1221">
                  <c:v>44162</c:v>
                </c:pt>
                <c:pt idx="1222">
                  <c:v>44161</c:v>
                </c:pt>
                <c:pt idx="1223">
                  <c:v>44160</c:v>
                </c:pt>
                <c:pt idx="1224">
                  <c:v>44159</c:v>
                </c:pt>
                <c:pt idx="1225">
                  <c:v>44158</c:v>
                </c:pt>
                <c:pt idx="1226">
                  <c:v>44155</c:v>
                </c:pt>
                <c:pt idx="1227">
                  <c:v>44154</c:v>
                </c:pt>
                <c:pt idx="1228">
                  <c:v>44153</c:v>
                </c:pt>
                <c:pt idx="1229">
                  <c:v>44152</c:v>
                </c:pt>
                <c:pt idx="1230">
                  <c:v>44149</c:v>
                </c:pt>
                <c:pt idx="1231">
                  <c:v>44148</c:v>
                </c:pt>
                <c:pt idx="1232">
                  <c:v>44147</c:v>
                </c:pt>
                <c:pt idx="1233">
                  <c:v>44146</c:v>
                </c:pt>
                <c:pt idx="1234">
                  <c:v>44145</c:v>
                </c:pt>
                <c:pt idx="1235">
                  <c:v>44144</c:v>
                </c:pt>
                <c:pt idx="1236">
                  <c:v>44141</c:v>
                </c:pt>
                <c:pt idx="1237">
                  <c:v>44140</c:v>
                </c:pt>
                <c:pt idx="1238">
                  <c:v>44139</c:v>
                </c:pt>
                <c:pt idx="1239">
                  <c:v>44138</c:v>
                </c:pt>
                <c:pt idx="1240">
                  <c:v>44137</c:v>
                </c:pt>
                <c:pt idx="1241">
                  <c:v>44134</c:v>
                </c:pt>
                <c:pt idx="1242">
                  <c:v>44133</c:v>
                </c:pt>
                <c:pt idx="1243">
                  <c:v>44132</c:v>
                </c:pt>
                <c:pt idx="1244">
                  <c:v>44131</c:v>
                </c:pt>
                <c:pt idx="1245">
                  <c:v>44130</c:v>
                </c:pt>
                <c:pt idx="1246">
                  <c:v>44127</c:v>
                </c:pt>
                <c:pt idx="1247">
                  <c:v>44126</c:v>
                </c:pt>
                <c:pt idx="1248">
                  <c:v>44125</c:v>
                </c:pt>
                <c:pt idx="1249">
                  <c:v>44124</c:v>
                </c:pt>
                <c:pt idx="1250">
                  <c:v>44123</c:v>
                </c:pt>
                <c:pt idx="1251">
                  <c:v>44120</c:v>
                </c:pt>
                <c:pt idx="1252">
                  <c:v>44119</c:v>
                </c:pt>
                <c:pt idx="1253">
                  <c:v>44118</c:v>
                </c:pt>
                <c:pt idx="1254">
                  <c:v>44117</c:v>
                </c:pt>
                <c:pt idx="1255">
                  <c:v>44116</c:v>
                </c:pt>
                <c:pt idx="1256">
                  <c:v>44113</c:v>
                </c:pt>
                <c:pt idx="1257">
                  <c:v>44112</c:v>
                </c:pt>
                <c:pt idx="1258">
                  <c:v>44111</c:v>
                </c:pt>
                <c:pt idx="1259">
                  <c:v>44110</c:v>
                </c:pt>
                <c:pt idx="1260">
                  <c:v>44109</c:v>
                </c:pt>
                <c:pt idx="1261">
                  <c:v>44105</c:v>
                </c:pt>
                <c:pt idx="1262">
                  <c:v>44104</c:v>
                </c:pt>
                <c:pt idx="1263">
                  <c:v>44103</c:v>
                </c:pt>
                <c:pt idx="1264">
                  <c:v>44102</c:v>
                </c:pt>
                <c:pt idx="1265">
                  <c:v>44099</c:v>
                </c:pt>
                <c:pt idx="1266">
                  <c:v>44098</c:v>
                </c:pt>
                <c:pt idx="1267">
                  <c:v>44097</c:v>
                </c:pt>
                <c:pt idx="1268">
                  <c:v>44096</c:v>
                </c:pt>
                <c:pt idx="1269">
                  <c:v>44095</c:v>
                </c:pt>
                <c:pt idx="1270">
                  <c:v>44092</c:v>
                </c:pt>
                <c:pt idx="1271">
                  <c:v>44091</c:v>
                </c:pt>
                <c:pt idx="1272">
                  <c:v>44090</c:v>
                </c:pt>
                <c:pt idx="1273">
                  <c:v>44089</c:v>
                </c:pt>
                <c:pt idx="1274">
                  <c:v>44088</c:v>
                </c:pt>
                <c:pt idx="1275">
                  <c:v>44085</c:v>
                </c:pt>
                <c:pt idx="1276">
                  <c:v>44084</c:v>
                </c:pt>
                <c:pt idx="1277">
                  <c:v>44083</c:v>
                </c:pt>
                <c:pt idx="1278">
                  <c:v>44082</c:v>
                </c:pt>
                <c:pt idx="1279">
                  <c:v>44081</c:v>
                </c:pt>
                <c:pt idx="1280">
                  <c:v>44078</c:v>
                </c:pt>
                <c:pt idx="1281">
                  <c:v>44077</c:v>
                </c:pt>
                <c:pt idx="1282">
                  <c:v>44076</c:v>
                </c:pt>
                <c:pt idx="1283">
                  <c:v>44075</c:v>
                </c:pt>
                <c:pt idx="1284">
                  <c:v>44074</c:v>
                </c:pt>
                <c:pt idx="1285">
                  <c:v>44071</c:v>
                </c:pt>
                <c:pt idx="1286">
                  <c:v>44070</c:v>
                </c:pt>
                <c:pt idx="1287">
                  <c:v>44069</c:v>
                </c:pt>
                <c:pt idx="1288">
                  <c:v>44068</c:v>
                </c:pt>
                <c:pt idx="1289">
                  <c:v>44067</c:v>
                </c:pt>
                <c:pt idx="1290">
                  <c:v>44064</c:v>
                </c:pt>
                <c:pt idx="1291">
                  <c:v>44063</c:v>
                </c:pt>
                <c:pt idx="1292">
                  <c:v>44062</c:v>
                </c:pt>
                <c:pt idx="1293">
                  <c:v>44061</c:v>
                </c:pt>
                <c:pt idx="1294">
                  <c:v>44060</c:v>
                </c:pt>
                <c:pt idx="1295">
                  <c:v>44057</c:v>
                </c:pt>
                <c:pt idx="1296">
                  <c:v>44056</c:v>
                </c:pt>
                <c:pt idx="1297">
                  <c:v>44055</c:v>
                </c:pt>
                <c:pt idx="1298">
                  <c:v>44054</c:v>
                </c:pt>
                <c:pt idx="1299">
                  <c:v>44053</c:v>
                </c:pt>
                <c:pt idx="1300">
                  <c:v>44050</c:v>
                </c:pt>
                <c:pt idx="1301">
                  <c:v>44049</c:v>
                </c:pt>
                <c:pt idx="1302">
                  <c:v>44048</c:v>
                </c:pt>
                <c:pt idx="1303">
                  <c:v>44047</c:v>
                </c:pt>
                <c:pt idx="1304">
                  <c:v>44046</c:v>
                </c:pt>
                <c:pt idx="1305">
                  <c:v>44043</c:v>
                </c:pt>
                <c:pt idx="1306">
                  <c:v>44042</c:v>
                </c:pt>
                <c:pt idx="1307">
                  <c:v>44041</c:v>
                </c:pt>
                <c:pt idx="1308">
                  <c:v>44040</c:v>
                </c:pt>
                <c:pt idx="1309">
                  <c:v>44039</c:v>
                </c:pt>
                <c:pt idx="1310">
                  <c:v>44036</c:v>
                </c:pt>
                <c:pt idx="1311">
                  <c:v>44035</c:v>
                </c:pt>
                <c:pt idx="1312">
                  <c:v>44034</c:v>
                </c:pt>
                <c:pt idx="1313">
                  <c:v>44033</c:v>
                </c:pt>
                <c:pt idx="1314">
                  <c:v>44032</c:v>
                </c:pt>
                <c:pt idx="1315">
                  <c:v>44029</c:v>
                </c:pt>
                <c:pt idx="1316">
                  <c:v>44028</c:v>
                </c:pt>
                <c:pt idx="1317">
                  <c:v>44027</c:v>
                </c:pt>
                <c:pt idx="1318">
                  <c:v>44026</c:v>
                </c:pt>
                <c:pt idx="1319">
                  <c:v>44025</c:v>
                </c:pt>
                <c:pt idx="1320">
                  <c:v>44022</c:v>
                </c:pt>
                <c:pt idx="1321">
                  <c:v>44021</c:v>
                </c:pt>
                <c:pt idx="1322">
                  <c:v>44020</c:v>
                </c:pt>
                <c:pt idx="1323">
                  <c:v>44019</c:v>
                </c:pt>
                <c:pt idx="1324">
                  <c:v>44018</c:v>
                </c:pt>
                <c:pt idx="1325">
                  <c:v>44015</c:v>
                </c:pt>
                <c:pt idx="1326">
                  <c:v>44014</c:v>
                </c:pt>
                <c:pt idx="1327">
                  <c:v>44013</c:v>
                </c:pt>
                <c:pt idx="1328">
                  <c:v>44012</c:v>
                </c:pt>
                <c:pt idx="1329">
                  <c:v>44011</c:v>
                </c:pt>
                <c:pt idx="1330">
                  <c:v>44008</c:v>
                </c:pt>
                <c:pt idx="1331">
                  <c:v>44007</c:v>
                </c:pt>
                <c:pt idx="1332">
                  <c:v>44006</c:v>
                </c:pt>
                <c:pt idx="1333">
                  <c:v>44005</c:v>
                </c:pt>
                <c:pt idx="1334">
                  <c:v>44004</c:v>
                </c:pt>
                <c:pt idx="1335">
                  <c:v>44001</c:v>
                </c:pt>
                <c:pt idx="1336">
                  <c:v>44000</c:v>
                </c:pt>
                <c:pt idx="1337">
                  <c:v>43999</c:v>
                </c:pt>
                <c:pt idx="1338">
                  <c:v>43998</c:v>
                </c:pt>
                <c:pt idx="1339">
                  <c:v>43997</c:v>
                </c:pt>
                <c:pt idx="1340">
                  <c:v>43994</c:v>
                </c:pt>
                <c:pt idx="1341">
                  <c:v>43993</c:v>
                </c:pt>
                <c:pt idx="1342">
                  <c:v>43992</c:v>
                </c:pt>
                <c:pt idx="1343">
                  <c:v>43991</c:v>
                </c:pt>
                <c:pt idx="1344">
                  <c:v>43990</c:v>
                </c:pt>
                <c:pt idx="1345">
                  <c:v>43987</c:v>
                </c:pt>
                <c:pt idx="1346">
                  <c:v>43986</c:v>
                </c:pt>
                <c:pt idx="1347">
                  <c:v>43985</c:v>
                </c:pt>
                <c:pt idx="1348">
                  <c:v>43984</c:v>
                </c:pt>
                <c:pt idx="1349">
                  <c:v>43983</c:v>
                </c:pt>
                <c:pt idx="1350">
                  <c:v>43980</c:v>
                </c:pt>
                <c:pt idx="1351">
                  <c:v>43979</c:v>
                </c:pt>
                <c:pt idx="1352">
                  <c:v>43978</c:v>
                </c:pt>
                <c:pt idx="1353">
                  <c:v>43977</c:v>
                </c:pt>
                <c:pt idx="1354">
                  <c:v>43973</c:v>
                </c:pt>
                <c:pt idx="1355">
                  <c:v>43972</c:v>
                </c:pt>
                <c:pt idx="1356">
                  <c:v>43971</c:v>
                </c:pt>
                <c:pt idx="1357">
                  <c:v>43970</c:v>
                </c:pt>
                <c:pt idx="1358">
                  <c:v>43969</c:v>
                </c:pt>
                <c:pt idx="1359">
                  <c:v>43966</c:v>
                </c:pt>
                <c:pt idx="1360">
                  <c:v>43965</c:v>
                </c:pt>
                <c:pt idx="1361">
                  <c:v>43964</c:v>
                </c:pt>
                <c:pt idx="1362">
                  <c:v>43963</c:v>
                </c:pt>
                <c:pt idx="1363">
                  <c:v>43962</c:v>
                </c:pt>
                <c:pt idx="1364">
                  <c:v>43959</c:v>
                </c:pt>
                <c:pt idx="1365">
                  <c:v>43958</c:v>
                </c:pt>
                <c:pt idx="1366">
                  <c:v>43957</c:v>
                </c:pt>
                <c:pt idx="1367">
                  <c:v>43956</c:v>
                </c:pt>
                <c:pt idx="1368">
                  <c:v>43955</c:v>
                </c:pt>
                <c:pt idx="1369">
                  <c:v>43951</c:v>
                </c:pt>
                <c:pt idx="1370">
                  <c:v>43950</c:v>
                </c:pt>
                <c:pt idx="1371">
                  <c:v>43949</c:v>
                </c:pt>
                <c:pt idx="1372">
                  <c:v>43948</c:v>
                </c:pt>
                <c:pt idx="1373">
                  <c:v>43945</c:v>
                </c:pt>
                <c:pt idx="1374">
                  <c:v>43944</c:v>
                </c:pt>
                <c:pt idx="1375">
                  <c:v>43943</c:v>
                </c:pt>
                <c:pt idx="1376">
                  <c:v>43942</c:v>
                </c:pt>
                <c:pt idx="1377">
                  <c:v>43941</c:v>
                </c:pt>
                <c:pt idx="1378">
                  <c:v>43938</c:v>
                </c:pt>
                <c:pt idx="1379">
                  <c:v>43937</c:v>
                </c:pt>
                <c:pt idx="1380">
                  <c:v>43936</c:v>
                </c:pt>
                <c:pt idx="1381">
                  <c:v>43934</c:v>
                </c:pt>
                <c:pt idx="1382">
                  <c:v>43930</c:v>
                </c:pt>
                <c:pt idx="1383">
                  <c:v>43929</c:v>
                </c:pt>
                <c:pt idx="1384">
                  <c:v>43928</c:v>
                </c:pt>
                <c:pt idx="1385">
                  <c:v>43924</c:v>
                </c:pt>
                <c:pt idx="1386">
                  <c:v>43922</c:v>
                </c:pt>
                <c:pt idx="1387">
                  <c:v>43921</c:v>
                </c:pt>
                <c:pt idx="1388">
                  <c:v>43920</c:v>
                </c:pt>
                <c:pt idx="1389">
                  <c:v>43917</c:v>
                </c:pt>
                <c:pt idx="1390">
                  <c:v>43916</c:v>
                </c:pt>
                <c:pt idx="1391">
                  <c:v>43915</c:v>
                </c:pt>
                <c:pt idx="1392">
                  <c:v>43914</c:v>
                </c:pt>
                <c:pt idx="1393">
                  <c:v>43913</c:v>
                </c:pt>
                <c:pt idx="1394">
                  <c:v>43910</c:v>
                </c:pt>
                <c:pt idx="1395">
                  <c:v>43909</c:v>
                </c:pt>
                <c:pt idx="1396">
                  <c:v>43908</c:v>
                </c:pt>
                <c:pt idx="1397">
                  <c:v>43907</c:v>
                </c:pt>
                <c:pt idx="1398">
                  <c:v>43906</c:v>
                </c:pt>
                <c:pt idx="1399">
                  <c:v>43903</c:v>
                </c:pt>
                <c:pt idx="1400">
                  <c:v>43902</c:v>
                </c:pt>
                <c:pt idx="1401">
                  <c:v>43901</c:v>
                </c:pt>
                <c:pt idx="1402">
                  <c:v>43899</c:v>
                </c:pt>
                <c:pt idx="1403">
                  <c:v>43896</c:v>
                </c:pt>
                <c:pt idx="1404">
                  <c:v>43895</c:v>
                </c:pt>
                <c:pt idx="1405">
                  <c:v>43894</c:v>
                </c:pt>
                <c:pt idx="1406">
                  <c:v>43893</c:v>
                </c:pt>
                <c:pt idx="1407">
                  <c:v>43892</c:v>
                </c:pt>
                <c:pt idx="1408">
                  <c:v>43889</c:v>
                </c:pt>
                <c:pt idx="1409">
                  <c:v>43888</c:v>
                </c:pt>
                <c:pt idx="1410">
                  <c:v>43887</c:v>
                </c:pt>
                <c:pt idx="1411">
                  <c:v>43886</c:v>
                </c:pt>
                <c:pt idx="1412">
                  <c:v>43885</c:v>
                </c:pt>
                <c:pt idx="1413">
                  <c:v>43881</c:v>
                </c:pt>
                <c:pt idx="1414">
                  <c:v>43880</c:v>
                </c:pt>
                <c:pt idx="1415">
                  <c:v>43879</c:v>
                </c:pt>
                <c:pt idx="1416">
                  <c:v>43878</c:v>
                </c:pt>
                <c:pt idx="1417">
                  <c:v>43875</c:v>
                </c:pt>
                <c:pt idx="1418">
                  <c:v>43874</c:v>
                </c:pt>
                <c:pt idx="1419">
                  <c:v>43873</c:v>
                </c:pt>
                <c:pt idx="1420">
                  <c:v>43872</c:v>
                </c:pt>
                <c:pt idx="1421">
                  <c:v>43871</c:v>
                </c:pt>
                <c:pt idx="1422">
                  <c:v>43868</c:v>
                </c:pt>
                <c:pt idx="1423">
                  <c:v>43867</c:v>
                </c:pt>
                <c:pt idx="1424">
                  <c:v>43866</c:v>
                </c:pt>
                <c:pt idx="1425">
                  <c:v>43865</c:v>
                </c:pt>
                <c:pt idx="1426">
                  <c:v>43864</c:v>
                </c:pt>
                <c:pt idx="1427">
                  <c:v>43862</c:v>
                </c:pt>
                <c:pt idx="1428">
                  <c:v>43861</c:v>
                </c:pt>
                <c:pt idx="1429">
                  <c:v>43860</c:v>
                </c:pt>
                <c:pt idx="1430">
                  <c:v>43859</c:v>
                </c:pt>
                <c:pt idx="1431">
                  <c:v>43858</c:v>
                </c:pt>
                <c:pt idx="1432">
                  <c:v>43857</c:v>
                </c:pt>
                <c:pt idx="1433">
                  <c:v>43854</c:v>
                </c:pt>
                <c:pt idx="1434">
                  <c:v>43853</c:v>
                </c:pt>
                <c:pt idx="1435">
                  <c:v>43852</c:v>
                </c:pt>
                <c:pt idx="1436">
                  <c:v>43851</c:v>
                </c:pt>
                <c:pt idx="1437">
                  <c:v>43850</c:v>
                </c:pt>
                <c:pt idx="1438">
                  <c:v>43847</c:v>
                </c:pt>
                <c:pt idx="1439">
                  <c:v>43846</c:v>
                </c:pt>
                <c:pt idx="1440">
                  <c:v>43845</c:v>
                </c:pt>
                <c:pt idx="1441">
                  <c:v>43844</c:v>
                </c:pt>
                <c:pt idx="1442">
                  <c:v>43843</c:v>
                </c:pt>
                <c:pt idx="1443">
                  <c:v>43840</c:v>
                </c:pt>
                <c:pt idx="1444">
                  <c:v>43839</c:v>
                </c:pt>
                <c:pt idx="1445">
                  <c:v>43838</c:v>
                </c:pt>
                <c:pt idx="1446">
                  <c:v>43837</c:v>
                </c:pt>
                <c:pt idx="1447">
                  <c:v>43836</c:v>
                </c:pt>
                <c:pt idx="1448">
                  <c:v>43833</c:v>
                </c:pt>
                <c:pt idx="1449">
                  <c:v>43832</c:v>
                </c:pt>
                <c:pt idx="1450">
                  <c:v>43831</c:v>
                </c:pt>
                <c:pt idx="1451">
                  <c:v>43830</c:v>
                </c:pt>
                <c:pt idx="1452">
                  <c:v>43829</c:v>
                </c:pt>
                <c:pt idx="1453">
                  <c:v>43826</c:v>
                </c:pt>
                <c:pt idx="1454">
                  <c:v>43825</c:v>
                </c:pt>
                <c:pt idx="1455">
                  <c:v>43823</c:v>
                </c:pt>
                <c:pt idx="1456">
                  <c:v>43822</c:v>
                </c:pt>
                <c:pt idx="1457">
                  <c:v>43819</c:v>
                </c:pt>
                <c:pt idx="1458">
                  <c:v>43818</c:v>
                </c:pt>
                <c:pt idx="1459">
                  <c:v>43817</c:v>
                </c:pt>
                <c:pt idx="1460">
                  <c:v>43816</c:v>
                </c:pt>
                <c:pt idx="1461">
                  <c:v>43815</c:v>
                </c:pt>
                <c:pt idx="1462">
                  <c:v>43812</c:v>
                </c:pt>
                <c:pt idx="1463">
                  <c:v>43811</c:v>
                </c:pt>
                <c:pt idx="1464">
                  <c:v>43810</c:v>
                </c:pt>
                <c:pt idx="1465">
                  <c:v>43809</c:v>
                </c:pt>
                <c:pt idx="1466">
                  <c:v>43808</c:v>
                </c:pt>
                <c:pt idx="1467">
                  <c:v>43805</c:v>
                </c:pt>
                <c:pt idx="1468">
                  <c:v>43804</c:v>
                </c:pt>
                <c:pt idx="1469">
                  <c:v>43803</c:v>
                </c:pt>
                <c:pt idx="1470">
                  <c:v>43802</c:v>
                </c:pt>
                <c:pt idx="1471">
                  <c:v>43801</c:v>
                </c:pt>
                <c:pt idx="1472">
                  <c:v>43798</c:v>
                </c:pt>
                <c:pt idx="1473">
                  <c:v>43797</c:v>
                </c:pt>
                <c:pt idx="1474">
                  <c:v>43796</c:v>
                </c:pt>
                <c:pt idx="1475">
                  <c:v>43795</c:v>
                </c:pt>
                <c:pt idx="1476">
                  <c:v>43794</c:v>
                </c:pt>
                <c:pt idx="1477">
                  <c:v>43791</c:v>
                </c:pt>
                <c:pt idx="1478">
                  <c:v>43790</c:v>
                </c:pt>
                <c:pt idx="1479">
                  <c:v>43789</c:v>
                </c:pt>
                <c:pt idx="1480">
                  <c:v>43788</c:v>
                </c:pt>
                <c:pt idx="1481">
                  <c:v>43787</c:v>
                </c:pt>
                <c:pt idx="1482">
                  <c:v>43784</c:v>
                </c:pt>
                <c:pt idx="1483">
                  <c:v>43783</c:v>
                </c:pt>
                <c:pt idx="1484">
                  <c:v>43782</c:v>
                </c:pt>
                <c:pt idx="1485">
                  <c:v>43780</c:v>
                </c:pt>
                <c:pt idx="1486">
                  <c:v>43777</c:v>
                </c:pt>
                <c:pt idx="1487">
                  <c:v>43776</c:v>
                </c:pt>
                <c:pt idx="1488">
                  <c:v>43775</c:v>
                </c:pt>
                <c:pt idx="1489">
                  <c:v>43774</c:v>
                </c:pt>
                <c:pt idx="1490">
                  <c:v>43773</c:v>
                </c:pt>
                <c:pt idx="1491">
                  <c:v>43770</c:v>
                </c:pt>
                <c:pt idx="1492">
                  <c:v>43769</c:v>
                </c:pt>
                <c:pt idx="1493">
                  <c:v>43768</c:v>
                </c:pt>
                <c:pt idx="1494">
                  <c:v>43767</c:v>
                </c:pt>
                <c:pt idx="1495">
                  <c:v>43765</c:v>
                </c:pt>
                <c:pt idx="1496">
                  <c:v>43763</c:v>
                </c:pt>
                <c:pt idx="1497">
                  <c:v>43762</c:v>
                </c:pt>
                <c:pt idx="1498">
                  <c:v>43761</c:v>
                </c:pt>
                <c:pt idx="1499">
                  <c:v>43760</c:v>
                </c:pt>
                <c:pt idx="1500">
                  <c:v>43756</c:v>
                </c:pt>
                <c:pt idx="1501">
                  <c:v>43755</c:v>
                </c:pt>
                <c:pt idx="1502">
                  <c:v>43754</c:v>
                </c:pt>
                <c:pt idx="1503">
                  <c:v>43753</c:v>
                </c:pt>
                <c:pt idx="1504">
                  <c:v>43752</c:v>
                </c:pt>
                <c:pt idx="1505">
                  <c:v>43749</c:v>
                </c:pt>
                <c:pt idx="1506">
                  <c:v>43748</c:v>
                </c:pt>
                <c:pt idx="1507">
                  <c:v>43747</c:v>
                </c:pt>
                <c:pt idx="1508">
                  <c:v>43745</c:v>
                </c:pt>
                <c:pt idx="1509">
                  <c:v>43742</c:v>
                </c:pt>
                <c:pt idx="1510">
                  <c:v>43741</c:v>
                </c:pt>
                <c:pt idx="1511">
                  <c:v>43739</c:v>
                </c:pt>
                <c:pt idx="1512">
                  <c:v>43738</c:v>
                </c:pt>
                <c:pt idx="1513">
                  <c:v>43735</c:v>
                </c:pt>
                <c:pt idx="1514">
                  <c:v>43734</c:v>
                </c:pt>
                <c:pt idx="1515">
                  <c:v>43733</c:v>
                </c:pt>
                <c:pt idx="1516">
                  <c:v>43732</c:v>
                </c:pt>
                <c:pt idx="1517">
                  <c:v>43731</c:v>
                </c:pt>
                <c:pt idx="1518">
                  <c:v>43728</c:v>
                </c:pt>
                <c:pt idx="1519">
                  <c:v>43727</c:v>
                </c:pt>
                <c:pt idx="1520">
                  <c:v>43726</c:v>
                </c:pt>
                <c:pt idx="1521">
                  <c:v>43725</c:v>
                </c:pt>
                <c:pt idx="1522">
                  <c:v>43724</c:v>
                </c:pt>
                <c:pt idx="1523">
                  <c:v>43721</c:v>
                </c:pt>
                <c:pt idx="1524">
                  <c:v>43720</c:v>
                </c:pt>
                <c:pt idx="1525">
                  <c:v>43719</c:v>
                </c:pt>
                <c:pt idx="1526">
                  <c:v>43717</c:v>
                </c:pt>
                <c:pt idx="1527">
                  <c:v>43714</c:v>
                </c:pt>
                <c:pt idx="1528">
                  <c:v>43713</c:v>
                </c:pt>
                <c:pt idx="1529">
                  <c:v>43712</c:v>
                </c:pt>
                <c:pt idx="1530">
                  <c:v>43711</c:v>
                </c:pt>
                <c:pt idx="1531">
                  <c:v>43707</c:v>
                </c:pt>
                <c:pt idx="1532">
                  <c:v>43706</c:v>
                </c:pt>
                <c:pt idx="1533">
                  <c:v>43705</c:v>
                </c:pt>
                <c:pt idx="1534">
                  <c:v>43704</c:v>
                </c:pt>
                <c:pt idx="1535">
                  <c:v>43703</c:v>
                </c:pt>
                <c:pt idx="1536">
                  <c:v>43700</c:v>
                </c:pt>
                <c:pt idx="1537">
                  <c:v>43699</c:v>
                </c:pt>
                <c:pt idx="1538">
                  <c:v>43698</c:v>
                </c:pt>
                <c:pt idx="1539">
                  <c:v>43697</c:v>
                </c:pt>
                <c:pt idx="1540">
                  <c:v>43696</c:v>
                </c:pt>
                <c:pt idx="1541">
                  <c:v>43693</c:v>
                </c:pt>
                <c:pt idx="1542">
                  <c:v>43691</c:v>
                </c:pt>
                <c:pt idx="1543">
                  <c:v>43690</c:v>
                </c:pt>
                <c:pt idx="1544">
                  <c:v>43686</c:v>
                </c:pt>
                <c:pt idx="1545">
                  <c:v>43685</c:v>
                </c:pt>
                <c:pt idx="1546">
                  <c:v>43684</c:v>
                </c:pt>
                <c:pt idx="1547">
                  <c:v>43683</c:v>
                </c:pt>
                <c:pt idx="1548">
                  <c:v>43682</c:v>
                </c:pt>
                <c:pt idx="1549">
                  <c:v>43679</c:v>
                </c:pt>
                <c:pt idx="1550">
                  <c:v>43678</c:v>
                </c:pt>
                <c:pt idx="1551">
                  <c:v>43677</c:v>
                </c:pt>
                <c:pt idx="1552">
                  <c:v>43676</c:v>
                </c:pt>
                <c:pt idx="1553">
                  <c:v>43675</c:v>
                </c:pt>
                <c:pt idx="1554">
                  <c:v>43672</c:v>
                </c:pt>
                <c:pt idx="1555">
                  <c:v>43671</c:v>
                </c:pt>
                <c:pt idx="1556">
                  <c:v>43670</c:v>
                </c:pt>
                <c:pt idx="1557">
                  <c:v>43669</c:v>
                </c:pt>
                <c:pt idx="1558">
                  <c:v>43668</c:v>
                </c:pt>
                <c:pt idx="1559">
                  <c:v>43665</c:v>
                </c:pt>
                <c:pt idx="1560">
                  <c:v>43664</c:v>
                </c:pt>
                <c:pt idx="1561">
                  <c:v>43663</c:v>
                </c:pt>
                <c:pt idx="1562">
                  <c:v>43662</c:v>
                </c:pt>
                <c:pt idx="1563">
                  <c:v>43661</c:v>
                </c:pt>
                <c:pt idx="1564">
                  <c:v>43658</c:v>
                </c:pt>
                <c:pt idx="1565">
                  <c:v>43657</c:v>
                </c:pt>
                <c:pt idx="1566">
                  <c:v>43656</c:v>
                </c:pt>
                <c:pt idx="1567">
                  <c:v>43655</c:v>
                </c:pt>
                <c:pt idx="1568">
                  <c:v>43654</c:v>
                </c:pt>
                <c:pt idx="1569">
                  <c:v>43651</c:v>
                </c:pt>
                <c:pt idx="1570">
                  <c:v>43650</c:v>
                </c:pt>
                <c:pt idx="1571">
                  <c:v>43649</c:v>
                </c:pt>
                <c:pt idx="1572">
                  <c:v>43648</c:v>
                </c:pt>
                <c:pt idx="1573">
                  <c:v>43647</c:v>
                </c:pt>
                <c:pt idx="1574">
                  <c:v>43644</c:v>
                </c:pt>
                <c:pt idx="1575">
                  <c:v>43643</c:v>
                </c:pt>
                <c:pt idx="1576">
                  <c:v>43642</c:v>
                </c:pt>
                <c:pt idx="1577">
                  <c:v>43641</c:v>
                </c:pt>
                <c:pt idx="1578">
                  <c:v>43640</c:v>
                </c:pt>
                <c:pt idx="1579">
                  <c:v>43637</c:v>
                </c:pt>
                <c:pt idx="1580">
                  <c:v>43636</c:v>
                </c:pt>
                <c:pt idx="1581">
                  <c:v>43635</c:v>
                </c:pt>
                <c:pt idx="1582">
                  <c:v>43634</c:v>
                </c:pt>
                <c:pt idx="1583">
                  <c:v>43633</c:v>
                </c:pt>
                <c:pt idx="1584">
                  <c:v>43630</c:v>
                </c:pt>
                <c:pt idx="1585">
                  <c:v>43629</c:v>
                </c:pt>
                <c:pt idx="1586">
                  <c:v>43628</c:v>
                </c:pt>
                <c:pt idx="1587">
                  <c:v>43627</c:v>
                </c:pt>
                <c:pt idx="1588">
                  <c:v>43626</c:v>
                </c:pt>
                <c:pt idx="1589">
                  <c:v>43623</c:v>
                </c:pt>
                <c:pt idx="1590">
                  <c:v>43622</c:v>
                </c:pt>
                <c:pt idx="1591">
                  <c:v>43620</c:v>
                </c:pt>
                <c:pt idx="1592">
                  <c:v>43619</c:v>
                </c:pt>
                <c:pt idx="1593">
                  <c:v>43616</c:v>
                </c:pt>
                <c:pt idx="1594">
                  <c:v>43615</c:v>
                </c:pt>
                <c:pt idx="1595">
                  <c:v>43614</c:v>
                </c:pt>
                <c:pt idx="1596">
                  <c:v>43613</c:v>
                </c:pt>
                <c:pt idx="1597">
                  <c:v>43612</c:v>
                </c:pt>
                <c:pt idx="1598">
                  <c:v>43609</c:v>
                </c:pt>
                <c:pt idx="1599">
                  <c:v>43608</c:v>
                </c:pt>
                <c:pt idx="1600">
                  <c:v>43607</c:v>
                </c:pt>
                <c:pt idx="1601">
                  <c:v>43606</c:v>
                </c:pt>
                <c:pt idx="1602">
                  <c:v>43605</c:v>
                </c:pt>
                <c:pt idx="1603">
                  <c:v>43602</c:v>
                </c:pt>
                <c:pt idx="1604">
                  <c:v>43601</c:v>
                </c:pt>
                <c:pt idx="1605">
                  <c:v>43600</c:v>
                </c:pt>
                <c:pt idx="1606">
                  <c:v>43599</c:v>
                </c:pt>
                <c:pt idx="1607">
                  <c:v>43598</c:v>
                </c:pt>
                <c:pt idx="1608">
                  <c:v>43595</c:v>
                </c:pt>
                <c:pt idx="1609">
                  <c:v>43594</c:v>
                </c:pt>
                <c:pt idx="1610">
                  <c:v>43593</c:v>
                </c:pt>
                <c:pt idx="1611">
                  <c:v>43592</c:v>
                </c:pt>
                <c:pt idx="1612">
                  <c:v>43591</c:v>
                </c:pt>
                <c:pt idx="1613">
                  <c:v>43588</c:v>
                </c:pt>
                <c:pt idx="1614">
                  <c:v>43587</c:v>
                </c:pt>
                <c:pt idx="1615">
                  <c:v>43585</c:v>
                </c:pt>
                <c:pt idx="1616">
                  <c:v>43581</c:v>
                </c:pt>
                <c:pt idx="1617">
                  <c:v>43580</c:v>
                </c:pt>
                <c:pt idx="1618">
                  <c:v>43579</c:v>
                </c:pt>
                <c:pt idx="1619">
                  <c:v>43578</c:v>
                </c:pt>
                <c:pt idx="1620">
                  <c:v>43577</c:v>
                </c:pt>
                <c:pt idx="1621">
                  <c:v>43573</c:v>
                </c:pt>
                <c:pt idx="1622">
                  <c:v>43571</c:v>
                </c:pt>
                <c:pt idx="1623">
                  <c:v>43570</c:v>
                </c:pt>
                <c:pt idx="1624">
                  <c:v>43567</c:v>
                </c:pt>
                <c:pt idx="1625">
                  <c:v>43566</c:v>
                </c:pt>
                <c:pt idx="1626">
                  <c:v>43565</c:v>
                </c:pt>
                <c:pt idx="1627">
                  <c:v>43564</c:v>
                </c:pt>
                <c:pt idx="1628">
                  <c:v>43563</c:v>
                </c:pt>
                <c:pt idx="1629">
                  <c:v>43560</c:v>
                </c:pt>
                <c:pt idx="1630">
                  <c:v>43559</c:v>
                </c:pt>
                <c:pt idx="1631">
                  <c:v>43558</c:v>
                </c:pt>
                <c:pt idx="1632">
                  <c:v>43557</c:v>
                </c:pt>
                <c:pt idx="1633">
                  <c:v>43556</c:v>
                </c:pt>
              </c:numCache>
            </c:numRef>
          </c:cat>
          <c:val>
            <c:numRef>
              <c:f>Sheet1!$F$2:$F$1635</c:f>
              <c:numCache>
                <c:formatCode>_ * #,##0_ ;_ * \-#,##0_ ;_ * "-"??_ ;_ @_ </c:formatCode>
                <c:ptCount val="1634"/>
                <c:pt idx="0">
                  <c:v>1510.2545850034942</c:v>
                </c:pt>
                <c:pt idx="1">
                  <c:v>1487.555052618945</c:v>
                </c:pt>
                <c:pt idx="2">
                  <c:v>1451.5388066179064</c:v>
                </c:pt>
                <c:pt idx="3">
                  <c:v>1418.6311371971995</c:v>
                </c:pt>
                <c:pt idx="4">
                  <c:v>1398.802271198877</c:v>
                </c:pt>
                <c:pt idx="5">
                  <c:v>1394.7234502876356</c:v>
                </c:pt>
                <c:pt idx="6">
                  <c:v>1394.8114555291202</c:v>
                </c:pt>
                <c:pt idx="7">
                  <c:v>1390.0002668399272</c:v>
                </c:pt>
                <c:pt idx="8">
                  <c:v>1372.9754577560655</c:v>
                </c:pt>
                <c:pt idx="9">
                  <c:v>1361.4892935318337</c:v>
                </c:pt>
                <c:pt idx="10">
                  <c:v>1377.17195540076</c:v>
                </c:pt>
                <c:pt idx="11">
                  <c:v>1350.9873683558119</c:v>
                </c:pt>
                <c:pt idx="12">
                  <c:v>1342.5639951103599</c:v>
                </c:pt>
                <c:pt idx="13">
                  <c:v>1372.495129454109</c:v>
                </c:pt>
                <c:pt idx="14">
                  <c:v>1379.7474207189332</c:v>
                </c:pt>
                <c:pt idx="15">
                  <c:v>1364.1239336282072</c:v>
                </c:pt>
                <c:pt idx="16">
                  <c:v>1366.7020565970213</c:v>
                </c:pt>
                <c:pt idx="17">
                  <c:v>1357.8219038527627</c:v>
                </c:pt>
                <c:pt idx="18">
                  <c:v>1364.9738435750221</c:v>
                </c:pt>
                <c:pt idx="19">
                  <c:v>1347.4762754473591</c:v>
                </c:pt>
                <c:pt idx="20">
                  <c:v>1349.0955920753652</c:v>
                </c:pt>
                <c:pt idx="21">
                  <c:v>1327.412022340983</c:v>
                </c:pt>
                <c:pt idx="22">
                  <c:v>1345.2393073538874</c:v>
                </c:pt>
                <c:pt idx="23">
                  <c:v>1346.3658820965625</c:v>
                </c:pt>
                <c:pt idx="24">
                  <c:v>1372.6392817705319</c:v>
                </c:pt>
                <c:pt idx="25">
                  <c:v>1360.2728296434218</c:v>
                </c:pt>
                <c:pt idx="26">
                  <c:v>1368.9963155644414</c:v>
                </c:pt>
                <c:pt idx="27">
                  <c:v>1366.3501365545249</c:v>
                </c:pt>
                <c:pt idx="28">
                  <c:v>1409.7315062286214</c:v>
                </c:pt>
                <c:pt idx="29">
                  <c:v>1419.5362859079742</c:v>
                </c:pt>
                <c:pt idx="30">
                  <c:v>1397.5121331977543</c:v>
                </c:pt>
                <c:pt idx="31">
                  <c:v>1392.6102816164357</c:v>
                </c:pt>
                <c:pt idx="32">
                  <c:v>1392.2054440491474</c:v>
                </c:pt>
                <c:pt idx="33">
                  <c:v>1390.7539967464502</c:v>
                </c:pt>
                <c:pt idx="34">
                  <c:v>1385.6708866631745</c:v>
                </c:pt>
                <c:pt idx="35">
                  <c:v>1371.9179146477659</c:v>
                </c:pt>
                <c:pt idx="36">
                  <c:v>1391.1253277309715</c:v>
                </c:pt>
                <c:pt idx="37">
                  <c:v>1379.0705944752674</c:v>
                </c:pt>
                <c:pt idx="38">
                  <c:v>1393.3874594026659</c:v>
                </c:pt>
                <c:pt idx="39">
                  <c:v>1395.6893885516834</c:v>
                </c:pt>
                <c:pt idx="40">
                  <c:v>1411.091853304277</c:v>
                </c:pt>
                <c:pt idx="41">
                  <c:v>1390.2749131669459</c:v>
                </c:pt>
                <c:pt idx="42">
                  <c:v>1397.1462857202521</c:v>
                </c:pt>
                <c:pt idx="43">
                  <c:v>1388.9921425770945</c:v>
                </c:pt>
                <c:pt idx="44">
                  <c:v>1407.3232037716627</c:v>
                </c:pt>
                <c:pt idx="45">
                  <c:v>1421.7016992810186</c:v>
                </c:pt>
                <c:pt idx="46">
                  <c:v>1444.3209975291227</c:v>
                </c:pt>
                <c:pt idx="47">
                  <c:v>1421.1961064773975</c:v>
                </c:pt>
                <c:pt idx="48">
                  <c:v>1405.1500529347263</c:v>
                </c:pt>
                <c:pt idx="49">
                  <c:v>1397.5071543079457</c:v>
                </c:pt>
                <c:pt idx="50">
                  <c:v>1388.7990760324153</c:v>
                </c:pt>
                <c:pt idx="51">
                  <c:v>1393.112577587616</c:v>
                </c:pt>
                <c:pt idx="52">
                  <c:v>1371.3921371557308</c:v>
                </c:pt>
                <c:pt idx="53">
                  <c:v>1368.7080445727436</c:v>
                </c:pt>
                <c:pt idx="54">
                  <c:v>1363.6218731450583</c:v>
                </c:pt>
                <c:pt idx="55">
                  <c:v>1396.3205301172391</c:v>
                </c:pt>
                <c:pt idx="56">
                  <c:v>1398.8583509915202</c:v>
                </c:pt>
                <c:pt idx="57">
                  <c:v>1420.188587755217</c:v>
                </c:pt>
                <c:pt idx="58">
                  <c:v>1405.8910664875482</c:v>
                </c:pt>
                <c:pt idx="59">
                  <c:v>1403.2399758701176</c:v>
                </c:pt>
                <c:pt idx="60">
                  <c:v>1407.9269950844175</c:v>
                </c:pt>
                <c:pt idx="61">
                  <c:v>1401.8685272158343</c:v>
                </c:pt>
                <c:pt idx="62">
                  <c:v>1410.3638252343346</c:v>
                </c:pt>
                <c:pt idx="63">
                  <c:v>1379.2635937376517</c:v>
                </c:pt>
                <c:pt idx="64">
                  <c:v>1385.630618209789</c:v>
                </c:pt>
                <c:pt idx="65">
                  <c:v>1370.887620868825</c:v>
                </c:pt>
                <c:pt idx="66">
                  <c:v>1413.3614196695373</c:v>
                </c:pt>
                <c:pt idx="67">
                  <c:v>1423.0945100638733</c:v>
                </c:pt>
                <c:pt idx="68">
                  <c:v>1430.4849655208907</c:v>
                </c:pt>
                <c:pt idx="69">
                  <c:v>1403.2631546206464</c:v>
                </c:pt>
                <c:pt idx="70">
                  <c:v>1416.3758683195656</c:v>
                </c:pt>
                <c:pt idx="71">
                  <c:v>1421.3925034956649</c:v>
                </c:pt>
                <c:pt idx="72">
                  <c:v>1442.7979618648508</c:v>
                </c:pt>
                <c:pt idx="73">
                  <c:v>1445.3758829867811</c:v>
                </c:pt>
                <c:pt idx="74">
                  <c:v>1450.249274157436</c:v>
                </c:pt>
                <c:pt idx="75">
                  <c:v>1453.6441705429195</c:v>
                </c:pt>
                <c:pt idx="76">
                  <c:v>1450.6435484044546</c:v>
                </c:pt>
                <c:pt idx="77">
                  <c:v>1448.0200435278564</c:v>
                </c:pt>
                <c:pt idx="78">
                  <c:v>1442.2294937568204</c:v>
                </c:pt>
                <c:pt idx="79">
                  <c:v>1425.034023132419</c:v>
                </c:pt>
                <c:pt idx="80">
                  <c:v>1411.6210621933424</c:v>
                </c:pt>
                <c:pt idx="81">
                  <c:v>1439.9161266177018</c:v>
                </c:pt>
                <c:pt idx="82">
                  <c:v>1451.3672704075354</c:v>
                </c:pt>
                <c:pt idx="83">
                  <c:v>1467.456384618823</c:v>
                </c:pt>
                <c:pt idx="84">
                  <c:v>1441.5554597283851</c:v>
                </c:pt>
                <c:pt idx="85">
                  <c:v>1425.9611058712699</c:v>
                </c:pt>
                <c:pt idx="86">
                  <c:v>1418.5251339418792</c:v>
                </c:pt>
                <c:pt idx="87">
                  <c:v>1416.5068669473721</c:v>
                </c:pt>
                <c:pt idx="88">
                  <c:v>1427.5300617016833</c:v>
                </c:pt>
                <c:pt idx="89">
                  <c:v>1402.5044458243146</c:v>
                </c:pt>
                <c:pt idx="90">
                  <c:v>1396.2798916112322</c:v>
                </c:pt>
                <c:pt idx="91">
                  <c:v>1383.7911202723344</c:v>
                </c:pt>
                <c:pt idx="92">
                  <c:v>1384.8335585054708</c:v>
                </c:pt>
                <c:pt idx="93">
                  <c:v>1446.3847137137084</c:v>
                </c:pt>
                <c:pt idx="94">
                  <c:v>1497.8612872407939</c:v>
                </c:pt>
                <c:pt idx="95">
                  <c:v>1450.4978149541062</c:v>
                </c:pt>
                <c:pt idx="96">
                  <c:v>1450.9915324327103</c:v>
                </c:pt>
                <c:pt idx="97">
                  <c:v>1451.3825434884352</c:v>
                </c:pt>
                <c:pt idx="98">
                  <c:v>1462.9485717964913</c:v>
                </c:pt>
                <c:pt idx="99">
                  <c:v>1445.3780696613592</c:v>
                </c:pt>
                <c:pt idx="100">
                  <c:v>1445.5732892394692</c:v>
                </c:pt>
                <c:pt idx="101">
                  <c:v>1405.4549762943657</c:v>
                </c:pt>
                <c:pt idx="102">
                  <c:v>1402.4718475525262</c:v>
                </c:pt>
                <c:pt idx="103">
                  <c:v>1406.3089904611584</c:v>
                </c:pt>
                <c:pt idx="104">
                  <c:v>1373.8794290266824</c:v>
                </c:pt>
                <c:pt idx="105">
                  <c:v>1377.1710470897813</c:v>
                </c:pt>
                <c:pt idx="106">
                  <c:v>1380.280262851913</c:v>
                </c:pt>
                <c:pt idx="107">
                  <c:v>1382.098667789975</c:v>
                </c:pt>
                <c:pt idx="108">
                  <c:v>1408.6040231749676</c:v>
                </c:pt>
                <c:pt idx="109">
                  <c:v>1439.8591385140799</c:v>
                </c:pt>
                <c:pt idx="110">
                  <c:v>1471.737287902235</c:v>
                </c:pt>
                <c:pt idx="111">
                  <c:v>1458.9957033409528</c:v>
                </c:pt>
                <c:pt idx="112">
                  <c:v>1476.867798362136</c:v>
                </c:pt>
                <c:pt idx="113">
                  <c:v>1499.7691439896771</c:v>
                </c:pt>
                <c:pt idx="114">
                  <c:v>1483.6433945689182</c:v>
                </c:pt>
                <c:pt idx="115">
                  <c:v>1520.1153435520482</c:v>
                </c:pt>
                <c:pt idx="116">
                  <c:v>1541.4386838805369</c:v>
                </c:pt>
                <c:pt idx="117">
                  <c:v>1506.9960698293944</c:v>
                </c:pt>
                <c:pt idx="118">
                  <c:v>1521.8797880897505</c:v>
                </c:pt>
                <c:pt idx="119">
                  <c:v>1521.5470098600997</c:v>
                </c:pt>
                <c:pt idx="120">
                  <c:v>1478.4252825613009</c:v>
                </c:pt>
                <c:pt idx="121">
                  <c:v>1461.6101587489122</c:v>
                </c:pt>
                <c:pt idx="122">
                  <c:v>1473.4797984118609</c:v>
                </c:pt>
                <c:pt idx="123">
                  <c:v>1497.7896988792195</c:v>
                </c:pt>
                <c:pt idx="124">
                  <c:v>1480.1715272382833</c:v>
                </c:pt>
                <c:pt idx="125">
                  <c:v>1455.5398155553121</c:v>
                </c:pt>
                <c:pt idx="126">
                  <c:v>1438.0215581220248</c:v>
                </c:pt>
                <c:pt idx="127">
                  <c:v>1450.2489041048152</c:v>
                </c:pt>
                <c:pt idx="128">
                  <c:v>1465.1486691924604</c:v>
                </c:pt>
                <c:pt idx="129">
                  <c:v>1449.3808952207223</c:v>
                </c:pt>
                <c:pt idx="130">
                  <c:v>1437.0547451881455</c:v>
                </c:pt>
                <c:pt idx="131">
                  <c:v>1445.7620497172866</c:v>
                </c:pt>
                <c:pt idx="132">
                  <c:v>1455.3247813414091</c:v>
                </c:pt>
                <c:pt idx="133">
                  <c:v>1426.9899867220217</c:v>
                </c:pt>
                <c:pt idx="134">
                  <c:v>1432.1510769848696</c:v>
                </c:pt>
                <c:pt idx="135">
                  <c:v>1413.2559883137221</c:v>
                </c:pt>
                <c:pt idx="136">
                  <c:v>1391.6429977064936</c:v>
                </c:pt>
                <c:pt idx="137">
                  <c:v>1367.8050152542523</c:v>
                </c:pt>
                <c:pt idx="138">
                  <c:v>1301.3675843159219</c:v>
                </c:pt>
                <c:pt idx="139">
                  <c:v>1258.5649432997998</c:v>
                </c:pt>
                <c:pt idx="140">
                  <c:v>1277.717386748225</c:v>
                </c:pt>
                <c:pt idx="141">
                  <c:v>1260.1012672172774</c:v>
                </c:pt>
                <c:pt idx="142">
                  <c:v>1319.6861982859684</c:v>
                </c:pt>
                <c:pt idx="143">
                  <c:v>1391.4085525505661</c:v>
                </c:pt>
                <c:pt idx="144">
                  <c:v>1402.2643153144838</c:v>
                </c:pt>
                <c:pt idx="145">
                  <c:v>1390.2286229481836</c:v>
                </c:pt>
                <c:pt idx="146">
                  <c:v>1418.2177547784827</c:v>
                </c:pt>
                <c:pt idx="147">
                  <c:v>1418.5733753471884</c:v>
                </c:pt>
                <c:pt idx="148">
                  <c:v>1382.5284334474545</c:v>
                </c:pt>
                <c:pt idx="149">
                  <c:v>1396.6875886760461</c:v>
                </c:pt>
                <c:pt idx="150">
                  <c:v>1428.8702913712198</c:v>
                </c:pt>
                <c:pt idx="151">
                  <c:v>1413.2592178638683</c:v>
                </c:pt>
                <c:pt idx="152">
                  <c:v>1397.7400856122422</c:v>
                </c:pt>
                <c:pt idx="153">
                  <c:v>1409.0528297218509</c:v>
                </c:pt>
                <c:pt idx="154">
                  <c:v>1404.0872618074391</c:v>
                </c:pt>
                <c:pt idx="155">
                  <c:v>1368.4040631652299</c:v>
                </c:pt>
                <c:pt idx="156">
                  <c:v>1444.36086228874</c:v>
                </c:pt>
                <c:pt idx="157">
                  <c:v>1470.039284630562</c:v>
                </c:pt>
                <c:pt idx="158">
                  <c:v>1480.1843108742787</c:v>
                </c:pt>
                <c:pt idx="159">
                  <c:v>1485.3643074619411</c:v>
                </c:pt>
                <c:pt idx="160">
                  <c:v>1507.8721189477053</c:v>
                </c:pt>
                <c:pt idx="161">
                  <c:v>1536.553316461423</c:v>
                </c:pt>
                <c:pt idx="162">
                  <c:v>1510.4554562943601</c:v>
                </c:pt>
                <c:pt idx="163">
                  <c:v>1473.1811995879243</c:v>
                </c:pt>
                <c:pt idx="164">
                  <c:v>1458.4461079165892</c:v>
                </c:pt>
                <c:pt idx="165">
                  <c:v>1467.7370527112184</c:v>
                </c:pt>
                <c:pt idx="166">
                  <c:v>1495.670441160348</c:v>
                </c:pt>
                <c:pt idx="167">
                  <c:v>1560.7786430843273</c:v>
                </c:pt>
                <c:pt idx="168">
                  <c:v>1524.5363958553476</c:v>
                </c:pt>
                <c:pt idx="169">
                  <c:v>1550.8526879921965</c:v>
                </c:pt>
                <c:pt idx="170">
                  <c:v>1538.081364656651</c:v>
                </c:pt>
                <c:pt idx="171">
                  <c:v>1529.2226413232584</c:v>
                </c:pt>
                <c:pt idx="172">
                  <c:v>1482.6997267444203</c:v>
                </c:pt>
                <c:pt idx="173">
                  <c:v>1493.324576672883</c:v>
                </c:pt>
                <c:pt idx="174">
                  <c:v>1481.1600723533545</c:v>
                </c:pt>
                <c:pt idx="175">
                  <c:v>1550.3370701266631</c:v>
                </c:pt>
                <c:pt idx="176">
                  <c:v>1553.1560637105499</c:v>
                </c:pt>
                <c:pt idx="177">
                  <c:v>1524.9568765561569</c:v>
                </c:pt>
                <c:pt idx="178">
                  <c:v>1566.4366803759258</c:v>
                </c:pt>
                <c:pt idx="179">
                  <c:v>1622.1938880572445</c:v>
                </c:pt>
                <c:pt idx="180">
                  <c:v>1614.1426531838504</c:v>
                </c:pt>
                <c:pt idx="181">
                  <c:v>1617.2179250282995</c:v>
                </c:pt>
                <c:pt idx="182">
                  <c:v>1592.5051718213465</c:v>
                </c:pt>
                <c:pt idx="183">
                  <c:v>1567.8541501197928</c:v>
                </c:pt>
                <c:pt idx="184">
                  <c:v>1580.257338379816</c:v>
                </c:pt>
                <c:pt idx="185">
                  <c:v>1582.0532037491491</c:v>
                </c:pt>
                <c:pt idx="186">
                  <c:v>1554.1532546004921</c:v>
                </c:pt>
                <c:pt idx="187">
                  <c:v>1523.4458171403439</c:v>
                </c:pt>
                <c:pt idx="188">
                  <c:v>1437.1173177222288</c:v>
                </c:pt>
                <c:pt idx="189">
                  <c:v>1494.2921633531512</c:v>
                </c:pt>
                <c:pt idx="190">
                  <c:v>1596.9335242536222</c:v>
                </c:pt>
                <c:pt idx="191">
                  <c:v>1591.5883496324393</c:v>
                </c:pt>
                <c:pt idx="192">
                  <c:v>1597.7656043923384</c:v>
                </c:pt>
                <c:pt idx="193">
                  <c:v>1656.3557330925498</c:v>
                </c:pt>
                <c:pt idx="194">
                  <c:v>1662.6596467722461</c:v>
                </c:pt>
                <c:pt idx="195">
                  <c:v>1649.5810115555989</c:v>
                </c:pt>
                <c:pt idx="196">
                  <c:v>1643.9527466794109</c:v>
                </c:pt>
                <c:pt idx="197">
                  <c:v>1645.7365685179905</c:v>
                </c:pt>
                <c:pt idx="198">
                  <c:v>1677.7149348841206</c:v>
                </c:pt>
                <c:pt idx="199">
                  <c:v>1670.6668453837506</c:v>
                </c:pt>
                <c:pt idx="200">
                  <c:v>1709.2489016936713</c:v>
                </c:pt>
                <c:pt idx="201">
                  <c:v>1739.2616494609069</c:v>
                </c:pt>
                <c:pt idx="202">
                  <c:v>1759.6545092946619</c:v>
                </c:pt>
                <c:pt idx="203">
                  <c:v>1804.6256923105327</c:v>
                </c:pt>
                <c:pt idx="204">
                  <c:v>1739.042073692111</c:v>
                </c:pt>
                <c:pt idx="205">
                  <c:v>1768.2433297028133</c:v>
                </c:pt>
                <c:pt idx="206">
                  <c:v>1729.5102919235567</c:v>
                </c:pt>
                <c:pt idx="207">
                  <c:v>1702.757808670083</c:v>
                </c:pt>
                <c:pt idx="208">
                  <c:v>1705.2591288994824</c:v>
                </c:pt>
                <c:pt idx="209">
                  <c:v>1728.7266886781813</c:v>
                </c:pt>
                <c:pt idx="210">
                  <c:v>1750.1641397785033</c:v>
                </c:pt>
                <c:pt idx="211">
                  <c:v>1769.8572301060949</c:v>
                </c:pt>
                <c:pt idx="212">
                  <c:v>1673.6089319258153</c:v>
                </c:pt>
                <c:pt idx="213">
                  <c:v>1638.6298761389253</c:v>
                </c:pt>
                <c:pt idx="214">
                  <c:v>1638.5778669251122</c:v>
                </c:pt>
                <c:pt idx="215">
                  <c:v>1664.9495660316572</c:v>
                </c:pt>
                <c:pt idx="216">
                  <c:v>1682.4867763819871</c:v>
                </c:pt>
                <c:pt idx="217">
                  <c:v>1700.020479451237</c:v>
                </c:pt>
                <c:pt idx="218">
                  <c:v>1698.9988832179338</c:v>
                </c:pt>
                <c:pt idx="219">
                  <c:v>1663.430740834734</c:v>
                </c:pt>
                <c:pt idx="220">
                  <c:v>1703.8287542437188</c:v>
                </c:pt>
                <c:pt idx="221">
                  <c:v>1751.4852870854399</c:v>
                </c:pt>
                <c:pt idx="222">
                  <c:v>1749.7847157328733</c:v>
                </c:pt>
                <c:pt idx="223">
                  <c:v>1707.0363640289227</c:v>
                </c:pt>
                <c:pt idx="224">
                  <c:v>1650.333173367718</c:v>
                </c:pt>
                <c:pt idx="225">
                  <c:v>1658.8218860134075</c:v>
                </c:pt>
                <c:pt idx="226">
                  <c:v>1612.6496805219197</c:v>
                </c:pt>
                <c:pt idx="227">
                  <c:v>1582.0431909388597</c:v>
                </c:pt>
                <c:pt idx="228">
                  <c:v>1577.3860391321675</c:v>
                </c:pt>
                <c:pt idx="229">
                  <c:v>1597.6159789058584</c:v>
                </c:pt>
                <c:pt idx="230">
                  <c:v>1546.7563784954139</c:v>
                </c:pt>
                <c:pt idx="231">
                  <c:v>1523.7656910439725</c:v>
                </c:pt>
                <c:pt idx="232">
                  <c:v>1500.9400182925301</c:v>
                </c:pt>
                <c:pt idx="233">
                  <c:v>1538.7440523643027</c:v>
                </c:pt>
                <c:pt idx="234">
                  <c:v>1378.4856279849748</c:v>
                </c:pt>
                <c:pt idx="235">
                  <c:v>1384.88195998432</c:v>
                </c:pt>
                <c:pt idx="236">
                  <c:v>1407.7774333788982</c:v>
                </c:pt>
                <c:pt idx="237">
                  <c:v>1415.5420362225718</c:v>
                </c:pt>
                <c:pt idx="238">
                  <c:v>1428.831986681294</c:v>
                </c:pt>
                <c:pt idx="239">
                  <c:v>1413.3154302043993</c:v>
                </c:pt>
                <c:pt idx="240">
                  <c:v>1444.7381963365481</c:v>
                </c:pt>
                <c:pt idx="241">
                  <c:v>1456.7360965034802</c:v>
                </c:pt>
                <c:pt idx="242">
                  <c:v>1482.9449802981621</c:v>
                </c:pt>
                <c:pt idx="243">
                  <c:v>1519.7652447869939</c:v>
                </c:pt>
                <c:pt idx="244">
                  <c:v>1514.0062941083811</c:v>
                </c:pt>
                <c:pt idx="245">
                  <c:v>1501.2351344034403</c:v>
                </c:pt>
                <c:pt idx="246">
                  <c:v>1533.682881433286</c:v>
                </c:pt>
                <c:pt idx="247">
                  <c:v>1668.4596469464282</c:v>
                </c:pt>
                <c:pt idx="248">
                  <c:v>1532.6964903483258</c:v>
                </c:pt>
                <c:pt idx="249">
                  <c:v>1487.9840621419482</c:v>
                </c:pt>
                <c:pt idx="250">
                  <c:v>1370.3243215677201</c:v>
                </c:pt>
                <c:pt idx="251">
                  <c:v>1399.6526369799838</c:v>
                </c:pt>
                <c:pt idx="252">
                  <c:v>1340.6227887521143</c:v>
                </c:pt>
                <c:pt idx="253">
                  <c:v>1371.204190005782</c:v>
                </c:pt>
                <c:pt idx="254">
                  <c:v>1372.4839280721999</c:v>
                </c:pt>
                <c:pt idx="255">
                  <c:v>1346.0351742523981</c:v>
                </c:pt>
                <c:pt idx="256">
                  <c:v>1306.7353040526152</c:v>
                </c:pt>
                <c:pt idx="257">
                  <c:v>1307.7750858407574</c:v>
                </c:pt>
                <c:pt idx="258">
                  <c:v>1297.0302715152297</c:v>
                </c:pt>
                <c:pt idx="259">
                  <c:v>1298.9499217414339</c:v>
                </c:pt>
                <c:pt idx="260">
                  <c:v>1320.1196374391741</c:v>
                </c:pt>
                <c:pt idx="261">
                  <c:v>1273.1144278564052</c:v>
                </c:pt>
                <c:pt idx="262">
                  <c:v>1250.0250619324611</c:v>
                </c:pt>
                <c:pt idx="263">
                  <c:v>1263.3560908689929</c:v>
                </c:pt>
                <c:pt idx="264">
                  <c:v>1250.0517141574744</c:v>
                </c:pt>
                <c:pt idx="265">
                  <c:v>1249.6784105009765</c:v>
                </c:pt>
                <c:pt idx="266">
                  <c:v>1232.2413863555917</c:v>
                </c:pt>
                <c:pt idx="267">
                  <c:v>1251.8113647804432</c:v>
                </c:pt>
                <c:pt idx="268">
                  <c:v>1233.3612110719293</c:v>
                </c:pt>
                <c:pt idx="269">
                  <c:v>1255.250795604496</c:v>
                </c:pt>
                <c:pt idx="270">
                  <c:v>1234.3210361850315</c:v>
                </c:pt>
                <c:pt idx="271">
                  <c:v>1213.1246682622782</c:v>
                </c:pt>
                <c:pt idx="272">
                  <c:v>1239.6001605602487</c:v>
                </c:pt>
                <c:pt idx="273">
                  <c:v>1235.5208175764092</c:v>
                </c:pt>
                <c:pt idx="274">
                  <c:v>1267.0887824213482</c:v>
                </c:pt>
                <c:pt idx="275">
                  <c:v>1257.9970098187357</c:v>
                </c:pt>
                <c:pt idx="276">
                  <c:v>1248.6386287128344</c:v>
                </c:pt>
                <c:pt idx="277">
                  <c:v>1314.6005567856812</c:v>
                </c:pt>
                <c:pt idx="278">
                  <c:v>1334.6237955420702</c:v>
                </c:pt>
                <c:pt idx="279">
                  <c:v>1293.8307969694522</c:v>
                </c:pt>
                <c:pt idx="280">
                  <c:v>1306.0953918928287</c:v>
                </c:pt>
                <c:pt idx="281">
                  <c:v>1353.9804699136596</c:v>
                </c:pt>
                <c:pt idx="282">
                  <c:v>1349.7945180297666</c:v>
                </c:pt>
                <c:pt idx="283">
                  <c:v>1357.0199448562014</c:v>
                </c:pt>
                <c:pt idx="284">
                  <c:v>1355.1535990800237</c:v>
                </c:pt>
                <c:pt idx="285">
                  <c:v>1334.2505781387281</c:v>
                </c:pt>
                <c:pt idx="286">
                  <c:v>1362.7789817879695</c:v>
                </c:pt>
                <c:pt idx="287">
                  <c:v>1370.6976252242177</c:v>
                </c:pt>
                <c:pt idx="288">
                  <c:v>1334.9704469735548</c:v>
                </c:pt>
                <c:pt idx="289">
                  <c:v>1334.7304906952791</c:v>
                </c:pt>
                <c:pt idx="290">
                  <c:v>1267.7819990311614</c:v>
                </c:pt>
                <c:pt idx="291">
                  <c:v>1246.8522396116969</c:v>
                </c:pt>
                <c:pt idx="292">
                  <c:v>1228.8553462347209</c:v>
                </c:pt>
                <c:pt idx="293">
                  <c:v>1233.6011673502051</c:v>
                </c:pt>
                <c:pt idx="294">
                  <c:v>1223.4696129594504</c:v>
                </c:pt>
                <c:pt idx="295">
                  <c:v>1176.5503115194431</c:v>
                </c:pt>
                <c:pt idx="296">
                  <c:v>1118.1699495516077</c:v>
                </c:pt>
                <c:pt idx="297">
                  <c:v>1086.0872258753427</c:v>
                </c:pt>
                <c:pt idx="298">
                  <c:v>1102.9874966347793</c:v>
                </c:pt>
                <c:pt idx="299">
                  <c:v>1108.6966792427361</c:v>
                </c:pt>
                <c:pt idx="300">
                  <c:v>1074.2646783733044</c:v>
                </c:pt>
                <c:pt idx="301">
                  <c:v>986.20150052458087</c:v>
                </c:pt>
                <c:pt idx="302">
                  <c:v>948.51059668531286</c:v>
                </c:pt>
                <c:pt idx="303">
                  <c:v>972.38322751329031</c:v>
                </c:pt>
                <c:pt idx="304">
                  <c:v>973.31786670502061</c:v>
                </c:pt>
                <c:pt idx="305">
                  <c:v>949.49586647925287</c:v>
                </c:pt>
                <c:pt idx="306">
                  <c:v>943.35722941064409</c:v>
                </c:pt>
                <c:pt idx="307">
                  <c:v>936.35959716757566</c:v>
                </c:pt>
                <c:pt idx="308">
                  <c:v>920.06568609048202</c:v>
                </c:pt>
                <c:pt idx="309">
                  <c:v>916.57950605621147</c:v>
                </c:pt>
                <c:pt idx="310">
                  <c:v>934.13659459388953</c:v>
                </c:pt>
                <c:pt idx="311">
                  <c:v>930.9030500517357</c:v>
                </c:pt>
                <c:pt idx="312">
                  <c:v>945.60550415885757</c:v>
                </c:pt>
                <c:pt idx="313">
                  <c:v>993.09795781638502</c:v>
                </c:pt>
                <c:pt idx="314">
                  <c:v>993.50214010250966</c:v>
                </c:pt>
                <c:pt idx="315">
                  <c:v>1007.9267727961429</c:v>
                </c:pt>
                <c:pt idx="316">
                  <c:v>1022.1492280935583</c:v>
                </c:pt>
                <c:pt idx="317">
                  <c:v>1025.205953667177</c:v>
                </c:pt>
                <c:pt idx="318">
                  <c:v>1028.4899563052295</c:v>
                </c:pt>
                <c:pt idx="319">
                  <c:v>1033.239227546929</c:v>
                </c:pt>
                <c:pt idx="320">
                  <c:v>1047.7901348600431</c:v>
                </c:pt>
                <c:pt idx="321">
                  <c:v>1065.8776803033265</c:v>
                </c:pt>
                <c:pt idx="322">
                  <c:v>1074.6941328339562</c:v>
                </c:pt>
                <c:pt idx="323">
                  <c:v>1069.237499464961</c:v>
                </c:pt>
                <c:pt idx="324">
                  <c:v>1065.3219512231938</c:v>
                </c:pt>
                <c:pt idx="325">
                  <c:v>1086.5672246850495</c:v>
                </c:pt>
                <c:pt idx="326">
                  <c:v>1080.0496775048427</c:v>
                </c:pt>
                <c:pt idx="327">
                  <c:v>1081.2369521886901</c:v>
                </c:pt>
                <c:pt idx="328">
                  <c:v>1069.5154071316051</c:v>
                </c:pt>
                <c:pt idx="329">
                  <c:v>1048.800590575355</c:v>
                </c:pt>
                <c:pt idx="330">
                  <c:v>1034.9317732150098</c:v>
                </c:pt>
                <c:pt idx="331">
                  <c:v>988.87922973344655</c:v>
                </c:pt>
                <c:pt idx="332">
                  <c:v>993.65377314967316</c:v>
                </c:pt>
                <c:pt idx="333">
                  <c:v>1002.3691369821939</c:v>
                </c:pt>
                <c:pt idx="334">
                  <c:v>975.38932248469882</c:v>
                </c:pt>
                <c:pt idx="335">
                  <c:v>984.12995849174717</c:v>
                </c:pt>
                <c:pt idx="336">
                  <c:v>1013.1559565943933</c:v>
                </c:pt>
                <c:pt idx="337">
                  <c:v>1007.1941384943196</c:v>
                </c:pt>
                <c:pt idx="338">
                  <c:v>1031.6477705769569</c:v>
                </c:pt>
                <c:pt idx="339">
                  <c:v>1044.7334092864244</c:v>
                </c:pt>
                <c:pt idx="340">
                  <c:v>1011.0845008147149</c:v>
                </c:pt>
                <c:pt idx="341">
                  <c:v>992.74431987931462</c:v>
                </c:pt>
                <c:pt idx="342">
                  <c:v>993.30004895944728</c:v>
                </c:pt>
                <c:pt idx="343">
                  <c:v>1003.1269572053892</c:v>
                </c:pt>
                <c:pt idx="344">
                  <c:v>940.02259617038146</c:v>
                </c:pt>
                <c:pt idx="345">
                  <c:v>939.79523285279174</c:v>
                </c:pt>
                <c:pt idx="346">
                  <c:v>922.36450518774996</c:v>
                </c:pt>
                <c:pt idx="347">
                  <c:v>936.83959597728222</c:v>
                </c:pt>
                <c:pt idx="348">
                  <c:v>920.54568490018835</c:v>
                </c:pt>
                <c:pt idx="349">
                  <c:v>921.05086963126666</c:v>
                </c:pt>
                <c:pt idx="350">
                  <c:v>897.25414158002627</c:v>
                </c:pt>
                <c:pt idx="351">
                  <c:v>863.3525976162</c:v>
                </c:pt>
                <c:pt idx="352">
                  <c:v>906.27268525371858</c:v>
                </c:pt>
                <c:pt idx="353">
                  <c:v>910.56714360708315</c:v>
                </c:pt>
                <c:pt idx="354">
                  <c:v>898.49196061292776</c:v>
                </c:pt>
                <c:pt idx="355">
                  <c:v>926.58323327068842</c:v>
                </c:pt>
                <c:pt idx="356">
                  <c:v>914.55859462558738</c:v>
                </c:pt>
                <c:pt idx="357">
                  <c:v>913.39650586311211</c:v>
                </c:pt>
                <c:pt idx="358">
                  <c:v>907.23259661997599</c:v>
                </c:pt>
                <c:pt idx="359">
                  <c:v>916.27641246819542</c:v>
                </c:pt>
                <c:pt idx="360">
                  <c:v>909.63250441535286</c:v>
                </c:pt>
                <c:pt idx="361">
                  <c:v>881.38959871042903</c:v>
                </c:pt>
                <c:pt idx="362">
                  <c:v>838.21696183394909</c:v>
                </c:pt>
                <c:pt idx="363">
                  <c:v>829.2995068583657</c:v>
                </c:pt>
                <c:pt idx="364">
                  <c:v>836.0191451816346</c:v>
                </c:pt>
                <c:pt idx="365">
                  <c:v>843.90087226737865</c:v>
                </c:pt>
                <c:pt idx="366">
                  <c:v>849.02905362067577</c:v>
                </c:pt>
                <c:pt idx="367">
                  <c:v>838.19168965942174</c:v>
                </c:pt>
                <c:pt idx="368">
                  <c:v>813.35914746518688</c:v>
                </c:pt>
                <c:pt idx="369">
                  <c:v>803.48178112334597</c:v>
                </c:pt>
                <c:pt idx="370">
                  <c:v>811.16141706602787</c:v>
                </c:pt>
                <c:pt idx="371">
                  <c:v>807.72578138081167</c:v>
                </c:pt>
                <c:pt idx="372">
                  <c:v>826.57114704729031</c:v>
                </c:pt>
                <c:pt idx="373">
                  <c:v>850.57005249474855</c:v>
                </c:pt>
                <c:pt idx="374">
                  <c:v>829.2995068583657</c:v>
                </c:pt>
                <c:pt idx="375">
                  <c:v>830.20887387556888</c:v>
                </c:pt>
                <c:pt idx="376">
                  <c:v>829.09741571530344</c:v>
                </c:pt>
                <c:pt idx="377">
                  <c:v>825.15650904585357</c:v>
                </c:pt>
                <c:pt idx="378">
                  <c:v>800.32396685161848</c:v>
                </c:pt>
                <c:pt idx="379">
                  <c:v>788.7793270162241</c:v>
                </c:pt>
                <c:pt idx="380">
                  <c:v>774.80942095777004</c:v>
                </c:pt>
                <c:pt idx="381">
                  <c:v>782.61541777308798</c:v>
                </c:pt>
                <c:pt idx="382">
                  <c:v>789.84032708059044</c:v>
                </c:pt>
                <c:pt idx="383">
                  <c:v>793.52851200476812</c:v>
                </c:pt>
                <c:pt idx="384">
                  <c:v>792.41705384450256</c:v>
                </c:pt>
                <c:pt idx="385">
                  <c:v>783.22169120227522</c:v>
                </c:pt>
                <c:pt idx="386">
                  <c:v>781.9585999948464</c:v>
                </c:pt>
                <c:pt idx="387">
                  <c:v>788.17296733388162</c:v>
                </c:pt>
                <c:pt idx="388">
                  <c:v>793.04859944821703</c:v>
                </c:pt>
                <c:pt idx="389">
                  <c:v>776.92572837824775</c:v>
                </c:pt>
                <c:pt idx="390">
                  <c:v>791.98182042243991</c:v>
                </c:pt>
                <c:pt idx="391">
                  <c:v>794.20482299612627</c:v>
                </c:pt>
                <c:pt idx="392">
                  <c:v>796.04891545821511</c:v>
                </c:pt>
                <c:pt idx="393">
                  <c:v>790.21345823077752</c:v>
                </c:pt>
                <c:pt idx="394">
                  <c:v>796.09945980726945</c:v>
                </c:pt>
                <c:pt idx="395">
                  <c:v>802.92010057549192</c:v>
                </c:pt>
                <c:pt idx="396">
                  <c:v>800.62128147822375</c:v>
                </c:pt>
                <c:pt idx="397">
                  <c:v>786.75263662418956</c:v>
                </c:pt>
                <c:pt idx="398">
                  <c:v>785.91899987741272</c:v>
                </c:pt>
                <c:pt idx="399">
                  <c:v>772.85863334247256</c:v>
                </c:pt>
                <c:pt idx="400">
                  <c:v>756.18589840693653</c:v>
                </c:pt>
                <c:pt idx="401">
                  <c:v>746.71271435122048</c:v>
                </c:pt>
                <c:pt idx="402">
                  <c:v>755.63008307364839</c:v>
                </c:pt>
                <c:pt idx="403">
                  <c:v>723.9266145216028</c:v>
                </c:pt>
                <c:pt idx="404">
                  <c:v>716.49961407103785</c:v>
                </c:pt>
                <c:pt idx="405">
                  <c:v>705.35915652176823</c:v>
                </c:pt>
                <c:pt idx="406">
                  <c:v>733.07134656162032</c:v>
                </c:pt>
                <c:pt idx="407">
                  <c:v>767.37681405210537</c:v>
                </c:pt>
                <c:pt idx="408">
                  <c:v>793.42173059840388</c:v>
                </c:pt>
                <c:pt idx="409">
                  <c:v>799.20664347678712</c:v>
                </c:pt>
                <c:pt idx="410">
                  <c:v>808.4019198658591</c:v>
                </c:pt>
                <c:pt idx="411">
                  <c:v>808.83137432651108</c:v>
                </c:pt>
                <c:pt idx="412">
                  <c:v>813.68164801316391</c:v>
                </c:pt>
                <c:pt idx="413">
                  <c:v>820.75492427350321</c:v>
                </c:pt>
                <c:pt idx="414">
                  <c:v>789.75873159559819</c:v>
                </c:pt>
                <c:pt idx="415">
                  <c:v>801.96018920923427</c:v>
                </c:pt>
                <c:pt idx="416">
                  <c:v>821.15910655962784</c:v>
                </c:pt>
                <c:pt idx="417">
                  <c:v>790.87027600901911</c:v>
                </c:pt>
                <c:pt idx="418">
                  <c:v>810.80182766123596</c:v>
                </c:pt>
                <c:pt idx="419">
                  <c:v>806.58309957829761</c:v>
                </c:pt>
                <c:pt idx="420">
                  <c:v>815.14683036365523</c:v>
                </c:pt>
                <c:pt idx="421">
                  <c:v>803.98110063985837</c:v>
                </c:pt>
                <c:pt idx="422">
                  <c:v>795.99837110916064</c:v>
                </c:pt>
                <c:pt idx="423">
                  <c:v>799.83818908050148</c:v>
                </c:pt>
                <c:pt idx="424">
                  <c:v>775.00590564573258</c:v>
                </c:pt>
                <c:pt idx="425">
                  <c:v>774.52590683602614</c:v>
                </c:pt>
                <c:pt idx="426">
                  <c:v>782.77343355374967</c:v>
                </c:pt>
                <c:pt idx="427">
                  <c:v>765.62535747889785</c:v>
                </c:pt>
                <c:pt idx="428">
                  <c:v>774.01002671368042</c:v>
                </c:pt>
                <c:pt idx="429">
                  <c:v>789.99627278552293</c:v>
                </c:pt>
                <c:pt idx="430">
                  <c:v>814.08936667865942</c:v>
                </c:pt>
                <c:pt idx="431">
                  <c:v>800.52752429832253</c:v>
                </c:pt>
                <c:pt idx="432">
                  <c:v>769.0095000303503</c:v>
                </c:pt>
                <c:pt idx="433">
                  <c:v>767.79729818459748</c:v>
                </c:pt>
                <c:pt idx="434">
                  <c:v>747.64390341673538</c:v>
                </c:pt>
                <c:pt idx="435">
                  <c:v>735.74890326417517</c:v>
                </c:pt>
                <c:pt idx="436">
                  <c:v>702.36203187851936</c:v>
                </c:pt>
                <c:pt idx="437">
                  <c:v>705.31684934905275</c:v>
                </c:pt>
                <c:pt idx="438">
                  <c:v>719.71211284327808</c:v>
                </c:pt>
                <c:pt idx="439">
                  <c:v>732.743584571165</c:v>
                </c:pt>
                <c:pt idx="440">
                  <c:v>717.94426817054796</c:v>
                </c:pt>
                <c:pt idx="441">
                  <c:v>730.21809218155033</c:v>
                </c:pt>
                <c:pt idx="442">
                  <c:v>734.33461027535998</c:v>
                </c:pt>
                <c:pt idx="443">
                  <c:v>733.0214059846536</c:v>
                </c:pt>
                <c:pt idx="444">
                  <c:v>734.20833565587918</c:v>
                </c:pt>
                <c:pt idx="445">
                  <c:v>740.01696815199273</c:v>
                </c:pt>
                <c:pt idx="446">
                  <c:v>733.93060049554595</c:v>
                </c:pt>
                <c:pt idx="447">
                  <c:v>738.67849168675912</c:v>
                </c:pt>
                <c:pt idx="448">
                  <c:v>739.46141157817078</c:v>
                </c:pt>
                <c:pt idx="449">
                  <c:v>740.72415777297806</c:v>
                </c:pt>
                <c:pt idx="450">
                  <c:v>761.98866568848405</c:v>
                </c:pt>
                <c:pt idx="451">
                  <c:v>767.82257035912471</c:v>
                </c:pt>
                <c:pt idx="452">
                  <c:v>751.07859031724229</c:v>
                </c:pt>
                <c:pt idx="453">
                  <c:v>724.76309762250719</c:v>
                </c:pt>
                <c:pt idx="454">
                  <c:v>729.96554294258885</c:v>
                </c:pt>
                <c:pt idx="455">
                  <c:v>726.65721691471822</c:v>
                </c:pt>
                <c:pt idx="456">
                  <c:v>742.31518347717304</c:v>
                </c:pt>
                <c:pt idx="457">
                  <c:v>752.5433414019567</c:v>
                </c:pt>
                <c:pt idx="458">
                  <c:v>758.95807482094654</c:v>
                </c:pt>
                <c:pt idx="459">
                  <c:v>769.13577464983098</c:v>
                </c:pt>
                <c:pt idx="460">
                  <c:v>728.62706647735536</c:v>
                </c:pt>
                <c:pt idx="461">
                  <c:v>737.23892652341669</c:v>
                </c:pt>
                <c:pt idx="462">
                  <c:v>736.80964456907554</c:v>
                </c:pt>
                <c:pt idx="463">
                  <c:v>746.05287771254041</c:v>
                </c:pt>
                <c:pt idx="464">
                  <c:v>760.52391460376975</c:v>
                </c:pt>
                <c:pt idx="465">
                  <c:v>766.83764557780614</c:v>
                </c:pt>
                <c:pt idx="466">
                  <c:v>786.94049599661366</c:v>
                </c:pt>
                <c:pt idx="467">
                  <c:v>796.73937196705594</c:v>
                </c:pt>
                <c:pt idx="468">
                  <c:v>809.87184613989632</c:v>
                </c:pt>
                <c:pt idx="469">
                  <c:v>807.04326016226594</c:v>
                </c:pt>
                <c:pt idx="470">
                  <c:v>795.14826000970561</c:v>
                </c:pt>
                <c:pt idx="471">
                  <c:v>799.39105272299594</c:v>
                </c:pt>
                <c:pt idx="472">
                  <c:v>841.86969671126428</c:v>
                </c:pt>
                <c:pt idx="473">
                  <c:v>834.94986481435149</c:v>
                </c:pt>
                <c:pt idx="474">
                  <c:v>826.48955156229795</c:v>
                </c:pt>
                <c:pt idx="475">
                  <c:v>815.52893184200195</c:v>
                </c:pt>
                <c:pt idx="476">
                  <c:v>804.51785402580674</c:v>
                </c:pt>
                <c:pt idx="477">
                  <c:v>770.60061198770074</c:v>
                </c:pt>
                <c:pt idx="478">
                  <c:v>764.79197949158731</c:v>
                </c:pt>
                <c:pt idx="479">
                  <c:v>755.06883379157114</c:v>
                </c:pt>
                <c:pt idx="480">
                  <c:v>773.02501567920638</c:v>
                </c:pt>
                <c:pt idx="481">
                  <c:v>762.46849199187977</c:v>
                </c:pt>
                <c:pt idx="482">
                  <c:v>765.34762231856462</c:v>
                </c:pt>
                <c:pt idx="483">
                  <c:v>767.24165535762006</c:v>
                </c:pt>
                <c:pt idx="484">
                  <c:v>785.09683480030185</c:v>
                </c:pt>
                <c:pt idx="485">
                  <c:v>777.84872339400135</c:v>
                </c:pt>
                <c:pt idx="486">
                  <c:v>766.93864802275971</c:v>
                </c:pt>
                <c:pt idx="487">
                  <c:v>749.08346858007792</c:v>
                </c:pt>
                <c:pt idx="488">
                  <c:v>717.41389751809777</c:v>
                </c:pt>
                <c:pt idx="489">
                  <c:v>731.53138272541207</c:v>
                </c:pt>
                <c:pt idx="490">
                  <c:v>727.4400505529743</c:v>
                </c:pt>
                <c:pt idx="491">
                  <c:v>741.98690396778534</c:v>
                </c:pt>
                <c:pt idx="492">
                  <c:v>723.29830341121533</c:v>
                </c:pt>
                <c:pt idx="493">
                  <c:v>712.05990540400808</c:v>
                </c:pt>
                <c:pt idx="494">
                  <c:v>693.19452900548072</c:v>
                </c:pt>
                <c:pt idx="495">
                  <c:v>738.67849168675912</c:v>
                </c:pt>
                <c:pt idx="496">
                  <c:v>734.7639784828566</c:v>
                </c:pt>
                <c:pt idx="497">
                  <c:v>707.8423417386673</c:v>
                </c:pt>
                <c:pt idx="498">
                  <c:v>710.06474054026603</c:v>
                </c:pt>
                <c:pt idx="499">
                  <c:v>700.16486212487018</c:v>
                </c:pt>
                <c:pt idx="500">
                  <c:v>694.70982443924936</c:v>
                </c:pt>
                <c:pt idx="501">
                  <c:v>685.23927110477246</c:v>
                </c:pt>
                <c:pt idx="502">
                  <c:v>678.52148722434436</c:v>
                </c:pt>
                <c:pt idx="503">
                  <c:v>658.69645821902543</c:v>
                </c:pt>
                <c:pt idx="504">
                  <c:v>698.72534008810544</c:v>
                </c:pt>
                <c:pt idx="505">
                  <c:v>697.0079966378521</c:v>
                </c:pt>
                <c:pt idx="506">
                  <c:v>697.083770034856</c:v>
                </c:pt>
                <c:pt idx="507">
                  <c:v>696.80599174794497</c:v>
                </c:pt>
                <c:pt idx="508">
                  <c:v>692.00755620767734</c:v>
                </c:pt>
                <c:pt idx="509">
                  <c:v>693.16929995753117</c:v>
                </c:pt>
                <c:pt idx="510">
                  <c:v>697.18481560638713</c:v>
                </c:pt>
                <c:pt idx="511">
                  <c:v>690.87108463235074</c:v>
                </c:pt>
                <c:pt idx="512">
                  <c:v>709.93846592078535</c:v>
                </c:pt>
                <c:pt idx="513">
                  <c:v>693.11875560847659</c:v>
                </c:pt>
                <c:pt idx="514">
                  <c:v>716.60574857873667</c:v>
                </c:pt>
                <c:pt idx="515">
                  <c:v>711.17598306764307</c:v>
                </c:pt>
                <c:pt idx="516">
                  <c:v>712.71650754936127</c:v>
                </c:pt>
                <c:pt idx="517">
                  <c:v>719.15651314287845</c:v>
                </c:pt>
                <c:pt idx="518">
                  <c:v>694.07845134184572</c:v>
                </c:pt>
                <c:pt idx="519">
                  <c:v>698.49806302367119</c:v>
                </c:pt>
                <c:pt idx="520">
                  <c:v>699.88708383795927</c:v>
                </c:pt>
                <c:pt idx="521">
                  <c:v>700.0385875053895</c:v>
                </c:pt>
                <c:pt idx="522">
                  <c:v>696.35139449249891</c:v>
                </c:pt>
                <c:pt idx="523">
                  <c:v>698.34651622966328</c:v>
                </c:pt>
                <c:pt idx="524">
                  <c:v>714.02975496664544</c:v>
                </c:pt>
                <c:pt idx="525">
                  <c:v>721.83350919992324</c:v>
                </c:pt>
                <c:pt idx="526">
                  <c:v>734.56197359294958</c:v>
                </c:pt>
                <c:pt idx="527">
                  <c:v>756.88722281335583</c:v>
                </c:pt>
                <c:pt idx="528">
                  <c:v>737.39047331742461</c:v>
                </c:pt>
                <c:pt idx="529">
                  <c:v>719.63633944627418</c:v>
                </c:pt>
                <c:pt idx="530">
                  <c:v>676.57686670965666</c:v>
                </c:pt>
                <c:pt idx="531">
                  <c:v>696.19984769849088</c:v>
                </c:pt>
                <c:pt idx="532">
                  <c:v>701.1245578582392</c:v>
                </c:pt>
                <c:pt idx="533">
                  <c:v>693.06825438599992</c:v>
                </c:pt>
                <c:pt idx="534">
                  <c:v>692.03282838220457</c:v>
                </c:pt>
                <c:pt idx="535">
                  <c:v>706.25127290789464</c:v>
                </c:pt>
                <c:pt idx="536">
                  <c:v>705.92295027192927</c:v>
                </c:pt>
                <c:pt idx="537">
                  <c:v>704.28142334525751</c:v>
                </c:pt>
                <c:pt idx="538">
                  <c:v>739.76441891303125</c:v>
                </c:pt>
                <c:pt idx="539">
                  <c:v>717.41389751809777</c:v>
                </c:pt>
                <c:pt idx="540">
                  <c:v>720.72230979912388</c:v>
                </c:pt>
                <c:pt idx="541">
                  <c:v>727.66741387056402</c:v>
                </c:pt>
                <c:pt idx="542">
                  <c:v>713.19637697933467</c:v>
                </c:pt>
                <c:pt idx="543">
                  <c:v>717.5149430896289</c:v>
                </c:pt>
                <c:pt idx="544">
                  <c:v>712.86805434336929</c:v>
                </c:pt>
                <c:pt idx="545">
                  <c:v>726.50567012071031</c:v>
                </c:pt>
                <c:pt idx="546">
                  <c:v>721.73250675496979</c:v>
                </c:pt>
                <c:pt idx="547">
                  <c:v>677.30924225201386</c:v>
                </c:pt>
                <c:pt idx="548">
                  <c:v>698.14446821317858</c:v>
                </c:pt>
                <c:pt idx="549">
                  <c:v>705.54412641348699</c:v>
                </c:pt>
                <c:pt idx="550">
                  <c:v>739.56241402312423</c:v>
                </c:pt>
                <c:pt idx="551">
                  <c:v>731.12728669244268</c:v>
                </c:pt>
                <c:pt idx="552">
                  <c:v>745.21949972522975</c:v>
                </c:pt>
                <c:pt idx="553">
                  <c:v>722.99525294977707</c:v>
                </c:pt>
                <c:pt idx="554">
                  <c:v>702.84190130849277</c:v>
                </c:pt>
                <c:pt idx="555">
                  <c:v>735.0922579922443</c:v>
                </c:pt>
                <c:pt idx="556">
                  <c:v>642.17979836815505</c:v>
                </c:pt>
                <c:pt idx="557">
                  <c:v>642.63435249702343</c:v>
                </c:pt>
                <c:pt idx="558">
                  <c:v>638.66938119722181</c:v>
                </c:pt>
                <c:pt idx="559">
                  <c:v>612.35384537590903</c:v>
                </c:pt>
                <c:pt idx="560">
                  <c:v>624.37512014795004</c:v>
                </c:pt>
                <c:pt idx="561">
                  <c:v>622.58204642727037</c:v>
                </c:pt>
                <c:pt idx="562">
                  <c:v>617.32901363155645</c:v>
                </c:pt>
                <c:pt idx="563">
                  <c:v>578.58810700523327</c:v>
                </c:pt>
                <c:pt idx="564">
                  <c:v>583.84113980094719</c:v>
                </c:pt>
                <c:pt idx="565">
                  <c:v>578.43660333780304</c:v>
                </c:pt>
                <c:pt idx="566">
                  <c:v>570.02674818164871</c:v>
                </c:pt>
                <c:pt idx="567">
                  <c:v>558.76307799991446</c:v>
                </c:pt>
                <c:pt idx="568">
                  <c:v>560.2783734336831</c:v>
                </c:pt>
                <c:pt idx="569">
                  <c:v>559.59649911380268</c:v>
                </c:pt>
                <c:pt idx="570">
                  <c:v>548.20655431258774</c:v>
                </c:pt>
                <c:pt idx="571">
                  <c:v>563.63724381060831</c:v>
                </c:pt>
                <c:pt idx="572">
                  <c:v>568.58722614488397</c:v>
                </c:pt>
                <c:pt idx="573">
                  <c:v>557.65187859911509</c:v>
                </c:pt>
                <c:pt idx="574">
                  <c:v>578.23455532131834</c:v>
                </c:pt>
                <c:pt idx="575">
                  <c:v>578.10828070183766</c:v>
                </c:pt>
                <c:pt idx="576">
                  <c:v>579.80035197756376</c:v>
                </c:pt>
                <c:pt idx="577">
                  <c:v>573.33511733609714</c:v>
                </c:pt>
                <c:pt idx="578">
                  <c:v>583.53808933950893</c:v>
                </c:pt>
                <c:pt idx="579">
                  <c:v>580.65900213940176</c:v>
                </c:pt>
                <c:pt idx="580">
                  <c:v>580.58327186897543</c:v>
                </c:pt>
                <c:pt idx="581">
                  <c:v>580.81054893340956</c:v>
                </c:pt>
                <c:pt idx="582">
                  <c:v>580.68427431392888</c:v>
                </c:pt>
                <c:pt idx="583">
                  <c:v>580.05290121652524</c:v>
                </c:pt>
                <c:pt idx="584">
                  <c:v>573.68866902001207</c:v>
                </c:pt>
                <c:pt idx="585">
                  <c:v>581.06309817237104</c:v>
                </c:pt>
                <c:pt idx="586">
                  <c:v>580.96209572741759</c:v>
                </c:pt>
                <c:pt idx="587">
                  <c:v>581.46719420534043</c:v>
                </c:pt>
                <c:pt idx="588">
                  <c:v>580.28017828095949</c:v>
                </c:pt>
                <c:pt idx="589">
                  <c:v>577.62845439844193</c:v>
                </c:pt>
                <c:pt idx="590">
                  <c:v>579.01747521273001</c:v>
                </c:pt>
                <c:pt idx="591">
                  <c:v>568.96605000332613</c:v>
                </c:pt>
                <c:pt idx="592">
                  <c:v>503.7580607616822</c:v>
                </c:pt>
                <c:pt idx="593">
                  <c:v>497.36859951721948</c:v>
                </c:pt>
                <c:pt idx="594">
                  <c:v>496.61095180033516</c:v>
                </c:pt>
                <c:pt idx="595">
                  <c:v>498.4797989180189</c:v>
                </c:pt>
                <c:pt idx="596">
                  <c:v>501.58616318256026</c:v>
                </c:pt>
                <c:pt idx="597">
                  <c:v>490.01944253938774</c:v>
                </c:pt>
                <c:pt idx="598">
                  <c:v>487.77177156326184</c:v>
                </c:pt>
                <c:pt idx="599">
                  <c:v>489.00924558354194</c:v>
                </c:pt>
                <c:pt idx="600">
                  <c:v>489.79216547495355</c:v>
                </c:pt>
                <c:pt idx="601">
                  <c:v>491.55996702110605</c:v>
                </c:pt>
                <c:pt idx="602">
                  <c:v>492.62070832600637</c:v>
                </c:pt>
                <c:pt idx="603">
                  <c:v>489.99417036486051</c:v>
                </c:pt>
                <c:pt idx="604">
                  <c:v>493.85818234628636</c:v>
                </c:pt>
                <c:pt idx="605">
                  <c:v>492.57016397695185</c:v>
                </c:pt>
                <c:pt idx="606">
                  <c:v>488.22632569213039</c:v>
                </c:pt>
                <c:pt idx="607">
                  <c:v>492.7722119934366</c:v>
                </c:pt>
                <c:pt idx="608">
                  <c:v>490.95386609822958</c:v>
                </c:pt>
                <c:pt idx="609">
                  <c:v>488.75669634458046</c:v>
                </c:pt>
                <c:pt idx="610">
                  <c:v>490.92859392370241</c:v>
                </c:pt>
                <c:pt idx="611">
                  <c:v>495.04515514408968</c:v>
                </c:pt>
                <c:pt idx="612">
                  <c:v>496.66145302281188</c:v>
                </c:pt>
                <c:pt idx="613">
                  <c:v>492.9742600099213</c:v>
                </c:pt>
                <c:pt idx="614">
                  <c:v>495.77753068644677</c:v>
                </c:pt>
                <c:pt idx="615">
                  <c:v>493.80768112380957</c:v>
                </c:pt>
                <c:pt idx="616">
                  <c:v>493.58036093279765</c:v>
                </c:pt>
                <c:pt idx="617">
                  <c:v>488.15059542170411</c:v>
                </c:pt>
                <c:pt idx="618">
                  <c:v>488.02432080222331</c:v>
                </c:pt>
                <c:pt idx="619">
                  <c:v>494.41378204668604</c:v>
                </c:pt>
                <c:pt idx="620">
                  <c:v>491.96406305407538</c:v>
                </c:pt>
                <c:pt idx="621">
                  <c:v>494.43905422121321</c:v>
                </c:pt>
                <c:pt idx="622">
                  <c:v>496.5351784033312</c:v>
                </c:pt>
                <c:pt idx="623">
                  <c:v>497.01504783330455</c:v>
                </c:pt>
                <c:pt idx="624">
                  <c:v>494.38850987215881</c:v>
                </c:pt>
                <c:pt idx="625">
                  <c:v>492.89848661291728</c:v>
                </c:pt>
                <c:pt idx="626">
                  <c:v>488.73142417005323</c:v>
                </c:pt>
                <c:pt idx="627">
                  <c:v>489.36279726745687</c:v>
                </c:pt>
                <c:pt idx="628">
                  <c:v>487.59499572130443</c:v>
                </c:pt>
                <c:pt idx="629">
                  <c:v>488.579920502623</c:v>
                </c:pt>
                <c:pt idx="630">
                  <c:v>485.80187887404696</c:v>
                </c:pt>
                <c:pt idx="631">
                  <c:v>480.80143844387237</c:v>
                </c:pt>
                <c:pt idx="632">
                  <c:v>468.57807252876898</c:v>
                </c:pt>
                <c:pt idx="633">
                  <c:v>475.64945121968975</c:v>
                </c:pt>
                <c:pt idx="634">
                  <c:v>470.24491475654565</c:v>
                </c:pt>
                <c:pt idx="635">
                  <c:v>471.96225820679905</c:v>
                </c:pt>
                <c:pt idx="636">
                  <c:v>475.72522461669371</c:v>
                </c:pt>
                <c:pt idx="637">
                  <c:v>477.39202371789264</c:v>
                </c:pt>
                <c:pt idx="638">
                  <c:v>474.7402567087974</c:v>
                </c:pt>
                <c:pt idx="639">
                  <c:v>475.47267537773223</c:v>
                </c:pt>
                <c:pt idx="640">
                  <c:v>474.33620380240569</c:v>
                </c:pt>
                <c:pt idx="641">
                  <c:v>481.18026230231453</c:v>
                </c:pt>
                <c:pt idx="642">
                  <c:v>475.72522461669371</c:v>
                </c:pt>
                <c:pt idx="643">
                  <c:v>490.85286365327613</c:v>
                </c:pt>
                <c:pt idx="644">
                  <c:v>489.46384283898811</c:v>
                </c:pt>
                <c:pt idx="645">
                  <c:v>481.91263784467162</c:v>
                </c:pt>
                <c:pt idx="646">
                  <c:v>486.58479876545863</c:v>
                </c:pt>
                <c:pt idx="647">
                  <c:v>489.31229604498014</c:v>
                </c:pt>
                <c:pt idx="648">
                  <c:v>468.78012054525362</c:v>
                </c:pt>
                <c:pt idx="649">
                  <c:v>474.76552888332463</c:v>
                </c:pt>
                <c:pt idx="650">
                  <c:v>486.1302015100124</c:v>
                </c:pt>
                <c:pt idx="651">
                  <c:v>489.21129360002669</c:v>
                </c:pt>
                <c:pt idx="652">
                  <c:v>482.34196292559056</c:v>
                </c:pt>
                <c:pt idx="653">
                  <c:v>507.34425132961928</c:v>
                </c:pt>
                <c:pt idx="654">
                  <c:v>484.16030882079752</c:v>
                </c:pt>
                <c:pt idx="655">
                  <c:v>499.66677171582211</c:v>
                </c:pt>
                <c:pt idx="656">
                  <c:v>478.30121822878499</c:v>
                </c:pt>
                <c:pt idx="657">
                  <c:v>492.69643859643264</c:v>
                </c:pt>
                <c:pt idx="658">
                  <c:v>491.75373473467403</c:v>
                </c:pt>
                <c:pt idx="659">
                  <c:v>484.98726094803214</c:v>
                </c:pt>
                <c:pt idx="660">
                  <c:v>492.43539342166588</c:v>
                </c:pt>
                <c:pt idx="661">
                  <c:v>506.37226452160814</c:v>
                </c:pt>
                <c:pt idx="662">
                  <c:v>473.07026624084926</c:v>
                </c:pt>
                <c:pt idx="663">
                  <c:v>477.86736485720843</c:v>
                </c:pt>
                <c:pt idx="664">
                  <c:v>489.27943359277924</c:v>
                </c:pt>
                <c:pt idx="665">
                  <c:v>487.43633304197738</c:v>
                </c:pt>
                <c:pt idx="666">
                  <c:v>479.60946296305684</c:v>
                </c:pt>
                <c:pt idx="667">
                  <c:v>474.10543348517848</c:v>
                </c:pt>
                <c:pt idx="668">
                  <c:v>466.80876155239719</c:v>
                </c:pt>
                <c:pt idx="669">
                  <c:v>450.22089972175809</c:v>
                </c:pt>
                <c:pt idx="670">
                  <c:v>453.55363539260225</c:v>
                </c:pt>
                <c:pt idx="671">
                  <c:v>444.61586779892627</c:v>
                </c:pt>
                <c:pt idx="672">
                  <c:v>446.81243378048771</c:v>
                </c:pt>
                <c:pt idx="673">
                  <c:v>450.39763243713793</c:v>
                </c:pt>
                <c:pt idx="674">
                  <c:v>455.44719403930321</c:v>
                </c:pt>
                <c:pt idx="675">
                  <c:v>443.17673390136071</c:v>
                </c:pt>
                <c:pt idx="676">
                  <c:v>449.76643184604501</c:v>
                </c:pt>
                <c:pt idx="677">
                  <c:v>438.65732731875704</c:v>
                </c:pt>
                <c:pt idx="678">
                  <c:v>420.40309765269581</c:v>
                </c:pt>
                <c:pt idx="679">
                  <c:v>435.75383047567647</c:v>
                </c:pt>
                <c:pt idx="680">
                  <c:v>436.89000016495913</c:v>
                </c:pt>
                <c:pt idx="681">
                  <c:v>439.41480252933064</c:v>
                </c:pt>
                <c:pt idx="682">
                  <c:v>452.11450149503668</c:v>
                </c:pt>
                <c:pt idx="683">
                  <c:v>432.0171281515959</c:v>
                </c:pt>
                <c:pt idx="684">
                  <c:v>440.04595999384588</c:v>
                </c:pt>
                <c:pt idx="685">
                  <c:v>435.72860142772691</c:v>
                </c:pt>
                <c:pt idx="686">
                  <c:v>435.98106441353298</c:v>
                </c:pt>
                <c:pt idx="687">
                  <c:v>439.33902913232669</c:v>
                </c:pt>
                <c:pt idx="688">
                  <c:v>442.7727672481243</c:v>
                </c:pt>
                <c:pt idx="689">
                  <c:v>437.34446804067221</c:v>
                </c:pt>
                <c:pt idx="690">
                  <c:v>441.78810122627192</c:v>
                </c:pt>
                <c:pt idx="691">
                  <c:v>439.26329886190041</c:v>
                </c:pt>
                <c:pt idx="692">
                  <c:v>441.43463579551235</c:v>
                </c:pt>
                <c:pt idx="693">
                  <c:v>451.33179723651358</c:v>
                </c:pt>
                <c:pt idx="694">
                  <c:v>453.32640145474574</c:v>
                </c:pt>
                <c:pt idx="695">
                  <c:v>456.45713223568282</c:v>
                </c:pt>
                <c:pt idx="696">
                  <c:v>458.72942848767065</c:v>
                </c:pt>
                <c:pt idx="697">
                  <c:v>467.61669485886983</c:v>
                </c:pt>
                <c:pt idx="698">
                  <c:v>458.40123523143825</c:v>
                </c:pt>
                <c:pt idx="699">
                  <c:v>457.18933527172919</c:v>
                </c:pt>
                <c:pt idx="700">
                  <c:v>455.54819648425672</c:v>
                </c:pt>
                <c:pt idx="701">
                  <c:v>457.79526368829488</c:v>
                </c:pt>
                <c:pt idx="702">
                  <c:v>457.92149518119788</c:v>
                </c:pt>
                <c:pt idx="703">
                  <c:v>453.37690267722246</c:v>
                </c:pt>
                <c:pt idx="704">
                  <c:v>452.92243480150944</c:v>
                </c:pt>
                <c:pt idx="705">
                  <c:v>445.1207937705384</c:v>
                </c:pt>
                <c:pt idx="706">
                  <c:v>446.23173441187151</c:v>
                </c:pt>
                <c:pt idx="707">
                  <c:v>448.7060355537663</c:v>
                </c:pt>
                <c:pt idx="708">
                  <c:v>444.11089870073636</c:v>
                </c:pt>
                <c:pt idx="709">
                  <c:v>455.52296743630717</c:v>
                </c:pt>
                <c:pt idx="710">
                  <c:v>454.08383353874166</c:v>
                </c:pt>
                <c:pt idx="711">
                  <c:v>459.15866731543417</c:v>
                </c:pt>
                <c:pt idx="712">
                  <c:v>451.20556574361058</c:v>
                </c:pt>
                <c:pt idx="713">
                  <c:v>456.02789340791929</c:v>
                </c:pt>
                <c:pt idx="714">
                  <c:v>460.29479387813916</c:v>
                </c:pt>
                <c:pt idx="715">
                  <c:v>461.58246723485217</c:v>
                </c:pt>
                <c:pt idx="716">
                  <c:v>464.1829998696499</c:v>
                </c:pt>
                <c:pt idx="717">
                  <c:v>466.90976399735069</c:v>
                </c:pt>
                <c:pt idx="718">
                  <c:v>467.99543246415675</c:v>
                </c:pt>
                <c:pt idx="719">
                  <c:v>474.30739524850776</c:v>
                </c:pt>
                <c:pt idx="720">
                  <c:v>475.19110195198442</c:v>
                </c:pt>
                <c:pt idx="721">
                  <c:v>481.55356595881216</c:v>
                </c:pt>
                <c:pt idx="722">
                  <c:v>482.74019374399393</c:v>
                </c:pt>
                <c:pt idx="723">
                  <c:v>486.77986027635728</c:v>
                </c:pt>
                <c:pt idx="724">
                  <c:v>487.15859788164408</c:v>
                </c:pt>
                <c:pt idx="725">
                  <c:v>493.69779460385166</c:v>
                </c:pt>
                <c:pt idx="726">
                  <c:v>492.41016437371633</c:v>
                </c:pt>
                <c:pt idx="727">
                  <c:v>493.36960134761927</c:v>
                </c:pt>
                <c:pt idx="728">
                  <c:v>484.73479796222608</c:v>
                </c:pt>
                <c:pt idx="729">
                  <c:v>492.51116681866989</c:v>
                </c:pt>
                <c:pt idx="730">
                  <c:v>479.91242717133969</c:v>
                </c:pt>
                <c:pt idx="731">
                  <c:v>477.03420250278629</c:v>
                </c:pt>
                <c:pt idx="732">
                  <c:v>487.89080091769046</c:v>
                </c:pt>
                <c:pt idx="733">
                  <c:v>486.72940218045824</c:v>
                </c:pt>
                <c:pt idx="734">
                  <c:v>490.69329531581758</c:v>
                </c:pt>
                <c:pt idx="735">
                  <c:v>493.79879704880511</c:v>
                </c:pt>
                <c:pt idx="736">
                  <c:v>491.42549835186395</c:v>
                </c:pt>
                <c:pt idx="737">
                  <c:v>493.69779460385166</c:v>
                </c:pt>
                <c:pt idx="738">
                  <c:v>505.69056270803856</c:v>
                </c:pt>
                <c:pt idx="739">
                  <c:v>504.3776603033761</c:v>
                </c:pt>
                <c:pt idx="740">
                  <c:v>520.78883254521304</c:v>
                </c:pt>
                <c:pt idx="741">
                  <c:v>485.97192696988458</c:v>
                </c:pt>
                <c:pt idx="742">
                  <c:v>480.97286659019608</c:v>
                </c:pt>
                <c:pt idx="743">
                  <c:v>457.26506554215558</c:v>
                </c:pt>
                <c:pt idx="744">
                  <c:v>458.4264642793878</c:v>
                </c:pt>
                <c:pt idx="745">
                  <c:v>458.75470066219782</c:v>
                </c:pt>
                <c:pt idx="746">
                  <c:v>465.24339616192867</c:v>
                </c:pt>
                <c:pt idx="747">
                  <c:v>465.44540105183563</c:v>
                </c:pt>
                <c:pt idx="748">
                  <c:v>473.90342859527141</c:v>
                </c:pt>
                <c:pt idx="749">
                  <c:v>470.59596509895448</c:v>
                </c:pt>
                <c:pt idx="750">
                  <c:v>465.16766589150239</c:v>
                </c:pt>
                <c:pt idx="751">
                  <c:v>466.58152761454073</c:v>
                </c:pt>
                <c:pt idx="752">
                  <c:v>475.79703036855</c:v>
                </c:pt>
                <c:pt idx="753">
                  <c:v>471.50490085038064</c:v>
                </c:pt>
                <c:pt idx="754">
                  <c:v>484.86102945512908</c:v>
                </c:pt>
                <c:pt idx="755">
                  <c:v>474.71136190174406</c:v>
                </c:pt>
                <c:pt idx="756">
                  <c:v>472.91876257341892</c:v>
                </c:pt>
                <c:pt idx="757">
                  <c:v>485.8961966994583</c:v>
                </c:pt>
                <c:pt idx="758">
                  <c:v>498.11619874150176</c:v>
                </c:pt>
                <c:pt idx="759">
                  <c:v>488.04226145854301</c:v>
                </c:pt>
                <c:pt idx="760">
                  <c:v>503.21626156614377</c:v>
                </c:pt>
                <c:pt idx="761">
                  <c:v>510.33620078354522</c:v>
                </c:pt>
                <c:pt idx="762">
                  <c:v>480.64463020738606</c:v>
                </c:pt>
                <c:pt idx="763">
                  <c:v>461.43096356742188</c:v>
                </c:pt>
                <c:pt idx="764">
                  <c:v>448.52925971180878</c:v>
                </c:pt>
                <c:pt idx="765">
                  <c:v>436.89000016495913</c:v>
                </c:pt>
                <c:pt idx="766">
                  <c:v>445.22179621549185</c:v>
                </c:pt>
                <c:pt idx="767">
                  <c:v>430.17402760079403</c:v>
                </c:pt>
                <c:pt idx="768">
                  <c:v>431.71416394331317</c:v>
                </c:pt>
                <c:pt idx="769">
                  <c:v>435.47609531534317</c:v>
                </c:pt>
                <c:pt idx="770">
                  <c:v>452.03872809803272</c:v>
                </c:pt>
                <c:pt idx="771">
                  <c:v>451.50852995189342</c:v>
                </c:pt>
                <c:pt idx="772">
                  <c:v>444.16139992321308</c:v>
                </c:pt>
                <c:pt idx="773">
                  <c:v>457.87099395872116</c:v>
                </c:pt>
                <c:pt idx="774">
                  <c:v>453.98283109378815</c:v>
                </c:pt>
                <c:pt idx="775">
                  <c:v>471.12616324509384</c:v>
                </c:pt>
                <c:pt idx="776">
                  <c:v>459.94132844737959</c:v>
                </c:pt>
                <c:pt idx="777">
                  <c:v>447.59509491243313</c:v>
                </c:pt>
                <c:pt idx="778">
                  <c:v>452.7457020861296</c:v>
                </c:pt>
                <c:pt idx="779">
                  <c:v>443.80793449245351</c:v>
                </c:pt>
                <c:pt idx="780">
                  <c:v>438.00089767971463</c:v>
                </c:pt>
                <c:pt idx="781">
                  <c:v>447.11539798877044</c:v>
                </c:pt>
                <c:pt idx="782">
                  <c:v>434.33531108224742</c:v>
                </c:pt>
                <c:pt idx="783">
                  <c:v>440.97425957865551</c:v>
                </c:pt>
                <c:pt idx="784">
                  <c:v>440.36846054182297</c:v>
                </c:pt>
                <c:pt idx="785">
                  <c:v>454.12601133172393</c:v>
                </c:pt>
                <c:pt idx="786">
                  <c:v>471.24092306833091</c:v>
                </c:pt>
                <c:pt idx="787">
                  <c:v>430.04395784247652</c:v>
                </c:pt>
                <c:pt idx="788">
                  <c:v>438.34897228826276</c:v>
                </c:pt>
                <c:pt idx="789">
                  <c:v>382.8643443795234</c:v>
                </c:pt>
                <c:pt idx="790">
                  <c:v>373.65052356204399</c:v>
                </c:pt>
                <c:pt idx="791">
                  <c:v>374.38259721835732</c:v>
                </c:pt>
                <c:pt idx="792">
                  <c:v>375.31658951142225</c:v>
                </c:pt>
                <c:pt idx="793">
                  <c:v>379.60794275119321</c:v>
                </c:pt>
                <c:pt idx="794">
                  <c:v>377.81568843548962</c:v>
                </c:pt>
                <c:pt idx="795">
                  <c:v>379.75940329204576</c:v>
                </c:pt>
                <c:pt idx="796">
                  <c:v>369.51063086312558</c:v>
                </c:pt>
                <c:pt idx="797">
                  <c:v>370.57085464909363</c:v>
                </c:pt>
                <c:pt idx="798">
                  <c:v>369.91455438978426</c:v>
                </c:pt>
                <c:pt idx="799">
                  <c:v>374.00394586622588</c:v>
                </c:pt>
                <c:pt idx="800">
                  <c:v>371.15146776455435</c:v>
                </c:pt>
                <c:pt idx="801">
                  <c:v>368.77860033339005</c:v>
                </c:pt>
                <c:pt idx="802">
                  <c:v>367.13776343196128</c:v>
                </c:pt>
                <c:pt idx="803">
                  <c:v>372.38838113932439</c:v>
                </c:pt>
                <c:pt idx="804">
                  <c:v>380.97108761886631</c:v>
                </c:pt>
                <c:pt idx="805">
                  <c:v>372.61557195060323</c:v>
                </c:pt>
                <c:pt idx="806">
                  <c:v>371.25242708293013</c:v>
                </c:pt>
                <c:pt idx="807">
                  <c:v>368.67759788843648</c:v>
                </c:pt>
                <c:pt idx="808">
                  <c:v>372.21169155052229</c:v>
                </c:pt>
                <c:pt idx="809">
                  <c:v>372.51461263222745</c:v>
                </c:pt>
                <c:pt idx="810">
                  <c:v>373.47383397324194</c:v>
                </c:pt>
                <c:pt idx="811">
                  <c:v>371.8582692463404</c:v>
                </c:pt>
                <c:pt idx="812">
                  <c:v>393.71891584527606</c:v>
                </c:pt>
                <c:pt idx="813">
                  <c:v>388.77126234619584</c:v>
                </c:pt>
                <c:pt idx="814">
                  <c:v>392.7344223297344</c:v>
                </c:pt>
                <c:pt idx="815">
                  <c:v>390.99266923650754</c:v>
                </c:pt>
                <c:pt idx="816">
                  <c:v>386.29739247007797</c:v>
                </c:pt>
                <c:pt idx="817">
                  <c:v>371.25242708293013</c:v>
                </c:pt>
                <c:pt idx="818">
                  <c:v>372.96895112820744</c:v>
                </c:pt>
                <c:pt idx="819">
                  <c:v>368.3999489812586</c:v>
                </c:pt>
                <c:pt idx="820">
                  <c:v>368.98051897014165</c:v>
                </c:pt>
                <c:pt idx="821">
                  <c:v>371.22719803498063</c:v>
                </c:pt>
                <c:pt idx="822">
                  <c:v>371.95922856471623</c:v>
                </c:pt>
                <c:pt idx="823">
                  <c:v>372.5650707281265</c:v>
                </c:pt>
                <c:pt idx="824">
                  <c:v>374.15540640707843</c:v>
                </c:pt>
                <c:pt idx="825">
                  <c:v>374.91270911134131</c:v>
                </c:pt>
                <c:pt idx="826">
                  <c:v>373.87771437332287</c:v>
                </c:pt>
                <c:pt idx="827">
                  <c:v>373.54956424366821</c:v>
                </c:pt>
                <c:pt idx="828">
                  <c:v>379.07783085820921</c:v>
                </c:pt>
                <c:pt idx="829">
                  <c:v>371.68157965753829</c:v>
                </c:pt>
                <c:pt idx="830">
                  <c:v>372.26214964642134</c:v>
                </c:pt>
                <c:pt idx="831">
                  <c:v>372.96895112820744</c:v>
                </c:pt>
                <c:pt idx="832">
                  <c:v>376.40204234533974</c:v>
                </c:pt>
                <c:pt idx="833">
                  <c:v>372.16119032804556</c:v>
                </c:pt>
                <c:pt idx="834">
                  <c:v>356.73757358876628</c:v>
                </c:pt>
                <c:pt idx="835">
                  <c:v>348.28107703883859</c:v>
                </c:pt>
                <c:pt idx="836">
                  <c:v>337.12356292809193</c:v>
                </c:pt>
                <c:pt idx="837">
                  <c:v>355.27344783942857</c:v>
                </c:pt>
                <c:pt idx="838">
                  <c:v>350.60346481081501</c:v>
                </c:pt>
                <c:pt idx="839">
                  <c:v>359.11041945664175</c:v>
                </c:pt>
                <c:pt idx="840">
                  <c:v>354.56664635764247</c:v>
                </c:pt>
                <c:pt idx="841">
                  <c:v>350.55296358833823</c:v>
                </c:pt>
                <c:pt idx="842">
                  <c:v>355.07150763938807</c:v>
                </c:pt>
                <c:pt idx="843">
                  <c:v>364.81539722327369</c:v>
                </c:pt>
                <c:pt idx="844">
                  <c:v>368.37471993330905</c:v>
                </c:pt>
                <c:pt idx="845">
                  <c:v>380.71866775963792</c:v>
                </c:pt>
                <c:pt idx="846">
                  <c:v>388.064417737832</c:v>
                </c:pt>
                <c:pt idx="847">
                  <c:v>384.90901855445532</c:v>
                </c:pt>
                <c:pt idx="848">
                  <c:v>393.592684352373</c:v>
                </c:pt>
                <c:pt idx="849">
                  <c:v>385.59059098829186</c:v>
                </c:pt>
                <c:pt idx="850">
                  <c:v>378.54771896522522</c:v>
                </c:pt>
                <c:pt idx="851">
                  <c:v>355.90454061407718</c:v>
                </c:pt>
                <c:pt idx="852">
                  <c:v>343.18194143561692</c:v>
                </c:pt>
                <c:pt idx="853">
                  <c:v>338.38572691410036</c:v>
                </c:pt>
                <c:pt idx="854">
                  <c:v>353.40546325329865</c:v>
                </c:pt>
                <c:pt idx="855">
                  <c:v>354.56664635764247</c:v>
                </c:pt>
                <c:pt idx="856">
                  <c:v>362.16488088493151</c:v>
                </c:pt>
                <c:pt idx="857">
                  <c:v>368.3999489812586</c:v>
                </c:pt>
                <c:pt idx="858">
                  <c:v>360.27162412427441</c:v>
                </c:pt>
                <c:pt idx="859">
                  <c:v>395.91509368763826</c:v>
                </c:pt>
                <c:pt idx="860">
                  <c:v>401.74628138388442</c:v>
                </c:pt>
                <c:pt idx="861">
                  <c:v>395.71313192430898</c:v>
                </c:pt>
                <c:pt idx="862">
                  <c:v>395.58690043140592</c:v>
                </c:pt>
                <c:pt idx="863">
                  <c:v>374.71074734801198</c:v>
                </c:pt>
                <c:pt idx="864">
                  <c:v>375.08939870014342</c:v>
                </c:pt>
                <c:pt idx="865">
                  <c:v>384.05075653181672</c:v>
                </c:pt>
                <c:pt idx="866">
                  <c:v>393.23930517476884</c:v>
                </c:pt>
                <c:pt idx="867">
                  <c:v>418.98742461339447</c:v>
                </c:pt>
                <c:pt idx="868">
                  <c:v>431.81098311023061</c:v>
                </c:pt>
                <c:pt idx="869">
                  <c:v>433.35081756670581</c:v>
                </c:pt>
                <c:pt idx="870">
                  <c:v>447.99190255377266</c:v>
                </c:pt>
                <c:pt idx="871">
                  <c:v>440.69661067147752</c:v>
                </c:pt>
                <c:pt idx="872">
                  <c:v>456.82702889254296</c:v>
                </c:pt>
                <c:pt idx="873">
                  <c:v>454.80758376556042</c:v>
                </c:pt>
                <c:pt idx="874">
                  <c:v>460.08343052087309</c:v>
                </c:pt>
                <c:pt idx="875">
                  <c:v>453.31820740498438</c:v>
                </c:pt>
                <c:pt idx="876">
                  <c:v>453.46966794583687</c:v>
                </c:pt>
                <c:pt idx="877">
                  <c:v>455.08523267273836</c:v>
                </c:pt>
                <c:pt idx="878">
                  <c:v>452.535675652772</c:v>
                </c:pt>
                <c:pt idx="879">
                  <c:v>451.37449254842818</c:v>
                </c:pt>
                <c:pt idx="880">
                  <c:v>460.53781214343081</c:v>
                </c:pt>
                <c:pt idx="881">
                  <c:v>455.28719443606775</c:v>
                </c:pt>
                <c:pt idx="882">
                  <c:v>451.6269124076565</c:v>
                </c:pt>
                <c:pt idx="883">
                  <c:v>455.89303659947797</c:v>
                </c:pt>
                <c:pt idx="884">
                  <c:v>450.0870779511813</c:v>
                </c:pt>
                <c:pt idx="885">
                  <c:v>447.20937080156028</c:v>
                </c:pt>
                <c:pt idx="886">
                  <c:v>450.4152712074137</c:v>
                </c:pt>
                <c:pt idx="887">
                  <c:v>453.46966794583687</c:v>
                </c:pt>
                <c:pt idx="888">
                  <c:v>456.39791944451247</c:v>
                </c:pt>
                <c:pt idx="889">
                  <c:v>470.98850320910259</c:v>
                </c:pt>
                <c:pt idx="890">
                  <c:v>479.36924792531511</c:v>
                </c:pt>
                <c:pt idx="891">
                  <c:v>457.93775390098756</c:v>
                </c:pt>
                <c:pt idx="892">
                  <c:v>448.3957829538536</c:v>
                </c:pt>
                <c:pt idx="893">
                  <c:v>429.61480526786835</c:v>
                </c:pt>
                <c:pt idx="894">
                  <c:v>428.04974176344359</c:v>
                </c:pt>
                <c:pt idx="895">
                  <c:v>419.39130501347546</c:v>
                </c:pt>
                <c:pt idx="896">
                  <c:v>415.20091109208028</c:v>
                </c:pt>
                <c:pt idx="897">
                  <c:v>416.69028745265643</c:v>
                </c:pt>
                <c:pt idx="898">
                  <c:v>416.6650152781292</c:v>
                </c:pt>
                <c:pt idx="899">
                  <c:v>423.12731731231293</c:v>
                </c:pt>
                <c:pt idx="900">
                  <c:v>410.07652487762022</c:v>
                </c:pt>
                <c:pt idx="901">
                  <c:v>407.12308745757292</c:v>
                </c:pt>
                <c:pt idx="902">
                  <c:v>405.91140313075238</c:v>
                </c:pt>
                <c:pt idx="903">
                  <c:v>405.63371109699676</c:v>
                </c:pt>
                <c:pt idx="904">
                  <c:v>399.72679313032432</c:v>
                </c:pt>
                <c:pt idx="905">
                  <c:v>402.88223544027869</c:v>
                </c:pt>
                <c:pt idx="906">
                  <c:v>406.06286367160493</c:v>
                </c:pt>
                <c:pt idx="907">
                  <c:v>408.56196259567224</c:v>
                </c:pt>
                <c:pt idx="908">
                  <c:v>407.55224003218109</c:v>
                </c:pt>
                <c:pt idx="909">
                  <c:v>409.87460624086862</c:v>
                </c:pt>
                <c:pt idx="910">
                  <c:v>403.48807760368891</c:v>
                </c:pt>
                <c:pt idx="911">
                  <c:v>403.08415407703029</c:v>
                </c:pt>
                <c:pt idx="912">
                  <c:v>388.49357031244017</c:v>
                </c:pt>
                <c:pt idx="913">
                  <c:v>371.88349829428995</c:v>
                </c:pt>
                <c:pt idx="914">
                  <c:v>375.84670140440625</c:v>
                </c:pt>
                <c:pt idx="915">
                  <c:v>356.96474283675627</c:v>
                </c:pt>
                <c:pt idx="916">
                  <c:v>361.78622953280006</c:v>
                </c:pt>
                <c:pt idx="917">
                  <c:v>375.34181855937175</c:v>
                </c:pt>
                <c:pt idx="918">
                  <c:v>384.12648680224299</c:v>
                </c:pt>
                <c:pt idx="919">
                  <c:v>386.67604382220941</c:v>
                </c:pt>
                <c:pt idx="920">
                  <c:v>378.80018195103128</c:v>
                </c:pt>
                <c:pt idx="921">
                  <c:v>387.43334652647223</c:v>
                </c:pt>
                <c:pt idx="922">
                  <c:v>393.94610665655489</c:v>
                </c:pt>
                <c:pt idx="923">
                  <c:v>385.71682248119492</c:v>
                </c:pt>
                <c:pt idx="924">
                  <c:v>395.71313192430898</c:v>
                </c:pt>
                <c:pt idx="925">
                  <c:v>385.86828302204748</c:v>
                </c:pt>
                <c:pt idx="926">
                  <c:v>418.78546285006513</c:v>
                </c:pt>
                <c:pt idx="927">
                  <c:v>435.82464431624589</c:v>
                </c:pt>
                <c:pt idx="928">
                  <c:v>447.89094323539683</c:v>
                </c:pt>
                <c:pt idx="929">
                  <c:v>455.11050484726559</c:v>
                </c:pt>
                <c:pt idx="930">
                  <c:v>449.63269632862364</c:v>
                </c:pt>
                <c:pt idx="931">
                  <c:v>454.93377213188586</c:v>
                </c:pt>
                <c:pt idx="932">
                  <c:v>459.17466727575771</c:v>
                </c:pt>
                <c:pt idx="933">
                  <c:v>458.66978443072321</c:v>
                </c:pt>
                <c:pt idx="934">
                  <c:v>452.63667809772545</c:v>
                </c:pt>
                <c:pt idx="935">
                  <c:v>431.98767269903266</c:v>
                </c:pt>
                <c:pt idx="936">
                  <c:v>450.21330944408442</c:v>
                </c:pt>
                <c:pt idx="937">
                  <c:v>457.53383037432894</c:v>
                </c:pt>
                <c:pt idx="938">
                  <c:v>461.04265186188752</c:v>
                </c:pt>
                <c:pt idx="939">
                  <c:v>460.66400050975614</c:v>
                </c:pt>
                <c:pt idx="940">
                  <c:v>459.09893700533138</c:v>
                </c:pt>
                <c:pt idx="941">
                  <c:v>471.01373225705208</c:v>
                </c:pt>
                <c:pt idx="942">
                  <c:v>463.86990091560961</c:v>
                </c:pt>
                <c:pt idx="943">
                  <c:v>467.25249091026512</c:v>
                </c:pt>
                <c:pt idx="944">
                  <c:v>470.55935063449442</c:v>
                </c:pt>
                <c:pt idx="945">
                  <c:v>476.39053833074058</c:v>
                </c:pt>
                <c:pt idx="946">
                  <c:v>469.77681888228204</c:v>
                </c:pt>
                <c:pt idx="947">
                  <c:v>481.54019671972782</c:v>
                </c:pt>
                <c:pt idx="948">
                  <c:v>493.10156966726657</c:v>
                </c:pt>
                <c:pt idx="949">
                  <c:v>480.47997293375983</c:v>
                </c:pt>
                <c:pt idx="950">
                  <c:v>485.14997752566222</c:v>
                </c:pt>
                <c:pt idx="951">
                  <c:v>483.63537211713651</c:v>
                </c:pt>
                <c:pt idx="952">
                  <c:v>480.45470075923265</c:v>
                </c:pt>
                <c:pt idx="953">
                  <c:v>458.84651714610305</c:v>
                </c:pt>
                <c:pt idx="954">
                  <c:v>453.31820740498438</c:v>
                </c:pt>
                <c:pt idx="955">
                  <c:v>453.79786120206927</c:v>
                </c:pt>
                <c:pt idx="956">
                  <c:v>456.47364971493874</c:v>
                </c:pt>
                <c:pt idx="957">
                  <c:v>465.38450632413532</c:v>
                </c:pt>
                <c:pt idx="958">
                  <c:v>462.96113767049417</c:v>
                </c:pt>
                <c:pt idx="959">
                  <c:v>461.09315308436436</c:v>
                </c:pt>
                <c:pt idx="960">
                  <c:v>460.86596227308547</c:v>
                </c:pt>
                <c:pt idx="961">
                  <c:v>467.02530009898629</c:v>
                </c:pt>
                <c:pt idx="962">
                  <c:v>462.27956523665767</c:v>
                </c:pt>
                <c:pt idx="963">
                  <c:v>478.71294766600585</c:v>
                </c:pt>
                <c:pt idx="964">
                  <c:v>487.59857522725281</c:v>
                </c:pt>
                <c:pt idx="965">
                  <c:v>486.68981198213743</c:v>
                </c:pt>
                <c:pt idx="966">
                  <c:v>495.85308845056232</c:v>
                </c:pt>
                <c:pt idx="967">
                  <c:v>499.3871389860704</c:v>
                </c:pt>
                <c:pt idx="968">
                  <c:v>487.16942265264464</c:v>
                </c:pt>
                <c:pt idx="969">
                  <c:v>497.54438344789014</c:v>
                </c:pt>
                <c:pt idx="970">
                  <c:v>500.44736277203839</c:v>
                </c:pt>
                <c:pt idx="971">
                  <c:v>523.58839433605715</c:v>
                </c:pt>
                <c:pt idx="972">
                  <c:v>530.27650713103355</c:v>
                </c:pt>
                <c:pt idx="973">
                  <c:v>528.20699204735126</c:v>
                </c:pt>
                <c:pt idx="974">
                  <c:v>523.3360176034065</c:v>
                </c:pt>
                <c:pt idx="975">
                  <c:v>519.22221648399147</c:v>
                </c:pt>
                <c:pt idx="976">
                  <c:v>493.60563310732493</c:v>
                </c:pt>
                <c:pt idx="977">
                  <c:v>483.76276802763726</c:v>
                </c:pt>
                <c:pt idx="978">
                  <c:v>478.99279602864596</c:v>
                </c:pt>
                <c:pt idx="979">
                  <c:v>481.31468784497889</c:v>
                </c:pt>
                <c:pt idx="980">
                  <c:v>463.24426365303896</c:v>
                </c:pt>
                <c:pt idx="981">
                  <c:v>457.54047186729349</c:v>
                </c:pt>
                <c:pt idx="982">
                  <c:v>468.61994843570739</c:v>
                </c:pt>
                <c:pt idx="983">
                  <c:v>473.21327397247427</c:v>
                </c:pt>
                <c:pt idx="984">
                  <c:v>467.76185891937951</c:v>
                </c:pt>
                <c:pt idx="985">
                  <c:v>468.16565306630508</c:v>
                </c:pt>
                <c:pt idx="986">
                  <c:v>467.68612864895323</c:v>
                </c:pt>
                <c:pt idx="987">
                  <c:v>458.67616716422157</c:v>
                </c:pt>
                <c:pt idx="988">
                  <c:v>457.86853574379273</c:v>
                </c:pt>
                <c:pt idx="989">
                  <c:v>458.90331484892278</c:v>
                </c:pt>
                <c:pt idx="990">
                  <c:v>460.41757524482688</c:v>
                </c:pt>
                <c:pt idx="991">
                  <c:v>460.36711714892783</c:v>
                </c:pt>
                <c:pt idx="992">
                  <c:v>460.66995197747758</c:v>
                </c:pt>
                <c:pt idx="993">
                  <c:v>463.47141133774005</c:v>
                </c:pt>
                <c:pt idx="994">
                  <c:v>466.22232634894817</c:v>
                </c:pt>
                <c:pt idx="995">
                  <c:v>467.18137518365188</c:v>
                </c:pt>
                <c:pt idx="996">
                  <c:v>459.05473226319759</c:v>
                </c:pt>
                <c:pt idx="997">
                  <c:v>454.71378345908147</c:v>
                </c:pt>
                <c:pt idx="998">
                  <c:v>455.36999746523543</c:v>
                </c:pt>
                <c:pt idx="999">
                  <c:v>464.22854153569216</c:v>
                </c:pt>
                <c:pt idx="1000">
                  <c:v>471.39613562144262</c:v>
                </c:pt>
                <c:pt idx="1001">
                  <c:v>481.71848199190447</c:v>
                </c:pt>
                <c:pt idx="1002">
                  <c:v>476.09042047658534</c:v>
                </c:pt>
                <c:pt idx="1003">
                  <c:v>484.41898203379117</c:v>
                </c:pt>
                <c:pt idx="1004">
                  <c:v>501.00037487777661</c:v>
                </c:pt>
                <c:pt idx="1005">
                  <c:v>493.10083651544579</c:v>
                </c:pt>
                <c:pt idx="1006">
                  <c:v>489.92085518278498</c:v>
                </c:pt>
                <c:pt idx="1007">
                  <c:v>474.67707627247933</c:v>
                </c:pt>
                <c:pt idx="1008">
                  <c:v>474.02090539290305</c:v>
                </c:pt>
                <c:pt idx="1009">
                  <c:v>477.22611577351347</c:v>
                </c:pt>
                <c:pt idx="1010">
                  <c:v>473.61706811939985</c:v>
                </c:pt>
                <c:pt idx="1011">
                  <c:v>479.62373786027268</c:v>
                </c:pt>
                <c:pt idx="1012">
                  <c:v>469.57899727041104</c:v>
                </c:pt>
                <c:pt idx="1013">
                  <c:v>472.17853799392191</c:v>
                </c:pt>
                <c:pt idx="1014">
                  <c:v>467.98900660408071</c:v>
                </c:pt>
                <c:pt idx="1015">
                  <c:v>468.79663802450943</c:v>
                </c:pt>
                <c:pt idx="1016">
                  <c:v>469.20043217143501</c:v>
                </c:pt>
                <c:pt idx="1017">
                  <c:v>477.45326345821456</c:v>
                </c:pt>
                <c:pt idx="1018">
                  <c:v>482.50088436438381</c:v>
                </c:pt>
                <c:pt idx="1019">
                  <c:v>481.23895757455261</c:v>
                </c:pt>
                <c:pt idx="1020">
                  <c:v>480.12849132557409</c:v>
                </c:pt>
                <c:pt idx="1021">
                  <c:v>470.51281705716519</c:v>
                </c:pt>
                <c:pt idx="1022">
                  <c:v>477.70564019086532</c:v>
                </c:pt>
                <c:pt idx="1023">
                  <c:v>480.17899254805087</c:v>
                </c:pt>
                <c:pt idx="1024">
                  <c:v>482.67753082660818</c:v>
                </c:pt>
                <c:pt idx="1025">
                  <c:v>497.94653878486344</c:v>
                </c:pt>
                <c:pt idx="1026">
                  <c:v>504.68510967573883</c:v>
                </c:pt>
                <c:pt idx="1027">
                  <c:v>504.43273294308807</c:v>
                </c:pt>
                <c:pt idx="1028">
                  <c:v>495.29658309203109</c:v>
                </c:pt>
                <c:pt idx="1029">
                  <c:v>495.70037723895666</c:v>
                </c:pt>
                <c:pt idx="1030">
                  <c:v>483.76276802763726</c:v>
                </c:pt>
                <c:pt idx="1031">
                  <c:v>483.98991571233836</c:v>
                </c:pt>
                <c:pt idx="1032">
                  <c:v>484.36848081131438</c:v>
                </c:pt>
                <c:pt idx="1033">
                  <c:v>486.48849711747346</c:v>
                </c:pt>
                <c:pt idx="1034">
                  <c:v>478.21039365616667</c:v>
                </c:pt>
                <c:pt idx="1035">
                  <c:v>481.79421226233075</c:v>
                </c:pt>
                <c:pt idx="1036">
                  <c:v>474.44992858777812</c:v>
                </c:pt>
                <c:pt idx="1037">
                  <c:v>468.97328448673392</c:v>
                </c:pt>
                <c:pt idx="1038">
                  <c:v>468.64517748365688</c:v>
                </c:pt>
                <c:pt idx="1039">
                  <c:v>464.80902527141978</c:v>
                </c:pt>
                <c:pt idx="1040">
                  <c:v>466.49997525612605</c:v>
                </c:pt>
                <c:pt idx="1041">
                  <c:v>466.65139267040098</c:v>
                </c:pt>
                <c:pt idx="1042">
                  <c:v>457.76757642541696</c:v>
                </c:pt>
                <c:pt idx="1043">
                  <c:v>450.65048356214322</c:v>
                </c:pt>
                <c:pt idx="1044">
                  <c:v>449.91858241214067</c:v>
                </c:pt>
                <c:pt idx="1045">
                  <c:v>443.07905220288939</c:v>
                </c:pt>
                <c:pt idx="1046">
                  <c:v>454.63809631523287</c:v>
                </c:pt>
                <c:pt idx="1047">
                  <c:v>463.4966403856896</c:v>
                </c:pt>
                <c:pt idx="1048">
                  <c:v>456.27854507746235</c:v>
                </c:pt>
                <c:pt idx="1049">
                  <c:v>455.62237419788607</c:v>
                </c:pt>
                <c:pt idx="1050">
                  <c:v>476.21660884291072</c:v>
                </c:pt>
                <c:pt idx="1051">
                  <c:v>486.81660412055044</c:v>
                </c:pt>
                <c:pt idx="1052">
                  <c:v>477.17565767761442</c:v>
                </c:pt>
                <c:pt idx="1053">
                  <c:v>486.23612038482281</c:v>
                </c:pt>
                <c:pt idx="1054">
                  <c:v>483.88895639396259</c:v>
                </c:pt>
                <c:pt idx="1055">
                  <c:v>489.36564362158458</c:v>
                </c:pt>
                <c:pt idx="1056">
                  <c:v>495.47322955425557</c:v>
                </c:pt>
                <c:pt idx="1057">
                  <c:v>501.88369344205404</c:v>
                </c:pt>
                <c:pt idx="1058">
                  <c:v>511.60032702883865</c:v>
                </c:pt>
                <c:pt idx="1059">
                  <c:v>506.07322483189529</c:v>
                </c:pt>
                <c:pt idx="1060">
                  <c:v>512.96321313704561</c:v>
                </c:pt>
                <c:pt idx="1061">
                  <c:v>506.75462475942112</c:v>
                </c:pt>
                <c:pt idx="1062">
                  <c:v>495.14512255117859</c:v>
                </c:pt>
                <c:pt idx="1063">
                  <c:v>488.05325873585434</c:v>
                </c:pt>
                <c:pt idx="1064">
                  <c:v>491.40988653073958</c:v>
                </c:pt>
                <c:pt idx="1065">
                  <c:v>489.18895403278242</c:v>
                </c:pt>
                <c:pt idx="1066">
                  <c:v>494.05988535014956</c:v>
                </c:pt>
                <c:pt idx="1067">
                  <c:v>497.16417953896183</c:v>
                </c:pt>
                <c:pt idx="1068">
                  <c:v>495.24608186955436</c:v>
                </c:pt>
                <c:pt idx="1069">
                  <c:v>498.42606320221529</c:v>
                </c:pt>
                <c:pt idx="1070">
                  <c:v>498.55225156854061</c:v>
                </c:pt>
                <c:pt idx="1071">
                  <c:v>486.41276684704718</c:v>
                </c:pt>
                <c:pt idx="1072">
                  <c:v>490.17323191543574</c:v>
                </c:pt>
                <c:pt idx="1073">
                  <c:v>492.5456249542454</c:v>
                </c:pt>
                <c:pt idx="1074">
                  <c:v>497.69416205221273</c:v>
                </c:pt>
                <c:pt idx="1075">
                  <c:v>505.99749456146901</c:v>
                </c:pt>
                <c:pt idx="1076">
                  <c:v>512.35745722679076</c:v>
                </c:pt>
                <c:pt idx="1077">
                  <c:v>513.11463055132037</c:v>
                </c:pt>
                <c:pt idx="1078">
                  <c:v>506.95654339617266</c:v>
                </c:pt>
                <c:pt idx="1079">
                  <c:v>507.71367359412477</c:v>
                </c:pt>
                <c:pt idx="1080">
                  <c:v>499.23369462264401</c:v>
                </c:pt>
                <c:pt idx="1081">
                  <c:v>484.64608659191464</c:v>
                </c:pt>
                <c:pt idx="1082">
                  <c:v>483.35897388071169</c:v>
                </c:pt>
                <c:pt idx="1083">
                  <c:v>485.27707155011905</c:v>
                </c:pt>
                <c:pt idx="1084">
                  <c:v>459.45852641012317</c:v>
                </c:pt>
                <c:pt idx="1085">
                  <c:v>454.13329972335379</c:v>
                </c:pt>
                <c:pt idx="1086">
                  <c:v>449.94381146009016</c:v>
                </c:pt>
                <c:pt idx="1087">
                  <c:v>476.26706693880976</c:v>
                </c:pt>
                <c:pt idx="1088">
                  <c:v>477.32707509188924</c:v>
                </c:pt>
                <c:pt idx="1089">
                  <c:v>480.00230295924871</c:v>
                </c:pt>
                <c:pt idx="1090">
                  <c:v>487.59896336645204</c:v>
                </c:pt>
                <c:pt idx="1091">
                  <c:v>488.98703539603082</c:v>
                </c:pt>
                <c:pt idx="1092">
                  <c:v>493.17656678587218</c:v>
                </c:pt>
                <c:pt idx="1093">
                  <c:v>502.71655391043237</c:v>
                </c:pt>
                <c:pt idx="1094">
                  <c:v>512.5593758635423</c:v>
                </c:pt>
                <c:pt idx="1095">
                  <c:v>505.18986314104018</c:v>
                </c:pt>
                <c:pt idx="1096">
                  <c:v>509.50558289720681</c:v>
                </c:pt>
                <c:pt idx="1097">
                  <c:v>506.8303550298474</c:v>
                </c:pt>
                <c:pt idx="1098">
                  <c:v>509.78318867780706</c:v>
                </c:pt>
                <c:pt idx="1099">
                  <c:v>513.92221884517153</c:v>
                </c:pt>
                <c:pt idx="1100">
                  <c:v>521.79648503297506</c:v>
                </c:pt>
                <c:pt idx="1101">
                  <c:v>537.26741162798191</c:v>
                </c:pt>
                <c:pt idx="1102">
                  <c:v>510.79269560840982</c:v>
                </c:pt>
                <c:pt idx="1103">
                  <c:v>528.10603272897549</c:v>
                </c:pt>
                <c:pt idx="1104">
                  <c:v>530.50361168915697</c:v>
                </c:pt>
                <c:pt idx="1105">
                  <c:v>571.96972988638413</c:v>
                </c:pt>
                <c:pt idx="1106">
                  <c:v>540.04359881371715</c:v>
                </c:pt>
                <c:pt idx="1107">
                  <c:v>512.60987708601908</c:v>
                </c:pt>
                <c:pt idx="1108">
                  <c:v>511.5750979808891</c:v>
                </c:pt>
                <c:pt idx="1109">
                  <c:v>505.74511782881825</c:v>
                </c:pt>
                <c:pt idx="1110">
                  <c:v>506.88081312574644</c:v>
                </c:pt>
                <c:pt idx="1111">
                  <c:v>509.32889330840476</c:v>
                </c:pt>
                <c:pt idx="1112">
                  <c:v>511.27222002576167</c:v>
                </c:pt>
                <c:pt idx="1113">
                  <c:v>526.18793505956808</c:v>
                </c:pt>
                <c:pt idx="1114">
                  <c:v>502.13607017470468</c:v>
                </c:pt>
                <c:pt idx="1115">
                  <c:v>514.22509680029907</c:v>
                </c:pt>
                <c:pt idx="1116">
                  <c:v>492.57085400219489</c:v>
                </c:pt>
                <c:pt idx="1117">
                  <c:v>504.81129804206415</c:v>
                </c:pt>
                <c:pt idx="1118">
                  <c:v>501.7575050757286</c:v>
                </c:pt>
                <c:pt idx="1119">
                  <c:v>501.1012910695747</c:v>
                </c:pt>
                <c:pt idx="1120">
                  <c:v>511.34795029618789</c:v>
                </c:pt>
                <c:pt idx="1121">
                  <c:v>514.14936652987274</c:v>
                </c:pt>
                <c:pt idx="1122">
                  <c:v>534.0622012473716</c:v>
                </c:pt>
                <c:pt idx="1123">
                  <c:v>513.34177823602158</c:v>
                </c:pt>
                <c:pt idx="1124">
                  <c:v>516.92555371560798</c:v>
                </c:pt>
                <c:pt idx="1125">
                  <c:v>501.55558643897706</c:v>
                </c:pt>
                <c:pt idx="1126">
                  <c:v>450.47379397334106</c:v>
                </c:pt>
                <c:pt idx="1127">
                  <c:v>445.7290510222993</c:v>
                </c:pt>
                <c:pt idx="1128">
                  <c:v>441.66570799878338</c:v>
                </c:pt>
                <c:pt idx="1129">
                  <c:v>435.38143247731034</c:v>
                </c:pt>
                <c:pt idx="1130">
                  <c:v>424.25145468641966</c:v>
                </c:pt>
                <c:pt idx="1131">
                  <c:v>426.90145350582958</c:v>
                </c:pt>
                <c:pt idx="1132">
                  <c:v>442.37238010083644</c:v>
                </c:pt>
                <c:pt idx="1133">
                  <c:v>443.28097083964104</c:v>
                </c:pt>
                <c:pt idx="1134">
                  <c:v>453.90615203865264</c:v>
                </c:pt>
                <c:pt idx="1135">
                  <c:v>446.61236958657673</c:v>
                </c:pt>
                <c:pt idx="1136">
                  <c:v>453.72950557642821</c:v>
                </c:pt>
                <c:pt idx="1137">
                  <c:v>422.58577687624063</c:v>
                </c:pt>
                <c:pt idx="1138">
                  <c:v>415.09007578741313</c:v>
                </c:pt>
                <c:pt idx="1139">
                  <c:v>413.12147689552899</c:v>
                </c:pt>
                <c:pt idx="1140">
                  <c:v>410.3200606618442</c:v>
                </c:pt>
                <c:pt idx="1141">
                  <c:v>414.10579790475992</c:v>
                </c:pt>
                <c:pt idx="1142">
                  <c:v>404.31343404754898</c:v>
                </c:pt>
                <c:pt idx="1143">
                  <c:v>414.40863273330962</c:v>
                </c:pt>
                <c:pt idx="1144">
                  <c:v>406.23153171695645</c:v>
                </c:pt>
                <c:pt idx="1145">
                  <c:v>411.60721649962488</c:v>
                </c:pt>
                <c:pt idx="1146">
                  <c:v>418.87576990375123</c:v>
                </c:pt>
                <c:pt idx="1147">
                  <c:v>399.54341892197999</c:v>
                </c:pt>
                <c:pt idx="1148">
                  <c:v>427.35574887523188</c:v>
                </c:pt>
                <c:pt idx="1149">
                  <c:v>442.97809288451361</c:v>
                </c:pt>
                <c:pt idx="1150">
                  <c:v>421.12197457623557</c:v>
                </c:pt>
                <c:pt idx="1151">
                  <c:v>398.55914103932679</c:v>
                </c:pt>
                <c:pt idx="1152">
                  <c:v>382.05347846576768</c:v>
                </c:pt>
                <c:pt idx="1153">
                  <c:v>366.93588792178736</c:v>
                </c:pt>
                <c:pt idx="1154">
                  <c:v>360.67684144826376</c:v>
                </c:pt>
                <c:pt idx="1155">
                  <c:v>361.56018157583009</c:v>
                </c:pt>
                <c:pt idx="1156">
                  <c:v>359.91971125031171</c:v>
                </c:pt>
                <c:pt idx="1157">
                  <c:v>360.80302981458914</c:v>
                </c:pt>
                <c:pt idx="1158">
                  <c:v>362.14064374826887</c:v>
                </c:pt>
                <c:pt idx="1159">
                  <c:v>355.37686537273277</c:v>
                </c:pt>
                <c:pt idx="1160">
                  <c:v>360.62636178907587</c:v>
                </c:pt>
                <c:pt idx="1161">
                  <c:v>361.68636994215541</c:v>
                </c:pt>
                <c:pt idx="1162">
                  <c:v>372.2611146085568</c:v>
                </c:pt>
                <c:pt idx="1163">
                  <c:v>352.34830145434677</c:v>
                </c:pt>
                <c:pt idx="1164">
                  <c:v>332.96549237667659</c:v>
                </c:pt>
                <c:pt idx="1165">
                  <c:v>302.11247993670742</c:v>
                </c:pt>
                <c:pt idx="1166">
                  <c:v>302.73964819278615</c:v>
                </c:pt>
                <c:pt idx="1167">
                  <c:v>292.91390436444203</c:v>
                </c:pt>
                <c:pt idx="1168">
                  <c:v>288.87210306648296</c:v>
                </c:pt>
                <c:pt idx="1169">
                  <c:v>274.86521596765851</c:v>
                </c:pt>
                <c:pt idx="1170">
                  <c:v>269.45291672052997</c:v>
                </c:pt>
                <c:pt idx="1171">
                  <c:v>261.67130798489666</c:v>
                </c:pt>
                <c:pt idx="1172">
                  <c:v>257.30431072785478</c:v>
                </c:pt>
                <c:pt idx="1173">
                  <c:v>256.02672899032166</c:v>
                </c:pt>
                <c:pt idx="1174">
                  <c:v>257.25784184039225</c:v>
                </c:pt>
                <c:pt idx="1175">
                  <c:v>241.71784803121241</c:v>
                </c:pt>
                <c:pt idx="1176">
                  <c:v>235.37640823100924</c:v>
                </c:pt>
                <c:pt idx="1177">
                  <c:v>235.91068183874046</c:v>
                </c:pt>
                <c:pt idx="1178">
                  <c:v>240.90484735186101</c:v>
                </c:pt>
                <c:pt idx="1179">
                  <c:v>235.32996090683548</c:v>
                </c:pt>
                <c:pt idx="1180">
                  <c:v>236.16618524827379</c:v>
                </c:pt>
                <c:pt idx="1181">
                  <c:v>239.37176220479452</c:v>
                </c:pt>
                <c:pt idx="1182">
                  <c:v>242.90251355710924</c:v>
                </c:pt>
                <c:pt idx="1183">
                  <c:v>237.21148723836046</c:v>
                </c:pt>
                <c:pt idx="1184">
                  <c:v>238.79104127288957</c:v>
                </c:pt>
                <c:pt idx="1185">
                  <c:v>242.53084871056382</c:v>
                </c:pt>
                <c:pt idx="1186">
                  <c:v>243.90134665973332</c:v>
                </c:pt>
                <c:pt idx="1187">
                  <c:v>236.67721363062927</c:v>
                </c:pt>
                <c:pt idx="1188">
                  <c:v>241.95012777865887</c:v>
                </c:pt>
                <c:pt idx="1189">
                  <c:v>248.9652047224034</c:v>
                </c:pt>
                <c:pt idx="1190">
                  <c:v>235.86421295127784</c:v>
                </c:pt>
                <c:pt idx="1191">
                  <c:v>239.18592978152185</c:v>
                </c:pt>
                <c:pt idx="1192">
                  <c:v>236.79337506764134</c:v>
                </c:pt>
                <c:pt idx="1193">
                  <c:v>238.04771157979877</c:v>
                </c:pt>
                <c:pt idx="1194">
                  <c:v>242.36826151266686</c:v>
                </c:pt>
                <c:pt idx="1195">
                  <c:v>237.88512438190179</c:v>
                </c:pt>
                <c:pt idx="1196">
                  <c:v>240.32412641995603</c:v>
                </c:pt>
                <c:pt idx="1197">
                  <c:v>236.65398996854239</c:v>
                </c:pt>
                <c:pt idx="1198">
                  <c:v>236.63076630645551</c:v>
                </c:pt>
                <c:pt idx="1199">
                  <c:v>235.16735214564966</c:v>
                </c:pt>
                <c:pt idx="1200">
                  <c:v>237.90834804398867</c:v>
                </c:pt>
                <c:pt idx="1201">
                  <c:v>242.97220610665872</c:v>
                </c:pt>
                <c:pt idx="1202">
                  <c:v>242.08951287775781</c:v>
                </c:pt>
                <c:pt idx="1203">
                  <c:v>239.60410664210752</c:v>
                </c:pt>
                <c:pt idx="1204">
                  <c:v>240.34741477190943</c:v>
                </c:pt>
                <c:pt idx="1205">
                  <c:v>233.75047156217295</c:v>
                </c:pt>
                <c:pt idx="1206">
                  <c:v>236.53791478468568</c:v>
                </c:pt>
                <c:pt idx="1207">
                  <c:v>235.39969658296263</c:v>
                </c:pt>
                <c:pt idx="1208">
                  <c:v>240.39386209608321</c:v>
                </c:pt>
                <c:pt idx="1209">
                  <c:v>240.20805123609935</c:v>
                </c:pt>
                <c:pt idx="1210">
                  <c:v>244.13369109704632</c:v>
                </c:pt>
                <c:pt idx="1211">
                  <c:v>247.45540792729034</c:v>
                </c:pt>
                <c:pt idx="1212">
                  <c:v>247.45540792729034</c:v>
                </c:pt>
                <c:pt idx="1213">
                  <c:v>249.1278566101669</c:v>
                </c:pt>
                <c:pt idx="1214">
                  <c:v>243.3671377418687</c:v>
                </c:pt>
                <c:pt idx="1215">
                  <c:v>232.47288982463979</c:v>
                </c:pt>
                <c:pt idx="1216">
                  <c:v>238.5588046520208</c:v>
                </c:pt>
                <c:pt idx="1217">
                  <c:v>229.96417367374721</c:v>
                </c:pt>
                <c:pt idx="1218">
                  <c:v>225.03970071017613</c:v>
                </c:pt>
                <c:pt idx="1219">
                  <c:v>228.08266890551104</c:v>
                </c:pt>
                <c:pt idx="1220">
                  <c:v>227.52517163569297</c:v>
                </c:pt>
                <c:pt idx="1221">
                  <c:v>227.45547908614353</c:v>
                </c:pt>
                <c:pt idx="1222">
                  <c:v>225.85270138952757</c:v>
                </c:pt>
                <c:pt idx="1223">
                  <c:v>224.85386828690346</c:v>
                </c:pt>
                <c:pt idx="1224">
                  <c:v>231.12561553755717</c:v>
                </c:pt>
                <c:pt idx="1225">
                  <c:v>228.40786486459388</c:v>
                </c:pt>
                <c:pt idx="1226">
                  <c:v>227.68778039687879</c:v>
                </c:pt>
                <c:pt idx="1227">
                  <c:v>225.01647704808926</c:v>
                </c:pt>
                <c:pt idx="1228">
                  <c:v>222.01995617692808</c:v>
                </c:pt>
                <c:pt idx="1229">
                  <c:v>224.78417573735396</c:v>
                </c:pt>
                <c:pt idx="1230">
                  <c:v>225.52744074057819</c:v>
                </c:pt>
                <c:pt idx="1231">
                  <c:v>222.53100612257245</c:v>
                </c:pt>
                <c:pt idx="1232">
                  <c:v>225.27198045762259</c:v>
                </c:pt>
                <c:pt idx="1233">
                  <c:v>223.01881084284102</c:v>
                </c:pt>
                <c:pt idx="1234">
                  <c:v>222.6935933204694</c:v>
                </c:pt>
                <c:pt idx="1235">
                  <c:v>229.22086554394531</c:v>
                </c:pt>
                <c:pt idx="1236">
                  <c:v>228.45431218876763</c:v>
                </c:pt>
                <c:pt idx="1237">
                  <c:v>225.36489666925891</c:v>
                </c:pt>
                <c:pt idx="1238">
                  <c:v>228.33817231504437</c:v>
                </c:pt>
                <c:pt idx="1239">
                  <c:v>231.26493594678959</c:v>
                </c:pt>
                <c:pt idx="1240">
                  <c:v>220.48682790328388</c:v>
                </c:pt>
                <c:pt idx="1241">
                  <c:v>223.62269074696633</c:v>
                </c:pt>
                <c:pt idx="1242">
                  <c:v>224.18018801678446</c:v>
                </c:pt>
                <c:pt idx="1243">
                  <c:v>225.17902111940856</c:v>
                </c:pt>
                <c:pt idx="1244">
                  <c:v>229.49954948898781</c:v>
                </c:pt>
                <c:pt idx="1245">
                  <c:v>227.4786596216527</c:v>
                </c:pt>
                <c:pt idx="1246">
                  <c:v>229.17435352990498</c:v>
                </c:pt>
                <c:pt idx="1247">
                  <c:v>225.13255223194594</c:v>
                </c:pt>
                <c:pt idx="1248">
                  <c:v>230.84682377607044</c:v>
                </c:pt>
                <c:pt idx="1249">
                  <c:v>233.40198725113672</c:v>
                </c:pt>
                <c:pt idx="1250">
                  <c:v>234.28465891674878</c:v>
                </c:pt>
                <c:pt idx="1251">
                  <c:v>238.11740412934824</c:v>
                </c:pt>
                <c:pt idx="1252">
                  <c:v>225.73649682593779</c:v>
                </c:pt>
                <c:pt idx="1253">
                  <c:v>224.06404814306123</c:v>
                </c:pt>
                <c:pt idx="1254">
                  <c:v>223.29749478788355</c:v>
                </c:pt>
                <c:pt idx="1255">
                  <c:v>224.22663534095818</c:v>
                </c:pt>
                <c:pt idx="1256">
                  <c:v>220.92816373608994</c:v>
                </c:pt>
                <c:pt idx="1257">
                  <c:v>220.71910765073034</c:v>
                </c:pt>
                <c:pt idx="1258">
                  <c:v>222.27543802317257</c:v>
                </c:pt>
                <c:pt idx="1259">
                  <c:v>230.24287918207858</c:v>
                </c:pt>
                <c:pt idx="1260">
                  <c:v>216.25919418205214</c:v>
                </c:pt>
                <c:pt idx="1261">
                  <c:v>216.93283132559347</c:v>
                </c:pt>
                <c:pt idx="1262">
                  <c:v>213.0304151267334</c:v>
                </c:pt>
                <c:pt idx="1263">
                  <c:v>215.21391375525431</c:v>
                </c:pt>
                <c:pt idx="1264">
                  <c:v>212.8213590413738</c:v>
                </c:pt>
                <c:pt idx="1265">
                  <c:v>211.00950369610945</c:v>
                </c:pt>
                <c:pt idx="1266">
                  <c:v>209.87130705767521</c:v>
                </c:pt>
                <c:pt idx="1267">
                  <c:v>214.26152797680396</c:v>
                </c:pt>
                <c:pt idx="1268">
                  <c:v>219.90610697137893</c:v>
                </c:pt>
                <c:pt idx="1269">
                  <c:v>226.71210626647502</c:v>
                </c:pt>
                <c:pt idx="1270">
                  <c:v>230.1499629704422</c:v>
                </c:pt>
                <c:pt idx="1271">
                  <c:v>225.41130086685502</c:v>
                </c:pt>
                <c:pt idx="1272">
                  <c:v>228.40780017472736</c:v>
                </c:pt>
                <c:pt idx="1273">
                  <c:v>231.45076837006226</c:v>
                </c:pt>
                <c:pt idx="1274">
                  <c:v>226.34046298321846</c:v>
                </c:pt>
                <c:pt idx="1275">
                  <c:v>221.48566100590804</c:v>
                </c:pt>
                <c:pt idx="1276">
                  <c:v>220.06871573256475</c:v>
                </c:pt>
                <c:pt idx="1277">
                  <c:v>219.85963808391637</c:v>
                </c:pt>
                <c:pt idx="1278">
                  <c:v>208.91892127922483</c:v>
                </c:pt>
                <c:pt idx="1279">
                  <c:v>201.76448079967025</c:v>
                </c:pt>
                <c:pt idx="1280">
                  <c:v>207.64136110498055</c:v>
                </c:pt>
                <c:pt idx="1281">
                  <c:v>219.72027454810626</c:v>
                </c:pt>
                <c:pt idx="1282">
                  <c:v>201.83417334921972</c:v>
                </c:pt>
                <c:pt idx="1283">
                  <c:v>186.24771065257735</c:v>
                </c:pt>
                <c:pt idx="1284">
                  <c:v>186.22448699049048</c:v>
                </c:pt>
                <c:pt idx="1285">
                  <c:v>197.16520379518195</c:v>
                </c:pt>
                <c:pt idx="1286">
                  <c:v>200.09203211679369</c:v>
                </c:pt>
                <c:pt idx="1287">
                  <c:v>199.62745105861194</c:v>
                </c:pt>
                <c:pt idx="1288">
                  <c:v>200.62628416123601</c:v>
                </c:pt>
                <c:pt idx="1289">
                  <c:v>197.86206460081016</c:v>
                </c:pt>
                <c:pt idx="1290">
                  <c:v>199.92942335560787</c:v>
                </c:pt>
                <c:pt idx="1291">
                  <c:v>198.69831050553731</c:v>
                </c:pt>
                <c:pt idx="1292">
                  <c:v>204.18028073892648</c:v>
                </c:pt>
                <c:pt idx="1293">
                  <c:v>186.82843158448233</c:v>
                </c:pt>
                <c:pt idx="1294">
                  <c:v>183.13507147098181</c:v>
                </c:pt>
                <c:pt idx="1295">
                  <c:v>184.76107282968462</c:v>
                </c:pt>
                <c:pt idx="1296">
                  <c:v>186.50323562539953</c:v>
                </c:pt>
                <c:pt idx="1297">
                  <c:v>188.26862208320131</c:v>
                </c:pt>
                <c:pt idx="1298">
                  <c:v>191.86906598506548</c:v>
                </c:pt>
                <c:pt idx="1299">
                  <c:v>199.95264701769472</c:v>
                </c:pt>
                <c:pt idx="1300">
                  <c:v>189.45328760909811</c:v>
                </c:pt>
                <c:pt idx="1301">
                  <c:v>191.14898151735042</c:v>
                </c:pt>
                <c:pt idx="1302">
                  <c:v>188.94223766345377</c:v>
                </c:pt>
                <c:pt idx="1303">
                  <c:v>189.52295859535874</c:v>
                </c:pt>
                <c:pt idx="1304">
                  <c:v>191.6600098997059</c:v>
                </c:pt>
                <c:pt idx="1305">
                  <c:v>181.27676880154365</c:v>
                </c:pt>
                <c:pt idx="1306">
                  <c:v>183.06537892143234</c:v>
                </c:pt>
                <c:pt idx="1307">
                  <c:v>186.85165524656918</c:v>
                </c:pt>
                <c:pt idx="1308">
                  <c:v>189.87139977981727</c:v>
                </c:pt>
                <c:pt idx="1309">
                  <c:v>186.85165524656918</c:v>
                </c:pt>
                <c:pt idx="1310">
                  <c:v>174.7495073597122</c:v>
                </c:pt>
                <c:pt idx="1311">
                  <c:v>178.88422486930759</c:v>
                </c:pt>
                <c:pt idx="1312">
                  <c:v>176.72394990287356</c:v>
                </c:pt>
                <c:pt idx="1313">
                  <c:v>172.79829926028216</c:v>
                </c:pt>
                <c:pt idx="1314">
                  <c:v>179.88305797193172</c:v>
                </c:pt>
                <c:pt idx="1315">
                  <c:v>178.90744853139449</c:v>
                </c:pt>
                <c:pt idx="1316">
                  <c:v>175.86449111770398</c:v>
                </c:pt>
                <c:pt idx="1317">
                  <c:v>172.75184115446399</c:v>
                </c:pt>
                <c:pt idx="1318">
                  <c:v>178.65193434021674</c:v>
                </c:pt>
                <c:pt idx="1319">
                  <c:v>171.28843777530255</c:v>
                </c:pt>
                <c:pt idx="1320">
                  <c:v>161.99695677304518</c:v>
                </c:pt>
                <c:pt idx="1321">
                  <c:v>144.13409001789</c:v>
                </c:pt>
                <c:pt idx="1322">
                  <c:v>144.62188395651418</c:v>
                </c:pt>
                <c:pt idx="1323">
                  <c:v>141.62538464864184</c:v>
                </c:pt>
                <c:pt idx="1324">
                  <c:v>142.64745219499727</c:v>
                </c:pt>
                <c:pt idx="1325">
                  <c:v>142.8797319424437</c:v>
                </c:pt>
                <c:pt idx="1326">
                  <c:v>137.32807994114947</c:v>
                </c:pt>
                <c:pt idx="1327">
                  <c:v>137.28162183533129</c:v>
                </c:pt>
                <c:pt idx="1328">
                  <c:v>136.77058267133137</c:v>
                </c:pt>
                <c:pt idx="1329">
                  <c:v>135.46977727171134</c:v>
                </c:pt>
                <c:pt idx="1330">
                  <c:v>140.18520493156728</c:v>
                </c:pt>
                <c:pt idx="1331">
                  <c:v>141.78798262818324</c:v>
                </c:pt>
                <c:pt idx="1332">
                  <c:v>139.37220425221588</c:v>
                </c:pt>
                <c:pt idx="1333">
                  <c:v>142.83327383662552</c:v>
                </c:pt>
                <c:pt idx="1334">
                  <c:v>138.00170630304635</c:v>
                </c:pt>
                <c:pt idx="1335">
                  <c:v>138.11784617676958</c:v>
                </c:pt>
                <c:pt idx="1336">
                  <c:v>139.04699751148866</c:v>
                </c:pt>
                <c:pt idx="1337">
                  <c:v>139.48834412593908</c:v>
                </c:pt>
                <c:pt idx="1338">
                  <c:v>133.1701387694672</c:v>
                </c:pt>
                <c:pt idx="1339">
                  <c:v>137.09578941205859</c:v>
                </c:pt>
                <c:pt idx="1340">
                  <c:v>135.09812320681038</c:v>
                </c:pt>
                <c:pt idx="1341">
                  <c:v>134.54063671863673</c:v>
                </c:pt>
                <c:pt idx="1342">
                  <c:v>135.88790022407491</c:v>
                </c:pt>
                <c:pt idx="1343">
                  <c:v>129.68583474132623</c:v>
                </c:pt>
                <c:pt idx="1344">
                  <c:v>132.473277963839</c:v>
                </c:pt>
                <c:pt idx="1345">
                  <c:v>134.63354214862864</c:v>
                </c:pt>
                <c:pt idx="1346">
                  <c:v>137.69973400605045</c:v>
                </c:pt>
                <c:pt idx="1347">
                  <c:v>137.18870562369494</c:v>
                </c:pt>
                <c:pt idx="1348">
                  <c:v>144.13409001789</c:v>
                </c:pt>
                <c:pt idx="1349">
                  <c:v>144.18053734206373</c:v>
                </c:pt>
                <c:pt idx="1350">
                  <c:v>135.79498401243856</c:v>
                </c:pt>
                <c:pt idx="1351">
                  <c:v>134.49417861281853</c:v>
                </c:pt>
                <c:pt idx="1352">
                  <c:v>138.2804549379554</c:v>
                </c:pt>
                <c:pt idx="1353">
                  <c:v>132.5197360696572</c:v>
                </c:pt>
                <c:pt idx="1354">
                  <c:v>119.99946523043663</c:v>
                </c:pt>
                <c:pt idx="1355">
                  <c:v>121.30027063005666</c:v>
                </c:pt>
                <c:pt idx="1356">
                  <c:v>121.30027063005666</c:v>
                </c:pt>
                <c:pt idx="1357">
                  <c:v>121.95067332986666</c:v>
                </c:pt>
                <c:pt idx="1358">
                  <c:v>124.90072531356526</c:v>
                </c:pt>
                <c:pt idx="1359">
                  <c:v>129.01219759778493</c:v>
                </c:pt>
                <c:pt idx="1360">
                  <c:v>122.09004764732119</c:v>
                </c:pt>
                <c:pt idx="1361">
                  <c:v>128.64054353288395</c:v>
                </c:pt>
                <c:pt idx="1362">
                  <c:v>113.26313692160117</c:v>
                </c:pt>
                <c:pt idx="1363">
                  <c:v>108.50126193757148</c:v>
                </c:pt>
                <c:pt idx="1364">
                  <c:v>100.1156978263019</c:v>
                </c:pt>
                <c:pt idx="1365">
                  <c:v>99.070406617859589</c:v>
                </c:pt>
                <c:pt idx="1366">
                  <c:v>97.537310689148697</c:v>
                </c:pt>
                <c:pt idx="1367">
                  <c:v>96.933366095156842</c:v>
                </c:pt>
                <c:pt idx="1368">
                  <c:v>101.43973766965321</c:v>
                </c:pt>
                <c:pt idx="1369">
                  <c:v>105.45829374223655</c:v>
                </c:pt>
                <c:pt idx="1370">
                  <c:v>105.96933290623647</c:v>
                </c:pt>
                <c:pt idx="1371">
                  <c:v>104.73820927452147</c:v>
                </c:pt>
                <c:pt idx="1372">
                  <c:v>106.89847345931109</c:v>
                </c:pt>
                <c:pt idx="1373">
                  <c:v>99.836949191392847</c:v>
                </c:pt>
                <c:pt idx="1374">
                  <c:v>103.46062753698833</c:v>
                </c:pt>
                <c:pt idx="1375">
                  <c:v>104.45946063961242</c:v>
                </c:pt>
                <c:pt idx="1376">
                  <c:v>107.61856870867059</c:v>
                </c:pt>
                <c:pt idx="1377">
                  <c:v>110.89381665145197</c:v>
                </c:pt>
                <c:pt idx="1378">
                  <c:v>113.35605313323751</c:v>
                </c:pt>
                <c:pt idx="1379">
                  <c:v>114.44780244749796</c:v>
                </c:pt>
                <c:pt idx="1380">
                  <c:v>111.56744301334886</c:v>
                </c:pt>
                <c:pt idx="1381">
                  <c:v>118.86125781035798</c:v>
                </c:pt>
                <c:pt idx="1382">
                  <c:v>117.49077064283291</c:v>
                </c:pt>
                <c:pt idx="1383">
                  <c:v>112.33399636852653</c:v>
                </c:pt>
                <c:pt idx="1384">
                  <c:v>112.58951055970428</c:v>
                </c:pt>
                <c:pt idx="1385">
                  <c:v>110.10403963418742</c:v>
                </c:pt>
                <c:pt idx="1386">
                  <c:v>107.24690386212518</c:v>
                </c:pt>
                <c:pt idx="1387">
                  <c:v>108.2689714084806</c:v>
                </c:pt>
                <c:pt idx="1388">
                  <c:v>103.97166670098824</c:v>
                </c:pt>
                <c:pt idx="1389">
                  <c:v>109.45363693437741</c:v>
                </c:pt>
                <c:pt idx="1390">
                  <c:v>108.87291600247244</c:v>
                </c:pt>
                <c:pt idx="1391">
                  <c:v>108.03668087938973</c:v>
                </c:pt>
                <c:pt idx="1392">
                  <c:v>94.238839084280428</c:v>
                </c:pt>
                <c:pt idx="1393">
                  <c:v>100.83578229401695</c:v>
                </c:pt>
                <c:pt idx="1394">
                  <c:v>111.07964907472467</c:v>
                </c:pt>
                <c:pt idx="1395">
                  <c:v>105.45829374223655</c:v>
                </c:pt>
                <c:pt idx="1396">
                  <c:v>114.2387463621384</c:v>
                </c:pt>
                <c:pt idx="1397">
                  <c:v>113.56512000024151</c:v>
                </c:pt>
                <c:pt idx="1398">
                  <c:v>119.11677200153574</c:v>
                </c:pt>
                <c:pt idx="1399">
                  <c:v>126.01569828991259</c:v>
                </c:pt>
                <c:pt idx="1400">
                  <c:v>125.17946316682989</c:v>
                </c:pt>
                <c:pt idx="1401">
                  <c:v>135.91112388616179</c:v>
                </c:pt>
                <c:pt idx="1402">
                  <c:v>132.07838945520675</c:v>
                </c:pt>
                <c:pt idx="1403">
                  <c:v>142.74035762498917</c:v>
                </c:pt>
                <c:pt idx="1404">
                  <c:v>142.15964747472862</c:v>
                </c:pt>
                <c:pt idx="1405">
                  <c:v>138.69856710867455</c:v>
                </c:pt>
                <c:pt idx="1406">
                  <c:v>136.42215226851729</c:v>
                </c:pt>
                <c:pt idx="1407">
                  <c:v>135.09812320681038</c:v>
                </c:pt>
                <c:pt idx="1408">
                  <c:v>138.11784617676958</c:v>
                </c:pt>
                <c:pt idx="1409">
                  <c:v>139.27928804057953</c:v>
                </c:pt>
                <c:pt idx="1410">
                  <c:v>145.96914746195239</c:v>
                </c:pt>
                <c:pt idx="1411">
                  <c:v>151.56726835070921</c:v>
                </c:pt>
                <c:pt idx="1412">
                  <c:v>151.98538052142837</c:v>
                </c:pt>
                <c:pt idx="1413">
                  <c:v>148.8495068961015</c:v>
                </c:pt>
                <c:pt idx="1414">
                  <c:v>139.37220425221588</c:v>
                </c:pt>
                <c:pt idx="1415">
                  <c:v>136.58476102970312</c:v>
                </c:pt>
                <c:pt idx="1416">
                  <c:v>135.28394484843864</c:v>
                </c:pt>
                <c:pt idx="1417">
                  <c:v>138.69856710867455</c:v>
                </c:pt>
                <c:pt idx="1418">
                  <c:v>139.25605359684823</c:v>
                </c:pt>
                <c:pt idx="1419">
                  <c:v>139.79031642293504</c:v>
                </c:pt>
                <c:pt idx="1420">
                  <c:v>141.20727247792271</c:v>
                </c:pt>
                <c:pt idx="1421">
                  <c:v>147.06089677621284</c:v>
                </c:pt>
                <c:pt idx="1422">
                  <c:v>150.22000484527101</c:v>
                </c:pt>
                <c:pt idx="1423">
                  <c:v>140.60331710228644</c:v>
                </c:pt>
                <c:pt idx="1424">
                  <c:v>149.24439540473378</c:v>
                </c:pt>
                <c:pt idx="1425">
                  <c:v>134.54063671863673</c:v>
                </c:pt>
                <c:pt idx="1426">
                  <c:v>130.49883542067766</c:v>
                </c:pt>
                <c:pt idx="1427">
                  <c:v>125.08654695519354</c:v>
                </c:pt>
                <c:pt idx="1428">
                  <c:v>126.54996111599939</c:v>
                </c:pt>
                <c:pt idx="1429">
                  <c:v>132.42681985802082</c:v>
                </c:pt>
                <c:pt idx="1430">
                  <c:v>136.18987252107084</c:v>
                </c:pt>
                <c:pt idx="1431">
                  <c:v>120.90538212142438</c:v>
                </c:pt>
                <c:pt idx="1432">
                  <c:v>122.02036587941613</c:v>
                </c:pt>
                <c:pt idx="1433">
                  <c:v>124.04125574675125</c:v>
                </c:pt>
                <c:pt idx="1434">
                  <c:v>121.76485168823841</c:v>
                </c:pt>
                <c:pt idx="1435">
                  <c:v>122.53139426177164</c:v>
                </c:pt>
                <c:pt idx="1436">
                  <c:v>122.34556183849894</c:v>
                </c:pt>
                <c:pt idx="1437">
                  <c:v>120.32467197116385</c:v>
                </c:pt>
                <c:pt idx="1438">
                  <c:v>117.56045241073795</c:v>
                </c:pt>
                <c:pt idx="1439">
                  <c:v>112.56627611597297</c:v>
                </c:pt>
                <c:pt idx="1440">
                  <c:v>111.0099565251752</c:v>
                </c:pt>
                <c:pt idx="1441">
                  <c:v>110.40601193118336</c:v>
                </c:pt>
                <c:pt idx="1442">
                  <c:v>110.70798422817927</c:v>
                </c:pt>
                <c:pt idx="1443">
                  <c:v>100.18537959420695</c:v>
                </c:pt>
                <c:pt idx="1444">
                  <c:v>101.25390524638051</c:v>
                </c:pt>
                <c:pt idx="1445">
                  <c:v>98.11803162105366</c:v>
                </c:pt>
                <c:pt idx="1446">
                  <c:v>97.560545132879994</c:v>
                </c:pt>
                <c:pt idx="1447">
                  <c:v>97.444394477512347</c:v>
                </c:pt>
                <c:pt idx="1448">
                  <c:v>100.30153024957458</c:v>
                </c:pt>
                <c:pt idx="1449">
                  <c:v>99.163322829495954</c:v>
                </c:pt>
                <c:pt idx="1450">
                  <c:v>100.97515661147148</c:v>
                </c:pt>
                <c:pt idx="1451">
                  <c:v>101.3003633521987</c:v>
                </c:pt>
                <c:pt idx="1452">
                  <c:v>101.02161471728965</c:v>
                </c:pt>
                <c:pt idx="1453">
                  <c:v>99.349155252768654</c:v>
                </c:pt>
                <c:pt idx="1454">
                  <c:v>97.955433641512272</c:v>
                </c:pt>
                <c:pt idx="1455">
                  <c:v>97.885741091962785</c:v>
                </c:pt>
                <c:pt idx="1456">
                  <c:v>96.37587960698319</c:v>
                </c:pt>
                <c:pt idx="1457">
                  <c:v>99.90664174094232</c:v>
                </c:pt>
                <c:pt idx="1458">
                  <c:v>99.163322829495954</c:v>
                </c:pt>
                <c:pt idx="1459">
                  <c:v>97.397936371694172</c:v>
                </c:pt>
                <c:pt idx="1460">
                  <c:v>95.493186378082299</c:v>
                </c:pt>
                <c:pt idx="1461">
                  <c:v>95.771935012991335</c:v>
                </c:pt>
                <c:pt idx="1462">
                  <c:v>96.910142433069979</c:v>
                </c:pt>
                <c:pt idx="1463">
                  <c:v>96.120365415805438</c:v>
                </c:pt>
                <c:pt idx="1464">
                  <c:v>96.236505289528665</c:v>
                </c:pt>
                <c:pt idx="1465">
                  <c:v>95.075074207363159</c:v>
                </c:pt>
                <c:pt idx="1466">
                  <c:v>96.956589757243734</c:v>
                </c:pt>
                <c:pt idx="1467">
                  <c:v>94.982157995726794</c:v>
                </c:pt>
                <c:pt idx="1468">
                  <c:v>99.604669443946392</c:v>
                </c:pt>
                <c:pt idx="1469">
                  <c:v>100.53380999702104</c:v>
                </c:pt>
                <c:pt idx="1470">
                  <c:v>95.214437743173249</c:v>
                </c:pt>
                <c:pt idx="1471">
                  <c:v>95.005381657813686</c:v>
                </c:pt>
                <c:pt idx="1472">
                  <c:v>95.748700569260052</c:v>
                </c:pt>
                <c:pt idx="1473">
                  <c:v>96.329421501165015</c:v>
                </c:pt>
                <c:pt idx="1474">
                  <c:v>95.980991098350927</c:v>
                </c:pt>
                <c:pt idx="1475">
                  <c:v>96.120365415805438</c:v>
                </c:pt>
                <c:pt idx="1476">
                  <c:v>97.676685006603208</c:v>
                </c:pt>
                <c:pt idx="1477">
                  <c:v>97.514087027061819</c:v>
                </c:pt>
                <c:pt idx="1478">
                  <c:v>97.490852583330522</c:v>
                </c:pt>
                <c:pt idx="1479">
                  <c:v>98.559378235504099</c:v>
                </c:pt>
                <c:pt idx="1480">
                  <c:v>99.581435000215095</c:v>
                </c:pt>
                <c:pt idx="1481">
                  <c:v>100.74287686402504</c:v>
                </c:pt>
                <c:pt idx="1482">
                  <c:v>101.16098903474418</c:v>
                </c:pt>
                <c:pt idx="1483">
                  <c:v>102.15982213736829</c:v>
                </c:pt>
                <c:pt idx="1484">
                  <c:v>98.489685685954626</c:v>
                </c:pt>
                <c:pt idx="1485">
                  <c:v>100.23183770002511</c:v>
                </c:pt>
                <c:pt idx="1486">
                  <c:v>92.984491790478572</c:v>
                </c:pt>
                <c:pt idx="1487">
                  <c:v>95.237672186904547</c:v>
                </c:pt>
                <c:pt idx="1488">
                  <c:v>94.749867466635934</c:v>
                </c:pt>
                <c:pt idx="1489">
                  <c:v>94.540811381276356</c:v>
                </c:pt>
                <c:pt idx="1490">
                  <c:v>94.610493149181409</c:v>
                </c:pt>
                <c:pt idx="1491">
                  <c:v>96.027449204169088</c:v>
                </c:pt>
                <c:pt idx="1492">
                  <c:v>95.562868145987352</c:v>
                </c:pt>
                <c:pt idx="1493">
                  <c:v>95.260895848991424</c:v>
                </c:pt>
                <c:pt idx="1494">
                  <c:v>96.00421476043779</c:v>
                </c:pt>
                <c:pt idx="1495">
                  <c:v>93.077397220470502</c:v>
                </c:pt>
                <c:pt idx="1496">
                  <c:v>89.709238456874985</c:v>
                </c:pt>
                <c:pt idx="1497">
                  <c:v>93.379369517466429</c:v>
                </c:pt>
                <c:pt idx="1498">
                  <c:v>95.423504610177247</c:v>
                </c:pt>
                <c:pt idx="1499">
                  <c:v>96.608159354429631</c:v>
                </c:pt>
                <c:pt idx="1500">
                  <c:v>97.397936371694172</c:v>
                </c:pt>
                <c:pt idx="1501">
                  <c:v>98.187713388958713</c:v>
                </c:pt>
                <c:pt idx="1502">
                  <c:v>97.792824880326449</c:v>
                </c:pt>
                <c:pt idx="1503">
                  <c:v>97.583768794966872</c:v>
                </c:pt>
                <c:pt idx="1504">
                  <c:v>97.630226900785047</c:v>
                </c:pt>
                <c:pt idx="1505">
                  <c:v>97.514087027061819</c:v>
                </c:pt>
                <c:pt idx="1506">
                  <c:v>97.328254603789119</c:v>
                </c:pt>
                <c:pt idx="1507">
                  <c:v>97.281796497970959</c:v>
                </c:pt>
                <c:pt idx="1508">
                  <c:v>95.702242463441863</c:v>
                </c:pt>
                <c:pt idx="1509">
                  <c:v>95.679018801354999</c:v>
                </c:pt>
                <c:pt idx="1510">
                  <c:v>99.81372552930597</c:v>
                </c:pt>
                <c:pt idx="1511">
                  <c:v>102.29919645482282</c:v>
                </c:pt>
                <c:pt idx="1512">
                  <c:v>105.94609846250516</c:v>
                </c:pt>
                <c:pt idx="1513">
                  <c:v>96.422337712801351</c:v>
                </c:pt>
                <c:pt idx="1514">
                  <c:v>96.352645163251879</c:v>
                </c:pt>
                <c:pt idx="1515">
                  <c:v>97.095964074698244</c:v>
                </c:pt>
                <c:pt idx="1516">
                  <c:v>98.582601897590976</c:v>
                </c:pt>
                <c:pt idx="1517">
                  <c:v>99.140088385764642</c:v>
                </c:pt>
                <c:pt idx="1518">
                  <c:v>98.954266744136376</c:v>
                </c:pt>
                <c:pt idx="1519">
                  <c:v>97.83928298614461</c:v>
                </c:pt>
                <c:pt idx="1520">
                  <c:v>97.560545132879994</c:v>
                </c:pt>
                <c:pt idx="1521">
                  <c:v>97.792824880326449</c:v>
                </c:pt>
                <c:pt idx="1522">
                  <c:v>97.816059324057733</c:v>
                </c:pt>
                <c:pt idx="1523">
                  <c:v>99.023948512041429</c:v>
                </c:pt>
                <c:pt idx="1524">
                  <c:v>102.32242011690968</c:v>
                </c:pt>
                <c:pt idx="1525">
                  <c:v>99.883407297211008</c:v>
                </c:pt>
                <c:pt idx="1526">
                  <c:v>96.886907989338681</c:v>
                </c:pt>
                <c:pt idx="1527">
                  <c:v>96.654617460247806</c:v>
                </c:pt>
                <c:pt idx="1528">
                  <c:v>92.519910732296836</c:v>
                </c:pt>
                <c:pt idx="1529">
                  <c:v>93.309687749561377</c:v>
                </c:pt>
                <c:pt idx="1530">
                  <c:v>90.452562759143561</c:v>
                </c:pt>
                <c:pt idx="1531">
                  <c:v>88.640718195523618</c:v>
                </c:pt>
                <c:pt idx="1532">
                  <c:v>88.269058739800428</c:v>
                </c:pt>
                <c:pt idx="1533">
                  <c:v>88.873008724614493</c:v>
                </c:pt>
                <c:pt idx="1534">
                  <c:v>90.150585071325423</c:v>
                </c:pt>
                <c:pt idx="1535">
                  <c:v>85.597760781833102</c:v>
                </c:pt>
                <c:pt idx="1536">
                  <c:v>84.691838500023124</c:v>
                </c:pt>
                <c:pt idx="1537">
                  <c:v>83.693005397399006</c:v>
                </c:pt>
                <c:pt idx="1538">
                  <c:v>81.439825000973045</c:v>
                </c:pt>
                <c:pt idx="1539">
                  <c:v>79.860270966443963</c:v>
                </c:pt>
                <c:pt idx="1540">
                  <c:v>81.602422980514447</c:v>
                </c:pt>
                <c:pt idx="1541">
                  <c:v>80.139014210530803</c:v>
                </c:pt>
                <c:pt idx="1542">
                  <c:v>82.392199997778988</c:v>
                </c:pt>
                <c:pt idx="1543">
                  <c:v>82.252825680324463</c:v>
                </c:pt>
                <c:pt idx="1544">
                  <c:v>79.442153404902598</c:v>
                </c:pt>
                <c:pt idx="1545">
                  <c:v>78.907895969638034</c:v>
                </c:pt>
                <c:pt idx="1546">
                  <c:v>79.37246624617535</c:v>
                </c:pt>
                <c:pt idx="1547">
                  <c:v>80.092556104712614</c:v>
                </c:pt>
                <c:pt idx="1548">
                  <c:v>81.253992577700345</c:v>
                </c:pt>
                <c:pt idx="1549">
                  <c:v>81.416595948063957</c:v>
                </c:pt>
                <c:pt idx="1550">
                  <c:v>80.626818930799416</c:v>
                </c:pt>
                <c:pt idx="1551">
                  <c:v>81.30045068351852</c:v>
                </c:pt>
                <c:pt idx="1552">
                  <c:v>81.370137842245782</c:v>
                </c:pt>
                <c:pt idx="1553">
                  <c:v>82.206367574506288</c:v>
                </c:pt>
                <c:pt idx="1554">
                  <c:v>82.670943241865814</c:v>
                </c:pt>
                <c:pt idx="1555">
                  <c:v>81.857937171692186</c:v>
                </c:pt>
                <c:pt idx="1556">
                  <c:v>80.580360824981241</c:v>
                </c:pt>
                <c:pt idx="1557">
                  <c:v>82.833546612229426</c:v>
                </c:pt>
                <c:pt idx="1558">
                  <c:v>83.274887835857655</c:v>
                </c:pt>
                <c:pt idx="1559">
                  <c:v>83.60009457658488</c:v>
                </c:pt>
                <c:pt idx="1560">
                  <c:v>83.251658782948567</c:v>
                </c:pt>
                <c:pt idx="1561">
                  <c:v>84.413095255936284</c:v>
                </c:pt>
                <c:pt idx="1562">
                  <c:v>83.623318238671757</c:v>
                </c:pt>
                <c:pt idx="1563">
                  <c:v>83.460720259130355</c:v>
                </c:pt>
                <c:pt idx="1564">
                  <c:v>83.902066873580793</c:v>
                </c:pt>
                <c:pt idx="1565">
                  <c:v>82.787088506411251</c:v>
                </c:pt>
                <c:pt idx="1566">
                  <c:v>82.856775665138514</c:v>
                </c:pt>
                <c:pt idx="1567">
                  <c:v>83.902066873580793</c:v>
                </c:pt>
                <c:pt idx="1568">
                  <c:v>83.04260269758899</c:v>
                </c:pt>
                <c:pt idx="1569">
                  <c:v>85.830045920101767</c:v>
                </c:pt>
                <c:pt idx="1570">
                  <c:v>87.804488463263112</c:v>
                </c:pt>
                <c:pt idx="1571">
                  <c:v>85.806816867192666</c:v>
                </c:pt>
                <c:pt idx="1572">
                  <c:v>87.200538478449047</c:v>
                </c:pt>
                <c:pt idx="1573">
                  <c:v>87.502516166267185</c:v>
                </c:pt>
                <c:pt idx="1574">
                  <c:v>88.849779671705392</c:v>
                </c:pt>
                <c:pt idx="1575">
                  <c:v>86.945024287271309</c:v>
                </c:pt>
                <c:pt idx="1576">
                  <c:v>82.717401347683989</c:v>
                </c:pt>
                <c:pt idx="1577">
                  <c:v>82.229596627415376</c:v>
                </c:pt>
                <c:pt idx="1578">
                  <c:v>81.30045068351852</c:v>
                </c:pt>
                <c:pt idx="1579">
                  <c:v>81.57919392760536</c:v>
                </c:pt>
                <c:pt idx="1580">
                  <c:v>81.370137842245782</c:v>
                </c:pt>
                <c:pt idx="1581">
                  <c:v>81.532735821787185</c:v>
                </c:pt>
                <c:pt idx="1582">
                  <c:v>82.252825680324463</c:v>
                </c:pt>
                <c:pt idx="1583">
                  <c:v>82.276054733233551</c:v>
                </c:pt>
                <c:pt idx="1584">
                  <c:v>78.443320302278494</c:v>
                </c:pt>
                <c:pt idx="1585">
                  <c:v>83.50717836494853</c:v>
                </c:pt>
                <c:pt idx="1586">
                  <c:v>84.227268223485808</c:v>
                </c:pt>
                <c:pt idx="1587">
                  <c:v>84.947358082023086</c:v>
                </c:pt>
                <c:pt idx="1588">
                  <c:v>88.454891163073128</c:v>
                </c:pt>
                <c:pt idx="1589">
                  <c:v>89.709238456874985</c:v>
                </c:pt>
                <c:pt idx="1590">
                  <c:v>89.686009403965897</c:v>
                </c:pt>
                <c:pt idx="1591">
                  <c:v>90.545468189135491</c:v>
                </c:pt>
                <c:pt idx="1592">
                  <c:v>90.615160738684963</c:v>
                </c:pt>
                <c:pt idx="1593">
                  <c:v>91.219105332676804</c:v>
                </c:pt>
                <c:pt idx="1594">
                  <c:v>90.661618844503138</c:v>
                </c:pt>
                <c:pt idx="1595">
                  <c:v>90.893898591949579</c:v>
                </c:pt>
                <c:pt idx="1596">
                  <c:v>90.953229981208665</c:v>
                </c:pt>
                <c:pt idx="1597">
                  <c:v>90.628066367059148</c:v>
                </c:pt>
                <c:pt idx="1598">
                  <c:v>90.628066367059148</c:v>
                </c:pt>
                <c:pt idx="1599">
                  <c:v>90.581619042885393</c:v>
                </c:pt>
                <c:pt idx="1600">
                  <c:v>90.233220985004564</c:v>
                </c:pt>
                <c:pt idx="1601">
                  <c:v>90.60484270497227</c:v>
                </c:pt>
                <c:pt idx="1602">
                  <c:v>90.628066367059148</c:v>
                </c:pt>
                <c:pt idx="1603">
                  <c:v>90.581619042885393</c:v>
                </c:pt>
                <c:pt idx="1604">
                  <c:v>90.767419121224819</c:v>
                </c:pt>
                <c:pt idx="1605">
                  <c:v>90.720971797051064</c:v>
                </c:pt>
                <c:pt idx="1606">
                  <c:v>90.581619042885393</c:v>
                </c:pt>
                <c:pt idx="1607">
                  <c:v>90.697748134964201</c:v>
                </c:pt>
                <c:pt idx="1608">
                  <c:v>90.60484270497227</c:v>
                </c:pt>
                <c:pt idx="1609">
                  <c:v>90.790653564956116</c:v>
                </c:pt>
                <c:pt idx="1610">
                  <c:v>90.581619042885393</c:v>
                </c:pt>
                <c:pt idx="1611">
                  <c:v>91.301617257445074</c:v>
                </c:pt>
                <c:pt idx="1612">
                  <c:v>91.278393595358196</c:v>
                </c:pt>
                <c:pt idx="1613">
                  <c:v>90.60484270497227</c:v>
                </c:pt>
                <c:pt idx="1614">
                  <c:v>90.651290029146011</c:v>
                </c:pt>
                <c:pt idx="1615">
                  <c:v>90.813877227042994</c:v>
                </c:pt>
                <c:pt idx="1616">
                  <c:v>91.696462639499657</c:v>
                </c:pt>
                <c:pt idx="1617">
                  <c:v>93.020351539829065</c:v>
                </c:pt>
                <c:pt idx="1618">
                  <c:v>93.299057048160421</c:v>
                </c:pt>
                <c:pt idx="1619">
                  <c:v>95.226825852615136</c:v>
                </c:pt>
                <c:pt idx="1620">
                  <c:v>95.017791330544412</c:v>
                </c:pt>
                <c:pt idx="1621">
                  <c:v>97.502981933306259</c:v>
                </c:pt>
                <c:pt idx="1622">
                  <c:v>97.479747489574962</c:v>
                </c:pt>
                <c:pt idx="1623">
                  <c:v>97.259640218681938</c:v>
                </c:pt>
                <c:pt idx="1624">
                  <c:v>97.027403597813176</c:v>
                </c:pt>
                <c:pt idx="1625">
                  <c:v>96.888061625291925</c:v>
                </c:pt>
                <c:pt idx="1626">
                  <c:v>96.144915220156321</c:v>
                </c:pt>
                <c:pt idx="1627">
                  <c:v>100.78959372930936</c:v>
                </c:pt>
                <c:pt idx="1628">
                  <c:v>101.25406697104687</c:v>
                </c:pt>
                <c:pt idx="1629">
                  <c:v>101.25406697104687</c:v>
                </c:pt>
                <c:pt idx="1630">
                  <c:v>101.60241112070558</c:v>
                </c:pt>
                <c:pt idx="1631">
                  <c:v>101.60241112070558</c:v>
                </c:pt>
                <c:pt idx="1632">
                  <c:v>101.92754238992183</c:v>
                </c:pt>
                <c:pt idx="1633">
                  <c:v>100</c:v>
                </c:pt>
              </c:numCache>
            </c:numRef>
          </c:val>
          <c:smooth val="0"/>
          <c:extLst>
            <c:ext xmlns:c16="http://schemas.microsoft.com/office/drawing/2014/chart" uri="{C3380CC4-5D6E-409C-BE32-E72D297353CC}">
              <c16:uniqueId val="{00000004-A988-4359-AE19-57C4916E4C7F}"/>
            </c:ext>
          </c:extLst>
        </c:ser>
        <c:dLbls>
          <c:showLegendKey val="0"/>
          <c:showVal val="0"/>
          <c:showCatName val="0"/>
          <c:showSerName val="0"/>
          <c:showPercent val="0"/>
          <c:showBubbleSize val="0"/>
        </c:dLbls>
        <c:smooth val="0"/>
        <c:axId val="1542676367"/>
        <c:axId val="1325914991"/>
      </c:lineChart>
      <c:dateAx>
        <c:axId val="1542676367"/>
        <c:scaling>
          <c:orientation val="minMax"/>
        </c:scaling>
        <c:delete val="0"/>
        <c:axPos val="b"/>
        <c:numFmt formatCode="yyyy"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1325914991"/>
        <c:crosses val="autoZero"/>
        <c:auto val="1"/>
        <c:lblOffset val="100"/>
        <c:baseTimeUnit val="days"/>
        <c:majorUnit val="1"/>
        <c:majorTimeUnit val="years"/>
        <c:minorUnit val="1"/>
        <c:minorTimeUnit val="years"/>
      </c:dateAx>
      <c:valAx>
        <c:axId val="1325914991"/>
        <c:scaling>
          <c:orientation val="minMax"/>
        </c:scaling>
        <c:delete val="1"/>
        <c:axPos val="l"/>
        <c:numFmt formatCode="_ * #,##0_ ;_ * \-#,##0_ ;_ * &quot;-&quot;??_ ;_ @_ " sourceLinked="1"/>
        <c:majorTickMark val="none"/>
        <c:minorTickMark val="none"/>
        <c:tickLblPos val="nextTo"/>
        <c:crossAx val="1542676367"/>
        <c:crosses val="autoZero"/>
        <c:crossBetween val="between"/>
      </c:valAx>
      <c:spPr>
        <a:noFill/>
        <a:ln>
          <a:noFill/>
        </a:ln>
        <a:effectLst/>
      </c:spPr>
    </c:plotArea>
    <c:legend>
      <c:legendPos val="b"/>
      <c:layout>
        <c:manualLayout>
          <c:xMode val="edge"/>
          <c:yMode val="edge"/>
          <c:x val="2.840221435612798E-2"/>
          <c:y val="0.94048060549393109"/>
          <c:w val="0.89999986772969165"/>
          <c:h val="5.389558444560414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Average</c:v>
                </c:pt>
              </c:strCache>
            </c:strRef>
          </c:tx>
          <c:spPr>
            <a:ln w="28575" cap="rnd">
              <a:solidFill>
                <a:schemeClr val="accent1"/>
              </a:solidFill>
              <a:round/>
            </a:ln>
            <a:effectLst/>
          </c:spPr>
          <c:marker>
            <c:symbol val="none"/>
          </c:marker>
          <c:cat>
            <c:numRef>
              <c:f>Sheet1!$A$2:$A$514</c:f>
              <c:numCache>
                <c:formatCode>m/d/yyyy</c:formatCode>
                <c:ptCount val="513"/>
                <c:pt idx="0">
                  <c:v>45964</c:v>
                </c:pt>
                <c:pt idx="1">
                  <c:v>45961</c:v>
                </c:pt>
                <c:pt idx="2">
                  <c:v>45960</c:v>
                </c:pt>
                <c:pt idx="3">
                  <c:v>45959</c:v>
                </c:pt>
                <c:pt idx="4">
                  <c:v>45958</c:v>
                </c:pt>
                <c:pt idx="5">
                  <c:v>45957</c:v>
                </c:pt>
                <c:pt idx="6">
                  <c:v>45954</c:v>
                </c:pt>
                <c:pt idx="7">
                  <c:v>45953</c:v>
                </c:pt>
                <c:pt idx="8">
                  <c:v>45951</c:v>
                </c:pt>
                <c:pt idx="9">
                  <c:v>45950</c:v>
                </c:pt>
                <c:pt idx="10">
                  <c:v>45947</c:v>
                </c:pt>
                <c:pt idx="11">
                  <c:v>45946</c:v>
                </c:pt>
                <c:pt idx="12">
                  <c:v>45945</c:v>
                </c:pt>
                <c:pt idx="13">
                  <c:v>45944</c:v>
                </c:pt>
                <c:pt idx="14">
                  <c:v>45943</c:v>
                </c:pt>
                <c:pt idx="15">
                  <c:v>45940</c:v>
                </c:pt>
                <c:pt idx="16">
                  <c:v>45939</c:v>
                </c:pt>
                <c:pt idx="17">
                  <c:v>45938</c:v>
                </c:pt>
                <c:pt idx="18">
                  <c:v>45937</c:v>
                </c:pt>
                <c:pt idx="19">
                  <c:v>45936</c:v>
                </c:pt>
                <c:pt idx="20">
                  <c:v>45933</c:v>
                </c:pt>
                <c:pt idx="21">
                  <c:v>45931</c:v>
                </c:pt>
                <c:pt idx="22">
                  <c:v>45930</c:v>
                </c:pt>
                <c:pt idx="23">
                  <c:v>45835</c:v>
                </c:pt>
                <c:pt idx="24">
                  <c:v>45834</c:v>
                </c:pt>
                <c:pt idx="25">
                  <c:v>45833</c:v>
                </c:pt>
                <c:pt idx="26">
                  <c:v>45832</c:v>
                </c:pt>
                <c:pt idx="27">
                  <c:v>45831</c:v>
                </c:pt>
                <c:pt idx="28">
                  <c:v>45828</c:v>
                </c:pt>
                <c:pt idx="29">
                  <c:v>45827</c:v>
                </c:pt>
                <c:pt idx="30">
                  <c:v>45826</c:v>
                </c:pt>
                <c:pt idx="31">
                  <c:v>45825</c:v>
                </c:pt>
                <c:pt idx="32">
                  <c:v>45824</c:v>
                </c:pt>
                <c:pt idx="33">
                  <c:v>45821</c:v>
                </c:pt>
                <c:pt idx="34">
                  <c:v>45820</c:v>
                </c:pt>
                <c:pt idx="35">
                  <c:v>45819</c:v>
                </c:pt>
                <c:pt idx="36">
                  <c:v>45818</c:v>
                </c:pt>
                <c:pt idx="37">
                  <c:v>45817</c:v>
                </c:pt>
                <c:pt idx="38">
                  <c:v>45814</c:v>
                </c:pt>
                <c:pt idx="39">
                  <c:v>45813</c:v>
                </c:pt>
                <c:pt idx="40">
                  <c:v>45812</c:v>
                </c:pt>
                <c:pt idx="41">
                  <c:v>45811</c:v>
                </c:pt>
                <c:pt idx="42">
                  <c:v>45810</c:v>
                </c:pt>
                <c:pt idx="43">
                  <c:v>45807</c:v>
                </c:pt>
                <c:pt idx="44">
                  <c:v>45806</c:v>
                </c:pt>
                <c:pt idx="45">
                  <c:v>45805</c:v>
                </c:pt>
                <c:pt idx="46">
                  <c:v>45804</c:v>
                </c:pt>
                <c:pt idx="47">
                  <c:v>45803</c:v>
                </c:pt>
                <c:pt idx="48">
                  <c:v>45800</c:v>
                </c:pt>
                <c:pt idx="49">
                  <c:v>45799</c:v>
                </c:pt>
                <c:pt idx="50">
                  <c:v>45798</c:v>
                </c:pt>
                <c:pt idx="51">
                  <c:v>45797</c:v>
                </c:pt>
                <c:pt idx="52">
                  <c:v>45796</c:v>
                </c:pt>
                <c:pt idx="53">
                  <c:v>45793</c:v>
                </c:pt>
                <c:pt idx="54">
                  <c:v>45792</c:v>
                </c:pt>
                <c:pt idx="55">
                  <c:v>45791</c:v>
                </c:pt>
                <c:pt idx="56">
                  <c:v>45790</c:v>
                </c:pt>
                <c:pt idx="57">
                  <c:v>45789</c:v>
                </c:pt>
                <c:pt idx="58">
                  <c:v>45786</c:v>
                </c:pt>
                <c:pt idx="59">
                  <c:v>45785</c:v>
                </c:pt>
                <c:pt idx="60">
                  <c:v>45784</c:v>
                </c:pt>
                <c:pt idx="61">
                  <c:v>45783</c:v>
                </c:pt>
                <c:pt idx="62">
                  <c:v>45782</c:v>
                </c:pt>
                <c:pt idx="63">
                  <c:v>45779</c:v>
                </c:pt>
                <c:pt idx="64">
                  <c:v>45777</c:v>
                </c:pt>
                <c:pt idx="65">
                  <c:v>45776</c:v>
                </c:pt>
                <c:pt idx="66">
                  <c:v>45775</c:v>
                </c:pt>
                <c:pt idx="67">
                  <c:v>45772</c:v>
                </c:pt>
                <c:pt idx="68">
                  <c:v>45771</c:v>
                </c:pt>
                <c:pt idx="69">
                  <c:v>45770</c:v>
                </c:pt>
                <c:pt idx="70">
                  <c:v>45769</c:v>
                </c:pt>
                <c:pt idx="71">
                  <c:v>45768</c:v>
                </c:pt>
                <c:pt idx="72">
                  <c:v>45764</c:v>
                </c:pt>
                <c:pt idx="73">
                  <c:v>45763</c:v>
                </c:pt>
                <c:pt idx="74">
                  <c:v>45762</c:v>
                </c:pt>
                <c:pt idx="75">
                  <c:v>45758</c:v>
                </c:pt>
                <c:pt idx="76">
                  <c:v>45756</c:v>
                </c:pt>
                <c:pt idx="77">
                  <c:v>45755</c:v>
                </c:pt>
                <c:pt idx="78">
                  <c:v>45754</c:v>
                </c:pt>
                <c:pt idx="79">
                  <c:v>45751</c:v>
                </c:pt>
                <c:pt idx="80">
                  <c:v>45750</c:v>
                </c:pt>
                <c:pt idx="81">
                  <c:v>45749</c:v>
                </c:pt>
                <c:pt idx="82">
                  <c:v>45748</c:v>
                </c:pt>
                <c:pt idx="83">
                  <c:v>45744</c:v>
                </c:pt>
                <c:pt idx="84">
                  <c:v>45656</c:v>
                </c:pt>
                <c:pt idx="85">
                  <c:v>45653</c:v>
                </c:pt>
                <c:pt idx="86">
                  <c:v>45652</c:v>
                </c:pt>
                <c:pt idx="87">
                  <c:v>45650</c:v>
                </c:pt>
                <c:pt idx="88">
                  <c:v>45649</c:v>
                </c:pt>
                <c:pt idx="89">
                  <c:v>45646</c:v>
                </c:pt>
                <c:pt idx="90">
                  <c:v>45645</c:v>
                </c:pt>
                <c:pt idx="91">
                  <c:v>45644</c:v>
                </c:pt>
                <c:pt idx="92">
                  <c:v>45643</c:v>
                </c:pt>
                <c:pt idx="93">
                  <c:v>45642</c:v>
                </c:pt>
                <c:pt idx="94">
                  <c:v>45639</c:v>
                </c:pt>
                <c:pt idx="95">
                  <c:v>45638</c:v>
                </c:pt>
                <c:pt idx="96">
                  <c:v>45637</c:v>
                </c:pt>
                <c:pt idx="97">
                  <c:v>45636</c:v>
                </c:pt>
                <c:pt idx="98">
                  <c:v>45635</c:v>
                </c:pt>
                <c:pt idx="99">
                  <c:v>45632</c:v>
                </c:pt>
                <c:pt idx="100">
                  <c:v>45631</c:v>
                </c:pt>
                <c:pt idx="101">
                  <c:v>45630</c:v>
                </c:pt>
                <c:pt idx="102">
                  <c:v>45629</c:v>
                </c:pt>
                <c:pt idx="103">
                  <c:v>45628</c:v>
                </c:pt>
                <c:pt idx="104">
                  <c:v>45625</c:v>
                </c:pt>
                <c:pt idx="105">
                  <c:v>45624</c:v>
                </c:pt>
                <c:pt idx="106">
                  <c:v>45623</c:v>
                </c:pt>
                <c:pt idx="107">
                  <c:v>45622</c:v>
                </c:pt>
                <c:pt idx="108">
                  <c:v>45621</c:v>
                </c:pt>
                <c:pt idx="109">
                  <c:v>45618</c:v>
                </c:pt>
                <c:pt idx="110">
                  <c:v>45617</c:v>
                </c:pt>
                <c:pt idx="111">
                  <c:v>45615</c:v>
                </c:pt>
                <c:pt idx="112">
                  <c:v>45614</c:v>
                </c:pt>
                <c:pt idx="113">
                  <c:v>45610</c:v>
                </c:pt>
                <c:pt idx="114">
                  <c:v>45609</c:v>
                </c:pt>
                <c:pt idx="115">
                  <c:v>45608</c:v>
                </c:pt>
                <c:pt idx="116">
                  <c:v>45607</c:v>
                </c:pt>
                <c:pt idx="117">
                  <c:v>45604</c:v>
                </c:pt>
                <c:pt idx="118">
                  <c:v>45603</c:v>
                </c:pt>
                <c:pt idx="119">
                  <c:v>45602</c:v>
                </c:pt>
                <c:pt idx="120">
                  <c:v>45601</c:v>
                </c:pt>
                <c:pt idx="121">
                  <c:v>45600</c:v>
                </c:pt>
                <c:pt idx="122">
                  <c:v>45597</c:v>
                </c:pt>
                <c:pt idx="123">
                  <c:v>45596</c:v>
                </c:pt>
                <c:pt idx="124">
                  <c:v>45595</c:v>
                </c:pt>
                <c:pt idx="125">
                  <c:v>45594</c:v>
                </c:pt>
                <c:pt idx="126">
                  <c:v>45593</c:v>
                </c:pt>
                <c:pt idx="127">
                  <c:v>45590</c:v>
                </c:pt>
                <c:pt idx="128">
                  <c:v>45589</c:v>
                </c:pt>
                <c:pt idx="129">
                  <c:v>45588</c:v>
                </c:pt>
                <c:pt idx="130">
                  <c:v>45587</c:v>
                </c:pt>
                <c:pt idx="131">
                  <c:v>45586</c:v>
                </c:pt>
                <c:pt idx="132">
                  <c:v>45583</c:v>
                </c:pt>
                <c:pt idx="133">
                  <c:v>45582</c:v>
                </c:pt>
                <c:pt idx="134">
                  <c:v>45581</c:v>
                </c:pt>
                <c:pt idx="135">
                  <c:v>45580</c:v>
                </c:pt>
                <c:pt idx="136">
                  <c:v>45579</c:v>
                </c:pt>
                <c:pt idx="137">
                  <c:v>45576</c:v>
                </c:pt>
                <c:pt idx="138">
                  <c:v>45575</c:v>
                </c:pt>
                <c:pt idx="139">
                  <c:v>45574</c:v>
                </c:pt>
                <c:pt idx="140">
                  <c:v>45573</c:v>
                </c:pt>
                <c:pt idx="141">
                  <c:v>45572</c:v>
                </c:pt>
                <c:pt idx="142">
                  <c:v>45569</c:v>
                </c:pt>
                <c:pt idx="143">
                  <c:v>45568</c:v>
                </c:pt>
                <c:pt idx="144">
                  <c:v>45566</c:v>
                </c:pt>
                <c:pt idx="145">
                  <c:v>45565</c:v>
                </c:pt>
                <c:pt idx="146">
                  <c:v>45470</c:v>
                </c:pt>
                <c:pt idx="147">
                  <c:v>45469</c:v>
                </c:pt>
                <c:pt idx="148">
                  <c:v>45468</c:v>
                </c:pt>
                <c:pt idx="149">
                  <c:v>45467</c:v>
                </c:pt>
                <c:pt idx="150">
                  <c:v>45464</c:v>
                </c:pt>
                <c:pt idx="151">
                  <c:v>45463</c:v>
                </c:pt>
                <c:pt idx="152">
                  <c:v>45462</c:v>
                </c:pt>
                <c:pt idx="153">
                  <c:v>45461</c:v>
                </c:pt>
                <c:pt idx="154">
                  <c:v>45457</c:v>
                </c:pt>
                <c:pt idx="155">
                  <c:v>45456</c:v>
                </c:pt>
                <c:pt idx="156">
                  <c:v>45455</c:v>
                </c:pt>
                <c:pt idx="157">
                  <c:v>45454</c:v>
                </c:pt>
                <c:pt idx="158">
                  <c:v>45453</c:v>
                </c:pt>
                <c:pt idx="159">
                  <c:v>45450</c:v>
                </c:pt>
                <c:pt idx="160">
                  <c:v>45449</c:v>
                </c:pt>
                <c:pt idx="161">
                  <c:v>45448</c:v>
                </c:pt>
                <c:pt idx="162">
                  <c:v>45447</c:v>
                </c:pt>
                <c:pt idx="163">
                  <c:v>45446</c:v>
                </c:pt>
                <c:pt idx="164">
                  <c:v>45443</c:v>
                </c:pt>
                <c:pt idx="165">
                  <c:v>45442</c:v>
                </c:pt>
                <c:pt idx="166">
                  <c:v>45441</c:v>
                </c:pt>
                <c:pt idx="167">
                  <c:v>45440</c:v>
                </c:pt>
                <c:pt idx="168">
                  <c:v>45439</c:v>
                </c:pt>
                <c:pt idx="169">
                  <c:v>45436</c:v>
                </c:pt>
                <c:pt idx="170">
                  <c:v>45435</c:v>
                </c:pt>
                <c:pt idx="171">
                  <c:v>45434</c:v>
                </c:pt>
                <c:pt idx="172">
                  <c:v>45433</c:v>
                </c:pt>
                <c:pt idx="173">
                  <c:v>45430</c:v>
                </c:pt>
                <c:pt idx="174">
                  <c:v>45429</c:v>
                </c:pt>
                <c:pt idx="175">
                  <c:v>45428</c:v>
                </c:pt>
                <c:pt idx="176">
                  <c:v>45427</c:v>
                </c:pt>
                <c:pt idx="177">
                  <c:v>45426</c:v>
                </c:pt>
                <c:pt idx="178">
                  <c:v>45425</c:v>
                </c:pt>
                <c:pt idx="179">
                  <c:v>45422</c:v>
                </c:pt>
                <c:pt idx="180">
                  <c:v>45421</c:v>
                </c:pt>
                <c:pt idx="181">
                  <c:v>45420</c:v>
                </c:pt>
                <c:pt idx="182">
                  <c:v>45419</c:v>
                </c:pt>
                <c:pt idx="183">
                  <c:v>45418</c:v>
                </c:pt>
                <c:pt idx="184">
                  <c:v>45415</c:v>
                </c:pt>
                <c:pt idx="185">
                  <c:v>45414</c:v>
                </c:pt>
                <c:pt idx="186">
                  <c:v>45412</c:v>
                </c:pt>
                <c:pt idx="187">
                  <c:v>45411</c:v>
                </c:pt>
                <c:pt idx="188">
                  <c:v>45408</c:v>
                </c:pt>
                <c:pt idx="189">
                  <c:v>45407</c:v>
                </c:pt>
                <c:pt idx="190">
                  <c:v>45406</c:v>
                </c:pt>
                <c:pt idx="191">
                  <c:v>45405</c:v>
                </c:pt>
                <c:pt idx="192">
                  <c:v>45404</c:v>
                </c:pt>
                <c:pt idx="193">
                  <c:v>45401</c:v>
                </c:pt>
                <c:pt idx="194">
                  <c:v>45400</c:v>
                </c:pt>
                <c:pt idx="195">
                  <c:v>45398</c:v>
                </c:pt>
                <c:pt idx="196">
                  <c:v>45397</c:v>
                </c:pt>
                <c:pt idx="197">
                  <c:v>45394</c:v>
                </c:pt>
                <c:pt idx="198">
                  <c:v>45392</c:v>
                </c:pt>
                <c:pt idx="199">
                  <c:v>45391</c:v>
                </c:pt>
                <c:pt idx="200">
                  <c:v>45390</c:v>
                </c:pt>
                <c:pt idx="201">
                  <c:v>45387</c:v>
                </c:pt>
                <c:pt idx="202">
                  <c:v>45386</c:v>
                </c:pt>
                <c:pt idx="203">
                  <c:v>45385</c:v>
                </c:pt>
                <c:pt idx="204">
                  <c:v>45384</c:v>
                </c:pt>
                <c:pt idx="205">
                  <c:v>45383</c:v>
                </c:pt>
                <c:pt idx="206">
                  <c:v>45379</c:v>
                </c:pt>
                <c:pt idx="207">
                  <c:v>45288</c:v>
                </c:pt>
                <c:pt idx="208">
                  <c:v>45287</c:v>
                </c:pt>
                <c:pt idx="209">
                  <c:v>45286</c:v>
                </c:pt>
                <c:pt idx="210">
                  <c:v>45282</c:v>
                </c:pt>
                <c:pt idx="211">
                  <c:v>45281</c:v>
                </c:pt>
                <c:pt idx="212">
                  <c:v>45280</c:v>
                </c:pt>
                <c:pt idx="213">
                  <c:v>45279</c:v>
                </c:pt>
                <c:pt idx="214">
                  <c:v>45278</c:v>
                </c:pt>
                <c:pt idx="215">
                  <c:v>45275</c:v>
                </c:pt>
                <c:pt idx="216">
                  <c:v>45274</c:v>
                </c:pt>
                <c:pt idx="217">
                  <c:v>45273</c:v>
                </c:pt>
                <c:pt idx="218">
                  <c:v>45272</c:v>
                </c:pt>
                <c:pt idx="219">
                  <c:v>45271</c:v>
                </c:pt>
                <c:pt idx="220">
                  <c:v>45268</c:v>
                </c:pt>
                <c:pt idx="221">
                  <c:v>45267</c:v>
                </c:pt>
                <c:pt idx="222">
                  <c:v>45266</c:v>
                </c:pt>
                <c:pt idx="223">
                  <c:v>45265</c:v>
                </c:pt>
                <c:pt idx="224">
                  <c:v>45264</c:v>
                </c:pt>
                <c:pt idx="225">
                  <c:v>45261</c:v>
                </c:pt>
                <c:pt idx="226">
                  <c:v>45260</c:v>
                </c:pt>
                <c:pt idx="227">
                  <c:v>45259</c:v>
                </c:pt>
                <c:pt idx="228">
                  <c:v>45258</c:v>
                </c:pt>
                <c:pt idx="229">
                  <c:v>45254</c:v>
                </c:pt>
                <c:pt idx="230">
                  <c:v>45253</c:v>
                </c:pt>
                <c:pt idx="231">
                  <c:v>45252</c:v>
                </c:pt>
                <c:pt idx="232">
                  <c:v>45251</c:v>
                </c:pt>
                <c:pt idx="233">
                  <c:v>45250</c:v>
                </c:pt>
                <c:pt idx="234">
                  <c:v>45247</c:v>
                </c:pt>
                <c:pt idx="235">
                  <c:v>45246</c:v>
                </c:pt>
                <c:pt idx="236">
                  <c:v>45245</c:v>
                </c:pt>
                <c:pt idx="237">
                  <c:v>45243</c:v>
                </c:pt>
                <c:pt idx="238">
                  <c:v>45242</c:v>
                </c:pt>
                <c:pt idx="239">
                  <c:v>45240</c:v>
                </c:pt>
                <c:pt idx="240">
                  <c:v>45239</c:v>
                </c:pt>
                <c:pt idx="241">
                  <c:v>45238</c:v>
                </c:pt>
                <c:pt idx="242">
                  <c:v>45237</c:v>
                </c:pt>
                <c:pt idx="243">
                  <c:v>45236</c:v>
                </c:pt>
                <c:pt idx="244">
                  <c:v>45233</c:v>
                </c:pt>
                <c:pt idx="245">
                  <c:v>45232</c:v>
                </c:pt>
                <c:pt idx="246">
                  <c:v>45231</c:v>
                </c:pt>
                <c:pt idx="247">
                  <c:v>45230</c:v>
                </c:pt>
                <c:pt idx="248">
                  <c:v>45229</c:v>
                </c:pt>
                <c:pt idx="249">
                  <c:v>45226</c:v>
                </c:pt>
                <c:pt idx="250">
                  <c:v>45225</c:v>
                </c:pt>
                <c:pt idx="251">
                  <c:v>45224</c:v>
                </c:pt>
                <c:pt idx="252">
                  <c:v>45222</c:v>
                </c:pt>
                <c:pt idx="253">
                  <c:v>45219</c:v>
                </c:pt>
                <c:pt idx="254">
                  <c:v>45218</c:v>
                </c:pt>
                <c:pt idx="255">
                  <c:v>45217</c:v>
                </c:pt>
                <c:pt idx="256">
                  <c:v>45216</c:v>
                </c:pt>
                <c:pt idx="257">
                  <c:v>45215</c:v>
                </c:pt>
                <c:pt idx="258">
                  <c:v>45212</c:v>
                </c:pt>
                <c:pt idx="259">
                  <c:v>45211</c:v>
                </c:pt>
                <c:pt idx="260">
                  <c:v>45210</c:v>
                </c:pt>
                <c:pt idx="261">
                  <c:v>45209</c:v>
                </c:pt>
                <c:pt idx="262">
                  <c:v>45208</c:v>
                </c:pt>
                <c:pt idx="263">
                  <c:v>45205</c:v>
                </c:pt>
                <c:pt idx="264">
                  <c:v>45204</c:v>
                </c:pt>
                <c:pt idx="265">
                  <c:v>45203</c:v>
                </c:pt>
                <c:pt idx="266">
                  <c:v>45202</c:v>
                </c:pt>
                <c:pt idx="267">
                  <c:v>45198</c:v>
                </c:pt>
                <c:pt idx="268">
                  <c:v>45105</c:v>
                </c:pt>
                <c:pt idx="269">
                  <c:v>45104</c:v>
                </c:pt>
                <c:pt idx="270">
                  <c:v>45103</c:v>
                </c:pt>
                <c:pt idx="271">
                  <c:v>45100</c:v>
                </c:pt>
                <c:pt idx="272">
                  <c:v>45099</c:v>
                </c:pt>
                <c:pt idx="273">
                  <c:v>45098</c:v>
                </c:pt>
                <c:pt idx="274">
                  <c:v>45097</c:v>
                </c:pt>
                <c:pt idx="275">
                  <c:v>45096</c:v>
                </c:pt>
                <c:pt idx="276">
                  <c:v>45093</c:v>
                </c:pt>
                <c:pt idx="277">
                  <c:v>45092</c:v>
                </c:pt>
                <c:pt idx="278">
                  <c:v>45091</c:v>
                </c:pt>
                <c:pt idx="279">
                  <c:v>45090</c:v>
                </c:pt>
                <c:pt idx="280">
                  <c:v>45089</c:v>
                </c:pt>
                <c:pt idx="281">
                  <c:v>45086</c:v>
                </c:pt>
                <c:pt idx="282">
                  <c:v>45085</c:v>
                </c:pt>
                <c:pt idx="283">
                  <c:v>45084</c:v>
                </c:pt>
                <c:pt idx="284">
                  <c:v>45083</c:v>
                </c:pt>
                <c:pt idx="285">
                  <c:v>45082</c:v>
                </c:pt>
                <c:pt idx="286">
                  <c:v>45079</c:v>
                </c:pt>
                <c:pt idx="287">
                  <c:v>45078</c:v>
                </c:pt>
                <c:pt idx="288">
                  <c:v>45077</c:v>
                </c:pt>
                <c:pt idx="289">
                  <c:v>45076</c:v>
                </c:pt>
                <c:pt idx="290">
                  <c:v>45075</c:v>
                </c:pt>
                <c:pt idx="291">
                  <c:v>45072</c:v>
                </c:pt>
                <c:pt idx="292">
                  <c:v>45071</c:v>
                </c:pt>
                <c:pt idx="293">
                  <c:v>45070</c:v>
                </c:pt>
                <c:pt idx="294">
                  <c:v>45069</c:v>
                </c:pt>
                <c:pt idx="295">
                  <c:v>45068</c:v>
                </c:pt>
                <c:pt idx="296">
                  <c:v>45065</c:v>
                </c:pt>
                <c:pt idx="297">
                  <c:v>45064</c:v>
                </c:pt>
                <c:pt idx="298">
                  <c:v>45063</c:v>
                </c:pt>
                <c:pt idx="299">
                  <c:v>45062</c:v>
                </c:pt>
                <c:pt idx="300">
                  <c:v>45061</c:v>
                </c:pt>
                <c:pt idx="301">
                  <c:v>45058</c:v>
                </c:pt>
                <c:pt idx="302">
                  <c:v>45057</c:v>
                </c:pt>
                <c:pt idx="303">
                  <c:v>45056</c:v>
                </c:pt>
                <c:pt idx="304">
                  <c:v>45055</c:v>
                </c:pt>
                <c:pt idx="305">
                  <c:v>45054</c:v>
                </c:pt>
                <c:pt idx="306">
                  <c:v>45051</c:v>
                </c:pt>
                <c:pt idx="307">
                  <c:v>45050</c:v>
                </c:pt>
                <c:pt idx="308">
                  <c:v>45049</c:v>
                </c:pt>
                <c:pt idx="309">
                  <c:v>45048</c:v>
                </c:pt>
                <c:pt idx="310">
                  <c:v>45044</c:v>
                </c:pt>
                <c:pt idx="311">
                  <c:v>45043</c:v>
                </c:pt>
                <c:pt idx="312">
                  <c:v>45042</c:v>
                </c:pt>
                <c:pt idx="313">
                  <c:v>45041</c:v>
                </c:pt>
                <c:pt idx="314">
                  <c:v>45040</c:v>
                </c:pt>
                <c:pt idx="315">
                  <c:v>45037</c:v>
                </c:pt>
                <c:pt idx="316">
                  <c:v>45036</c:v>
                </c:pt>
                <c:pt idx="317">
                  <c:v>45035</c:v>
                </c:pt>
                <c:pt idx="318">
                  <c:v>45034</c:v>
                </c:pt>
                <c:pt idx="319">
                  <c:v>45033</c:v>
                </c:pt>
                <c:pt idx="320">
                  <c:v>45029</c:v>
                </c:pt>
                <c:pt idx="321">
                  <c:v>45028</c:v>
                </c:pt>
                <c:pt idx="322">
                  <c:v>45027</c:v>
                </c:pt>
                <c:pt idx="323">
                  <c:v>45026</c:v>
                </c:pt>
                <c:pt idx="324">
                  <c:v>45022</c:v>
                </c:pt>
                <c:pt idx="325">
                  <c:v>45021</c:v>
                </c:pt>
                <c:pt idx="326">
                  <c:v>45019</c:v>
                </c:pt>
                <c:pt idx="327">
                  <c:v>45016</c:v>
                </c:pt>
                <c:pt idx="328">
                  <c:v>45014</c:v>
                </c:pt>
                <c:pt idx="329">
                  <c:v>45013</c:v>
                </c:pt>
                <c:pt idx="330">
                  <c:v>45012</c:v>
                </c:pt>
                <c:pt idx="331">
                  <c:v>45009</c:v>
                </c:pt>
                <c:pt idx="332">
                  <c:v>45008</c:v>
                </c:pt>
                <c:pt idx="333">
                  <c:v>45007</c:v>
                </c:pt>
                <c:pt idx="334">
                  <c:v>45006</c:v>
                </c:pt>
                <c:pt idx="335">
                  <c:v>45005</c:v>
                </c:pt>
                <c:pt idx="336">
                  <c:v>45002</c:v>
                </c:pt>
                <c:pt idx="337">
                  <c:v>45001</c:v>
                </c:pt>
                <c:pt idx="338">
                  <c:v>45000</c:v>
                </c:pt>
                <c:pt idx="339">
                  <c:v>44999</c:v>
                </c:pt>
                <c:pt idx="340">
                  <c:v>44998</c:v>
                </c:pt>
                <c:pt idx="341">
                  <c:v>44995</c:v>
                </c:pt>
                <c:pt idx="342">
                  <c:v>44994</c:v>
                </c:pt>
                <c:pt idx="343">
                  <c:v>44993</c:v>
                </c:pt>
                <c:pt idx="344">
                  <c:v>44991</c:v>
                </c:pt>
                <c:pt idx="345">
                  <c:v>44988</c:v>
                </c:pt>
                <c:pt idx="346">
                  <c:v>44987</c:v>
                </c:pt>
                <c:pt idx="347">
                  <c:v>44986</c:v>
                </c:pt>
                <c:pt idx="348">
                  <c:v>44985</c:v>
                </c:pt>
                <c:pt idx="349">
                  <c:v>44984</c:v>
                </c:pt>
                <c:pt idx="350">
                  <c:v>44981</c:v>
                </c:pt>
                <c:pt idx="351">
                  <c:v>44980</c:v>
                </c:pt>
                <c:pt idx="352">
                  <c:v>44979</c:v>
                </c:pt>
                <c:pt idx="353">
                  <c:v>44978</c:v>
                </c:pt>
                <c:pt idx="354">
                  <c:v>44977</c:v>
                </c:pt>
                <c:pt idx="355">
                  <c:v>44974</c:v>
                </c:pt>
                <c:pt idx="356">
                  <c:v>44973</c:v>
                </c:pt>
                <c:pt idx="357">
                  <c:v>44972</c:v>
                </c:pt>
                <c:pt idx="358">
                  <c:v>44971</c:v>
                </c:pt>
                <c:pt idx="359">
                  <c:v>44970</c:v>
                </c:pt>
                <c:pt idx="360">
                  <c:v>44967</c:v>
                </c:pt>
                <c:pt idx="361">
                  <c:v>44966</c:v>
                </c:pt>
                <c:pt idx="362">
                  <c:v>44965</c:v>
                </c:pt>
                <c:pt idx="363">
                  <c:v>44964</c:v>
                </c:pt>
                <c:pt idx="364">
                  <c:v>44963</c:v>
                </c:pt>
                <c:pt idx="365">
                  <c:v>44960</c:v>
                </c:pt>
                <c:pt idx="366">
                  <c:v>44959</c:v>
                </c:pt>
                <c:pt idx="367">
                  <c:v>44958</c:v>
                </c:pt>
                <c:pt idx="368">
                  <c:v>44957</c:v>
                </c:pt>
                <c:pt idx="369">
                  <c:v>44956</c:v>
                </c:pt>
                <c:pt idx="370">
                  <c:v>44953</c:v>
                </c:pt>
                <c:pt idx="371">
                  <c:v>44951</c:v>
                </c:pt>
                <c:pt idx="372">
                  <c:v>44950</c:v>
                </c:pt>
                <c:pt idx="373">
                  <c:v>44949</c:v>
                </c:pt>
                <c:pt idx="374">
                  <c:v>44946</c:v>
                </c:pt>
                <c:pt idx="375">
                  <c:v>44945</c:v>
                </c:pt>
                <c:pt idx="376">
                  <c:v>44944</c:v>
                </c:pt>
                <c:pt idx="377">
                  <c:v>44943</c:v>
                </c:pt>
                <c:pt idx="378">
                  <c:v>44942</c:v>
                </c:pt>
                <c:pt idx="379">
                  <c:v>44939</c:v>
                </c:pt>
                <c:pt idx="380">
                  <c:v>44938</c:v>
                </c:pt>
                <c:pt idx="381">
                  <c:v>44937</c:v>
                </c:pt>
                <c:pt idx="382">
                  <c:v>44936</c:v>
                </c:pt>
                <c:pt idx="383">
                  <c:v>44935</c:v>
                </c:pt>
                <c:pt idx="384">
                  <c:v>44932</c:v>
                </c:pt>
                <c:pt idx="385">
                  <c:v>44931</c:v>
                </c:pt>
                <c:pt idx="386">
                  <c:v>44930</c:v>
                </c:pt>
                <c:pt idx="387">
                  <c:v>44929</c:v>
                </c:pt>
                <c:pt idx="388">
                  <c:v>44928</c:v>
                </c:pt>
                <c:pt idx="389">
                  <c:v>44925</c:v>
                </c:pt>
                <c:pt idx="390">
                  <c:v>44924</c:v>
                </c:pt>
                <c:pt idx="391">
                  <c:v>44923</c:v>
                </c:pt>
                <c:pt idx="392">
                  <c:v>44922</c:v>
                </c:pt>
                <c:pt idx="393">
                  <c:v>44921</c:v>
                </c:pt>
                <c:pt idx="394">
                  <c:v>44918</c:v>
                </c:pt>
                <c:pt idx="395">
                  <c:v>44917</c:v>
                </c:pt>
                <c:pt idx="396">
                  <c:v>44916</c:v>
                </c:pt>
                <c:pt idx="397">
                  <c:v>44915</c:v>
                </c:pt>
                <c:pt idx="398">
                  <c:v>44914</c:v>
                </c:pt>
                <c:pt idx="399">
                  <c:v>44911</c:v>
                </c:pt>
                <c:pt idx="400">
                  <c:v>44910</c:v>
                </c:pt>
                <c:pt idx="401">
                  <c:v>44909</c:v>
                </c:pt>
                <c:pt idx="402">
                  <c:v>44908</c:v>
                </c:pt>
                <c:pt idx="403">
                  <c:v>44907</c:v>
                </c:pt>
                <c:pt idx="404">
                  <c:v>44904</c:v>
                </c:pt>
                <c:pt idx="405">
                  <c:v>44903</c:v>
                </c:pt>
                <c:pt idx="406">
                  <c:v>44902</c:v>
                </c:pt>
                <c:pt idx="407">
                  <c:v>44901</c:v>
                </c:pt>
                <c:pt idx="408">
                  <c:v>44900</c:v>
                </c:pt>
                <c:pt idx="409">
                  <c:v>44897</c:v>
                </c:pt>
                <c:pt idx="410">
                  <c:v>44896</c:v>
                </c:pt>
                <c:pt idx="411">
                  <c:v>44895</c:v>
                </c:pt>
                <c:pt idx="412">
                  <c:v>44894</c:v>
                </c:pt>
                <c:pt idx="413">
                  <c:v>44893</c:v>
                </c:pt>
                <c:pt idx="414">
                  <c:v>44890</c:v>
                </c:pt>
                <c:pt idx="415">
                  <c:v>44889</c:v>
                </c:pt>
                <c:pt idx="416">
                  <c:v>44888</c:v>
                </c:pt>
                <c:pt idx="417">
                  <c:v>44887</c:v>
                </c:pt>
                <c:pt idx="418">
                  <c:v>44886</c:v>
                </c:pt>
                <c:pt idx="419">
                  <c:v>44883</c:v>
                </c:pt>
                <c:pt idx="420">
                  <c:v>44882</c:v>
                </c:pt>
                <c:pt idx="421">
                  <c:v>44881</c:v>
                </c:pt>
                <c:pt idx="422">
                  <c:v>44880</c:v>
                </c:pt>
                <c:pt idx="423">
                  <c:v>44879</c:v>
                </c:pt>
                <c:pt idx="424">
                  <c:v>44876</c:v>
                </c:pt>
                <c:pt idx="425">
                  <c:v>44875</c:v>
                </c:pt>
                <c:pt idx="426">
                  <c:v>44874</c:v>
                </c:pt>
                <c:pt idx="427">
                  <c:v>44872</c:v>
                </c:pt>
                <c:pt idx="428">
                  <c:v>44869</c:v>
                </c:pt>
                <c:pt idx="429">
                  <c:v>44868</c:v>
                </c:pt>
                <c:pt idx="430">
                  <c:v>44867</c:v>
                </c:pt>
                <c:pt idx="431">
                  <c:v>44866</c:v>
                </c:pt>
                <c:pt idx="432">
                  <c:v>44865</c:v>
                </c:pt>
                <c:pt idx="433">
                  <c:v>44862</c:v>
                </c:pt>
                <c:pt idx="434">
                  <c:v>44861</c:v>
                </c:pt>
                <c:pt idx="435">
                  <c:v>44859</c:v>
                </c:pt>
                <c:pt idx="436">
                  <c:v>44858</c:v>
                </c:pt>
                <c:pt idx="437">
                  <c:v>44855</c:v>
                </c:pt>
                <c:pt idx="438">
                  <c:v>44854</c:v>
                </c:pt>
                <c:pt idx="439">
                  <c:v>44853</c:v>
                </c:pt>
                <c:pt idx="440">
                  <c:v>44852</c:v>
                </c:pt>
                <c:pt idx="441">
                  <c:v>44851</c:v>
                </c:pt>
                <c:pt idx="442">
                  <c:v>44848</c:v>
                </c:pt>
                <c:pt idx="443">
                  <c:v>44847</c:v>
                </c:pt>
                <c:pt idx="444">
                  <c:v>44846</c:v>
                </c:pt>
                <c:pt idx="445">
                  <c:v>44845</c:v>
                </c:pt>
                <c:pt idx="446">
                  <c:v>44844</c:v>
                </c:pt>
                <c:pt idx="447">
                  <c:v>44841</c:v>
                </c:pt>
                <c:pt idx="448">
                  <c:v>44840</c:v>
                </c:pt>
                <c:pt idx="449">
                  <c:v>44838</c:v>
                </c:pt>
                <c:pt idx="450">
                  <c:v>44837</c:v>
                </c:pt>
                <c:pt idx="451">
                  <c:v>44834</c:v>
                </c:pt>
                <c:pt idx="452">
                  <c:v>44741</c:v>
                </c:pt>
                <c:pt idx="453">
                  <c:v>44740</c:v>
                </c:pt>
                <c:pt idx="454">
                  <c:v>44739</c:v>
                </c:pt>
                <c:pt idx="455">
                  <c:v>44736</c:v>
                </c:pt>
                <c:pt idx="456">
                  <c:v>44735</c:v>
                </c:pt>
                <c:pt idx="457">
                  <c:v>44734</c:v>
                </c:pt>
                <c:pt idx="458">
                  <c:v>44733</c:v>
                </c:pt>
                <c:pt idx="459">
                  <c:v>44732</c:v>
                </c:pt>
                <c:pt idx="460">
                  <c:v>44729</c:v>
                </c:pt>
                <c:pt idx="461">
                  <c:v>44728</c:v>
                </c:pt>
                <c:pt idx="462">
                  <c:v>44727</c:v>
                </c:pt>
                <c:pt idx="463">
                  <c:v>44726</c:v>
                </c:pt>
                <c:pt idx="464">
                  <c:v>44725</c:v>
                </c:pt>
                <c:pt idx="465">
                  <c:v>44722</c:v>
                </c:pt>
                <c:pt idx="466">
                  <c:v>44721</c:v>
                </c:pt>
                <c:pt idx="467">
                  <c:v>44720</c:v>
                </c:pt>
                <c:pt idx="468">
                  <c:v>44719</c:v>
                </c:pt>
                <c:pt idx="469">
                  <c:v>44718</c:v>
                </c:pt>
                <c:pt idx="470">
                  <c:v>44715</c:v>
                </c:pt>
                <c:pt idx="471">
                  <c:v>44714</c:v>
                </c:pt>
                <c:pt idx="472">
                  <c:v>44713</c:v>
                </c:pt>
                <c:pt idx="473">
                  <c:v>44712</c:v>
                </c:pt>
                <c:pt idx="474">
                  <c:v>44711</c:v>
                </c:pt>
                <c:pt idx="475">
                  <c:v>44708</c:v>
                </c:pt>
                <c:pt idx="476">
                  <c:v>44707</c:v>
                </c:pt>
                <c:pt idx="477">
                  <c:v>44706</c:v>
                </c:pt>
                <c:pt idx="478">
                  <c:v>44705</c:v>
                </c:pt>
                <c:pt idx="479">
                  <c:v>44704</c:v>
                </c:pt>
                <c:pt idx="480">
                  <c:v>44701</c:v>
                </c:pt>
                <c:pt idx="481">
                  <c:v>44700</c:v>
                </c:pt>
                <c:pt idx="482">
                  <c:v>44699</c:v>
                </c:pt>
                <c:pt idx="483">
                  <c:v>44698</c:v>
                </c:pt>
                <c:pt idx="484">
                  <c:v>44697</c:v>
                </c:pt>
                <c:pt idx="485">
                  <c:v>44694</c:v>
                </c:pt>
                <c:pt idx="486">
                  <c:v>44693</c:v>
                </c:pt>
                <c:pt idx="487">
                  <c:v>44692</c:v>
                </c:pt>
                <c:pt idx="488">
                  <c:v>44691</c:v>
                </c:pt>
                <c:pt idx="489">
                  <c:v>44690</c:v>
                </c:pt>
                <c:pt idx="490">
                  <c:v>44687</c:v>
                </c:pt>
                <c:pt idx="491">
                  <c:v>44686</c:v>
                </c:pt>
                <c:pt idx="492">
                  <c:v>44685</c:v>
                </c:pt>
                <c:pt idx="493">
                  <c:v>44683</c:v>
                </c:pt>
                <c:pt idx="494">
                  <c:v>44680</c:v>
                </c:pt>
                <c:pt idx="495">
                  <c:v>44679</c:v>
                </c:pt>
                <c:pt idx="496">
                  <c:v>44678</c:v>
                </c:pt>
                <c:pt idx="497">
                  <c:v>44677</c:v>
                </c:pt>
                <c:pt idx="498">
                  <c:v>44676</c:v>
                </c:pt>
                <c:pt idx="499">
                  <c:v>44673</c:v>
                </c:pt>
                <c:pt idx="500">
                  <c:v>44672</c:v>
                </c:pt>
                <c:pt idx="501">
                  <c:v>44671</c:v>
                </c:pt>
                <c:pt idx="502">
                  <c:v>44670</c:v>
                </c:pt>
                <c:pt idx="503">
                  <c:v>44669</c:v>
                </c:pt>
                <c:pt idx="504">
                  <c:v>44664</c:v>
                </c:pt>
                <c:pt idx="505">
                  <c:v>44663</c:v>
                </c:pt>
                <c:pt idx="506">
                  <c:v>44662</c:v>
                </c:pt>
                <c:pt idx="507">
                  <c:v>44659</c:v>
                </c:pt>
                <c:pt idx="508">
                  <c:v>44658</c:v>
                </c:pt>
                <c:pt idx="509">
                  <c:v>44657</c:v>
                </c:pt>
                <c:pt idx="510">
                  <c:v>44656</c:v>
                </c:pt>
                <c:pt idx="511">
                  <c:v>44655</c:v>
                </c:pt>
                <c:pt idx="512">
                  <c:v>44652</c:v>
                </c:pt>
              </c:numCache>
            </c:numRef>
          </c:cat>
          <c:val>
            <c:numRef>
              <c:f>Sheet1!$B$2:$B$514</c:f>
              <c:numCache>
                <c:formatCode>General</c:formatCode>
                <c:ptCount val="513"/>
                <c:pt idx="0">
                  <c:v>33.352850000000004</c:v>
                </c:pt>
                <c:pt idx="1">
                  <c:v>32.86215</c:v>
                </c:pt>
                <c:pt idx="2">
                  <c:v>32.020650000000003</c:v>
                </c:pt>
                <c:pt idx="3">
                  <c:v>32.060099999999998</c:v>
                </c:pt>
                <c:pt idx="4">
                  <c:v>31.836399999999998</c:v>
                </c:pt>
                <c:pt idx="5">
                  <c:v>31.645249999999997</c:v>
                </c:pt>
                <c:pt idx="6">
                  <c:v>30.828299999999999</c:v>
                </c:pt>
                <c:pt idx="7">
                  <c:v>30.796849999999999</c:v>
                </c:pt>
                <c:pt idx="8">
                  <c:v>31.2254</c:v>
                </c:pt>
                <c:pt idx="9">
                  <c:v>31.113799999999998</c:v>
                </c:pt>
                <c:pt idx="10">
                  <c:v>30.910299999999999</c:v>
                </c:pt>
                <c:pt idx="11">
                  <c:v>31.554250000000003</c:v>
                </c:pt>
                <c:pt idx="12">
                  <c:v>30.930999999999997</c:v>
                </c:pt>
                <c:pt idx="13">
                  <c:v>31.536099999999998</c:v>
                </c:pt>
                <c:pt idx="14">
                  <c:v>31.768099999999997</c:v>
                </c:pt>
                <c:pt idx="15">
                  <c:v>31.079349999999998</c:v>
                </c:pt>
                <c:pt idx="16">
                  <c:v>30.365100000000002</c:v>
                </c:pt>
                <c:pt idx="17">
                  <c:v>30.599299999999999</c:v>
                </c:pt>
                <c:pt idx="18">
                  <c:v>30.839700000000001</c:v>
                </c:pt>
                <c:pt idx="19">
                  <c:v>30.917699999999996</c:v>
                </c:pt>
                <c:pt idx="20">
                  <c:v>30.263099999999998</c:v>
                </c:pt>
                <c:pt idx="21">
                  <c:v>30.151049999999998</c:v>
                </c:pt>
                <c:pt idx="22">
                  <c:v>30.001200000000001</c:v>
                </c:pt>
                <c:pt idx="23">
                  <c:v>30.434724999999997</c:v>
                </c:pt>
                <c:pt idx="24">
                  <c:v>30.520300000000006</c:v>
                </c:pt>
                <c:pt idx="25">
                  <c:v>30.254024999999999</c:v>
                </c:pt>
                <c:pt idx="26">
                  <c:v>29.634025000000001</c:v>
                </c:pt>
                <c:pt idx="27">
                  <c:v>29.992000000000001</c:v>
                </c:pt>
                <c:pt idx="28">
                  <c:v>30.495650000000001</c:v>
                </c:pt>
                <c:pt idx="29">
                  <c:v>30.311250000000001</c:v>
                </c:pt>
                <c:pt idx="30">
                  <c:v>30.537475000000001</c:v>
                </c:pt>
                <c:pt idx="31">
                  <c:v>30.567124999999997</c:v>
                </c:pt>
                <c:pt idx="32">
                  <c:v>30.955149999999996</c:v>
                </c:pt>
                <c:pt idx="33">
                  <c:v>30.769975000000002</c:v>
                </c:pt>
                <c:pt idx="34">
                  <c:v>30.831299999999999</c:v>
                </c:pt>
                <c:pt idx="35">
                  <c:v>30.570724999999999</c:v>
                </c:pt>
                <c:pt idx="36">
                  <c:v>30.587074999999999</c:v>
                </c:pt>
                <c:pt idx="37">
                  <c:v>30.399699999999999</c:v>
                </c:pt>
                <c:pt idx="38">
                  <c:v>30.014099999999999</c:v>
                </c:pt>
                <c:pt idx="39">
                  <c:v>30.442275000000002</c:v>
                </c:pt>
                <c:pt idx="40">
                  <c:v>30.432925000000001</c:v>
                </c:pt>
                <c:pt idx="41">
                  <c:v>30.374500000000001</c:v>
                </c:pt>
                <c:pt idx="42">
                  <c:v>30.135950000000001</c:v>
                </c:pt>
                <c:pt idx="43">
                  <c:v>30.470799999999997</c:v>
                </c:pt>
                <c:pt idx="44">
                  <c:v>30.361150000000002</c:v>
                </c:pt>
                <c:pt idx="45">
                  <c:v>30.118525000000002</c:v>
                </c:pt>
                <c:pt idx="46">
                  <c:v>30.260525000000001</c:v>
                </c:pt>
                <c:pt idx="47">
                  <c:v>30.085025000000002</c:v>
                </c:pt>
                <c:pt idx="48">
                  <c:v>29.61045</c:v>
                </c:pt>
                <c:pt idx="49">
                  <c:v>29.414375</c:v>
                </c:pt>
                <c:pt idx="50">
                  <c:v>29.757525000000001</c:v>
                </c:pt>
                <c:pt idx="51">
                  <c:v>29.423775000000006</c:v>
                </c:pt>
                <c:pt idx="52">
                  <c:v>29.340225000000004</c:v>
                </c:pt>
                <c:pt idx="53">
                  <c:v>29.334299999999999</c:v>
                </c:pt>
                <c:pt idx="54">
                  <c:v>29.194399999999998</c:v>
                </c:pt>
                <c:pt idx="55">
                  <c:v>29.470800000000001</c:v>
                </c:pt>
                <c:pt idx="56">
                  <c:v>30.144525000000002</c:v>
                </c:pt>
                <c:pt idx="57">
                  <c:v>30.236825</c:v>
                </c:pt>
                <c:pt idx="58">
                  <c:v>29.900649999999999</c:v>
                </c:pt>
                <c:pt idx="59">
                  <c:v>29.703699999999998</c:v>
                </c:pt>
                <c:pt idx="60">
                  <c:v>30.227874999999997</c:v>
                </c:pt>
                <c:pt idx="61">
                  <c:v>29.988250000000001</c:v>
                </c:pt>
                <c:pt idx="62">
                  <c:v>30.046250000000001</c:v>
                </c:pt>
                <c:pt idx="63">
                  <c:v>29.797474999999999</c:v>
                </c:pt>
                <c:pt idx="64">
                  <c:v>29.667425000000001</c:v>
                </c:pt>
                <c:pt idx="65">
                  <c:v>29.940199999999997</c:v>
                </c:pt>
                <c:pt idx="66">
                  <c:v>30.571950000000001</c:v>
                </c:pt>
                <c:pt idx="67">
                  <c:v>30.786375</c:v>
                </c:pt>
                <c:pt idx="68">
                  <c:v>30.343050000000002</c:v>
                </c:pt>
                <c:pt idx="69">
                  <c:v>30.232424999999999</c:v>
                </c:pt>
                <c:pt idx="70">
                  <c:v>30.637425</c:v>
                </c:pt>
                <c:pt idx="71">
                  <c:v>29.466474999999999</c:v>
                </c:pt>
                <c:pt idx="72">
                  <c:v>28.555025000000001</c:v>
                </c:pt>
                <c:pt idx="73">
                  <c:v>28.2515</c:v>
                </c:pt>
                <c:pt idx="74">
                  <c:v>28.237425000000002</c:v>
                </c:pt>
                <c:pt idx="75">
                  <c:v>27.508850000000002</c:v>
                </c:pt>
                <c:pt idx="76">
                  <c:v>27.4026</c:v>
                </c:pt>
                <c:pt idx="77">
                  <c:v>27.166624999999996</c:v>
                </c:pt>
                <c:pt idx="78">
                  <c:v>25.574825000000001</c:v>
                </c:pt>
                <c:pt idx="79">
                  <c:v>26.578125</c:v>
                </c:pt>
                <c:pt idx="80">
                  <c:v>27.118799999999997</c:v>
                </c:pt>
                <c:pt idx="81">
                  <c:v>26.902674999999995</c:v>
                </c:pt>
                <c:pt idx="82">
                  <c:v>26.598575</c:v>
                </c:pt>
                <c:pt idx="83">
                  <c:v>27.001024999999998</c:v>
                </c:pt>
                <c:pt idx="84">
                  <c:v>34.411299999999997</c:v>
                </c:pt>
                <c:pt idx="85">
                  <c:v>34.825899999999997</c:v>
                </c:pt>
                <c:pt idx="86">
                  <c:v>34.867725</c:v>
                </c:pt>
                <c:pt idx="87">
                  <c:v>34.283500000000004</c:v>
                </c:pt>
                <c:pt idx="88">
                  <c:v>34.676724999999998</c:v>
                </c:pt>
                <c:pt idx="89">
                  <c:v>34.692250000000001</c:v>
                </c:pt>
                <c:pt idx="90">
                  <c:v>35.549925000000002</c:v>
                </c:pt>
                <c:pt idx="91">
                  <c:v>35.913975000000001</c:v>
                </c:pt>
                <c:pt idx="92">
                  <c:v>36.003625</c:v>
                </c:pt>
                <c:pt idx="93">
                  <c:v>35.880400000000002</c:v>
                </c:pt>
                <c:pt idx="94">
                  <c:v>36.1815</c:v>
                </c:pt>
                <c:pt idx="95">
                  <c:v>36.449300000000001</c:v>
                </c:pt>
                <c:pt idx="96">
                  <c:v>36.991250000000001</c:v>
                </c:pt>
                <c:pt idx="97">
                  <c:v>37.253924999999995</c:v>
                </c:pt>
                <c:pt idx="98">
                  <c:v>37.053800000000003</c:v>
                </c:pt>
                <c:pt idx="99">
                  <c:v>36.914974999999998</c:v>
                </c:pt>
                <c:pt idx="100">
                  <c:v>36.545175</c:v>
                </c:pt>
                <c:pt idx="101">
                  <c:v>36.524074999999996</c:v>
                </c:pt>
                <c:pt idx="102">
                  <c:v>36.540275000000008</c:v>
                </c:pt>
                <c:pt idx="103">
                  <c:v>37.038724999999999</c:v>
                </c:pt>
                <c:pt idx="104">
                  <c:v>36.877875000000003</c:v>
                </c:pt>
                <c:pt idx="105">
                  <c:v>36.539024999999995</c:v>
                </c:pt>
                <c:pt idx="106">
                  <c:v>36.958425000000005</c:v>
                </c:pt>
                <c:pt idx="107">
                  <c:v>37.282550000000001</c:v>
                </c:pt>
                <c:pt idx="108">
                  <c:v>36.969200000000001</c:v>
                </c:pt>
                <c:pt idx="109">
                  <c:v>36.8568</c:v>
                </c:pt>
                <c:pt idx="110">
                  <c:v>35.977049999999998</c:v>
                </c:pt>
                <c:pt idx="111">
                  <c:v>35.18065</c:v>
                </c:pt>
                <c:pt idx="112">
                  <c:v>34.555374999999998</c:v>
                </c:pt>
                <c:pt idx="113">
                  <c:v>34.791399999999996</c:v>
                </c:pt>
                <c:pt idx="114">
                  <c:v>34.394674999999999</c:v>
                </c:pt>
                <c:pt idx="115">
                  <c:v>35.781524999999995</c:v>
                </c:pt>
                <c:pt idx="116">
                  <c:v>35.856974999999998</c:v>
                </c:pt>
                <c:pt idx="117">
                  <c:v>36.257224999999998</c:v>
                </c:pt>
                <c:pt idx="118">
                  <c:v>35.227575000000002</c:v>
                </c:pt>
                <c:pt idx="119">
                  <c:v>35.186399999999999</c:v>
                </c:pt>
                <c:pt idx="120">
                  <c:v>34.895524999999999</c:v>
                </c:pt>
                <c:pt idx="121">
                  <c:v>34.618174999999994</c:v>
                </c:pt>
                <c:pt idx="122">
                  <c:v>34.575649999999996</c:v>
                </c:pt>
                <c:pt idx="123">
                  <c:v>34.936150000000005</c:v>
                </c:pt>
                <c:pt idx="124">
                  <c:v>34.446599999999997</c:v>
                </c:pt>
                <c:pt idx="125">
                  <c:v>34.016599999999997</c:v>
                </c:pt>
                <c:pt idx="126">
                  <c:v>34.189700000000002</c:v>
                </c:pt>
                <c:pt idx="127">
                  <c:v>33.475700000000003</c:v>
                </c:pt>
                <c:pt idx="128">
                  <c:v>33.8887</c:v>
                </c:pt>
                <c:pt idx="129">
                  <c:v>34.417675000000003</c:v>
                </c:pt>
                <c:pt idx="130">
                  <c:v>34.495975000000001</c:v>
                </c:pt>
                <c:pt idx="131">
                  <c:v>34.966650000000001</c:v>
                </c:pt>
                <c:pt idx="132">
                  <c:v>35.374650000000003</c:v>
                </c:pt>
                <c:pt idx="133">
                  <c:v>35.203975</c:v>
                </c:pt>
                <c:pt idx="134">
                  <c:v>35.957825</c:v>
                </c:pt>
                <c:pt idx="135">
                  <c:v>36.046450000000007</c:v>
                </c:pt>
                <c:pt idx="136">
                  <c:v>35.247199999999999</c:v>
                </c:pt>
                <c:pt idx="137">
                  <c:v>35.554375</c:v>
                </c:pt>
                <c:pt idx="138">
                  <c:v>35.541600000000003</c:v>
                </c:pt>
                <c:pt idx="139">
                  <c:v>35.776625000000003</c:v>
                </c:pt>
                <c:pt idx="140">
                  <c:v>35.277549999999998</c:v>
                </c:pt>
                <c:pt idx="141">
                  <c:v>34.691974999999999</c:v>
                </c:pt>
                <c:pt idx="142">
                  <c:v>35.156849999999999</c:v>
                </c:pt>
                <c:pt idx="143">
                  <c:v>34.976199999999999</c:v>
                </c:pt>
                <c:pt idx="144">
                  <c:v>34.831949999999999</c:v>
                </c:pt>
                <c:pt idx="145">
                  <c:v>34.208949999999994</c:v>
                </c:pt>
                <c:pt idx="146">
                  <c:v>32.599724999999999</c:v>
                </c:pt>
                <c:pt idx="147">
                  <c:v>32.713799999999999</c:v>
                </c:pt>
                <c:pt idx="148">
                  <c:v>32.766424999999998</c:v>
                </c:pt>
                <c:pt idx="149">
                  <c:v>32.552124999999997</c:v>
                </c:pt>
                <c:pt idx="150">
                  <c:v>32.696449999999999</c:v>
                </c:pt>
                <c:pt idx="151">
                  <c:v>32.913025000000005</c:v>
                </c:pt>
                <c:pt idx="152">
                  <c:v>32.803674999999998</c:v>
                </c:pt>
                <c:pt idx="153">
                  <c:v>33.226800000000004</c:v>
                </c:pt>
                <c:pt idx="154">
                  <c:v>33.443849999999998</c:v>
                </c:pt>
                <c:pt idx="155">
                  <c:v>33.848999999999997</c:v>
                </c:pt>
                <c:pt idx="156">
                  <c:v>33.820549999999997</c:v>
                </c:pt>
                <c:pt idx="157">
                  <c:v>33.860225</c:v>
                </c:pt>
                <c:pt idx="158">
                  <c:v>33.786675000000002</c:v>
                </c:pt>
                <c:pt idx="159">
                  <c:v>33.631350000000005</c:v>
                </c:pt>
                <c:pt idx="160">
                  <c:v>33.604050000000001</c:v>
                </c:pt>
                <c:pt idx="161">
                  <c:v>33.806775000000002</c:v>
                </c:pt>
                <c:pt idx="162">
                  <c:v>32.014375000000001</c:v>
                </c:pt>
                <c:pt idx="163">
                  <c:v>32.732900000000001</c:v>
                </c:pt>
                <c:pt idx="164">
                  <c:v>32.690750000000001</c:v>
                </c:pt>
                <c:pt idx="165">
                  <c:v>32.723925000000001</c:v>
                </c:pt>
                <c:pt idx="166">
                  <c:v>32.995024999999998</c:v>
                </c:pt>
                <c:pt idx="167">
                  <c:v>32.829525000000004</c:v>
                </c:pt>
                <c:pt idx="168">
                  <c:v>32.604324999999996</c:v>
                </c:pt>
                <c:pt idx="169">
                  <c:v>32.616875</c:v>
                </c:pt>
                <c:pt idx="170">
                  <c:v>32.378424999999993</c:v>
                </c:pt>
                <c:pt idx="171">
                  <c:v>32.464775000000003</c:v>
                </c:pt>
                <c:pt idx="172">
                  <c:v>32.244250000000001</c:v>
                </c:pt>
                <c:pt idx="173">
                  <c:v>32.244700000000002</c:v>
                </c:pt>
                <c:pt idx="174">
                  <c:v>31.970800000000001</c:v>
                </c:pt>
                <c:pt idx="175">
                  <c:v>32.122675000000001</c:v>
                </c:pt>
                <c:pt idx="176">
                  <c:v>32.079650000000001</c:v>
                </c:pt>
                <c:pt idx="177">
                  <c:v>31.555575000000001</c:v>
                </c:pt>
                <c:pt idx="178">
                  <c:v>31.330875000000006</c:v>
                </c:pt>
                <c:pt idx="179">
                  <c:v>30.953149999999997</c:v>
                </c:pt>
                <c:pt idx="180">
                  <c:v>29.527924999999996</c:v>
                </c:pt>
                <c:pt idx="181">
                  <c:v>29.415625000000002</c:v>
                </c:pt>
                <c:pt idx="182">
                  <c:v>29.350774999999999</c:v>
                </c:pt>
                <c:pt idx="183">
                  <c:v>29.684899999999999</c:v>
                </c:pt>
                <c:pt idx="184">
                  <c:v>29.669799999999999</c:v>
                </c:pt>
                <c:pt idx="185">
                  <c:v>29.9405</c:v>
                </c:pt>
                <c:pt idx="186">
                  <c:v>30.320750000000004</c:v>
                </c:pt>
                <c:pt idx="187">
                  <c:v>30.388774999999999</c:v>
                </c:pt>
                <c:pt idx="188">
                  <c:v>30.455549999999999</c:v>
                </c:pt>
                <c:pt idx="189">
                  <c:v>30.019575</c:v>
                </c:pt>
                <c:pt idx="190">
                  <c:v>30.105000000000004</c:v>
                </c:pt>
                <c:pt idx="191">
                  <c:v>29.501325000000001</c:v>
                </c:pt>
                <c:pt idx="192">
                  <c:v>29.44435</c:v>
                </c:pt>
                <c:pt idx="193">
                  <c:v>28.979750000000003</c:v>
                </c:pt>
                <c:pt idx="194">
                  <c:v>28.989800000000002</c:v>
                </c:pt>
                <c:pt idx="195">
                  <c:v>29.539675000000003</c:v>
                </c:pt>
                <c:pt idx="196">
                  <c:v>29.454124999999998</c:v>
                </c:pt>
                <c:pt idx="197">
                  <c:v>29.974075000000003</c:v>
                </c:pt>
                <c:pt idx="198">
                  <c:v>29.447174999999998</c:v>
                </c:pt>
                <c:pt idx="199">
                  <c:v>29.267074999999998</c:v>
                </c:pt>
                <c:pt idx="200">
                  <c:v>29.071125000000002</c:v>
                </c:pt>
                <c:pt idx="201">
                  <c:v>29.081374999999998</c:v>
                </c:pt>
                <c:pt idx="202">
                  <c:v>28.613350000000001</c:v>
                </c:pt>
                <c:pt idx="203">
                  <c:v>28.755850000000002</c:v>
                </c:pt>
                <c:pt idx="204">
                  <c:v>28.777900000000002</c:v>
                </c:pt>
                <c:pt idx="205">
                  <c:v>28.851400000000002</c:v>
                </c:pt>
                <c:pt idx="206">
                  <c:v>28.262025000000001</c:v>
                </c:pt>
                <c:pt idx="207">
                  <c:v>32.057600000000001</c:v>
                </c:pt>
                <c:pt idx="208">
                  <c:v>31.960099999999997</c:v>
                </c:pt>
                <c:pt idx="209">
                  <c:v>32.109850000000002</c:v>
                </c:pt>
                <c:pt idx="210">
                  <c:v>32.422924999999999</c:v>
                </c:pt>
                <c:pt idx="211">
                  <c:v>32.278199999999998</c:v>
                </c:pt>
                <c:pt idx="212">
                  <c:v>31.166450000000001</c:v>
                </c:pt>
                <c:pt idx="213">
                  <c:v>31.26765</c:v>
                </c:pt>
                <c:pt idx="214">
                  <c:v>30.734200000000001</c:v>
                </c:pt>
                <c:pt idx="215">
                  <c:v>30.816974999999999</c:v>
                </c:pt>
                <c:pt idx="216">
                  <c:v>31.036049999999999</c:v>
                </c:pt>
                <c:pt idx="217">
                  <c:v>31.038399999999996</c:v>
                </c:pt>
                <c:pt idx="218">
                  <c:v>30.736574999999998</c:v>
                </c:pt>
                <c:pt idx="219">
                  <c:v>31.085374999999999</c:v>
                </c:pt>
                <c:pt idx="220">
                  <c:v>31.222200000000001</c:v>
                </c:pt>
                <c:pt idx="221">
                  <c:v>31.476900000000001</c:v>
                </c:pt>
                <c:pt idx="222">
                  <c:v>31.496324999999999</c:v>
                </c:pt>
                <c:pt idx="223">
                  <c:v>31.406600000000001</c:v>
                </c:pt>
                <c:pt idx="224">
                  <c:v>31.549150000000001</c:v>
                </c:pt>
                <c:pt idx="225">
                  <c:v>31.528749999999999</c:v>
                </c:pt>
                <c:pt idx="226">
                  <c:v>31.496050000000004</c:v>
                </c:pt>
                <c:pt idx="227">
                  <c:v>31.264074999999998</c:v>
                </c:pt>
                <c:pt idx="228">
                  <c:v>31.311875000000004</c:v>
                </c:pt>
                <c:pt idx="229">
                  <c:v>30.956100000000003</c:v>
                </c:pt>
                <c:pt idx="230">
                  <c:v>29.985824999999998</c:v>
                </c:pt>
                <c:pt idx="231">
                  <c:v>30.733125000000001</c:v>
                </c:pt>
                <c:pt idx="232">
                  <c:v>30.866399999999999</c:v>
                </c:pt>
                <c:pt idx="233">
                  <c:v>30.616824999999999</c:v>
                </c:pt>
                <c:pt idx="234">
                  <c:v>30.312999999999999</c:v>
                </c:pt>
                <c:pt idx="235">
                  <c:v>30.380474999999997</c:v>
                </c:pt>
                <c:pt idx="236">
                  <c:v>30.125275000000002</c:v>
                </c:pt>
                <c:pt idx="237">
                  <c:v>30.386174999999998</c:v>
                </c:pt>
                <c:pt idx="238">
                  <c:v>30.966625000000001</c:v>
                </c:pt>
                <c:pt idx="239">
                  <c:v>30.849875000000001</c:v>
                </c:pt>
                <c:pt idx="240">
                  <c:v>30.512549999999997</c:v>
                </c:pt>
                <c:pt idx="241">
                  <c:v>29.742600000000003</c:v>
                </c:pt>
                <c:pt idx="242">
                  <c:v>29.456775</c:v>
                </c:pt>
                <c:pt idx="243">
                  <c:v>29.888774999999995</c:v>
                </c:pt>
                <c:pt idx="244">
                  <c:v>29.172725</c:v>
                </c:pt>
                <c:pt idx="245">
                  <c:v>28.539149999999999</c:v>
                </c:pt>
                <c:pt idx="246">
                  <c:v>27.989350000000002</c:v>
                </c:pt>
                <c:pt idx="247">
                  <c:v>28.288325</c:v>
                </c:pt>
                <c:pt idx="248">
                  <c:v>27.797274999999999</c:v>
                </c:pt>
                <c:pt idx="249">
                  <c:v>27.572424999999999</c:v>
                </c:pt>
                <c:pt idx="250">
                  <c:v>27.196150000000003</c:v>
                </c:pt>
                <c:pt idx="251">
                  <c:v>27.509</c:v>
                </c:pt>
                <c:pt idx="252">
                  <c:v>28.188549999999999</c:v>
                </c:pt>
                <c:pt idx="253">
                  <c:v>28.901575000000001</c:v>
                </c:pt>
                <c:pt idx="254">
                  <c:v>29.213824999999996</c:v>
                </c:pt>
                <c:pt idx="255">
                  <c:v>29.403700000000004</c:v>
                </c:pt>
                <c:pt idx="256">
                  <c:v>29.459999999999997</c:v>
                </c:pt>
                <c:pt idx="257">
                  <c:v>29.164474999999999</c:v>
                </c:pt>
                <c:pt idx="258">
                  <c:v>29.29365</c:v>
                </c:pt>
                <c:pt idx="259">
                  <c:v>29.032049999999998</c:v>
                </c:pt>
                <c:pt idx="260">
                  <c:v>28.164149999999999</c:v>
                </c:pt>
                <c:pt idx="261">
                  <c:v>28.250300000000003</c:v>
                </c:pt>
                <c:pt idx="262">
                  <c:v>28.036750000000001</c:v>
                </c:pt>
                <c:pt idx="263">
                  <c:v>27.899075000000003</c:v>
                </c:pt>
                <c:pt idx="264">
                  <c:v>27.662949999999999</c:v>
                </c:pt>
                <c:pt idx="265">
                  <c:v>27.65165</c:v>
                </c:pt>
                <c:pt idx="266">
                  <c:v>28.199375</c:v>
                </c:pt>
                <c:pt idx="267">
                  <c:v>28.011600000000001</c:v>
                </c:pt>
                <c:pt idx="268">
                  <c:v>28.058825000000002</c:v>
                </c:pt>
                <c:pt idx="269">
                  <c:v>28.101075000000002</c:v>
                </c:pt>
                <c:pt idx="270">
                  <c:v>27.278074999999998</c:v>
                </c:pt>
                <c:pt idx="271">
                  <c:v>26.715149999999998</c:v>
                </c:pt>
                <c:pt idx="272">
                  <c:v>27.239149999999999</c:v>
                </c:pt>
                <c:pt idx="273">
                  <c:v>27.946124999999999</c:v>
                </c:pt>
                <c:pt idx="274">
                  <c:v>26.868275000000001</c:v>
                </c:pt>
                <c:pt idx="275">
                  <c:v>25.688199999999998</c:v>
                </c:pt>
                <c:pt idx="276">
                  <c:v>25.140149999999998</c:v>
                </c:pt>
                <c:pt idx="277">
                  <c:v>24.704525</c:v>
                </c:pt>
                <c:pt idx="278">
                  <c:v>24.726224999999999</c:v>
                </c:pt>
                <c:pt idx="279">
                  <c:v>24.3827</c:v>
                </c:pt>
                <c:pt idx="280">
                  <c:v>24.170575000000003</c:v>
                </c:pt>
                <c:pt idx="281">
                  <c:v>24.198249999999998</c:v>
                </c:pt>
                <c:pt idx="282">
                  <c:v>24.531874999999999</c:v>
                </c:pt>
                <c:pt idx="283">
                  <c:v>24.743074999999997</c:v>
                </c:pt>
                <c:pt idx="284">
                  <c:v>24.63655</c:v>
                </c:pt>
                <c:pt idx="285">
                  <c:v>24.664725000000001</c:v>
                </c:pt>
                <c:pt idx="286">
                  <c:v>24.622875000000001</c:v>
                </c:pt>
                <c:pt idx="287">
                  <c:v>24.248175</c:v>
                </c:pt>
                <c:pt idx="288">
                  <c:v>24.338149999999999</c:v>
                </c:pt>
                <c:pt idx="289">
                  <c:v>24.445025000000001</c:v>
                </c:pt>
                <c:pt idx="290">
                  <c:v>24.406600000000001</c:v>
                </c:pt>
                <c:pt idx="291">
                  <c:v>24.184850000000001</c:v>
                </c:pt>
                <c:pt idx="292">
                  <c:v>24.029049999999998</c:v>
                </c:pt>
                <c:pt idx="293">
                  <c:v>24.20505</c:v>
                </c:pt>
                <c:pt idx="294">
                  <c:v>24.193600000000004</c:v>
                </c:pt>
                <c:pt idx="295">
                  <c:v>23.964700000000001</c:v>
                </c:pt>
                <c:pt idx="296">
                  <c:v>23.638500000000001</c:v>
                </c:pt>
                <c:pt idx="297">
                  <c:v>23.871650000000002</c:v>
                </c:pt>
                <c:pt idx="298">
                  <c:v>24.325424999999999</c:v>
                </c:pt>
                <c:pt idx="299">
                  <c:v>24.502624999999998</c:v>
                </c:pt>
                <c:pt idx="300">
                  <c:v>24.460525000000004</c:v>
                </c:pt>
                <c:pt idx="301">
                  <c:v>24.607975</c:v>
                </c:pt>
                <c:pt idx="302">
                  <c:v>23.780950000000001</c:v>
                </c:pt>
                <c:pt idx="303">
                  <c:v>24.108450000000001</c:v>
                </c:pt>
                <c:pt idx="304">
                  <c:v>23.899725</c:v>
                </c:pt>
                <c:pt idx="305">
                  <c:v>23.856025000000002</c:v>
                </c:pt>
                <c:pt idx="306">
                  <c:v>23.796225</c:v>
                </c:pt>
                <c:pt idx="307">
                  <c:v>23.816600000000001</c:v>
                </c:pt>
                <c:pt idx="308">
                  <c:v>23.563825000000001</c:v>
                </c:pt>
                <c:pt idx="309">
                  <c:v>23.697274999999998</c:v>
                </c:pt>
                <c:pt idx="310">
                  <c:v>23.584949999999999</c:v>
                </c:pt>
                <c:pt idx="311">
                  <c:v>23.510275</c:v>
                </c:pt>
                <c:pt idx="312">
                  <c:v>22.916274999999999</c:v>
                </c:pt>
                <c:pt idx="313">
                  <c:v>23.171624999999999</c:v>
                </c:pt>
                <c:pt idx="314">
                  <c:v>23.338025000000002</c:v>
                </c:pt>
                <c:pt idx="315">
                  <c:v>23.453025</c:v>
                </c:pt>
                <c:pt idx="316">
                  <c:v>23.6496</c:v>
                </c:pt>
                <c:pt idx="317">
                  <c:v>24.214874999999999</c:v>
                </c:pt>
                <c:pt idx="318">
                  <c:v>24.163699999999999</c:v>
                </c:pt>
                <c:pt idx="319">
                  <c:v>24.00525</c:v>
                </c:pt>
                <c:pt idx="320">
                  <c:v>24.16545</c:v>
                </c:pt>
                <c:pt idx="321">
                  <c:v>24.262525</c:v>
                </c:pt>
                <c:pt idx="322">
                  <c:v>23.781375000000001</c:v>
                </c:pt>
                <c:pt idx="323">
                  <c:v>23.707774999999998</c:v>
                </c:pt>
                <c:pt idx="324">
                  <c:v>23.330000000000002</c:v>
                </c:pt>
                <c:pt idx="325">
                  <c:v>23.421375000000001</c:v>
                </c:pt>
                <c:pt idx="326">
                  <c:v>23.264300000000002</c:v>
                </c:pt>
                <c:pt idx="327">
                  <c:v>23.1021</c:v>
                </c:pt>
                <c:pt idx="328">
                  <c:v>16.020099999999999</c:v>
                </c:pt>
                <c:pt idx="329">
                  <c:v>15.9663</c:v>
                </c:pt>
                <c:pt idx="330">
                  <c:v>16.1873</c:v>
                </c:pt>
                <c:pt idx="331">
                  <c:v>16.497800000000002</c:v>
                </c:pt>
                <c:pt idx="332">
                  <c:v>16.766500000000001</c:v>
                </c:pt>
                <c:pt idx="333">
                  <c:v>16.872</c:v>
                </c:pt>
                <c:pt idx="334">
                  <c:v>17.393599999999999</c:v>
                </c:pt>
                <c:pt idx="335">
                  <c:v>17.297999999999998</c:v>
                </c:pt>
                <c:pt idx="336">
                  <c:v>17.562799999999999</c:v>
                </c:pt>
                <c:pt idx="337">
                  <c:v>17.805599999999998</c:v>
                </c:pt>
                <c:pt idx="338">
                  <c:v>17.968900000000001</c:v>
                </c:pt>
                <c:pt idx="339">
                  <c:v>18.046500000000002</c:v>
                </c:pt>
                <c:pt idx="340">
                  <c:v>17.929099999999998</c:v>
                </c:pt>
                <c:pt idx="341">
                  <c:v>18.1739</c:v>
                </c:pt>
                <c:pt idx="342">
                  <c:v>18.116199999999999</c:v>
                </c:pt>
                <c:pt idx="343">
                  <c:v>17.917100000000001</c:v>
                </c:pt>
                <c:pt idx="344">
                  <c:v>17.375699999999998</c:v>
                </c:pt>
                <c:pt idx="345">
                  <c:v>17.2224</c:v>
                </c:pt>
                <c:pt idx="346">
                  <c:v>17.142800000000001</c:v>
                </c:pt>
                <c:pt idx="347">
                  <c:v>17.194500000000001</c:v>
                </c:pt>
                <c:pt idx="348">
                  <c:v>17.234300000000001</c:v>
                </c:pt>
                <c:pt idx="349">
                  <c:v>17.314</c:v>
                </c:pt>
                <c:pt idx="350">
                  <c:v>17.73</c:v>
                </c:pt>
                <c:pt idx="351">
                  <c:v>17.956900000000001</c:v>
                </c:pt>
                <c:pt idx="352">
                  <c:v>18.1281</c:v>
                </c:pt>
                <c:pt idx="353">
                  <c:v>18.319199999999999</c:v>
                </c:pt>
                <c:pt idx="354">
                  <c:v>18.155999999999999</c:v>
                </c:pt>
                <c:pt idx="355">
                  <c:v>18.16</c:v>
                </c:pt>
                <c:pt idx="356">
                  <c:v>18.152000000000001</c:v>
                </c:pt>
                <c:pt idx="357">
                  <c:v>18.152000000000001</c:v>
                </c:pt>
                <c:pt idx="358">
                  <c:v>18.2316</c:v>
                </c:pt>
                <c:pt idx="359">
                  <c:v>18.695399999999999</c:v>
                </c:pt>
                <c:pt idx="360">
                  <c:v>18.631699999999999</c:v>
                </c:pt>
                <c:pt idx="361">
                  <c:v>18.623799999999999</c:v>
                </c:pt>
                <c:pt idx="362">
                  <c:v>18.6934</c:v>
                </c:pt>
                <c:pt idx="363">
                  <c:v>18.717300000000002</c:v>
                </c:pt>
                <c:pt idx="364">
                  <c:v>18.840699999999998</c:v>
                </c:pt>
                <c:pt idx="365">
                  <c:v>19.750499999999999</c:v>
                </c:pt>
                <c:pt idx="366">
                  <c:v>20.1386</c:v>
                </c:pt>
                <c:pt idx="367">
                  <c:v>20.4193</c:v>
                </c:pt>
                <c:pt idx="368">
                  <c:v>21.458400000000001</c:v>
                </c:pt>
                <c:pt idx="369">
                  <c:v>20.031099999999999</c:v>
                </c:pt>
                <c:pt idx="370">
                  <c:v>20.5566</c:v>
                </c:pt>
                <c:pt idx="371">
                  <c:v>21.068200000000001</c:v>
                </c:pt>
                <c:pt idx="372">
                  <c:v>21.263300000000001</c:v>
                </c:pt>
                <c:pt idx="373">
                  <c:v>21.4345</c:v>
                </c:pt>
                <c:pt idx="374">
                  <c:v>21.494199999999999</c:v>
                </c:pt>
                <c:pt idx="375">
                  <c:v>21.470300000000002</c:v>
                </c:pt>
                <c:pt idx="376">
                  <c:v>21.462399999999999</c:v>
                </c:pt>
                <c:pt idx="377">
                  <c:v>21.55</c:v>
                </c:pt>
                <c:pt idx="378">
                  <c:v>21.788799999999998</c:v>
                </c:pt>
                <c:pt idx="379">
                  <c:v>22.011800000000001</c:v>
                </c:pt>
                <c:pt idx="380">
                  <c:v>22.129200000000001</c:v>
                </c:pt>
                <c:pt idx="381">
                  <c:v>22.192900000000002</c:v>
                </c:pt>
                <c:pt idx="382">
                  <c:v>22.087399999999999</c:v>
                </c:pt>
                <c:pt idx="383">
                  <c:v>22.025700000000001</c:v>
                </c:pt>
                <c:pt idx="384">
                  <c:v>22.6906</c:v>
                </c:pt>
                <c:pt idx="385">
                  <c:v>23.351400000000002</c:v>
                </c:pt>
                <c:pt idx="386">
                  <c:v>23.4848</c:v>
                </c:pt>
                <c:pt idx="387">
                  <c:v>23.729700000000001</c:v>
                </c:pt>
                <c:pt idx="388">
                  <c:v>23.592300000000002</c:v>
                </c:pt>
                <c:pt idx="389">
                  <c:v>23.879000000000001</c:v>
                </c:pt>
                <c:pt idx="390">
                  <c:v>26.941600000000001</c:v>
                </c:pt>
                <c:pt idx="391">
                  <c:v>26.909524999999995</c:v>
                </c:pt>
                <c:pt idx="392">
                  <c:v>26.627450000000003</c:v>
                </c:pt>
                <c:pt idx="393">
                  <c:v>26.739325000000001</c:v>
                </c:pt>
                <c:pt idx="394">
                  <c:v>27.452550000000002</c:v>
                </c:pt>
                <c:pt idx="395">
                  <c:v>27.486324999999997</c:v>
                </c:pt>
                <c:pt idx="396">
                  <c:v>29.023050000000001</c:v>
                </c:pt>
                <c:pt idx="397">
                  <c:v>26.448725</c:v>
                </c:pt>
                <c:pt idx="398">
                  <c:v>26.539000000000001</c:v>
                </c:pt>
                <c:pt idx="399">
                  <c:v>26.674274999999998</c:v>
                </c:pt>
                <c:pt idx="400">
                  <c:v>27.225275000000003</c:v>
                </c:pt>
                <c:pt idx="401">
                  <c:v>27.6111</c:v>
                </c:pt>
                <c:pt idx="402">
                  <c:v>27.495674999999999</c:v>
                </c:pt>
                <c:pt idx="403">
                  <c:v>27.752725000000002</c:v>
                </c:pt>
                <c:pt idx="404">
                  <c:v>28.122699999999998</c:v>
                </c:pt>
                <c:pt idx="405">
                  <c:v>28.240850000000002</c:v>
                </c:pt>
                <c:pt idx="406">
                  <c:v>28.528950000000002</c:v>
                </c:pt>
                <c:pt idx="407">
                  <c:v>28.66</c:v>
                </c:pt>
                <c:pt idx="408">
                  <c:v>28.863299999999999</c:v>
                </c:pt>
                <c:pt idx="409">
                  <c:v>28.967275000000001</c:v>
                </c:pt>
                <c:pt idx="410">
                  <c:v>28.778600000000001</c:v>
                </c:pt>
                <c:pt idx="411">
                  <c:v>29.003775000000001</c:v>
                </c:pt>
                <c:pt idx="412">
                  <c:v>28.402100000000001</c:v>
                </c:pt>
                <c:pt idx="413">
                  <c:v>28.210850000000001</c:v>
                </c:pt>
                <c:pt idx="414">
                  <c:v>28.150024999999999</c:v>
                </c:pt>
                <c:pt idx="415">
                  <c:v>27.924950000000003</c:v>
                </c:pt>
                <c:pt idx="416">
                  <c:v>28.177824999999999</c:v>
                </c:pt>
                <c:pt idx="417">
                  <c:v>28.247875000000001</c:v>
                </c:pt>
                <c:pt idx="418">
                  <c:v>28.368249999999996</c:v>
                </c:pt>
                <c:pt idx="419">
                  <c:v>28.151675000000001</c:v>
                </c:pt>
                <c:pt idx="420">
                  <c:v>28.199475</c:v>
                </c:pt>
                <c:pt idx="421">
                  <c:v>28.41995</c:v>
                </c:pt>
                <c:pt idx="422">
                  <c:v>29.149125000000002</c:v>
                </c:pt>
                <c:pt idx="423">
                  <c:v>29.385375</c:v>
                </c:pt>
                <c:pt idx="424">
                  <c:v>29.13485</c:v>
                </c:pt>
                <c:pt idx="425">
                  <c:v>29.142949999999999</c:v>
                </c:pt>
                <c:pt idx="426">
                  <c:v>29.430975000000004</c:v>
                </c:pt>
                <c:pt idx="427">
                  <c:v>31.044025000000001</c:v>
                </c:pt>
                <c:pt idx="428">
                  <c:v>31.116050000000001</c:v>
                </c:pt>
                <c:pt idx="429">
                  <c:v>30.745075</c:v>
                </c:pt>
                <c:pt idx="430">
                  <c:v>30.953900000000004</c:v>
                </c:pt>
                <c:pt idx="431">
                  <c:v>30.723399999999998</c:v>
                </c:pt>
                <c:pt idx="432">
                  <c:v>29.827349999999999</c:v>
                </c:pt>
                <c:pt idx="433">
                  <c:v>29.734524999999998</c:v>
                </c:pt>
                <c:pt idx="434">
                  <c:v>30.183399999999999</c:v>
                </c:pt>
                <c:pt idx="435">
                  <c:v>30.412624999999998</c:v>
                </c:pt>
                <c:pt idx="436">
                  <c:v>29.899175</c:v>
                </c:pt>
                <c:pt idx="437">
                  <c:v>29.733249999999998</c:v>
                </c:pt>
                <c:pt idx="438">
                  <c:v>28.957624999999997</c:v>
                </c:pt>
                <c:pt idx="439">
                  <c:v>28.867149999999999</c:v>
                </c:pt>
                <c:pt idx="440">
                  <c:v>28.679050000000004</c:v>
                </c:pt>
                <c:pt idx="441">
                  <c:v>28.601925000000001</c:v>
                </c:pt>
                <c:pt idx="442">
                  <c:v>28.790074999999998</c:v>
                </c:pt>
                <c:pt idx="443">
                  <c:v>28.591050000000003</c:v>
                </c:pt>
                <c:pt idx="444">
                  <c:v>28.528424999999999</c:v>
                </c:pt>
                <c:pt idx="445">
                  <c:v>28.459350000000001</c:v>
                </c:pt>
                <c:pt idx="446">
                  <c:v>29.065199999999997</c:v>
                </c:pt>
                <c:pt idx="447">
                  <c:v>29.477125000000001</c:v>
                </c:pt>
                <c:pt idx="448">
                  <c:v>29.829725000000003</c:v>
                </c:pt>
                <c:pt idx="449">
                  <c:v>29.108825000000003</c:v>
                </c:pt>
                <c:pt idx="450">
                  <c:v>28.737925000000004</c:v>
                </c:pt>
                <c:pt idx="451">
                  <c:v>29.929550000000003</c:v>
                </c:pt>
                <c:pt idx="452">
                  <c:v>21.024550000000005</c:v>
                </c:pt>
                <c:pt idx="453">
                  <c:v>21.045725000000001</c:v>
                </c:pt>
                <c:pt idx="454">
                  <c:v>20.777675000000002</c:v>
                </c:pt>
                <c:pt idx="455">
                  <c:v>20.507875000000002</c:v>
                </c:pt>
                <c:pt idx="456">
                  <c:v>20.341700000000003</c:v>
                </c:pt>
                <c:pt idx="457">
                  <c:v>20.2315</c:v>
                </c:pt>
                <c:pt idx="458">
                  <c:v>20.510825000000001</c:v>
                </c:pt>
                <c:pt idx="459">
                  <c:v>20.350250000000003</c:v>
                </c:pt>
                <c:pt idx="460">
                  <c:v>20.273400000000002</c:v>
                </c:pt>
                <c:pt idx="461">
                  <c:v>20.471249999999998</c:v>
                </c:pt>
                <c:pt idx="462">
                  <c:v>20.884699999999999</c:v>
                </c:pt>
                <c:pt idx="463">
                  <c:v>20.329174999999999</c:v>
                </c:pt>
                <c:pt idx="464">
                  <c:v>20.806000000000001</c:v>
                </c:pt>
                <c:pt idx="465">
                  <c:v>21.670774999999999</c:v>
                </c:pt>
                <c:pt idx="466">
                  <c:v>21.698225000000001</c:v>
                </c:pt>
                <c:pt idx="467">
                  <c:v>21.407625000000003</c:v>
                </c:pt>
                <c:pt idx="468">
                  <c:v>21.743975000000002</c:v>
                </c:pt>
                <c:pt idx="469">
                  <c:v>22.057125000000003</c:v>
                </c:pt>
                <c:pt idx="470">
                  <c:v>22.057175000000001</c:v>
                </c:pt>
                <c:pt idx="471">
                  <c:v>21.871524999999998</c:v>
                </c:pt>
                <c:pt idx="472">
                  <c:v>22.05735</c:v>
                </c:pt>
                <c:pt idx="473">
                  <c:v>21.930275000000002</c:v>
                </c:pt>
                <c:pt idx="474">
                  <c:v>22.493675</c:v>
                </c:pt>
                <c:pt idx="475">
                  <c:v>22.927424999999999</c:v>
                </c:pt>
                <c:pt idx="476">
                  <c:v>22.231649999999998</c:v>
                </c:pt>
                <c:pt idx="477">
                  <c:v>21.021925</c:v>
                </c:pt>
                <c:pt idx="478">
                  <c:v>21.977250000000002</c:v>
                </c:pt>
                <c:pt idx="479">
                  <c:v>22.382200000000001</c:v>
                </c:pt>
                <c:pt idx="480">
                  <c:v>22.46255</c:v>
                </c:pt>
                <c:pt idx="481">
                  <c:v>22.61525</c:v>
                </c:pt>
                <c:pt idx="482">
                  <c:v>23.671300000000002</c:v>
                </c:pt>
                <c:pt idx="483">
                  <c:v>24.954425000000001</c:v>
                </c:pt>
                <c:pt idx="484">
                  <c:v>24.77515</c:v>
                </c:pt>
                <c:pt idx="485">
                  <c:v>25.051075000000001</c:v>
                </c:pt>
                <c:pt idx="486">
                  <c:v>24.876525000000001</c:v>
                </c:pt>
                <c:pt idx="487">
                  <c:v>24.859875000000002</c:v>
                </c:pt>
                <c:pt idx="488">
                  <c:v>25.381100000000004</c:v>
                </c:pt>
                <c:pt idx="489">
                  <c:v>25.764624999999999</c:v>
                </c:pt>
                <c:pt idx="490">
                  <c:v>26.184124999999998</c:v>
                </c:pt>
                <c:pt idx="491">
                  <c:v>26.864125000000001</c:v>
                </c:pt>
                <c:pt idx="492">
                  <c:v>26.419350000000001</c:v>
                </c:pt>
                <c:pt idx="493">
                  <c:v>27.637725</c:v>
                </c:pt>
                <c:pt idx="494">
                  <c:v>28.794924999999999</c:v>
                </c:pt>
                <c:pt idx="495">
                  <c:v>29.189699999999998</c:v>
                </c:pt>
                <c:pt idx="496">
                  <c:v>29.4206</c:v>
                </c:pt>
                <c:pt idx="497">
                  <c:v>29.061824999999999</c:v>
                </c:pt>
                <c:pt idx="498">
                  <c:v>29.06785</c:v>
                </c:pt>
                <c:pt idx="499">
                  <c:v>29.216350000000006</c:v>
                </c:pt>
                <c:pt idx="500">
                  <c:v>29.843924999999999</c:v>
                </c:pt>
                <c:pt idx="501">
                  <c:v>29.571349999999999</c:v>
                </c:pt>
                <c:pt idx="502">
                  <c:v>29.110050000000001</c:v>
                </c:pt>
                <c:pt idx="503">
                  <c:v>28.950299999999999</c:v>
                </c:pt>
                <c:pt idx="504">
                  <c:v>29.282174999999999</c:v>
                </c:pt>
                <c:pt idx="505">
                  <c:v>29.327775000000003</c:v>
                </c:pt>
                <c:pt idx="506">
                  <c:v>30.053649999999998</c:v>
                </c:pt>
                <c:pt idx="507">
                  <c:v>30.176024999999999</c:v>
                </c:pt>
                <c:pt idx="508">
                  <c:v>30.338775000000002</c:v>
                </c:pt>
                <c:pt idx="509">
                  <c:v>29.430475000000001</c:v>
                </c:pt>
                <c:pt idx="510">
                  <c:v>29.769224999999999</c:v>
                </c:pt>
                <c:pt idx="511">
                  <c:v>28.518174999999999</c:v>
                </c:pt>
                <c:pt idx="512">
                  <c:v>27.332900000000002</c:v>
                </c:pt>
              </c:numCache>
            </c:numRef>
          </c:val>
          <c:smooth val="0"/>
          <c:extLst>
            <c:ext xmlns:c16="http://schemas.microsoft.com/office/drawing/2014/chart" uri="{C3380CC4-5D6E-409C-BE32-E72D297353CC}">
              <c16:uniqueId val="{00000000-68FA-42D7-A4B4-4953E7D6FB3A}"/>
            </c:ext>
          </c:extLst>
        </c:ser>
        <c:dLbls>
          <c:showLegendKey val="0"/>
          <c:showVal val="0"/>
          <c:showCatName val="0"/>
          <c:showSerName val="0"/>
          <c:showPercent val="0"/>
          <c:showBubbleSize val="0"/>
        </c:dLbls>
        <c:smooth val="0"/>
        <c:axId val="1371438047"/>
        <c:axId val="1371438527"/>
      </c:lineChart>
      <c:dateAx>
        <c:axId val="1371438047"/>
        <c:scaling>
          <c:orientation val="minMax"/>
        </c:scaling>
        <c:delete val="0"/>
        <c:axPos val="b"/>
        <c:numFmt formatCode="yyyy"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71438527"/>
        <c:crosses val="autoZero"/>
        <c:auto val="1"/>
        <c:lblOffset val="100"/>
        <c:baseTimeUnit val="days"/>
        <c:majorUnit val="1"/>
        <c:majorTimeUnit val="years"/>
      </c:dateAx>
      <c:valAx>
        <c:axId val="1371438527"/>
        <c:scaling>
          <c:orientation val="minMax"/>
          <c:max val="60"/>
        </c:scaling>
        <c:delete val="1"/>
        <c:axPos val="l"/>
        <c:numFmt formatCode="General" sourceLinked="1"/>
        <c:majorTickMark val="none"/>
        <c:minorTickMark val="none"/>
        <c:tickLblPos val="nextTo"/>
        <c:crossAx val="13714380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1544210947141543"/>
          <c:y val="5.2860454943132108E-2"/>
          <c:w val="0.30289061549425528"/>
          <c:h val="0.76227471566054239"/>
        </c:manualLayout>
      </c:layout>
      <c:doughnut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B5AD-4BA1-855A-58B37D1D51C9}"/>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2-B5AD-4BA1-855A-58B37D1D51C9}"/>
              </c:ext>
            </c:extLst>
          </c:dPt>
          <c:dLbls>
            <c:dLbl>
              <c:idx val="0"/>
              <c:layout>
                <c:manualLayout>
                  <c:x val="0.1105113764752915"/>
                  <c:y val="-3.88888888888888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5AD-4BA1-855A-58B37D1D51C9}"/>
                </c:ext>
              </c:extLst>
            </c:dLbl>
            <c:dLbl>
              <c:idx val="1"/>
              <c:layout>
                <c:manualLayout>
                  <c:x val="-7.3059360730593645E-2"/>
                  <c:y val="5.555555555555555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5AD-4BA1-855A-58B37D1D51C9}"/>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extLst>
          </c:dLbls>
          <c:cat>
            <c:strRef>
              <c:f>Sheet1!$A$2:$A$3</c:f>
              <c:strCache>
                <c:ptCount val="2"/>
                <c:pt idx="0">
                  <c:v>PE</c:v>
                </c:pt>
                <c:pt idx="1">
                  <c:v>ECM</c:v>
                </c:pt>
              </c:strCache>
            </c:strRef>
          </c:cat>
          <c:val>
            <c:numRef>
              <c:f>Sheet1!$B$2:$B$3</c:f>
              <c:numCache>
                <c:formatCode>0%</c:formatCode>
                <c:ptCount val="2"/>
                <c:pt idx="0">
                  <c:v>0.38</c:v>
                </c:pt>
                <c:pt idx="1">
                  <c:v>0.62</c:v>
                </c:pt>
              </c:numCache>
            </c:numRef>
          </c:val>
          <c:extLst>
            <c:ext xmlns:c16="http://schemas.microsoft.com/office/drawing/2014/chart" uri="{C3380CC4-5D6E-409C-BE32-E72D297353CC}">
              <c16:uniqueId val="{00000000-B5AD-4BA1-855A-58B37D1D51C9}"/>
            </c:ext>
          </c:extLst>
        </c:ser>
        <c:dLbls>
          <c:showLegendKey val="0"/>
          <c:showVal val="1"/>
          <c:showCatName val="0"/>
          <c:showSerName val="0"/>
          <c:showPercent val="0"/>
          <c:showBubbleSize val="0"/>
          <c:showLeaderLines val="0"/>
        </c:dLbls>
        <c:firstSliceAng val="0"/>
        <c:holeSize val="55"/>
      </c:doughnutChart>
      <c:spPr>
        <a:noFill/>
        <a:ln>
          <a:noFill/>
        </a:ln>
        <a:effectLst/>
      </c:spPr>
    </c:plotArea>
    <c:legend>
      <c:legendPos val="b"/>
      <c:layout>
        <c:manualLayout>
          <c:xMode val="edge"/>
          <c:yMode val="edge"/>
          <c:x val="0.36092419738923365"/>
          <c:y val="0.84577340332458428"/>
          <c:w val="0.17385739861987451"/>
          <c:h val="0.1208932633420822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984035517870181"/>
          <c:y val="6.3528802467639672E-2"/>
          <c:w val="0.32173859572036945"/>
          <c:h val="0.82250006287999522"/>
        </c:manualLayout>
      </c:layout>
      <c:doughnutChart>
        <c:varyColors val="1"/>
        <c:dLbls>
          <c:showLegendKey val="0"/>
          <c:showVal val="1"/>
          <c:showCatName val="0"/>
          <c:showSerName val="0"/>
          <c:showPercent val="0"/>
          <c:showBubbleSize val="0"/>
          <c:showLeaderLines val="0"/>
        </c:dLbls>
        <c:firstSliceAng val="0"/>
        <c:holeSize val="5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676127296054071E-2"/>
          <c:y val="0.19041083926989633"/>
          <c:w val="0.90064774540789183"/>
          <c:h val="0.56949704380028365"/>
        </c:manualLayout>
      </c:layout>
      <c:barChart>
        <c:barDir val="col"/>
        <c:grouping val="clustered"/>
        <c:varyColors val="0"/>
        <c:ser>
          <c:idx val="0"/>
          <c:order val="0"/>
          <c:tx>
            <c:strRef>
              <c:f>Sheet1!$B$1</c:f>
              <c:strCache>
                <c:ptCount val="1"/>
                <c:pt idx="0">
                  <c:v>Private Equity Investmen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FY 27 - FY 29</c:v>
                </c:pt>
              </c:strCache>
            </c:strRef>
          </c:cat>
          <c:val>
            <c:numRef>
              <c:f>Sheet1!$B$2:$B$2</c:f>
              <c:numCache>
                <c:formatCode>_ * #,##0_ ;_ * \-#,##0_ ;_ * "-"??_ ;_ @_ </c:formatCode>
                <c:ptCount val="1"/>
                <c:pt idx="0">
                  <c:v>36472.537162900539</c:v>
                </c:pt>
              </c:numCache>
            </c:numRef>
          </c:val>
          <c:extLst>
            <c:ext xmlns:c16="http://schemas.microsoft.com/office/drawing/2014/chart" uri="{C3380CC4-5D6E-409C-BE32-E72D297353CC}">
              <c16:uniqueId val="{00000000-5C33-4311-9426-F45799F93E52}"/>
            </c:ext>
          </c:extLst>
        </c:ser>
        <c:dLbls>
          <c:dLblPos val="outEnd"/>
          <c:showLegendKey val="0"/>
          <c:showVal val="1"/>
          <c:showCatName val="0"/>
          <c:showSerName val="0"/>
          <c:showPercent val="0"/>
          <c:showBubbleSize val="0"/>
        </c:dLbls>
        <c:gapWidth val="219"/>
        <c:overlap val="-27"/>
        <c:axId val="1062843760"/>
        <c:axId val="1062835600"/>
      </c:barChart>
      <c:catAx>
        <c:axId val="106284376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62835600"/>
        <c:crosses val="autoZero"/>
        <c:auto val="1"/>
        <c:lblAlgn val="ctr"/>
        <c:lblOffset val="100"/>
        <c:noMultiLvlLbl val="0"/>
      </c:catAx>
      <c:valAx>
        <c:axId val="1062835600"/>
        <c:scaling>
          <c:orientation val="minMax"/>
        </c:scaling>
        <c:delete val="1"/>
        <c:axPos val="l"/>
        <c:numFmt formatCode="_ * #,##0_ ;_ * \-#,##0_ ;_ * &quot;-&quot;??_ ;_ @_ " sourceLinked="1"/>
        <c:majorTickMark val="out"/>
        <c:minorTickMark val="none"/>
        <c:tickLblPos val="nextTo"/>
        <c:crossAx val="106284376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676127296054071E-2"/>
          <c:y val="0"/>
          <c:w val="0.90064774540789183"/>
          <c:h val="0.74898050581710751"/>
        </c:manualLayout>
      </c:layout>
      <c:barChart>
        <c:barDir val="col"/>
        <c:grouping val="clustered"/>
        <c:varyColors val="0"/>
        <c:ser>
          <c:idx val="0"/>
          <c:order val="0"/>
          <c:tx>
            <c:strRef>
              <c:f>Sheet1!$B$1</c:f>
              <c:strCache>
                <c:ptCount val="1"/>
                <c:pt idx="0">
                  <c:v>ECM Valu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FY 27 - FY 29</c:v>
                </c:pt>
              </c:strCache>
            </c:strRef>
          </c:cat>
          <c:val>
            <c:numRef>
              <c:f>Sheet1!$B$2:$B$2</c:f>
              <c:numCache>
                <c:formatCode>_ * #,##0_ ;_ * \-#,##0_ ;_ * "-"??_ ;_ @_ </c:formatCode>
                <c:ptCount val="1"/>
                <c:pt idx="0">
                  <c:v>59030.869074265116</c:v>
                </c:pt>
              </c:numCache>
            </c:numRef>
          </c:val>
          <c:extLst>
            <c:ext xmlns:c16="http://schemas.microsoft.com/office/drawing/2014/chart" uri="{C3380CC4-5D6E-409C-BE32-E72D297353CC}">
              <c16:uniqueId val="{00000000-DECD-40A3-9844-1B2FC4045CBE}"/>
            </c:ext>
          </c:extLst>
        </c:ser>
        <c:dLbls>
          <c:dLblPos val="outEnd"/>
          <c:showLegendKey val="0"/>
          <c:showVal val="1"/>
          <c:showCatName val="0"/>
          <c:showSerName val="0"/>
          <c:showPercent val="0"/>
          <c:showBubbleSize val="0"/>
        </c:dLbls>
        <c:gapWidth val="219"/>
        <c:overlap val="-27"/>
        <c:axId val="1062843760"/>
        <c:axId val="1062835600"/>
      </c:barChart>
      <c:catAx>
        <c:axId val="106284376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62835600"/>
        <c:crosses val="autoZero"/>
        <c:auto val="1"/>
        <c:lblAlgn val="ctr"/>
        <c:lblOffset val="100"/>
        <c:noMultiLvlLbl val="0"/>
      </c:catAx>
      <c:valAx>
        <c:axId val="1062835600"/>
        <c:scaling>
          <c:orientation val="minMax"/>
        </c:scaling>
        <c:delete val="1"/>
        <c:axPos val="l"/>
        <c:numFmt formatCode="_ * #,##0_ ;_ * \-#,##0_ ;_ * &quot;-&quot;??_ ;_ @_ " sourceLinked="1"/>
        <c:majorTickMark val="out"/>
        <c:minorTickMark val="none"/>
        <c:tickLblPos val="nextTo"/>
        <c:crossAx val="1062843760"/>
        <c:crosses val="autoZero"/>
        <c:crossBetween val="between"/>
        <c:majorUnit val="10000"/>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676127296054071E-2"/>
          <c:y val="0.19041083926989633"/>
          <c:w val="0.90064774540789183"/>
          <c:h val="0.55856966654721119"/>
        </c:manualLayout>
      </c:layout>
      <c:barChart>
        <c:barDir val="col"/>
        <c:grouping val="clustered"/>
        <c:varyColors val="0"/>
        <c:ser>
          <c:idx val="0"/>
          <c:order val="0"/>
          <c:tx>
            <c:strRef>
              <c:f>Sheet1!$B$1</c:f>
              <c:strCache>
                <c:ptCount val="1"/>
                <c:pt idx="0">
                  <c:v>Private Equity Investmen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FY 27 - FY 29</c:v>
                </c:pt>
              </c:strCache>
            </c:strRef>
          </c:cat>
          <c:val>
            <c:numRef>
              <c:f>Sheet1!$B$2:$B$2</c:f>
              <c:numCache>
                <c:formatCode>_ * #,##0_ ;_ * \-#,##0_ ;_ * "-"??_ ;_ @_ </c:formatCode>
                <c:ptCount val="1"/>
                <c:pt idx="0">
                  <c:v>11637</c:v>
                </c:pt>
              </c:numCache>
            </c:numRef>
          </c:val>
          <c:extLst>
            <c:ext xmlns:c16="http://schemas.microsoft.com/office/drawing/2014/chart" uri="{C3380CC4-5D6E-409C-BE32-E72D297353CC}">
              <c16:uniqueId val="{00000000-1D47-408E-9EC9-90F52B5FDE18}"/>
            </c:ext>
          </c:extLst>
        </c:ser>
        <c:dLbls>
          <c:dLblPos val="outEnd"/>
          <c:showLegendKey val="0"/>
          <c:showVal val="1"/>
          <c:showCatName val="0"/>
          <c:showSerName val="0"/>
          <c:showPercent val="0"/>
          <c:showBubbleSize val="0"/>
        </c:dLbls>
        <c:gapWidth val="219"/>
        <c:overlap val="-27"/>
        <c:axId val="1062843760"/>
        <c:axId val="1062835600"/>
      </c:barChart>
      <c:catAx>
        <c:axId val="10628437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62835600"/>
        <c:crosses val="autoZero"/>
        <c:auto val="1"/>
        <c:lblAlgn val="ctr"/>
        <c:lblOffset val="100"/>
        <c:noMultiLvlLbl val="0"/>
      </c:catAx>
      <c:valAx>
        <c:axId val="1062835600"/>
        <c:scaling>
          <c:orientation val="minMax"/>
        </c:scaling>
        <c:delete val="1"/>
        <c:axPos val="l"/>
        <c:numFmt formatCode="_ * #,##0_ ;_ * \-#,##0_ ;_ * &quot;-&quot;??_ ;_ @_ " sourceLinked="1"/>
        <c:majorTickMark val="none"/>
        <c:minorTickMark val="none"/>
        <c:tickLblPos val="nextTo"/>
        <c:crossAx val="106284376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676127296054071E-2"/>
          <c:y val="0.19041083926989633"/>
          <c:w val="0.90064774540789183"/>
          <c:h val="0.56403335517374742"/>
        </c:manualLayout>
      </c:layout>
      <c:barChart>
        <c:barDir val="col"/>
        <c:grouping val="clustered"/>
        <c:varyColors val="0"/>
        <c:ser>
          <c:idx val="0"/>
          <c:order val="0"/>
          <c:tx>
            <c:strRef>
              <c:f>Sheet1!$B$1</c:f>
              <c:strCache>
                <c:ptCount val="1"/>
                <c:pt idx="0">
                  <c:v>ECM Valu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FY 27 - FY 29</c:v>
                </c:pt>
              </c:strCache>
            </c:strRef>
          </c:cat>
          <c:val>
            <c:numRef>
              <c:f>Sheet1!$B$2:$B$2</c:f>
              <c:numCache>
                <c:formatCode>_ * #,##0_ ;_ * \-#,##0_ ;_ * "-"??_ ;_ @_ </c:formatCode>
                <c:ptCount val="1"/>
                <c:pt idx="0">
                  <c:v>13479</c:v>
                </c:pt>
              </c:numCache>
            </c:numRef>
          </c:val>
          <c:extLst>
            <c:ext xmlns:c16="http://schemas.microsoft.com/office/drawing/2014/chart" uri="{C3380CC4-5D6E-409C-BE32-E72D297353CC}">
              <c16:uniqueId val="{00000000-E53B-4A3C-8182-7C132032B11B}"/>
            </c:ext>
          </c:extLst>
        </c:ser>
        <c:dLbls>
          <c:dLblPos val="outEnd"/>
          <c:showLegendKey val="0"/>
          <c:showVal val="1"/>
          <c:showCatName val="0"/>
          <c:showSerName val="0"/>
          <c:showPercent val="0"/>
          <c:showBubbleSize val="0"/>
        </c:dLbls>
        <c:gapWidth val="219"/>
        <c:overlap val="-27"/>
        <c:axId val="1062843760"/>
        <c:axId val="1062835600"/>
      </c:barChart>
      <c:catAx>
        <c:axId val="10628437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62835600"/>
        <c:crosses val="autoZero"/>
        <c:auto val="1"/>
        <c:lblAlgn val="ctr"/>
        <c:lblOffset val="100"/>
        <c:noMultiLvlLbl val="0"/>
      </c:catAx>
      <c:valAx>
        <c:axId val="1062835600"/>
        <c:scaling>
          <c:orientation val="minMax"/>
        </c:scaling>
        <c:delete val="1"/>
        <c:axPos val="l"/>
        <c:numFmt formatCode="_ * #,##0_ ;_ * \-#,##0_ ;_ * &quot;-&quot;??_ ;_ @_ " sourceLinked="1"/>
        <c:majorTickMark val="none"/>
        <c:minorTickMark val="none"/>
        <c:tickLblPos val="nextTo"/>
        <c:crossAx val="106284376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1544210947141543"/>
          <c:y val="5.2860454943132108E-2"/>
          <c:w val="0.30289061549425528"/>
          <c:h val="0.76227471566054239"/>
        </c:manualLayout>
      </c:layout>
      <c:doughnut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7B32-42B1-A0E5-38F1CDE4BF11}"/>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7B32-42B1-A0E5-38F1CDE4BF11}"/>
              </c:ext>
            </c:extLst>
          </c:dPt>
          <c:dLbls>
            <c:dLbl>
              <c:idx val="0"/>
              <c:layout>
                <c:manualLayout>
                  <c:x val="0.1105113764752915"/>
                  <c:y val="-3.88888888888888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B32-42B1-A0E5-38F1CDE4BF11}"/>
                </c:ext>
              </c:extLst>
            </c:dLbl>
            <c:dLbl>
              <c:idx val="1"/>
              <c:layout>
                <c:manualLayout>
                  <c:x val="-7.3059360730593645E-2"/>
                  <c:y val="5.555555555555555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B32-42B1-A0E5-38F1CDE4BF11}"/>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extLst>
          </c:dLbls>
          <c:cat>
            <c:strRef>
              <c:f>Sheet1!$A$2:$A$3</c:f>
              <c:strCache>
                <c:ptCount val="2"/>
                <c:pt idx="0">
                  <c:v>PE</c:v>
                </c:pt>
                <c:pt idx="1">
                  <c:v>ECM</c:v>
                </c:pt>
              </c:strCache>
            </c:strRef>
          </c:cat>
          <c:val>
            <c:numRef>
              <c:f>Sheet1!$B$2:$B$3</c:f>
              <c:numCache>
                <c:formatCode>0%</c:formatCode>
                <c:ptCount val="2"/>
                <c:pt idx="0">
                  <c:v>0.46</c:v>
                </c:pt>
                <c:pt idx="1">
                  <c:v>0.54</c:v>
                </c:pt>
              </c:numCache>
            </c:numRef>
          </c:val>
          <c:extLst>
            <c:ext xmlns:c16="http://schemas.microsoft.com/office/drawing/2014/chart" uri="{C3380CC4-5D6E-409C-BE32-E72D297353CC}">
              <c16:uniqueId val="{00000004-7B32-42B1-A0E5-38F1CDE4BF11}"/>
            </c:ext>
          </c:extLst>
        </c:ser>
        <c:dLbls>
          <c:showLegendKey val="0"/>
          <c:showVal val="1"/>
          <c:showCatName val="0"/>
          <c:showSerName val="0"/>
          <c:showPercent val="0"/>
          <c:showBubbleSize val="0"/>
          <c:showLeaderLines val="0"/>
        </c:dLbls>
        <c:firstSliceAng val="0"/>
        <c:holeSize val="55"/>
      </c:doughnutChart>
      <c:spPr>
        <a:noFill/>
        <a:ln>
          <a:noFill/>
        </a:ln>
        <a:effectLst/>
      </c:spPr>
    </c:plotArea>
    <c:legend>
      <c:legendPos val="b"/>
      <c:layout>
        <c:manualLayout>
          <c:xMode val="edge"/>
          <c:yMode val="edge"/>
          <c:x val="0.36092419738923365"/>
          <c:y val="0.84577340332458428"/>
          <c:w val="0.17385739861987451"/>
          <c:h val="0.1208932633420822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 Healthcare 3 year Index </c:v>
                </c:pt>
              </c:strCache>
            </c:strRef>
          </c:tx>
          <c:spPr>
            <a:ln w="25400" cap="rnd">
              <a:solidFill>
                <a:schemeClr val="accent1">
                  <a:lumMod val="50000"/>
                </a:schemeClr>
              </a:solidFill>
              <a:round/>
            </a:ln>
            <a:effectLst/>
          </c:spPr>
          <c:marker>
            <c:symbol val="none"/>
          </c:marker>
          <c:cat>
            <c:numRef>
              <c:f>Sheet1!$A$2:$A$891</c:f>
              <c:numCache>
                <c:formatCode>m/d/yyyy</c:formatCode>
                <c:ptCount val="890"/>
                <c:pt idx="0">
                  <c:v>45961</c:v>
                </c:pt>
                <c:pt idx="1">
                  <c:v>45960</c:v>
                </c:pt>
                <c:pt idx="2">
                  <c:v>45959</c:v>
                </c:pt>
                <c:pt idx="3">
                  <c:v>45958</c:v>
                </c:pt>
                <c:pt idx="4">
                  <c:v>45957</c:v>
                </c:pt>
                <c:pt idx="5">
                  <c:v>45954</c:v>
                </c:pt>
                <c:pt idx="6">
                  <c:v>45953</c:v>
                </c:pt>
                <c:pt idx="7">
                  <c:v>45951</c:v>
                </c:pt>
                <c:pt idx="8">
                  <c:v>45950</c:v>
                </c:pt>
                <c:pt idx="9">
                  <c:v>45947</c:v>
                </c:pt>
                <c:pt idx="10">
                  <c:v>45946</c:v>
                </c:pt>
                <c:pt idx="11">
                  <c:v>45945</c:v>
                </c:pt>
                <c:pt idx="12">
                  <c:v>45944</c:v>
                </c:pt>
                <c:pt idx="13">
                  <c:v>45943</c:v>
                </c:pt>
                <c:pt idx="14">
                  <c:v>45940</c:v>
                </c:pt>
                <c:pt idx="15">
                  <c:v>45939</c:v>
                </c:pt>
                <c:pt idx="16">
                  <c:v>45938</c:v>
                </c:pt>
                <c:pt idx="17">
                  <c:v>45937</c:v>
                </c:pt>
                <c:pt idx="18">
                  <c:v>45936</c:v>
                </c:pt>
                <c:pt idx="19">
                  <c:v>45933</c:v>
                </c:pt>
                <c:pt idx="20">
                  <c:v>45931</c:v>
                </c:pt>
                <c:pt idx="21">
                  <c:v>45930</c:v>
                </c:pt>
                <c:pt idx="22">
                  <c:v>45929</c:v>
                </c:pt>
                <c:pt idx="23">
                  <c:v>45926</c:v>
                </c:pt>
                <c:pt idx="24">
                  <c:v>45925</c:v>
                </c:pt>
                <c:pt idx="25">
                  <c:v>45924</c:v>
                </c:pt>
                <c:pt idx="26">
                  <c:v>45923</c:v>
                </c:pt>
                <c:pt idx="27">
                  <c:v>45922</c:v>
                </c:pt>
                <c:pt idx="28">
                  <c:v>45919</c:v>
                </c:pt>
                <c:pt idx="29">
                  <c:v>45918</c:v>
                </c:pt>
                <c:pt idx="30">
                  <c:v>45917</c:v>
                </c:pt>
                <c:pt idx="31">
                  <c:v>45916</c:v>
                </c:pt>
                <c:pt idx="32">
                  <c:v>45915</c:v>
                </c:pt>
                <c:pt idx="33">
                  <c:v>45912</c:v>
                </c:pt>
                <c:pt idx="34">
                  <c:v>45911</c:v>
                </c:pt>
                <c:pt idx="35">
                  <c:v>45910</c:v>
                </c:pt>
                <c:pt idx="36">
                  <c:v>45909</c:v>
                </c:pt>
                <c:pt idx="37">
                  <c:v>45908</c:v>
                </c:pt>
                <c:pt idx="38">
                  <c:v>45905</c:v>
                </c:pt>
                <c:pt idx="39">
                  <c:v>45904</c:v>
                </c:pt>
                <c:pt idx="40">
                  <c:v>45903</c:v>
                </c:pt>
                <c:pt idx="41">
                  <c:v>45902</c:v>
                </c:pt>
                <c:pt idx="42">
                  <c:v>45901</c:v>
                </c:pt>
                <c:pt idx="43">
                  <c:v>45898</c:v>
                </c:pt>
                <c:pt idx="44">
                  <c:v>45897</c:v>
                </c:pt>
                <c:pt idx="45">
                  <c:v>45895</c:v>
                </c:pt>
                <c:pt idx="46">
                  <c:v>45894</c:v>
                </c:pt>
                <c:pt idx="47">
                  <c:v>45891</c:v>
                </c:pt>
                <c:pt idx="48">
                  <c:v>45890</c:v>
                </c:pt>
                <c:pt idx="49">
                  <c:v>45889</c:v>
                </c:pt>
                <c:pt idx="50">
                  <c:v>45888</c:v>
                </c:pt>
                <c:pt idx="51">
                  <c:v>45887</c:v>
                </c:pt>
                <c:pt idx="52">
                  <c:v>45883</c:v>
                </c:pt>
                <c:pt idx="53">
                  <c:v>45882</c:v>
                </c:pt>
                <c:pt idx="54">
                  <c:v>45881</c:v>
                </c:pt>
                <c:pt idx="55">
                  <c:v>45880</c:v>
                </c:pt>
                <c:pt idx="56">
                  <c:v>45877</c:v>
                </c:pt>
                <c:pt idx="57">
                  <c:v>45876</c:v>
                </c:pt>
                <c:pt idx="58">
                  <c:v>45875</c:v>
                </c:pt>
                <c:pt idx="59">
                  <c:v>45874</c:v>
                </c:pt>
                <c:pt idx="60">
                  <c:v>45873</c:v>
                </c:pt>
                <c:pt idx="61">
                  <c:v>45870</c:v>
                </c:pt>
                <c:pt idx="62">
                  <c:v>45869</c:v>
                </c:pt>
                <c:pt idx="63">
                  <c:v>45868</c:v>
                </c:pt>
                <c:pt idx="64">
                  <c:v>45867</c:v>
                </c:pt>
                <c:pt idx="65">
                  <c:v>45866</c:v>
                </c:pt>
                <c:pt idx="66">
                  <c:v>45863</c:v>
                </c:pt>
                <c:pt idx="67">
                  <c:v>45862</c:v>
                </c:pt>
                <c:pt idx="68">
                  <c:v>45861</c:v>
                </c:pt>
                <c:pt idx="69">
                  <c:v>45860</c:v>
                </c:pt>
                <c:pt idx="70">
                  <c:v>45859</c:v>
                </c:pt>
                <c:pt idx="71">
                  <c:v>45856</c:v>
                </c:pt>
                <c:pt idx="72">
                  <c:v>45855</c:v>
                </c:pt>
                <c:pt idx="73">
                  <c:v>45854</c:v>
                </c:pt>
                <c:pt idx="74">
                  <c:v>45853</c:v>
                </c:pt>
                <c:pt idx="75">
                  <c:v>45852</c:v>
                </c:pt>
                <c:pt idx="76">
                  <c:v>45849</c:v>
                </c:pt>
                <c:pt idx="77">
                  <c:v>45848</c:v>
                </c:pt>
                <c:pt idx="78">
                  <c:v>45847</c:v>
                </c:pt>
                <c:pt idx="79">
                  <c:v>45846</c:v>
                </c:pt>
                <c:pt idx="80">
                  <c:v>45845</c:v>
                </c:pt>
                <c:pt idx="81">
                  <c:v>45842</c:v>
                </c:pt>
                <c:pt idx="82">
                  <c:v>45841</c:v>
                </c:pt>
                <c:pt idx="83">
                  <c:v>45840</c:v>
                </c:pt>
                <c:pt idx="84">
                  <c:v>45839</c:v>
                </c:pt>
                <c:pt idx="85">
                  <c:v>45838</c:v>
                </c:pt>
                <c:pt idx="86">
                  <c:v>45835</c:v>
                </c:pt>
                <c:pt idx="87">
                  <c:v>45834</c:v>
                </c:pt>
                <c:pt idx="88">
                  <c:v>45833</c:v>
                </c:pt>
                <c:pt idx="89">
                  <c:v>45832</c:v>
                </c:pt>
                <c:pt idx="90">
                  <c:v>45831</c:v>
                </c:pt>
                <c:pt idx="91">
                  <c:v>45828</c:v>
                </c:pt>
                <c:pt idx="92">
                  <c:v>45827</c:v>
                </c:pt>
                <c:pt idx="93">
                  <c:v>45826</c:v>
                </c:pt>
                <c:pt idx="94">
                  <c:v>45825</c:v>
                </c:pt>
                <c:pt idx="95">
                  <c:v>45824</c:v>
                </c:pt>
                <c:pt idx="96">
                  <c:v>45821</c:v>
                </c:pt>
                <c:pt idx="97">
                  <c:v>45820</c:v>
                </c:pt>
                <c:pt idx="98">
                  <c:v>45819</c:v>
                </c:pt>
                <c:pt idx="99">
                  <c:v>45818</c:v>
                </c:pt>
                <c:pt idx="100">
                  <c:v>45817</c:v>
                </c:pt>
                <c:pt idx="101">
                  <c:v>45814</c:v>
                </c:pt>
                <c:pt idx="102">
                  <c:v>45813</c:v>
                </c:pt>
                <c:pt idx="103">
                  <c:v>45812</c:v>
                </c:pt>
                <c:pt idx="104">
                  <c:v>45811</c:v>
                </c:pt>
                <c:pt idx="105">
                  <c:v>45810</c:v>
                </c:pt>
                <c:pt idx="106">
                  <c:v>45807</c:v>
                </c:pt>
                <c:pt idx="107">
                  <c:v>45806</c:v>
                </c:pt>
                <c:pt idx="108">
                  <c:v>45805</c:v>
                </c:pt>
                <c:pt idx="109">
                  <c:v>45804</c:v>
                </c:pt>
                <c:pt idx="110">
                  <c:v>45803</c:v>
                </c:pt>
                <c:pt idx="111">
                  <c:v>45800</c:v>
                </c:pt>
                <c:pt idx="112">
                  <c:v>45799</c:v>
                </c:pt>
                <c:pt idx="113">
                  <c:v>45798</c:v>
                </c:pt>
                <c:pt idx="114">
                  <c:v>45797</c:v>
                </c:pt>
                <c:pt idx="115">
                  <c:v>45796</c:v>
                </c:pt>
                <c:pt idx="116">
                  <c:v>45793</c:v>
                </c:pt>
                <c:pt idx="117">
                  <c:v>45792</c:v>
                </c:pt>
                <c:pt idx="118">
                  <c:v>45791</c:v>
                </c:pt>
                <c:pt idx="119">
                  <c:v>45790</c:v>
                </c:pt>
                <c:pt idx="120">
                  <c:v>45789</c:v>
                </c:pt>
                <c:pt idx="121">
                  <c:v>45786</c:v>
                </c:pt>
                <c:pt idx="122">
                  <c:v>45785</c:v>
                </c:pt>
                <c:pt idx="123">
                  <c:v>45784</c:v>
                </c:pt>
                <c:pt idx="124">
                  <c:v>45783</c:v>
                </c:pt>
                <c:pt idx="125">
                  <c:v>45782</c:v>
                </c:pt>
                <c:pt idx="126">
                  <c:v>45779</c:v>
                </c:pt>
                <c:pt idx="127">
                  <c:v>45777</c:v>
                </c:pt>
                <c:pt idx="128">
                  <c:v>45776</c:v>
                </c:pt>
                <c:pt idx="129">
                  <c:v>45775</c:v>
                </c:pt>
                <c:pt idx="130">
                  <c:v>45772</c:v>
                </c:pt>
                <c:pt idx="131">
                  <c:v>45771</c:v>
                </c:pt>
                <c:pt idx="132">
                  <c:v>45770</c:v>
                </c:pt>
                <c:pt idx="133">
                  <c:v>45769</c:v>
                </c:pt>
                <c:pt idx="134">
                  <c:v>45768</c:v>
                </c:pt>
                <c:pt idx="135">
                  <c:v>45764</c:v>
                </c:pt>
                <c:pt idx="136">
                  <c:v>45763</c:v>
                </c:pt>
                <c:pt idx="137">
                  <c:v>45762</c:v>
                </c:pt>
                <c:pt idx="138">
                  <c:v>45758</c:v>
                </c:pt>
                <c:pt idx="139">
                  <c:v>45756</c:v>
                </c:pt>
                <c:pt idx="140">
                  <c:v>45755</c:v>
                </c:pt>
                <c:pt idx="141">
                  <c:v>45754</c:v>
                </c:pt>
                <c:pt idx="142">
                  <c:v>45751</c:v>
                </c:pt>
                <c:pt idx="143">
                  <c:v>45750</c:v>
                </c:pt>
                <c:pt idx="144">
                  <c:v>45749</c:v>
                </c:pt>
                <c:pt idx="145">
                  <c:v>45748</c:v>
                </c:pt>
                <c:pt idx="146">
                  <c:v>45744</c:v>
                </c:pt>
                <c:pt idx="147">
                  <c:v>45743</c:v>
                </c:pt>
                <c:pt idx="148">
                  <c:v>45742</c:v>
                </c:pt>
                <c:pt idx="149">
                  <c:v>45741</c:v>
                </c:pt>
                <c:pt idx="150">
                  <c:v>45740</c:v>
                </c:pt>
                <c:pt idx="151">
                  <c:v>45737</c:v>
                </c:pt>
                <c:pt idx="152">
                  <c:v>45736</c:v>
                </c:pt>
                <c:pt idx="153">
                  <c:v>45735</c:v>
                </c:pt>
                <c:pt idx="154">
                  <c:v>45734</c:v>
                </c:pt>
                <c:pt idx="155">
                  <c:v>45733</c:v>
                </c:pt>
                <c:pt idx="156">
                  <c:v>45729</c:v>
                </c:pt>
                <c:pt idx="157">
                  <c:v>45728</c:v>
                </c:pt>
                <c:pt idx="158">
                  <c:v>45727</c:v>
                </c:pt>
                <c:pt idx="159">
                  <c:v>45726</c:v>
                </c:pt>
                <c:pt idx="160">
                  <c:v>45723</c:v>
                </c:pt>
                <c:pt idx="161">
                  <c:v>45722</c:v>
                </c:pt>
                <c:pt idx="162">
                  <c:v>45721</c:v>
                </c:pt>
                <c:pt idx="163">
                  <c:v>45720</c:v>
                </c:pt>
                <c:pt idx="164">
                  <c:v>45719</c:v>
                </c:pt>
                <c:pt idx="165">
                  <c:v>45716</c:v>
                </c:pt>
                <c:pt idx="166">
                  <c:v>45715</c:v>
                </c:pt>
                <c:pt idx="167">
                  <c:v>45713</c:v>
                </c:pt>
                <c:pt idx="168">
                  <c:v>45712</c:v>
                </c:pt>
                <c:pt idx="169">
                  <c:v>45709</c:v>
                </c:pt>
                <c:pt idx="170">
                  <c:v>45708</c:v>
                </c:pt>
                <c:pt idx="171">
                  <c:v>45707</c:v>
                </c:pt>
                <c:pt idx="172">
                  <c:v>45706</c:v>
                </c:pt>
                <c:pt idx="173">
                  <c:v>45705</c:v>
                </c:pt>
                <c:pt idx="174">
                  <c:v>45702</c:v>
                </c:pt>
                <c:pt idx="175">
                  <c:v>45701</c:v>
                </c:pt>
                <c:pt idx="176">
                  <c:v>45700</c:v>
                </c:pt>
                <c:pt idx="177">
                  <c:v>45699</c:v>
                </c:pt>
                <c:pt idx="178">
                  <c:v>45698</c:v>
                </c:pt>
                <c:pt idx="179">
                  <c:v>45695</c:v>
                </c:pt>
                <c:pt idx="180">
                  <c:v>45694</c:v>
                </c:pt>
                <c:pt idx="181">
                  <c:v>45693</c:v>
                </c:pt>
                <c:pt idx="182">
                  <c:v>45692</c:v>
                </c:pt>
                <c:pt idx="183">
                  <c:v>45691</c:v>
                </c:pt>
                <c:pt idx="184">
                  <c:v>45689</c:v>
                </c:pt>
                <c:pt idx="185">
                  <c:v>45688</c:v>
                </c:pt>
                <c:pt idx="186">
                  <c:v>45687</c:v>
                </c:pt>
                <c:pt idx="187">
                  <c:v>45686</c:v>
                </c:pt>
                <c:pt idx="188">
                  <c:v>45685</c:v>
                </c:pt>
                <c:pt idx="189">
                  <c:v>45684</c:v>
                </c:pt>
                <c:pt idx="190">
                  <c:v>45681</c:v>
                </c:pt>
                <c:pt idx="191">
                  <c:v>45680</c:v>
                </c:pt>
                <c:pt idx="192">
                  <c:v>45679</c:v>
                </c:pt>
                <c:pt idx="193">
                  <c:v>45678</c:v>
                </c:pt>
                <c:pt idx="194">
                  <c:v>45677</c:v>
                </c:pt>
                <c:pt idx="195">
                  <c:v>45674</c:v>
                </c:pt>
                <c:pt idx="196">
                  <c:v>45673</c:v>
                </c:pt>
                <c:pt idx="197">
                  <c:v>45672</c:v>
                </c:pt>
                <c:pt idx="198">
                  <c:v>45671</c:v>
                </c:pt>
                <c:pt idx="199">
                  <c:v>45670</c:v>
                </c:pt>
                <c:pt idx="200">
                  <c:v>45667</c:v>
                </c:pt>
                <c:pt idx="201">
                  <c:v>45666</c:v>
                </c:pt>
                <c:pt idx="202">
                  <c:v>45665</c:v>
                </c:pt>
                <c:pt idx="203">
                  <c:v>45664</c:v>
                </c:pt>
                <c:pt idx="204">
                  <c:v>45663</c:v>
                </c:pt>
                <c:pt idx="205">
                  <c:v>45660</c:v>
                </c:pt>
                <c:pt idx="206">
                  <c:v>45659</c:v>
                </c:pt>
                <c:pt idx="207">
                  <c:v>45658</c:v>
                </c:pt>
                <c:pt idx="208">
                  <c:v>45657</c:v>
                </c:pt>
                <c:pt idx="209">
                  <c:v>45656</c:v>
                </c:pt>
                <c:pt idx="210">
                  <c:v>45653</c:v>
                </c:pt>
                <c:pt idx="211">
                  <c:v>45652</c:v>
                </c:pt>
                <c:pt idx="212">
                  <c:v>45650</c:v>
                </c:pt>
                <c:pt idx="213">
                  <c:v>45649</c:v>
                </c:pt>
                <c:pt idx="214">
                  <c:v>45646</c:v>
                </c:pt>
                <c:pt idx="215">
                  <c:v>45645</c:v>
                </c:pt>
                <c:pt idx="216">
                  <c:v>45644</c:v>
                </c:pt>
                <c:pt idx="217">
                  <c:v>45643</c:v>
                </c:pt>
                <c:pt idx="218">
                  <c:v>45642</c:v>
                </c:pt>
                <c:pt idx="219">
                  <c:v>45639</c:v>
                </c:pt>
                <c:pt idx="220">
                  <c:v>45638</c:v>
                </c:pt>
                <c:pt idx="221">
                  <c:v>45637</c:v>
                </c:pt>
                <c:pt idx="222">
                  <c:v>45636</c:v>
                </c:pt>
                <c:pt idx="223">
                  <c:v>45635</c:v>
                </c:pt>
                <c:pt idx="224">
                  <c:v>45632</c:v>
                </c:pt>
                <c:pt idx="225">
                  <c:v>45631</c:v>
                </c:pt>
                <c:pt idx="226">
                  <c:v>45630</c:v>
                </c:pt>
                <c:pt idx="227">
                  <c:v>45629</c:v>
                </c:pt>
                <c:pt idx="228">
                  <c:v>45628</c:v>
                </c:pt>
                <c:pt idx="229">
                  <c:v>45625</c:v>
                </c:pt>
                <c:pt idx="230">
                  <c:v>45624</c:v>
                </c:pt>
                <c:pt idx="231">
                  <c:v>45623</c:v>
                </c:pt>
                <c:pt idx="232">
                  <c:v>45622</c:v>
                </c:pt>
                <c:pt idx="233">
                  <c:v>45621</c:v>
                </c:pt>
                <c:pt idx="234">
                  <c:v>45618</c:v>
                </c:pt>
                <c:pt idx="235">
                  <c:v>45617</c:v>
                </c:pt>
                <c:pt idx="236">
                  <c:v>45615</c:v>
                </c:pt>
                <c:pt idx="237">
                  <c:v>45614</c:v>
                </c:pt>
                <c:pt idx="238">
                  <c:v>45610</c:v>
                </c:pt>
                <c:pt idx="239">
                  <c:v>45609</c:v>
                </c:pt>
                <c:pt idx="240">
                  <c:v>45608</c:v>
                </c:pt>
                <c:pt idx="241">
                  <c:v>45607</c:v>
                </c:pt>
                <c:pt idx="242">
                  <c:v>45604</c:v>
                </c:pt>
                <c:pt idx="243">
                  <c:v>45603</c:v>
                </c:pt>
                <c:pt idx="244">
                  <c:v>45602</c:v>
                </c:pt>
                <c:pt idx="245">
                  <c:v>45601</c:v>
                </c:pt>
                <c:pt idx="246">
                  <c:v>45600</c:v>
                </c:pt>
                <c:pt idx="247">
                  <c:v>45597</c:v>
                </c:pt>
                <c:pt idx="248">
                  <c:v>45596</c:v>
                </c:pt>
                <c:pt idx="249">
                  <c:v>45595</c:v>
                </c:pt>
                <c:pt idx="250">
                  <c:v>45594</c:v>
                </c:pt>
                <c:pt idx="251">
                  <c:v>45593</c:v>
                </c:pt>
                <c:pt idx="252">
                  <c:v>45590</c:v>
                </c:pt>
                <c:pt idx="253">
                  <c:v>45589</c:v>
                </c:pt>
                <c:pt idx="254">
                  <c:v>45588</c:v>
                </c:pt>
                <c:pt idx="255">
                  <c:v>45587</c:v>
                </c:pt>
                <c:pt idx="256">
                  <c:v>45586</c:v>
                </c:pt>
                <c:pt idx="257">
                  <c:v>45583</c:v>
                </c:pt>
                <c:pt idx="258">
                  <c:v>45582</c:v>
                </c:pt>
                <c:pt idx="259">
                  <c:v>45581</c:v>
                </c:pt>
                <c:pt idx="260">
                  <c:v>45580</c:v>
                </c:pt>
                <c:pt idx="261">
                  <c:v>45579</c:v>
                </c:pt>
                <c:pt idx="262">
                  <c:v>45576</c:v>
                </c:pt>
                <c:pt idx="263">
                  <c:v>45575</c:v>
                </c:pt>
                <c:pt idx="264">
                  <c:v>45574</c:v>
                </c:pt>
                <c:pt idx="265">
                  <c:v>45573</c:v>
                </c:pt>
                <c:pt idx="266">
                  <c:v>45572</c:v>
                </c:pt>
                <c:pt idx="267">
                  <c:v>45569</c:v>
                </c:pt>
                <c:pt idx="268">
                  <c:v>45568</c:v>
                </c:pt>
                <c:pt idx="269">
                  <c:v>45566</c:v>
                </c:pt>
                <c:pt idx="270">
                  <c:v>45565</c:v>
                </c:pt>
                <c:pt idx="271">
                  <c:v>45562</c:v>
                </c:pt>
                <c:pt idx="272">
                  <c:v>45561</c:v>
                </c:pt>
                <c:pt idx="273">
                  <c:v>45560</c:v>
                </c:pt>
                <c:pt idx="274">
                  <c:v>45559</c:v>
                </c:pt>
                <c:pt idx="275">
                  <c:v>45558</c:v>
                </c:pt>
                <c:pt idx="276">
                  <c:v>45555</c:v>
                </c:pt>
                <c:pt idx="277">
                  <c:v>45554</c:v>
                </c:pt>
                <c:pt idx="278">
                  <c:v>45553</c:v>
                </c:pt>
                <c:pt idx="279">
                  <c:v>45552</c:v>
                </c:pt>
                <c:pt idx="280">
                  <c:v>45551</c:v>
                </c:pt>
                <c:pt idx="281">
                  <c:v>45548</c:v>
                </c:pt>
                <c:pt idx="282">
                  <c:v>45547</c:v>
                </c:pt>
                <c:pt idx="283">
                  <c:v>45546</c:v>
                </c:pt>
                <c:pt idx="284">
                  <c:v>45545</c:v>
                </c:pt>
                <c:pt idx="285">
                  <c:v>45544</c:v>
                </c:pt>
                <c:pt idx="286">
                  <c:v>45541</c:v>
                </c:pt>
                <c:pt idx="287">
                  <c:v>45540</c:v>
                </c:pt>
                <c:pt idx="288">
                  <c:v>45539</c:v>
                </c:pt>
                <c:pt idx="289">
                  <c:v>45538</c:v>
                </c:pt>
                <c:pt idx="290">
                  <c:v>45537</c:v>
                </c:pt>
                <c:pt idx="291">
                  <c:v>45534</c:v>
                </c:pt>
                <c:pt idx="292">
                  <c:v>45533</c:v>
                </c:pt>
                <c:pt idx="293">
                  <c:v>45532</c:v>
                </c:pt>
                <c:pt idx="294">
                  <c:v>45531</c:v>
                </c:pt>
                <c:pt idx="295">
                  <c:v>45530</c:v>
                </c:pt>
                <c:pt idx="296">
                  <c:v>45527</c:v>
                </c:pt>
                <c:pt idx="297">
                  <c:v>45526</c:v>
                </c:pt>
                <c:pt idx="298">
                  <c:v>45525</c:v>
                </c:pt>
                <c:pt idx="299">
                  <c:v>45524</c:v>
                </c:pt>
                <c:pt idx="300">
                  <c:v>45523</c:v>
                </c:pt>
                <c:pt idx="301">
                  <c:v>45520</c:v>
                </c:pt>
                <c:pt idx="302">
                  <c:v>45518</c:v>
                </c:pt>
                <c:pt idx="303">
                  <c:v>45517</c:v>
                </c:pt>
                <c:pt idx="304">
                  <c:v>45516</c:v>
                </c:pt>
                <c:pt idx="305">
                  <c:v>45513</c:v>
                </c:pt>
                <c:pt idx="306">
                  <c:v>45512</c:v>
                </c:pt>
                <c:pt idx="307">
                  <c:v>45511</c:v>
                </c:pt>
                <c:pt idx="308">
                  <c:v>45510</c:v>
                </c:pt>
                <c:pt idx="309">
                  <c:v>45509</c:v>
                </c:pt>
                <c:pt idx="310">
                  <c:v>45506</c:v>
                </c:pt>
                <c:pt idx="311">
                  <c:v>45505</c:v>
                </c:pt>
                <c:pt idx="312">
                  <c:v>45504</c:v>
                </c:pt>
                <c:pt idx="313">
                  <c:v>45503</c:v>
                </c:pt>
                <c:pt idx="314">
                  <c:v>45502</c:v>
                </c:pt>
                <c:pt idx="315">
                  <c:v>45499</c:v>
                </c:pt>
                <c:pt idx="316">
                  <c:v>45498</c:v>
                </c:pt>
                <c:pt idx="317">
                  <c:v>45497</c:v>
                </c:pt>
                <c:pt idx="318">
                  <c:v>45496</c:v>
                </c:pt>
                <c:pt idx="319">
                  <c:v>45495</c:v>
                </c:pt>
                <c:pt idx="320">
                  <c:v>45492</c:v>
                </c:pt>
                <c:pt idx="321">
                  <c:v>45491</c:v>
                </c:pt>
                <c:pt idx="322">
                  <c:v>45489</c:v>
                </c:pt>
                <c:pt idx="323">
                  <c:v>45488</c:v>
                </c:pt>
                <c:pt idx="324">
                  <c:v>45485</c:v>
                </c:pt>
                <c:pt idx="325">
                  <c:v>45484</c:v>
                </c:pt>
                <c:pt idx="326">
                  <c:v>45483</c:v>
                </c:pt>
                <c:pt idx="327">
                  <c:v>45482</c:v>
                </c:pt>
                <c:pt idx="328">
                  <c:v>45481</c:v>
                </c:pt>
                <c:pt idx="329">
                  <c:v>45478</c:v>
                </c:pt>
                <c:pt idx="330">
                  <c:v>45477</c:v>
                </c:pt>
                <c:pt idx="331">
                  <c:v>45476</c:v>
                </c:pt>
                <c:pt idx="332">
                  <c:v>45475</c:v>
                </c:pt>
                <c:pt idx="333">
                  <c:v>45474</c:v>
                </c:pt>
                <c:pt idx="334">
                  <c:v>45471</c:v>
                </c:pt>
                <c:pt idx="335">
                  <c:v>45470</c:v>
                </c:pt>
                <c:pt idx="336">
                  <c:v>45469</c:v>
                </c:pt>
                <c:pt idx="337">
                  <c:v>45468</c:v>
                </c:pt>
                <c:pt idx="338">
                  <c:v>45467</c:v>
                </c:pt>
                <c:pt idx="339">
                  <c:v>45464</c:v>
                </c:pt>
                <c:pt idx="340">
                  <c:v>45463</c:v>
                </c:pt>
                <c:pt idx="341">
                  <c:v>45462</c:v>
                </c:pt>
                <c:pt idx="342">
                  <c:v>45461</c:v>
                </c:pt>
                <c:pt idx="343">
                  <c:v>45457</c:v>
                </c:pt>
                <c:pt idx="344">
                  <c:v>45456</c:v>
                </c:pt>
                <c:pt idx="345">
                  <c:v>45455</c:v>
                </c:pt>
                <c:pt idx="346">
                  <c:v>45454</c:v>
                </c:pt>
                <c:pt idx="347">
                  <c:v>45453</c:v>
                </c:pt>
                <c:pt idx="348">
                  <c:v>45450</c:v>
                </c:pt>
                <c:pt idx="349">
                  <c:v>45449</c:v>
                </c:pt>
                <c:pt idx="350">
                  <c:v>45448</c:v>
                </c:pt>
                <c:pt idx="351">
                  <c:v>45447</c:v>
                </c:pt>
                <c:pt idx="352">
                  <c:v>45446</c:v>
                </c:pt>
                <c:pt idx="353">
                  <c:v>45443</c:v>
                </c:pt>
                <c:pt idx="354">
                  <c:v>45442</c:v>
                </c:pt>
                <c:pt idx="355">
                  <c:v>45441</c:v>
                </c:pt>
                <c:pt idx="356">
                  <c:v>45440</c:v>
                </c:pt>
                <c:pt idx="357">
                  <c:v>45439</c:v>
                </c:pt>
                <c:pt idx="358">
                  <c:v>45436</c:v>
                </c:pt>
                <c:pt idx="359">
                  <c:v>45435</c:v>
                </c:pt>
                <c:pt idx="360">
                  <c:v>45434</c:v>
                </c:pt>
                <c:pt idx="361">
                  <c:v>45433</c:v>
                </c:pt>
                <c:pt idx="362">
                  <c:v>45430</c:v>
                </c:pt>
                <c:pt idx="363">
                  <c:v>45429</c:v>
                </c:pt>
                <c:pt idx="364">
                  <c:v>45428</c:v>
                </c:pt>
                <c:pt idx="365">
                  <c:v>45427</c:v>
                </c:pt>
                <c:pt idx="366">
                  <c:v>45426</c:v>
                </c:pt>
                <c:pt idx="367">
                  <c:v>45425</c:v>
                </c:pt>
                <c:pt idx="368">
                  <c:v>45422</c:v>
                </c:pt>
                <c:pt idx="369">
                  <c:v>45421</c:v>
                </c:pt>
                <c:pt idx="370">
                  <c:v>45420</c:v>
                </c:pt>
                <c:pt idx="371">
                  <c:v>45419</c:v>
                </c:pt>
                <c:pt idx="372">
                  <c:v>45418</c:v>
                </c:pt>
                <c:pt idx="373">
                  <c:v>45415</c:v>
                </c:pt>
                <c:pt idx="374">
                  <c:v>45414</c:v>
                </c:pt>
                <c:pt idx="375">
                  <c:v>45412</c:v>
                </c:pt>
                <c:pt idx="376">
                  <c:v>45411</c:v>
                </c:pt>
                <c:pt idx="377">
                  <c:v>45408</c:v>
                </c:pt>
                <c:pt idx="378">
                  <c:v>45407</c:v>
                </c:pt>
                <c:pt idx="379">
                  <c:v>45406</c:v>
                </c:pt>
                <c:pt idx="380">
                  <c:v>45405</c:v>
                </c:pt>
                <c:pt idx="381">
                  <c:v>45404</c:v>
                </c:pt>
                <c:pt idx="382">
                  <c:v>45401</c:v>
                </c:pt>
                <c:pt idx="383">
                  <c:v>45400</c:v>
                </c:pt>
                <c:pt idx="384">
                  <c:v>45398</c:v>
                </c:pt>
                <c:pt idx="385">
                  <c:v>45397</c:v>
                </c:pt>
                <c:pt idx="386">
                  <c:v>45394</c:v>
                </c:pt>
                <c:pt idx="387">
                  <c:v>45392</c:v>
                </c:pt>
                <c:pt idx="388">
                  <c:v>45391</c:v>
                </c:pt>
                <c:pt idx="389">
                  <c:v>45390</c:v>
                </c:pt>
                <c:pt idx="390">
                  <c:v>45387</c:v>
                </c:pt>
                <c:pt idx="391">
                  <c:v>45386</c:v>
                </c:pt>
                <c:pt idx="392">
                  <c:v>45385</c:v>
                </c:pt>
                <c:pt idx="393">
                  <c:v>45384</c:v>
                </c:pt>
                <c:pt idx="394">
                  <c:v>45383</c:v>
                </c:pt>
                <c:pt idx="395">
                  <c:v>45379</c:v>
                </c:pt>
                <c:pt idx="396">
                  <c:v>45378</c:v>
                </c:pt>
                <c:pt idx="397">
                  <c:v>45377</c:v>
                </c:pt>
                <c:pt idx="398">
                  <c:v>45373</c:v>
                </c:pt>
                <c:pt idx="399">
                  <c:v>45372</c:v>
                </c:pt>
                <c:pt idx="400">
                  <c:v>45371</c:v>
                </c:pt>
                <c:pt idx="401">
                  <c:v>45370</c:v>
                </c:pt>
                <c:pt idx="402">
                  <c:v>45369</c:v>
                </c:pt>
                <c:pt idx="403">
                  <c:v>45366</c:v>
                </c:pt>
                <c:pt idx="404">
                  <c:v>45365</c:v>
                </c:pt>
                <c:pt idx="405">
                  <c:v>45364</c:v>
                </c:pt>
                <c:pt idx="406">
                  <c:v>45363</c:v>
                </c:pt>
                <c:pt idx="407">
                  <c:v>45362</c:v>
                </c:pt>
                <c:pt idx="408">
                  <c:v>45358</c:v>
                </c:pt>
                <c:pt idx="409">
                  <c:v>45357</c:v>
                </c:pt>
                <c:pt idx="410">
                  <c:v>45356</c:v>
                </c:pt>
                <c:pt idx="411">
                  <c:v>45355</c:v>
                </c:pt>
                <c:pt idx="412">
                  <c:v>45353</c:v>
                </c:pt>
                <c:pt idx="413">
                  <c:v>45352</c:v>
                </c:pt>
                <c:pt idx="414">
                  <c:v>45351</c:v>
                </c:pt>
                <c:pt idx="415">
                  <c:v>45350</c:v>
                </c:pt>
                <c:pt idx="416">
                  <c:v>45349</c:v>
                </c:pt>
                <c:pt idx="417">
                  <c:v>45348</c:v>
                </c:pt>
                <c:pt idx="418">
                  <c:v>45345</c:v>
                </c:pt>
                <c:pt idx="419">
                  <c:v>45344</c:v>
                </c:pt>
                <c:pt idx="420">
                  <c:v>45343</c:v>
                </c:pt>
                <c:pt idx="421">
                  <c:v>45342</c:v>
                </c:pt>
                <c:pt idx="422">
                  <c:v>45341</c:v>
                </c:pt>
                <c:pt idx="423">
                  <c:v>45338</c:v>
                </c:pt>
                <c:pt idx="424">
                  <c:v>45337</c:v>
                </c:pt>
                <c:pt idx="425">
                  <c:v>45336</c:v>
                </c:pt>
                <c:pt idx="426">
                  <c:v>45335</c:v>
                </c:pt>
                <c:pt idx="427">
                  <c:v>45334</c:v>
                </c:pt>
                <c:pt idx="428">
                  <c:v>45331</c:v>
                </c:pt>
                <c:pt idx="429">
                  <c:v>45330</c:v>
                </c:pt>
                <c:pt idx="430">
                  <c:v>45329</c:v>
                </c:pt>
                <c:pt idx="431">
                  <c:v>45328</c:v>
                </c:pt>
                <c:pt idx="432">
                  <c:v>45327</c:v>
                </c:pt>
                <c:pt idx="433">
                  <c:v>45324</c:v>
                </c:pt>
                <c:pt idx="434">
                  <c:v>45323</c:v>
                </c:pt>
                <c:pt idx="435">
                  <c:v>45322</c:v>
                </c:pt>
                <c:pt idx="436">
                  <c:v>45321</c:v>
                </c:pt>
                <c:pt idx="437">
                  <c:v>45320</c:v>
                </c:pt>
                <c:pt idx="438">
                  <c:v>45316</c:v>
                </c:pt>
                <c:pt idx="439">
                  <c:v>45315</c:v>
                </c:pt>
                <c:pt idx="440">
                  <c:v>45314</c:v>
                </c:pt>
                <c:pt idx="441">
                  <c:v>45311</c:v>
                </c:pt>
                <c:pt idx="442">
                  <c:v>45310</c:v>
                </c:pt>
                <c:pt idx="443">
                  <c:v>45309</c:v>
                </c:pt>
                <c:pt idx="444">
                  <c:v>45308</c:v>
                </c:pt>
                <c:pt idx="445">
                  <c:v>45307</c:v>
                </c:pt>
                <c:pt idx="446">
                  <c:v>45306</c:v>
                </c:pt>
                <c:pt idx="447">
                  <c:v>45303</c:v>
                </c:pt>
                <c:pt idx="448">
                  <c:v>45302</c:v>
                </c:pt>
                <c:pt idx="449">
                  <c:v>45301</c:v>
                </c:pt>
                <c:pt idx="450">
                  <c:v>45300</c:v>
                </c:pt>
                <c:pt idx="451">
                  <c:v>45299</c:v>
                </c:pt>
                <c:pt idx="452">
                  <c:v>45296</c:v>
                </c:pt>
                <c:pt idx="453">
                  <c:v>45295</c:v>
                </c:pt>
                <c:pt idx="454">
                  <c:v>45294</c:v>
                </c:pt>
                <c:pt idx="455">
                  <c:v>45293</c:v>
                </c:pt>
                <c:pt idx="456">
                  <c:v>45292</c:v>
                </c:pt>
                <c:pt idx="457">
                  <c:v>45289</c:v>
                </c:pt>
                <c:pt idx="458">
                  <c:v>45288</c:v>
                </c:pt>
                <c:pt idx="459">
                  <c:v>45287</c:v>
                </c:pt>
                <c:pt idx="460">
                  <c:v>45286</c:v>
                </c:pt>
                <c:pt idx="461">
                  <c:v>45282</c:v>
                </c:pt>
                <c:pt idx="462">
                  <c:v>45281</c:v>
                </c:pt>
                <c:pt idx="463">
                  <c:v>45280</c:v>
                </c:pt>
                <c:pt idx="464">
                  <c:v>45279</c:v>
                </c:pt>
                <c:pt idx="465">
                  <c:v>45278</c:v>
                </c:pt>
                <c:pt idx="466">
                  <c:v>45275</c:v>
                </c:pt>
                <c:pt idx="467">
                  <c:v>45274</c:v>
                </c:pt>
                <c:pt idx="468">
                  <c:v>45273</c:v>
                </c:pt>
                <c:pt idx="469">
                  <c:v>45272</c:v>
                </c:pt>
                <c:pt idx="470">
                  <c:v>45271</c:v>
                </c:pt>
                <c:pt idx="471">
                  <c:v>45268</c:v>
                </c:pt>
                <c:pt idx="472">
                  <c:v>45267</c:v>
                </c:pt>
                <c:pt idx="473">
                  <c:v>45266</c:v>
                </c:pt>
                <c:pt idx="474">
                  <c:v>45265</c:v>
                </c:pt>
                <c:pt idx="475">
                  <c:v>45264</c:v>
                </c:pt>
                <c:pt idx="476">
                  <c:v>45261</c:v>
                </c:pt>
                <c:pt idx="477">
                  <c:v>45260</c:v>
                </c:pt>
                <c:pt idx="478">
                  <c:v>45259</c:v>
                </c:pt>
                <c:pt idx="479">
                  <c:v>45258</c:v>
                </c:pt>
                <c:pt idx="480">
                  <c:v>45254</c:v>
                </c:pt>
                <c:pt idx="481">
                  <c:v>45253</c:v>
                </c:pt>
                <c:pt idx="482">
                  <c:v>45252</c:v>
                </c:pt>
                <c:pt idx="483">
                  <c:v>45251</c:v>
                </c:pt>
                <c:pt idx="484">
                  <c:v>45250</c:v>
                </c:pt>
                <c:pt idx="485">
                  <c:v>45247</c:v>
                </c:pt>
                <c:pt idx="486">
                  <c:v>45246</c:v>
                </c:pt>
                <c:pt idx="487">
                  <c:v>45245</c:v>
                </c:pt>
                <c:pt idx="488">
                  <c:v>45243</c:v>
                </c:pt>
                <c:pt idx="489">
                  <c:v>45242</c:v>
                </c:pt>
                <c:pt idx="490">
                  <c:v>45240</c:v>
                </c:pt>
                <c:pt idx="491">
                  <c:v>45239</c:v>
                </c:pt>
                <c:pt idx="492">
                  <c:v>45238</c:v>
                </c:pt>
                <c:pt idx="493">
                  <c:v>45237</c:v>
                </c:pt>
                <c:pt idx="494">
                  <c:v>45236</c:v>
                </c:pt>
                <c:pt idx="495">
                  <c:v>45233</c:v>
                </c:pt>
                <c:pt idx="496">
                  <c:v>45232</c:v>
                </c:pt>
                <c:pt idx="497">
                  <c:v>45231</c:v>
                </c:pt>
                <c:pt idx="498">
                  <c:v>45230</c:v>
                </c:pt>
                <c:pt idx="499">
                  <c:v>45229</c:v>
                </c:pt>
                <c:pt idx="500">
                  <c:v>45226</c:v>
                </c:pt>
                <c:pt idx="501">
                  <c:v>45225</c:v>
                </c:pt>
                <c:pt idx="502">
                  <c:v>45224</c:v>
                </c:pt>
                <c:pt idx="503">
                  <c:v>45222</c:v>
                </c:pt>
                <c:pt idx="504">
                  <c:v>45219</c:v>
                </c:pt>
                <c:pt idx="505">
                  <c:v>45218</c:v>
                </c:pt>
                <c:pt idx="506">
                  <c:v>45217</c:v>
                </c:pt>
                <c:pt idx="507">
                  <c:v>45216</c:v>
                </c:pt>
                <c:pt idx="508">
                  <c:v>45215</c:v>
                </c:pt>
                <c:pt idx="509">
                  <c:v>45212</c:v>
                </c:pt>
                <c:pt idx="510">
                  <c:v>45211</c:v>
                </c:pt>
                <c:pt idx="511">
                  <c:v>45210</c:v>
                </c:pt>
                <c:pt idx="512">
                  <c:v>45209</c:v>
                </c:pt>
                <c:pt idx="513">
                  <c:v>45208</c:v>
                </c:pt>
                <c:pt idx="514">
                  <c:v>45205</c:v>
                </c:pt>
                <c:pt idx="515">
                  <c:v>45204</c:v>
                </c:pt>
                <c:pt idx="516">
                  <c:v>45203</c:v>
                </c:pt>
                <c:pt idx="517">
                  <c:v>45202</c:v>
                </c:pt>
                <c:pt idx="518">
                  <c:v>45198</c:v>
                </c:pt>
                <c:pt idx="519">
                  <c:v>45197</c:v>
                </c:pt>
                <c:pt idx="520">
                  <c:v>45196</c:v>
                </c:pt>
                <c:pt idx="521">
                  <c:v>45195</c:v>
                </c:pt>
                <c:pt idx="522">
                  <c:v>45194</c:v>
                </c:pt>
                <c:pt idx="523">
                  <c:v>45191</c:v>
                </c:pt>
                <c:pt idx="524">
                  <c:v>45190</c:v>
                </c:pt>
                <c:pt idx="525">
                  <c:v>45189</c:v>
                </c:pt>
                <c:pt idx="526">
                  <c:v>45187</c:v>
                </c:pt>
                <c:pt idx="527">
                  <c:v>45184</c:v>
                </c:pt>
                <c:pt idx="528">
                  <c:v>45183</c:v>
                </c:pt>
                <c:pt idx="529">
                  <c:v>45182</c:v>
                </c:pt>
                <c:pt idx="530">
                  <c:v>45181</c:v>
                </c:pt>
                <c:pt idx="531">
                  <c:v>45180</c:v>
                </c:pt>
                <c:pt idx="532">
                  <c:v>45177</c:v>
                </c:pt>
                <c:pt idx="533">
                  <c:v>45176</c:v>
                </c:pt>
                <c:pt idx="534">
                  <c:v>45175</c:v>
                </c:pt>
                <c:pt idx="535">
                  <c:v>45174</c:v>
                </c:pt>
                <c:pt idx="536">
                  <c:v>45173</c:v>
                </c:pt>
                <c:pt idx="537">
                  <c:v>45170</c:v>
                </c:pt>
                <c:pt idx="538">
                  <c:v>45169</c:v>
                </c:pt>
                <c:pt idx="539">
                  <c:v>45168</c:v>
                </c:pt>
                <c:pt idx="540">
                  <c:v>45167</c:v>
                </c:pt>
                <c:pt idx="541">
                  <c:v>45166</c:v>
                </c:pt>
                <c:pt idx="542">
                  <c:v>45163</c:v>
                </c:pt>
                <c:pt idx="543">
                  <c:v>45162</c:v>
                </c:pt>
                <c:pt idx="544">
                  <c:v>45161</c:v>
                </c:pt>
                <c:pt idx="545">
                  <c:v>45160</c:v>
                </c:pt>
                <c:pt idx="546">
                  <c:v>45159</c:v>
                </c:pt>
                <c:pt idx="547">
                  <c:v>45156</c:v>
                </c:pt>
                <c:pt idx="548">
                  <c:v>45155</c:v>
                </c:pt>
                <c:pt idx="549">
                  <c:v>45154</c:v>
                </c:pt>
                <c:pt idx="550">
                  <c:v>45152</c:v>
                </c:pt>
                <c:pt idx="551">
                  <c:v>45149</c:v>
                </c:pt>
                <c:pt idx="552">
                  <c:v>45148</c:v>
                </c:pt>
                <c:pt idx="553">
                  <c:v>45147</c:v>
                </c:pt>
                <c:pt idx="554">
                  <c:v>45146</c:v>
                </c:pt>
                <c:pt idx="555">
                  <c:v>45145</c:v>
                </c:pt>
                <c:pt idx="556">
                  <c:v>45142</c:v>
                </c:pt>
                <c:pt idx="557">
                  <c:v>45141</c:v>
                </c:pt>
                <c:pt idx="558">
                  <c:v>45140</c:v>
                </c:pt>
                <c:pt idx="559">
                  <c:v>45139</c:v>
                </c:pt>
                <c:pt idx="560">
                  <c:v>45138</c:v>
                </c:pt>
                <c:pt idx="561">
                  <c:v>45135</c:v>
                </c:pt>
                <c:pt idx="562">
                  <c:v>45134</c:v>
                </c:pt>
                <c:pt idx="563">
                  <c:v>45133</c:v>
                </c:pt>
                <c:pt idx="564">
                  <c:v>45132</c:v>
                </c:pt>
                <c:pt idx="565">
                  <c:v>45131</c:v>
                </c:pt>
                <c:pt idx="566">
                  <c:v>45128</c:v>
                </c:pt>
                <c:pt idx="567">
                  <c:v>45127</c:v>
                </c:pt>
                <c:pt idx="568">
                  <c:v>45126</c:v>
                </c:pt>
                <c:pt idx="569">
                  <c:v>45125</c:v>
                </c:pt>
                <c:pt idx="570">
                  <c:v>45124</c:v>
                </c:pt>
                <c:pt idx="571">
                  <c:v>45121</c:v>
                </c:pt>
                <c:pt idx="572">
                  <c:v>45120</c:v>
                </c:pt>
                <c:pt idx="573">
                  <c:v>45119</c:v>
                </c:pt>
                <c:pt idx="574">
                  <c:v>45118</c:v>
                </c:pt>
                <c:pt idx="575">
                  <c:v>45117</c:v>
                </c:pt>
                <c:pt idx="576">
                  <c:v>45114</c:v>
                </c:pt>
                <c:pt idx="577">
                  <c:v>45113</c:v>
                </c:pt>
                <c:pt idx="578">
                  <c:v>45112</c:v>
                </c:pt>
                <c:pt idx="579">
                  <c:v>45111</c:v>
                </c:pt>
                <c:pt idx="580">
                  <c:v>45110</c:v>
                </c:pt>
                <c:pt idx="581">
                  <c:v>45107</c:v>
                </c:pt>
                <c:pt idx="582">
                  <c:v>45105</c:v>
                </c:pt>
                <c:pt idx="583">
                  <c:v>45104</c:v>
                </c:pt>
                <c:pt idx="584">
                  <c:v>45103</c:v>
                </c:pt>
                <c:pt idx="585">
                  <c:v>45100</c:v>
                </c:pt>
                <c:pt idx="586">
                  <c:v>45099</c:v>
                </c:pt>
                <c:pt idx="587">
                  <c:v>45098</c:v>
                </c:pt>
                <c:pt idx="588">
                  <c:v>45097</c:v>
                </c:pt>
                <c:pt idx="589">
                  <c:v>45096</c:v>
                </c:pt>
                <c:pt idx="590">
                  <c:v>45093</c:v>
                </c:pt>
                <c:pt idx="591">
                  <c:v>45092</c:v>
                </c:pt>
                <c:pt idx="592">
                  <c:v>45091</c:v>
                </c:pt>
                <c:pt idx="593">
                  <c:v>45090</c:v>
                </c:pt>
                <c:pt idx="594">
                  <c:v>45089</c:v>
                </c:pt>
                <c:pt idx="595">
                  <c:v>45086</c:v>
                </c:pt>
                <c:pt idx="596">
                  <c:v>45085</c:v>
                </c:pt>
                <c:pt idx="597">
                  <c:v>45084</c:v>
                </c:pt>
                <c:pt idx="598">
                  <c:v>45083</c:v>
                </c:pt>
                <c:pt idx="599">
                  <c:v>45082</c:v>
                </c:pt>
                <c:pt idx="600">
                  <c:v>45079</c:v>
                </c:pt>
                <c:pt idx="601">
                  <c:v>45078</c:v>
                </c:pt>
                <c:pt idx="602">
                  <c:v>45077</c:v>
                </c:pt>
                <c:pt idx="603">
                  <c:v>45076</c:v>
                </c:pt>
                <c:pt idx="604">
                  <c:v>45075</c:v>
                </c:pt>
                <c:pt idx="605">
                  <c:v>45072</c:v>
                </c:pt>
                <c:pt idx="606">
                  <c:v>45071</c:v>
                </c:pt>
                <c:pt idx="607">
                  <c:v>45070</c:v>
                </c:pt>
                <c:pt idx="608">
                  <c:v>45069</c:v>
                </c:pt>
                <c:pt idx="609">
                  <c:v>45068</c:v>
                </c:pt>
                <c:pt idx="610">
                  <c:v>45065</c:v>
                </c:pt>
                <c:pt idx="611">
                  <c:v>45064</c:v>
                </c:pt>
                <c:pt idx="612">
                  <c:v>45063</c:v>
                </c:pt>
                <c:pt idx="613">
                  <c:v>45062</c:v>
                </c:pt>
                <c:pt idx="614">
                  <c:v>45061</c:v>
                </c:pt>
                <c:pt idx="615">
                  <c:v>45058</c:v>
                </c:pt>
                <c:pt idx="616">
                  <c:v>45057</c:v>
                </c:pt>
                <c:pt idx="617">
                  <c:v>45056</c:v>
                </c:pt>
                <c:pt idx="618">
                  <c:v>45055</c:v>
                </c:pt>
                <c:pt idx="619">
                  <c:v>45054</c:v>
                </c:pt>
                <c:pt idx="620">
                  <c:v>45051</c:v>
                </c:pt>
                <c:pt idx="621">
                  <c:v>45050</c:v>
                </c:pt>
                <c:pt idx="622">
                  <c:v>45049</c:v>
                </c:pt>
                <c:pt idx="623">
                  <c:v>45048</c:v>
                </c:pt>
                <c:pt idx="624">
                  <c:v>45044</c:v>
                </c:pt>
                <c:pt idx="625">
                  <c:v>45043</c:v>
                </c:pt>
                <c:pt idx="626">
                  <c:v>45042</c:v>
                </c:pt>
                <c:pt idx="627">
                  <c:v>45041</c:v>
                </c:pt>
                <c:pt idx="628">
                  <c:v>45040</c:v>
                </c:pt>
                <c:pt idx="629">
                  <c:v>45037</c:v>
                </c:pt>
                <c:pt idx="630">
                  <c:v>45036</c:v>
                </c:pt>
                <c:pt idx="631">
                  <c:v>45035</c:v>
                </c:pt>
                <c:pt idx="632">
                  <c:v>45034</c:v>
                </c:pt>
                <c:pt idx="633">
                  <c:v>45033</c:v>
                </c:pt>
                <c:pt idx="634">
                  <c:v>45029</c:v>
                </c:pt>
                <c:pt idx="635">
                  <c:v>45028</c:v>
                </c:pt>
                <c:pt idx="636">
                  <c:v>45027</c:v>
                </c:pt>
                <c:pt idx="637">
                  <c:v>45026</c:v>
                </c:pt>
                <c:pt idx="638">
                  <c:v>45022</c:v>
                </c:pt>
                <c:pt idx="639">
                  <c:v>45021</c:v>
                </c:pt>
                <c:pt idx="640">
                  <c:v>45019</c:v>
                </c:pt>
                <c:pt idx="641">
                  <c:v>45016</c:v>
                </c:pt>
                <c:pt idx="642">
                  <c:v>45014</c:v>
                </c:pt>
                <c:pt idx="643">
                  <c:v>45013</c:v>
                </c:pt>
                <c:pt idx="644">
                  <c:v>45012</c:v>
                </c:pt>
                <c:pt idx="645">
                  <c:v>45009</c:v>
                </c:pt>
                <c:pt idx="646">
                  <c:v>45008</c:v>
                </c:pt>
                <c:pt idx="647">
                  <c:v>45007</c:v>
                </c:pt>
                <c:pt idx="648">
                  <c:v>45006</c:v>
                </c:pt>
                <c:pt idx="649">
                  <c:v>45005</c:v>
                </c:pt>
                <c:pt idx="650">
                  <c:v>45002</c:v>
                </c:pt>
                <c:pt idx="651">
                  <c:v>45001</c:v>
                </c:pt>
                <c:pt idx="652">
                  <c:v>45000</c:v>
                </c:pt>
                <c:pt idx="653">
                  <c:v>44999</c:v>
                </c:pt>
                <c:pt idx="654">
                  <c:v>44998</c:v>
                </c:pt>
                <c:pt idx="655">
                  <c:v>44995</c:v>
                </c:pt>
                <c:pt idx="656">
                  <c:v>44994</c:v>
                </c:pt>
                <c:pt idx="657">
                  <c:v>44993</c:v>
                </c:pt>
                <c:pt idx="658">
                  <c:v>44991</c:v>
                </c:pt>
                <c:pt idx="659">
                  <c:v>44988</c:v>
                </c:pt>
                <c:pt idx="660">
                  <c:v>44987</c:v>
                </c:pt>
                <c:pt idx="661">
                  <c:v>44986</c:v>
                </c:pt>
                <c:pt idx="662">
                  <c:v>44985</c:v>
                </c:pt>
                <c:pt idx="663">
                  <c:v>44984</c:v>
                </c:pt>
                <c:pt idx="664">
                  <c:v>44981</c:v>
                </c:pt>
                <c:pt idx="665">
                  <c:v>44980</c:v>
                </c:pt>
                <c:pt idx="666">
                  <c:v>44979</c:v>
                </c:pt>
                <c:pt idx="667">
                  <c:v>44978</c:v>
                </c:pt>
                <c:pt idx="668">
                  <c:v>44977</c:v>
                </c:pt>
                <c:pt idx="669">
                  <c:v>44974</c:v>
                </c:pt>
                <c:pt idx="670">
                  <c:v>44973</c:v>
                </c:pt>
                <c:pt idx="671">
                  <c:v>44972</c:v>
                </c:pt>
                <c:pt idx="672">
                  <c:v>44971</c:v>
                </c:pt>
                <c:pt idx="673">
                  <c:v>44970</c:v>
                </c:pt>
                <c:pt idx="674">
                  <c:v>44967</c:v>
                </c:pt>
                <c:pt idx="675">
                  <c:v>44966</c:v>
                </c:pt>
                <c:pt idx="676">
                  <c:v>44965</c:v>
                </c:pt>
                <c:pt idx="677">
                  <c:v>44964</c:v>
                </c:pt>
                <c:pt idx="678">
                  <c:v>44963</c:v>
                </c:pt>
                <c:pt idx="679">
                  <c:v>44960</c:v>
                </c:pt>
                <c:pt idx="680">
                  <c:v>44959</c:v>
                </c:pt>
                <c:pt idx="681">
                  <c:v>44958</c:v>
                </c:pt>
                <c:pt idx="682">
                  <c:v>44957</c:v>
                </c:pt>
                <c:pt idx="683">
                  <c:v>44956</c:v>
                </c:pt>
                <c:pt idx="684">
                  <c:v>44953</c:v>
                </c:pt>
                <c:pt idx="685">
                  <c:v>44951</c:v>
                </c:pt>
                <c:pt idx="686">
                  <c:v>44950</c:v>
                </c:pt>
                <c:pt idx="687">
                  <c:v>44949</c:v>
                </c:pt>
                <c:pt idx="688">
                  <c:v>44946</c:v>
                </c:pt>
                <c:pt idx="689">
                  <c:v>44945</c:v>
                </c:pt>
                <c:pt idx="690">
                  <c:v>44944</c:v>
                </c:pt>
                <c:pt idx="691">
                  <c:v>44943</c:v>
                </c:pt>
                <c:pt idx="692">
                  <c:v>44942</c:v>
                </c:pt>
                <c:pt idx="693">
                  <c:v>44939</c:v>
                </c:pt>
                <c:pt idx="694">
                  <c:v>44938</c:v>
                </c:pt>
                <c:pt idx="695">
                  <c:v>44937</c:v>
                </c:pt>
                <c:pt idx="696">
                  <c:v>44936</c:v>
                </c:pt>
                <c:pt idx="697">
                  <c:v>44935</c:v>
                </c:pt>
                <c:pt idx="698">
                  <c:v>44932</c:v>
                </c:pt>
                <c:pt idx="699">
                  <c:v>44931</c:v>
                </c:pt>
                <c:pt idx="700">
                  <c:v>44930</c:v>
                </c:pt>
                <c:pt idx="701">
                  <c:v>44929</c:v>
                </c:pt>
                <c:pt idx="702">
                  <c:v>44928</c:v>
                </c:pt>
                <c:pt idx="703">
                  <c:v>44925</c:v>
                </c:pt>
                <c:pt idx="704">
                  <c:v>44924</c:v>
                </c:pt>
                <c:pt idx="705">
                  <c:v>44923</c:v>
                </c:pt>
                <c:pt idx="706">
                  <c:v>44922</c:v>
                </c:pt>
                <c:pt idx="707">
                  <c:v>44921</c:v>
                </c:pt>
                <c:pt idx="708">
                  <c:v>44918</c:v>
                </c:pt>
                <c:pt idx="709">
                  <c:v>44917</c:v>
                </c:pt>
                <c:pt idx="710">
                  <c:v>44916</c:v>
                </c:pt>
                <c:pt idx="711">
                  <c:v>44915</c:v>
                </c:pt>
                <c:pt idx="712">
                  <c:v>44914</c:v>
                </c:pt>
                <c:pt idx="713">
                  <c:v>44911</c:v>
                </c:pt>
                <c:pt idx="714">
                  <c:v>44910</c:v>
                </c:pt>
                <c:pt idx="715">
                  <c:v>44909</c:v>
                </c:pt>
                <c:pt idx="716">
                  <c:v>44908</c:v>
                </c:pt>
                <c:pt idx="717">
                  <c:v>44907</c:v>
                </c:pt>
                <c:pt idx="718">
                  <c:v>44904</c:v>
                </c:pt>
                <c:pt idx="719">
                  <c:v>44903</c:v>
                </c:pt>
                <c:pt idx="720">
                  <c:v>44902</c:v>
                </c:pt>
                <c:pt idx="721">
                  <c:v>44901</c:v>
                </c:pt>
                <c:pt idx="722">
                  <c:v>44900</c:v>
                </c:pt>
                <c:pt idx="723">
                  <c:v>44897</c:v>
                </c:pt>
                <c:pt idx="724">
                  <c:v>44896</c:v>
                </c:pt>
                <c:pt idx="725">
                  <c:v>44895</c:v>
                </c:pt>
                <c:pt idx="726">
                  <c:v>44894</c:v>
                </c:pt>
                <c:pt idx="727">
                  <c:v>44893</c:v>
                </c:pt>
                <c:pt idx="728">
                  <c:v>44890</c:v>
                </c:pt>
                <c:pt idx="729">
                  <c:v>44889</c:v>
                </c:pt>
                <c:pt idx="730">
                  <c:v>44888</c:v>
                </c:pt>
                <c:pt idx="731">
                  <c:v>44887</c:v>
                </c:pt>
                <c:pt idx="732">
                  <c:v>44886</c:v>
                </c:pt>
                <c:pt idx="733">
                  <c:v>44883</c:v>
                </c:pt>
                <c:pt idx="734">
                  <c:v>44882</c:v>
                </c:pt>
                <c:pt idx="735">
                  <c:v>44881</c:v>
                </c:pt>
                <c:pt idx="736">
                  <c:v>44880</c:v>
                </c:pt>
                <c:pt idx="737">
                  <c:v>44879</c:v>
                </c:pt>
                <c:pt idx="738">
                  <c:v>44876</c:v>
                </c:pt>
                <c:pt idx="739">
                  <c:v>44875</c:v>
                </c:pt>
                <c:pt idx="740">
                  <c:v>44874</c:v>
                </c:pt>
                <c:pt idx="741">
                  <c:v>44872</c:v>
                </c:pt>
                <c:pt idx="742">
                  <c:v>44869</c:v>
                </c:pt>
                <c:pt idx="743">
                  <c:v>44868</c:v>
                </c:pt>
                <c:pt idx="744">
                  <c:v>44867</c:v>
                </c:pt>
                <c:pt idx="745">
                  <c:v>44866</c:v>
                </c:pt>
                <c:pt idx="746">
                  <c:v>44865</c:v>
                </c:pt>
                <c:pt idx="747">
                  <c:v>44862</c:v>
                </c:pt>
                <c:pt idx="748">
                  <c:v>44861</c:v>
                </c:pt>
                <c:pt idx="749">
                  <c:v>44859</c:v>
                </c:pt>
                <c:pt idx="750">
                  <c:v>44858</c:v>
                </c:pt>
                <c:pt idx="751">
                  <c:v>44855</c:v>
                </c:pt>
                <c:pt idx="752">
                  <c:v>44854</c:v>
                </c:pt>
                <c:pt idx="753">
                  <c:v>44853</c:v>
                </c:pt>
                <c:pt idx="754">
                  <c:v>44852</c:v>
                </c:pt>
                <c:pt idx="755">
                  <c:v>44851</c:v>
                </c:pt>
                <c:pt idx="756">
                  <c:v>44848</c:v>
                </c:pt>
                <c:pt idx="757">
                  <c:v>44847</c:v>
                </c:pt>
                <c:pt idx="758">
                  <c:v>44846</c:v>
                </c:pt>
                <c:pt idx="759">
                  <c:v>44845</c:v>
                </c:pt>
                <c:pt idx="760">
                  <c:v>44844</c:v>
                </c:pt>
                <c:pt idx="761">
                  <c:v>44841</c:v>
                </c:pt>
                <c:pt idx="762">
                  <c:v>44840</c:v>
                </c:pt>
                <c:pt idx="763">
                  <c:v>44838</c:v>
                </c:pt>
                <c:pt idx="764">
                  <c:v>44837</c:v>
                </c:pt>
                <c:pt idx="765">
                  <c:v>44834</c:v>
                </c:pt>
                <c:pt idx="766">
                  <c:v>44833</c:v>
                </c:pt>
                <c:pt idx="767">
                  <c:v>44832</c:v>
                </c:pt>
                <c:pt idx="768">
                  <c:v>44831</c:v>
                </c:pt>
                <c:pt idx="769">
                  <c:v>44830</c:v>
                </c:pt>
                <c:pt idx="770">
                  <c:v>44827</c:v>
                </c:pt>
                <c:pt idx="771">
                  <c:v>44826</c:v>
                </c:pt>
                <c:pt idx="772">
                  <c:v>44825</c:v>
                </c:pt>
                <c:pt idx="773">
                  <c:v>44824</c:v>
                </c:pt>
                <c:pt idx="774">
                  <c:v>44823</c:v>
                </c:pt>
                <c:pt idx="775">
                  <c:v>44820</c:v>
                </c:pt>
                <c:pt idx="776">
                  <c:v>44819</c:v>
                </c:pt>
                <c:pt idx="777">
                  <c:v>44818</c:v>
                </c:pt>
                <c:pt idx="778">
                  <c:v>44817</c:v>
                </c:pt>
                <c:pt idx="779">
                  <c:v>44816</c:v>
                </c:pt>
                <c:pt idx="780">
                  <c:v>44813</c:v>
                </c:pt>
                <c:pt idx="781">
                  <c:v>44812</c:v>
                </c:pt>
                <c:pt idx="782">
                  <c:v>44811</c:v>
                </c:pt>
                <c:pt idx="783">
                  <c:v>44810</c:v>
                </c:pt>
                <c:pt idx="784">
                  <c:v>44809</c:v>
                </c:pt>
                <c:pt idx="785">
                  <c:v>44806</c:v>
                </c:pt>
                <c:pt idx="786">
                  <c:v>44805</c:v>
                </c:pt>
                <c:pt idx="787">
                  <c:v>44803</c:v>
                </c:pt>
                <c:pt idx="788">
                  <c:v>44802</c:v>
                </c:pt>
                <c:pt idx="789">
                  <c:v>44799</c:v>
                </c:pt>
                <c:pt idx="790">
                  <c:v>44798</c:v>
                </c:pt>
                <c:pt idx="791">
                  <c:v>44797</c:v>
                </c:pt>
                <c:pt idx="792">
                  <c:v>44796</c:v>
                </c:pt>
                <c:pt idx="793">
                  <c:v>44795</c:v>
                </c:pt>
                <c:pt idx="794">
                  <c:v>44792</c:v>
                </c:pt>
                <c:pt idx="795">
                  <c:v>44791</c:v>
                </c:pt>
                <c:pt idx="796">
                  <c:v>44790</c:v>
                </c:pt>
                <c:pt idx="797">
                  <c:v>44789</c:v>
                </c:pt>
                <c:pt idx="798">
                  <c:v>44785</c:v>
                </c:pt>
                <c:pt idx="799">
                  <c:v>44784</c:v>
                </c:pt>
                <c:pt idx="800">
                  <c:v>44783</c:v>
                </c:pt>
                <c:pt idx="801">
                  <c:v>44781</c:v>
                </c:pt>
                <c:pt idx="802">
                  <c:v>44778</c:v>
                </c:pt>
                <c:pt idx="803">
                  <c:v>44777</c:v>
                </c:pt>
                <c:pt idx="804">
                  <c:v>44776</c:v>
                </c:pt>
                <c:pt idx="805">
                  <c:v>44775</c:v>
                </c:pt>
                <c:pt idx="806">
                  <c:v>44774</c:v>
                </c:pt>
                <c:pt idx="807">
                  <c:v>44771</c:v>
                </c:pt>
                <c:pt idx="808">
                  <c:v>44770</c:v>
                </c:pt>
                <c:pt idx="809">
                  <c:v>44769</c:v>
                </c:pt>
                <c:pt idx="810">
                  <c:v>44768</c:v>
                </c:pt>
                <c:pt idx="811">
                  <c:v>44767</c:v>
                </c:pt>
                <c:pt idx="812">
                  <c:v>44764</c:v>
                </c:pt>
                <c:pt idx="813">
                  <c:v>44763</c:v>
                </c:pt>
                <c:pt idx="814">
                  <c:v>44762</c:v>
                </c:pt>
                <c:pt idx="815">
                  <c:v>44761</c:v>
                </c:pt>
                <c:pt idx="816">
                  <c:v>44760</c:v>
                </c:pt>
                <c:pt idx="817">
                  <c:v>44757</c:v>
                </c:pt>
                <c:pt idx="818">
                  <c:v>44756</c:v>
                </c:pt>
                <c:pt idx="819">
                  <c:v>44755</c:v>
                </c:pt>
                <c:pt idx="820">
                  <c:v>44754</c:v>
                </c:pt>
                <c:pt idx="821">
                  <c:v>44753</c:v>
                </c:pt>
                <c:pt idx="822">
                  <c:v>44750</c:v>
                </c:pt>
                <c:pt idx="823">
                  <c:v>44749</c:v>
                </c:pt>
                <c:pt idx="824">
                  <c:v>44748</c:v>
                </c:pt>
                <c:pt idx="825">
                  <c:v>44747</c:v>
                </c:pt>
                <c:pt idx="826">
                  <c:v>44746</c:v>
                </c:pt>
                <c:pt idx="827">
                  <c:v>44743</c:v>
                </c:pt>
                <c:pt idx="828">
                  <c:v>44742</c:v>
                </c:pt>
                <c:pt idx="829">
                  <c:v>44741</c:v>
                </c:pt>
                <c:pt idx="830">
                  <c:v>44740</c:v>
                </c:pt>
                <c:pt idx="831">
                  <c:v>44739</c:v>
                </c:pt>
                <c:pt idx="832">
                  <c:v>44736</c:v>
                </c:pt>
                <c:pt idx="833">
                  <c:v>44735</c:v>
                </c:pt>
                <c:pt idx="834">
                  <c:v>44734</c:v>
                </c:pt>
                <c:pt idx="835">
                  <c:v>44733</c:v>
                </c:pt>
                <c:pt idx="836">
                  <c:v>44732</c:v>
                </c:pt>
                <c:pt idx="837">
                  <c:v>44729</c:v>
                </c:pt>
                <c:pt idx="838">
                  <c:v>44728</c:v>
                </c:pt>
                <c:pt idx="839">
                  <c:v>44727</c:v>
                </c:pt>
                <c:pt idx="840">
                  <c:v>44726</c:v>
                </c:pt>
                <c:pt idx="841">
                  <c:v>44725</c:v>
                </c:pt>
                <c:pt idx="842">
                  <c:v>44722</c:v>
                </c:pt>
                <c:pt idx="843">
                  <c:v>44721</c:v>
                </c:pt>
                <c:pt idx="844">
                  <c:v>44720</c:v>
                </c:pt>
                <c:pt idx="845">
                  <c:v>44719</c:v>
                </c:pt>
                <c:pt idx="846">
                  <c:v>44718</c:v>
                </c:pt>
                <c:pt idx="847">
                  <c:v>44715</c:v>
                </c:pt>
                <c:pt idx="848">
                  <c:v>44714</c:v>
                </c:pt>
                <c:pt idx="849">
                  <c:v>44713</c:v>
                </c:pt>
                <c:pt idx="850">
                  <c:v>44712</c:v>
                </c:pt>
                <c:pt idx="851">
                  <c:v>44711</c:v>
                </c:pt>
                <c:pt idx="852">
                  <c:v>44708</c:v>
                </c:pt>
                <c:pt idx="853">
                  <c:v>44707</c:v>
                </c:pt>
                <c:pt idx="854">
                  <c:v>44706</c:v>
                </c:pt>
                <c:pt idx="855">
                  <c:v>44705</c:v>
                </c:pt>
                <c:pt idx="856">
                  <c:v>44704</c:v>
                </c:pt>
                <c:pt idx="857">
                  <c:v>44701</c:v>
                </c:pt>
                <c:pt idx="858">
                  <c:v>44700</c:v>
                </c:pt>
                <c:pt idx="859">
                  <c:v>44699</c:v>
                </c:pt>
                <c:pt idx="860">
                  <c:v>44698</c:v>
                </c:pt>
                <c:pt idx="861">
                  <c:v>44697</c:v>
                </c:pt>
                <c:pt idx="862">
                  <c:v>44694</c:v>
                </c:pt>
                <c:pt idx="863">
                  <c:v>44693</c:v>
                </c:pt>
                <c:pt idx="864">
                  <c:v>44692</c:v>
                </c:pt>
                <c:pt idx="865">
                  <c:v>44691</c:v>
                </c:pt>
                <c:pt idx="866">
                  <c:v>44690</c:v>
                </c:pt>
                <c:pt idx="867">
                  <c:v>44687</c:v>
                </c:pt>
                <c:pt idx="868">
                  <c:v>44686</c:v>
                </c:pt>
                <c:pt idx="869">
                  <c:v>44685</c:v>
                </c:pt>
                <c:pt idx="870">
                  <c:v>44683</c:v>
                </c:pt>
                <c:pt idx="871">
                  <c:v>44680</c:v>
                </c:pt>
                <c:pt idx="872">
                  <c:v>44679</c:v>
                </c:pt>
                <c:pt idx="873">
                  <c:v>44678</c:v>
                </c:pt>
                <c:pt idx="874">
                  <c:v>44677</c:v>
                </c:pt>
                <c:pt idx="875">
                  <c:v>44676</c:v>
                </c:pt>
                <c:pt idx="876">
                  <c:v>44673</c:v>
                </c:pt>
                <c:pt idx="877">
                  <c:v>44672</c:v>
                </c:pt>
                <c:pt idx="878">
                  <c:v>44671</c:v>
                </c:pt>
                <c:pt idx="879">
                  <c:v>44670</c:v>
                </c:pt>
                <c:pt idx="880">
                  <c:v>44669</c:v>
                </c:pt>
                <c:pt idx="881">
                  <c:v>44664</c:v>
                </c:pt>
                <c:pt idx="882">
                  <c:v>44663</c:v>
                </c:pt>
                <c:pt idx="883">
                  <c:v>44662</c:v>
                </c:pt>
                <c:pt idx="884">
                  <c:v>44659</c:v>
                </c:pt>
                <c:pt idx="885">
                  <c:v>44658</c:v>
                </c:pt>
                <c:pt idx="886">
                  <c:v>44657</c:v>
                </c:pt>
                <c:pt idx="887">
                  <c:v>44656</c:v>
                </c:pt>
                <c:pt idx="888">
                  <c:v>44655</c:v>
                </c:pt>
                <c:pt idx="889">
                  <c:v>44652</c:v>
                </c:pt>
              </c:numCache>
            </c:numRef>
          </c:cat>
          <c:val>
            <c:numRef>
              <c:f>Sheet1!$B$2:$B$891</c:f>
              <c:numCache>
                <c:formatCode>_ * #,##0_ ;_ * \-#,##0_ ;_ * "-"??_ ;_ @_ </c:formatCode>
                <c:ptCount val="890"/>
                <c:pt idx="0">
                  <c:v>186.73740336326335</c:v>
                </c:pt>
                <c:pt idx="1">
                  <c:v>186.79790761840675</c:v>
                </c:pt>
                <c:pt idx="2">
                  <c:v>187.33810154328921</c:v>
                </c:pt>
                <c:pt idx="3">
                  <c:v>186.08053357413277</c:v>
                </c:pt>
                <c:pt idx="4">
                  <c:v>186.34014594361244</c:v>
                </c:pt>
                <c:pt idx="5">
                  <c:v>186.50895670486909</c:v>
                </c:pt>
                <c:pt idx="6">
                  <c:v>187.65433030251117</c:v>
                </c:pt>
                <c:pt idx="7">
                  <c:v>188.46337310580179</c:v>
                </c:pt>
                <c:pt idx="8">
                  <c:v>187.74173645948176</c:v>
                </c:pt>
                <c:pt idx="9">
                  <c:v>186.64876549025905</c:v>
                </c:pt>
                <c:pt idx="10">
                  <c:v>186.01589945891399</c:v>
                </c:pt>
                <c:pt idx="11">
                  <c:v>185.15163134600817</c:v>
                </c:pt>
                <c:pt idx="12">
                  <c:v>184.84786694808946</c:v>
                </c:pt>
                <c:pt idx="13">
                  <c:v>186.12651777444594</c:v>
                </c:pt>
                <c:pt idx="14">
                  <c:v>186.38481210221238</c:v>
                </c:pt>
                <c:pt idx="15">
                  <c:v>184.62045447886567</c:v>
                </c:pt>
                <c:pt idx="16">
                  <c:v>183.14816064819792</c:v>
                </c:pt>
                <c:pt idx="17">
                  <c:v>183.81801258813698</c:v>
                </c:pt>
                <c:pt idx="18">
                  <c:v>183.47862140905292</c:v>
                </c:pt>
                <c:pt idx="19">
                  <c:v>181.78265958945934</c:v>
                </c:pt>
                <c:pt idx="20">
                  <c:v>181.8085474071469</c:v>
                </c:pt>
                <c:pt idx="21">
                  <c:v>179.78902163854011</c:v>
                </c:pt>
                <c:pt idx="22">
                  <c:v>179.95951220263774</c:v>
                </c:pt>
                <c:pt idx="23">
                  <c:v>179.76261689729861</c:v>
                </c:pt>
                <c:pt idx="24">
                  <c:v>183.68065355038493</c:v>
                </c:pt>
                <c:pt idx="25">
                  <c:v>184.8980089581149</c:v>
                </c:pt>
                <c:pt idx="26">
                  <c:v>186.03571121461104</c:v>
                </c:pt>
                <c:pt idx="27">
                  <c:v>186.82732751983619</c:v>
                </c:pt>
                <c:pt idx="28">
                  <c:v>188.87778825698226</c:v>
                </c:pt>
                <c:pt idx="29">
                  <c:v>188.26633398672095</c:v>
                </c:pt>
                <c:pt idx="30">
                  <c:v>186.77776609834493</c:v>
                </c:pt>
                <c:pt idx="31">
                  <c:v>186.69220197588911</c:v>
                </c:pt>
                <c:pt idx="32">
                  <c:v>186.49724302674687</c:v>
                </c:pt>
                <c:pt idx="33">
                  <c:v>187.14451828213853</c:v>
                </c:pt>
                <c:pt idx="34">
                  <c:v>186.78875919749478</c:v>
                </c:pt>
                <c:pt idx="35">
                  <c:v>186.30139279365687</c:v>
                </c:pt>
                <c:pt idx="36">
                  <c:v>185.49113070400799</c:v>
                </c:pt>
                <c:pt idx="37">
                  <c:v>184.5398000347223</c:v>
                </c:pt>
                <c:pt idx="38">
                  <c:v>184.88884132984012</c:v>
                </c:pt>
                <c:pt idx="39">
                  <c:v>185.11950684757537</c:v>
                </c:pt>
                <c:pt idx="40">
                  <c:v>185.03716789764874</c:v>
                </c:pt>
                <c:pt idx="41">
                  <c:v>182.82410886305183</c:v>
                </c:pt>
                <c:pt idx="42">
                  <c:v>182.91470708117214</c:v>
                </c:pt>
                <c:pt idx="43">
                  <c:v>182.3765568624475</c:v>
                </c:pt>
                <c:pt idx="44">
                  <c:v>182.6758678434494</c:v>
                </c:pt>
                <c:pt idx="45">
                  <c:v>184.4563940133317</c:v>
                </c:pt>
                <c:pt idx="46">
                  <c:v>187.6264381598065</c:v>
                </c:pt>
                <c:pt idx="47">
                  <c:v>187.36691726304673</c:v>
                </c:pt>
                <c:pt idx="48">
                  <c:v>187.17158449479189</c:v>
                </c:pt>
                <c:pt idx="49">
                  <c:v>186.17536854526128</c:v>
                </c:pt>
                <c:pt idx="50">
                  <c:v>186.45283908726029</c:v>
                </c:pt>
                <c:pt idx="51">
                  <c:v>186.17015295285259</c:v>
                </c:pt>
                <c:pt idx="52">
                  <c:v>185.8909197414863</c:v>
                </c:pt>
                <c:pt idx="53">
                  <c:v>185.88857082590749</c:v>
                </c:pt>
                <c:pt idx="54">
                  <c:v>182.97024762376702</c:v>
                </c:pt>
                <c:pt idx="55">
                  <c:v>182.3883101266162</c:v>
                </c:pt>
                <c:pt idx="56">
                  <c:v>180.66128662713004</c:v>
                </c:pt>
                <c:pt idx="57">
                  <c:v>182.5100991717479</c:v>
                </c:pt>
                <c:pt idx="58">
                  <c:v>181.59355262477501</c:v>
                </c:pt>
                <c:pt idx="59">
                  <c:v>184.86576472054625</c:v>
                </c:pt>
                <c:pt idx="60">
                  <c:v>185.76998490253962</c:v>
                </c:pt>
                <c:pt idx="61">
                  <c:v>185.28610498117806</c:v>
                </c:pt>
                <c:pt idx="62">
                  <c:v>189.93128608941791</c:v>
                </c:pt>
                <c:pt idx="63">
                  <c:v>191.85929758589756</c:v>
                </c:pt>
                <c:pt idx="64">
                  <c:v>191.54278723984942</c:v>
                </c:pt>
                <c:pt idx="65">
                  <c:v>189.20343117690317</c:v>
                </c:pt>
                <c:pt idx="66">
                  <c:v>189.60805197397525</c:v>
                </c:pt>
                <c:pt idx="67">
                  <c:v>189.48831421708368</c:v>
                </c:pt>
                <c:pt idx="68">
                  <c:v>188.67567174022</c:v>
                </c:pt>
                <c:pt idx="69">
                  <c:v>187.56295898080796</c:v>
                </c:pt>
                <c:pt idx="70">
                  <c:v>188.71582233063452</c:v>
                </c:pt>
                <c:pt idx="71">
                  <c:v>189.3259445597524</c:v>
                </c:pt>
                <c:pt idx="72">
                  <c:v>190.39966636357411</c:v>
                </c:pt>
                <c:pt idx="73">
                  <c:v>189.75993730286481</c:v>
                </c:pt>
                <c:pt idx="74">
                  <c:v>189.95965985406687</c:v>
                </c:pt>
                <c:pt idx="75">
                  <c:v>188.07943608925711</c:v>
                </c:pt>
                <c:pt idx="76">
                  <c:v>185.98947358456243</c:v>
                </c:pt>
                <c:pt idx="77">
                  <c:v>185.52718774096579</c:v>
                </c:pt>
                <c:pt idx="78">
                  <c:v>186.3410016896857</c:v>
                </c:pt>
                <c:pt idx="79">
                  <c:v>185.9494543399652</c:v>
                </c:pt>
                <c:pt idx="80">
                  <c:v>187.2949646527174</c:v>
                </c:pt>
                <c:pt idx="81">
                  <c:v>187.5220833379384</c:v>
                </c:pt>
                <c:pt idx="82">
                  <c:v>186.38869864945175</c:v>
                </c:pt>
                <c:pt idx="83">
                  <c:v>185.10371639737409</c:v>
                </c:pt>
                <c:pt idx="84">
                  <c:v>184.90875499282879</c:v>
                </c:pt>
                <c:pt idx="85">
                  <c:v>185.28651846874891</c:v>
                </c:pt>
                <c:pt idx="86">
                  <c:v>184.13726867039151</c:v>
                </c:pt>
                <c:pt idx="87">
                  <c:v>182.45608624206696</c:v>
                </c:pt>
                <c:pt idx="88">
                  <c:v>181.98462326614191</c:v>
                </c:pt>
                <c:pt idx="89">
                  <c:v>180.12605051333296</c:v>
                </c:pt>
                <c:pt idx="90">
                  <c:v>179.43681261981376</c:v>
                </c:pt>
                <c:pt idx="91">
                  <c:v>179.57046720858477</c:v>
                </c:pt>
                <c:pt idx="92">
                  <c:v>178.64898359895452</c:v>
                </c:pt>
                <c:pt idx="93">
                  <c:v>180.61061391399392</c:v>
                </c:pt>
                <c:pt idx="94">
                  <c:v>181.53971751161129</c:v>
                </c:pt>
                <c:pt idx="95">
                  <c:v>184.44279397394868</c:v>
                </c:pt>
                <c:pt idx="96">
                  <c:v>183.69843484062736</c:v>
                </c:pt>
                <c:pt idx="97">
                  <c:v>183.73252579896166</c:v>
                </c:pt>
                <c:pt idx="98">
                  <c:v>183.82833406585902</c:v>
                </c:pt>
                <c:pt idx="99">
                  <c:v>182.55303260205056</c:v>
                </c:pt>
                <c:pt idx="100">
                  <c:v>181.65398525350213</c:v>
                </c:pt>
                <c:pt idx="101">
                  <c:v>180.5097110991793</c:v>
                </c:pt>
                <c:pt idx="102">
                  <c:v>180.22517005736742</c:v>
                </c:pt>
                <c:pt idx="103">
                  <c:v>178.6905250484445</c:v>
                </c:pt>
                <c:pt idx="104">
                  <c:v>178.00766425761304</c:v>
                </c:pt>
                <c:pt idx="105">
                  <c:v>178.35493151396565</c:v>
                </c:pt>
                <c:pt idx="106">
                  <c:v>178.40791594646524</c:v>
                </c:pt>
                <c:pt idx="107">
                  <c:v>178.7915605782851</c:v>
                </c:pt>
                <c:pt idx="108">
                  <c:v>177.96888665701087</c:v>
                </c:pt>
                <c:pt idx="109">
                  <c:v>178.53966434920065</c:v>
                </c:pt>
                <c:pt idx="110">
                  <c:v>177.58411906295046</c:v>
                </c:pt>
                <c:pt idx="111">
                  <c:v>176.82158085873701</c:v>
                </c:pt>
                <c:pt idx="112">
                  <c:v>176.95644762685964</c:v>
                </c:pt>
                <c:pt idx="113">
                  <c:v>177.46057048102605</c:v>
                </c:pt>
                <c:pt idx="114">
                  <c:v>175.67750106653011</c:v>
                </c:pt>
                <c:pt idx="115">
                  <c:v>177.67797405264815</c:v>
                </c:pt>
                <c:pt idx="116">
                  <c:v>176.67870294805238</c:v>
                </c:pt>
                <c:pt idx="117">
                  <c:v>177.01765620973387</c:v>
                </c:pt>
                <c:pt idx="118">
                  <c:v>175.86972711992033</c:v>
                </c:pt>
                <c:pt idx="119">
                  <c:v>174.64758605329143</c:v>
                </c:pt>
                <c:pt idx="120">
                  <c:v>172.58347531717519</c:v>
                </c:pt>
                <c:pt idx="121">
                  <c:v>171.3423334754267</c:v>
                </c:pt>
                <c:pt idx="122">
                  <c:v>171.76435466203881</c:v>
                </c:pt>
                <c:pt idx="123">
                  <c:v>174.35438262843223</c:v>
                </c:pt>
                <c:pt idx="124">
                  <c:v>174.27904614754581</c:v>
                </c:pt>
                <c:pt idx="125">
                  <c:v>175.90151519750719</c:v>
                </c:pt>
                <c:pt idx="126">
                  <c:v>174.34587641452839</c:v>
                </c:pt>
                <c:pt idx="127">
                  <c:v>175.41885403684091</c:v>
                </c:pt>
                <c:pt idx="128">
                  <c:v>175.34643364101117</c:v>
                </c:pt>
                <c:pt idx="129">
                  <c:v>176.55038441274405</c:v>
                </c:pt>
                <c:pt idx="130">
                  <c:v>173.99513253930999</c:v>
                </c:pt>
                <c:pt idx="131">
                  <c:v>178.06914493438325</c:v>
                </c:pt>
                <c:pt idx="132">
                  <c:v>177.1541157410972</c:v>
                </c:pt>
                <c:pt idx="133">
                  <c:v>175.38071990223938</c:v>
                </c:pt>
                <c:pt idx="134">
                  <c:v>174.38909947851207</c:v>
                </c:pt>
                <c:pt idx="135">
                  <c:v>173.39347910203884</c:v>
                </c:pt>
                <c:pt idx="136">
                  <c:v>171.70973920799435</c:v>
                </c:pt>
                <c:pt idx="137">
                  <c:v>171.5466915402271</c:v>
                </c:pt>
                <c:pt idx="138">
                  <c:v>167.56458948144996</c:v>
                </c:pt>
                <c:pt idx="139">
                  <c:v>163.85025841766861</c:v>
                </c:pt>
                <c:pt idx="140">
                  <c:v>166.31676997805093</c:v>
                </c:pt>
                <c:pt idx="141">
                  <c:v>163.10927245030197</c:v>
                </c:pt>
                <c:pt idx="142">
                  <c:v>168.45038988562644</c:v>
                </c:pt>
                <c:pt idx="143">
                  <c:v>173.93232777634174</c:v>
                </c:pt>
                <c:pt idx="144">
                  <c:v>171.10069396059359</c:v>
                </c:pt>
                <c:pt idx="145">
                  <c:v>170.2722363388711</c:v>
                </c:pt>
                <c:pt idx="146">
                  <c:v>172.82767642016515</c:v>
                </c:pt>
                <c:pt idx="147">
                  <c:v>172.87058009656022</c:v>
                </c:pt>
                <c:pt idx="148">
                  <c:v>172.51625618223082</c:v>
                </c:pt>
                <c:pt idx="149">
                  <c:v>174.56903732521596</c:v>
                </c:pt>
                <c:pt idx="150">
                  <c:v>175.96317715696617</c:v>
                </c:pt>
                <c:pt idx="151">
                  <c:v>175.15126114940827</c:v>
                </c:pt>
                <c:pt idx="152">
                  <c:v>172.47409411327189</c:v>
                </c:pt>
                <c:pt idx="153">
                  <c:v>170.39563065280751</c:v>
                </c:pt>
                <c:pt idx="154">
                  <c:v>168.55344681413843</c:v>
                </c:pt>
                <c:pt idx="155">
                  <c:v>165.52544979546641</c:v>
                </c:pt>
                <c:pt idx="156">
                  <c:v>164.22467152190032</c:v>
                </c:pt>
                <c:pt idx="157">
                  <c:v>164.64146239457395</c:v>
                </c:pt>
                <c:pt idx="158">
                  <c:v>164.50570889094652</c:v>
                </c:pt>
                <c:pt idx="159">
                  <c:v>164.05886536245322</c:v>
                </c:pt>
                <c:pt idx="160">
                  <c:v>165.48635059906064</c:v>
                </c:pt>
                <c:pt idx="161">
                  <c:v>165.99617480293679</c:v>
                </c:pt>
                <c:pt idx="162">
                  <c:v>164.08990467223822</c:v>
                </c:pt>
                <c:pt idx="163">
                  <c:v>161.32418952921654</c:v>
                </c:pt>
                <c:pt idx="164">
                  <c:v>160.36366491421805</c:v>
                </c:pt>
                <c:pt idx="165">
                  <c:v>159.62227857395902</c:v>
                </c:pt>
                <c:pt idx="166">
                  <c:v>163.13767125111136</c:v>
                </c:pt>
                <c:pt idx="167">
                  <c:v>164.49655979249505</c:v>
                </c:pt>
                <c:pt idx="168">
                  <c:v>164.67410209182114</c:v>
                </c:pt>
                <c:pt idx="169">
                  <c:v>165.34486493524489</c:v>
                </c:pt>
                <c:pt idx="170">
                  <c:v>167.96117951870198</c:v>
                </c:pt>
                <c:pt idx="171">
                  <c:v>167.26791760420039</c:v>
                </c:pt>
                <c:pt idx="172">
                  <c:v>167.40618687879075</c:v>
                </c:pt>
                <c:pt idx="173">
                  <c:v>167.82867173827981</c:v>
                </c:pt>
                <c:pt idx="174">
                  <c:v>165.88729247921947</c:v>
                </c:pt>
                <c:pt idx="175">
                  <c:v>170.72636735566991</c:v>
                </c:pt>
                <c:pt idx="176">
                  <c:v>169.8239466909036</c:v>
                </c:pt>
                <c:pt idx="177">
                  <c:v>170.60434227220793</c:v>
                </c:pt>
                <c:pt idx="178">
                  <c:v>175.40112787214451</c:v>
                </c:pt>
                <c:pt idx="179">
                  <c:v>179.30846873576559</c:v>
                </c:pt>
                <c:pt idx="180">
                  <c:v>179.34170174378781</c:v>
                </c:pt>
                <c:pt idx="181">
                  <c:v>178.34971394626211</c:v>
                </c:pt>
                <c:pt idx="182">
                  <c:v>176.36144720154951</c:v>
                </c:pt>
                <c:pt idx="183">
                  <c:v>174.08696445912318</c:v>
                </c:pt>
                <c:pt idx="184">
                  <c:v>173.79366555935275</c:v>
                </c:pt>
                <c:pt idx="185">
                  <c:v>173.69330096535242</c:v>
                </c:pt>
                <c:pt idx="186">
                  <c:v>172.98937584282697</c:v>
                </c:pt>
                <c:pt idx="187">
                  <c:v>171.17535001737519</c:v>
                </c:pt>
                <c:pt idx="188">
                  <c:v>167.40724699338435</c:v>
                </c:pt>
                <c:pt idx="189">
                  <c:v>170.96200084201993</c:v>
                </c:pt>
                <c:pt idx="190">
                  <c:v>175.65494770318628</c:v>
                </c:pt>
                <c:pt idx="191">
                  <c:v>179.47590351086515</c:v>
                </c:pt>
                <c:pt idx="192">
                  <c:v>177.07632961148923</c:v>
                </c:pt>
                <c:pt idx="193">
                  <c:v>177.2790670428605</c:v>
                </c:pt>
                <c:pt idx="194">
                  <c:v>179.17490632497697</c:v>
                </c:pt>
                <c:pt idx="195">
                  <c:v>177.82500815084177</c:v>
                </c:pt>
                <c:pt idx="196">
                  <c:v>177.20592639280582</c:v>
                </c:pt>
                <c:pt idx="197">
                  <c:v>176.96131730133695</c:v>
                </c:pt>
                <c:pt idx="198">
                  <c:v>179.11221106852241</c:v>
                </c:pt>
                <c:pt idx="199">
                  <c:v>177.10402890778687</c:v>
                </c:pt>
                <c:pt idx="200">
                  <c:v>181.69739698270192</c:v>
                </c:pt>
                <c:pt idx="201">
                  <c:v>186.00305313926515</c:v>
                </c:pt>
                <c:pt idx="202">
                  <c:v>187.34051770269198</c:v>
                </c:pt>
                <c:pt idx="203">
                  <c:v>189.113389360757</c:v>
                </c:pt>
                <c:pt idx="204">
                  <c:v>186.768414307131</c:v>
                </c:pt>
                <c:pt idx="205">
                  <c:v>188.55960995114208</c:v>
                </c:pt>
                <c:pt idx="206">
                  <c:v>189.72343649496634</c:v>
                </c:pt>
                <c:pt idx="207">
                  <c:v>188.87471427957877</c:v>
                </c:pt>
                <c:pt idx="208">
                  <c:v>188.17095339403591</c:v>
                </c:pt>
                <c:pt idx="209">
                  <c:v>187.4945287125054</c:v>
                </c:pt>
                <c:pt idx="210">
                  <c:v>185.86612734915389</c:v>
                </c:pt>
                <c:pt idx="211">
                  <c:v>184.46983337697824</c:v>
                </c:pt>
                <c:pt idx="212">
                  <c:v>183.34735748722574</c:v>
                </c:pt>
                <c:pt idx="213">
                  <c:v>183.09005711028937</c:v>
                </c:pt>
                <c:pt idx="214">
                  <c:v>182.77903911667238</c:v>
                </c:pt>
                <c:pt idx="215">
                  <c:v>184.05278219104255</c:v>
                </c:pt>
                <c:pt idx="216">
                  <c:v>181.56896154920872</c:v>
                </c:pt>
                <c:pt idx="217">
                  <c:v>180.260089414226</c:v>
                </c:pt>
                <c:pt idx="218">
                  <c:v>181.12490716865477</c:v>
                </c:pt>
                <c:pt idx="219">
                  <c:v>180.5180140752143</c:v>
                </c:pt>
                <c:pt idx="220">
                  <c:v>181.15347577199097</c:v>
                </c:pt>
                <c:pt idx="221">
                  <c:v>182.41775866470229</c:v>
                </c:pt>
                <c:pt idx="222">
                  <c:v>181.97163140413818</c:v>
                </c:pt>
                <c:pt idx="223">
                  <c:v>182.02521807887598</c:v>
                </c:pt>
                <c:pt idx="224">
                  <c:v>182.63048782420276</c:v>
                </c:pt>
                <c:pt idx="225">
                  <c:v>183.32981619696065</c:v>
                </c:pt>
                <c:pt idx="226">
                  <c:v>182.9499564287174</c:v>
                </c:pt>
                <c:pt idx="227">
                  <c:v>182.46020392413226</c:v>
                </c:pt>
                <c:pt idx="228">
                  <c:v>182.19067884355579</c:v>
                </c:pt>
                <c:pt idx="229">
                  <c:v>180.11416587437625</c:v>
                </c:pt>
                <c:pt idx="230">
                  <c:v>176.46437424083845</c:v>
                </c:pt>
                <c:pt idx="231">
                  <c:v>177.30171755219405</c:v>
                </c:pt>
                <c:pt idx="232">
                  <c:v>177.80835210977881</c:v>
                </c:pt>
                <c:pt idx="233">
                  <c:v>178.65357741711117</c:v>
                </c:pt>
                <c:pt idx="234">
                  <c:v>176.77621457870382</c:v>
                </c:pt>
                <c:pt idx="235">
                  <c:v>174.81018144715284</c:v>
                </c:pt>
                <c:pt idx="236">
                  <c:v>174.85052326447877</c:v>
                </c:pt>
                <c:pt idx="237">
                  <c:v>173.62523112871901</c:v>
                </c:pt>
                <c:pt idx="238">
                  <c:v>175.12916584098713</c:v>
                </c:pt>
                <c:pt idx="239">
                  <c:v>174.67507389093421</c:v>
                </c:pt>
                <c:pt idx="240">
                  <c:v>177.8687898975104</c:v>
                </c:pt>
                <c:pt idx="241">
                  <c:v>178.97795151686122</c:v>
                </c:pt>
                <c:pt idx="242">
                  <c:v>180.97789557087557</c:v>
                </c:pt>
                <c:pt idx="243">
                  <c:v>181.46984835774595</c:v>
                </c:pt>
                <c:pt idx="244">
                  <c:v>183.21277059949111</c:v>
                </c:pt>
                <c:pt idx="245">
                  <c:v>181.02279905192009</c:v>
                </c:pt>
                <c:pt idx="246">
                  <c:v>180.89648389645163</c:v>
                </c:pt>
                <c:pt idx="247">
                  <c:v>182.20363793698999</c:v>
                </c:pt>
                <c:pt idx="248">
                  <c:v>181.29856214525472</c:v>
                </c:pt>
                <c:pt idx="249">
                  <c:v>178.38009336767996</c:v>
                </c:pt>
                <c:pt idx="250">
                  <c:v>178.44187686481834</c:v>
                </c:pt>
                <c:pt idx="251">
                  <c:v>179.17208269458581</c:v>
                </c:pt>
                <c:pt idx="252">
                  <c:v>177.09598036580974</c:v>
                </c:pt>
                <c:pt idx="253">
                  <c:v>177.58426738013182</c:v>
                </c:pt>
                <c:pt idx="254">
                  <c:v>176.80152622819793</c:v>
                </c:pt>
                <c:pt idx="255">
                  <c:v>178.25515553302657</c:v>
                </c:pt>
                <c:pt idx="256">
                  <c:v>181.5552165809257</c:v>
                </c:pt>
                <c:pt idx="257">
                  <c:v>183.09017676892552</c:v>
                </c:pt>
                <c:pt idx="258">
                  <c:v>182.64132346431774</c:v>
                </c:pt>
                <c:pt idx="259">
                  <c:v>184.80792707258482</c:v>
                </c:pt>
                <c:pt idx="260">
                  <c:v>185.25923699898456</c:v>
                </c:pt>
                <c:pt idx="261">
                  <c:v>184.79996914757666</c:v>
                </c:pt>
                <c:pt idx="262">
                  <c:v>184.28301557850108</c:v>
                </c:pt>
                <c:pt idx="263">
                  <c:v>182.57403045630019</c:v>
                </c:pt>
                <c:pt idx="264">
                  <c:v>185.0975036491929</c:v>
                </c:pt>
                <c:pt idx="265">
                  <c:v>182.0043069303361</c:v>
                </c:pt>
                <c:pt idx="266">
                  <c:v>178.66097282082393</c:v>
                </c:pt>
                <c:pt idx="267">
                  <c:v>180.54037226874149</c:v>
                </c:pt>
                <c:pt idx="268">
                  <c:v>181.03369525330024</c:v>
                </c:pt>
                <c:pt idx="269">
                  <c:v>182.85801764125119</c:v>
                </c:pt>
                <c:pt idx="270">
                  <c:v>182.55055098382829</c:v>
                </c:pt>
                <c:pt idx="271">
                  <c:v>183.44870688559902</c:v>
                </c:pt>
                <c:pt idx="272">
                  <c:v>182.25735551073694</c:v>
                </c:pt>
                <c:pt idx="273">
                  <c:v>182.53688096728891</c:v>
                </c:pt>
                <c:pt idx="274">
                  <c:v>182.68528772361751</c:v>
                </c:pt>
                <c:pt idx="275">
                  <c:v>182.42579304829198</c:v>
                </c:pt>
                <c:pt idx="276">
                  <c:v>181.92985512643367</c:v>
                </c:pt>
                <c:pt idx="277">
                  <c:v>180.27602486963028</c:v>
                </c:pt>
                <c:pt idx="278">
                  <c:v>180.97456272416423</c:v>
                </c:pt>
                <c:pt idx="279">
                  <c:v>183.27954187864634</c:v>
                </c:pt>
                <c:pt idx="280">
                  <c:v>183.72390157484637</c:v>
                </c:pt>
                <c:pt idx="281">
                  <c:v>183.77792194842448</c:v>
                </c:pt>
                <c:pt idx="282">
                  <c:v>183.73483275235938</c:v>
                </c:pt>
                <c:pt idx="283">
                  <c:v>182.05859698634629</c:v>
                </c:pt>
                <c:pt idx="284">
                  <c:v>182.14921036438093</c:v>
                </c:pt>
                <c:pt idx="285">
                  <c:v>180.20406686077962</c:v>
                </c:pt>
                <c:pt idx="286">
                  <c:v>180.46162211153313</c:v>
                </c:pt>
                <c:pt idx="287">
                  <c:v>181.02250282854106</c:v>
                </c:pt>
                <c:pt idx="288">
                  <c:v>180.35777419201841</c:v>
                </c:pt>
                <c:pt idx="289">
                  <c:v>178.51209023009929</c:v>
                </c:pt>
                <c:pt idx="290">
                  <c:v>178.18869836897593</c:v>
                </c:pt>
                <c:pt idx="291">
                  <c:v>179.13373535709115</c:v>
                </c:pt>
                <c:pt idx="292">
                  <c:v>176.71183164847722</c:v>
                </c:pt>
                <c:pt idx="293">
                  <c:v>177.30105090667789</c:v>
                </c:pt>
                <c:pt idx="294">
                  <c:v>175.77910321089902</c:v>
                </c:pt>
                <c:pt idx="295">
                  <c:v>174.81509769200443</c:v>
                </c:pt>
                <c:pt idx="296">
                  <c:v>174.92594314067318</c:v>
                </c:pt>
                <c:pt idx="297">
                  <c:v>174.76777603400458</c:v>
                </c:pt>
                <c:pt idx="298">
                  <c:v>174.55066189607192</c:v>
                </c:pt>
                <c:pt idx="299">
                  <c:v>173.01882844945001</c:v>
                </c:pt>
                <c:pt idx="300">
                  <c:v>172.23248650154562</c:v>
                </c:pt>
                <c:pt idx="301">
                  <c:v>171.13544384061075</c:v>
                </c:pt>
                <c:pt idx="302">
                  <c:v>169.34078864620591</c:v>
                </c:pt>
                <c:pt idx="303">
                  <c:v>170.33080308241301</c:v>
                </c:pt>
                <c:pt idx="304">
                  <c:v>170.63400119987455</c:v>
                </c:pt>
                <c:pt idx="305">
                  <c:v>170.77416313920168</c:v>
                </c:pt>
                <c:pt idx="306">
                  <c:v>170.11189638217255</c:v>
                </c:pt>
                <c:pt idx="307">
                  <c:v>169.78322369341564</c:v>
                </c:pt>
                <c:pt idx="308">
                  <c:v>166.29127891110599</c:v>
                </c:pt>
                <c:pt idx="309">
                  <c:v>166.19120673284829</c:v>
                </c:pt>
                <c:pt idx="310">
                  <c:v>169.09907077523476</c:v>
                </c:pt>
                <c:pt idx="311">
                  <c:v>168.31930414502131</c:v>
                </c:pt>
                <c:pt idx="312">
                  <c:v>167.94179998391343</c:v>
                </c:pt>
                <c:pt idx="313">
                  <c:v>166.28778444929537</c:v>
                </c:pt>
                <c:pt idx="314">
                  <c:v>166.73859246326839</c:v>
                </c:pt>
                <c:pt idx="315">
                  <c:v>166.13616107614212</c:v>
                </c:pt>
                <c:pt idx="316">
                  <c:v>163.20363260799101</c:v>
                </c:pt>
                <c:pt idx="317">
                  <c:v>161.96612497232402</c:v>
                </c:pt>
                <c:pt idx="318">
                  <c:v>160.32395872924386</c:v>
                </c:pt>
                <c:pt idx="319">
                  <c:v>159.33991268206211</c:v>
                </c:pt>
                <c:pt idx="320">
                  <c:v>157.87968986898673</c:v>
                </c:pt>
                <c:pt idx="321">
                  <c:v>160.5402911442273</c:v>
                </c:pt>
                <c:pt idx="322">
                  <c:v>160.3508934865302</c:v>
                </c:pt>
                <c:pt idx="323">
                  <c:v>160.38537323289066</c:v>
                </c:pt>
                <c:pt idx="324">
                  <c:v>158.84911937521909</c:v>
                </c:pt>
                <c:pt idx="325">
                  <c:v>159.0654721770625</c:v>
                </c:pt>
                <c:pt idx="326">
                  <c:v>159.73345465493858</c:v>
                </c:pt>
                <c:pt idx="327">
                  <c:v>159.12155007862066</c:v>
                </c:pt>
                <c:pt idx="328">
                  <c:v>157.47150475816403</c:v>
                </c:pt>
                <c:pt idx="329">
                  <c:v>158.33376353942216</c:v>
                </c:pt>
                <c:pt idx="330">
                  <c:v>156.91017364588274</c:v>
                </c:pt>
                <c:pt idx="331">
                  <c:v>154.99280408593165</c:v>
                </c:pt>
                <c:pt idx="332">
                  <c:v>153.9100380335401</c:v>
                </c:pt>
                <c:pt idx="333">
                  <c:v>154.12045004856128</c:v>
                </c:pt>
                <c:pt idx="334">
                  <c:v>153.45532919665203</c:v>
                </c:pt>
                <c:pt idx="335">
                  <c:v>152.2424108609633</c:v>
                </c:pt>
                <c:pt idx="336">
                  <c:v>152.28951670334746</c:v>
                </c:pt>
                <c:pt idx="337">
                  <c:v>152.2763451403018</c:v>
                </c:pt>
                <c:pt idx="338">
                  <c:v>152.2482531486165</c:v>
                </c:pt>
                <c:pt idx="339">
                  <c:v>152.40383826686801</c:v>
                </c:pt>
                <c:pt idx="340">
                  <c:v>152.64493430174497</c:v>
                </c:pt>
                <c:pt idx="341">
                  <c:v>152.94136282779385</c:v>
                </c:pt>
                <c:pt idx="342">
                  <c:v>154.16582887354048</c:v>
                </c:pt>
                <c:pt idx="343">
                  <c:v>154.64951305170288</c:v>
                </c:pt>
                <c:pt idx="344">
                  <c:v>153.65568851856409</c:v>
                </c:pt>
                <c:pt idx="345">
                  <c:v>153.33735435649356</c:v>
                </c:pt>
                <c:pt idx="346">
                  <c:v>152.42290686093531</c:v>
                </c:pt>
                <c:pt idx="347">
                  <c:v>152.79477962765961</c:v>
                </c:pt>
                <c:pt idx="348">
                  <c:v>151.32598793409184</c:v>
                </c:pt>
                <c:pt idx="349">
                  <c:v>148.90534337557492</c:v>
                </c:pt>
                <c:pt idx="350">
                  <c:v>148.37884896842115</c:v>
                </c:pt>
                <c:pt idx="351">
                  <c:v>143.24542800383043</c:v>
                </c:pt>
                <c:pt idx="352">
                  <c:v>145.85701072670662</c:v>
                </c:pt>
                <c:pt idx="353">
                  <c:v>145.69982517399481</c:v>
                </c:pt>
                <c:pt idx="354">
                  <c:v>146.34508066935143</c:v>
                </c:pt>
                <c:pt idx="355">
                  <c:v>148.66814766573242</c:v>
                </c:pt>
                <c:pt idx="356">
                  <c:v>148.2208789155201</c:v>
                </c:pt>
                <c:pt idx="357">
                  <c:v>147.79072016482249</c:v>
                </c:pt>
                <c:pt idx="358">
                  <c:v>147.74927238889342</c:v>
                </c:pt>
                <c:pt idx="359">
                  <c:v>148.6271467125774</c:v>
                </c:pt>
                <c:pt idx="360">
                  <c:v>149.15352439578174</c:v>
                </c:pt>
                <c:pt idx="361">
                  <c:v>148.93344794362397</c:v>
                </c:pt>
                <c:pt idx="362">
                  <c:v>149.04019090295088</c:v>
                </c:pt>
                <c:pt idx="363">
                  <c:v>147.97725243705528</c:v>
                </c:pt>
                <c:pt idx="364">
                  <c:v>147.43172474796958</c:v>
                </c:pt>
                <c:pt idx="365">
                  <c:v>146.61076723687859</c:v>
                </c:pt>
                <c:pt idx="366">
                  <c:v>146.51974465031904</c:v>
                </c:pt>
                <c:pt idx="367">
                  <c:v>146.24438446941599</c:v>
                </c:pt>
                <c:pt idx="368">
                  <c:v>144.85889759890571</c:v>
                </c:pt>
                <c:pt idx="369">
                  <c:v>143.37135136533155</c:v>
                </c:pt>
                <c:pt idx="370">
                  <c:v>146.11562291893063</c:v>
                </c:pt>
                <c:pt idx="371">
                  <c:v>145.97447501565497</c:v>
                </c:pt>
                <c:pt idx="372">
                  <c:v>148.7128242216435</c:v>
                </c:pt>
                <c:pt idx="373">
                  <c:v>148.10885117970125</c:v>
                </c:pt>
                <c:pt idx="374">
                  <c:v>147.94920358188804</c:v>
                </c:pt>
                <c:pt idx="375">
                  <c:v>147.45104996267111</c:v>
                </c:pt>
                <c:pt idx="376">
                  <c:v>148.1785103749784</c:v>
                </c:pt>
                <c:pt idx="377">
                  <c:v>147.6396406074044</c:v>
                </c:pt>
                <c:pt idx="378">
                  <c:v>147.00659437161158</c:v>
                </c:pt>
                <c:pt idx="379">
                  <c:v>145.68542226067561</c:v>
                </c:pt>
                <c:pt idx="380">
                  <c:v>144.55364445279281</c:v>
                </c:pt>
                <c:pt idx="381">
                  <c:v>145.62220294198451</c:v>
                </c:pt>
                <c:pt idx="382">
                  <c:v>144.03111938364029</c:v>
                </c:pt>
                <c:pt idx="383">
                  <c:v>144.7907933255803</c:v>
                </c:pt>
                <c:pt idx="384">
                  <c:v>145.95072881992147</c:v>
                </c:pt>
                <c:pt idx="385">
                  <c:v>145.48268662049355</c:v>
                </c:pt>
                <c:pt idx="386">
                  <c:v>147.01979911659421</c:v>
                </c:pt>
                <c:pt idx="387">
                  <c:v>148.96282223282836</c:v>
                </c:pt>
                <c:pt idx="388">
                  <c:v>148.93201811620904</c:v>
                </c:pt>
                <c:pt idx="389">
                  <c:v>148.82586854003861</c:v>
                </c:pt>
                <c:pt idx="390">
                  <c:v>148.47722004312428</c:v>
                </c:pt>
                <c:pt idx="391">
                  <c:v>148.06016994634331</c:v>
                </c:pt>
                <c:pt idx="392">
                  <c:v>147.97291751057747</c:v>
                </c:pt>
                <c:pt idx="393">
                  <c:v>148.22548134576121</c:v>
                </c:pt>
                <c:pt idx="394">
                  <c:v>148.14332973839157</c:v>
                </c:pt>
                <c:pt idx="395">
                  <c:v>146.48592277991264</c:v>
                </c:pt>
                <c:pt idx="396">
                  <c:v>144.83969380551423</c:v>
                </c:pt>
                <c:pt idx="397">
                  <c:v>144.46539261941686</c:v>
                </c:pt>
                <c:pt idx="398">
                  <c:v>144.01340566404471</c:v>
                </c:pt>
                <c:pt idx="399">
                  <c:v>142.33755280536593</c:v>
                </c:pt>
                <c:pt idx="400">
                  <c:v>140.92701382507633</c:v>
                </c:pt>
                <c:pt idx="401">
                  <c:v>140.68074952600253</c:v>
                </c:pt>
                <c:pt idx="402">
                  <c:v>142.85638632941203</c:v>
                </c:pt>
                <c:pt idx="403">
                  <c:v>141.74033741509035</c:v>
                </c:pt>
                <c:pt idx="404">
                  <c:v>142.70141339741463</c:v>
                </c:pt>
                <c:pt idx="405">
                  <c:v>140.68463296648343</c:v>
                </c:pt>
                <c:pt idx="406">
                  <c:v>144.10340246447842</c:v>
                </c:pt>
                <c:pt idx="407">
                  <c:v>145.81335083530251</c:v>
                </c:pt>
                <c:pt idx="408">
                  <c:v>145.85470023976089</c:v>
                </c:pt>
                <c:pt idx="409">
                  <c:v>145.44180039764069</c:v>
                </c:pt>
                <c:pt idx="410">
                  <c:v>145.21204675446603</c:v>
                </c:pt>
                <c:pt idx="411">
                  <c:v>145.42912435834774</c:v>
                </c:pt>
                <c:pt idx="412">
                  <c:v>146.09183994996411</c:v>
                </c:pt>
                <c:pt idx="413">
                  <c:v>145.31496973547337</c:v>
                </c:pt>
                <c:pt idx="414">
                  <c:v>146.60945549209731</c:v>
                </c:pt>
                <c:pt idx="415">
                  <c:v>146.95451637983652</c:v>
                </c:pt>
                <c:pt idx="416">
                  <c:v>148.33181859787464</c:v>
                </c:pt>
                <c:pt idx="417">
                  <c:v>147.70793590217676</c:v>
                </c:pt>
                <c:pt idx="418">
                  <c:v>148.77660725091945</c:v>
                </c:pt>
                <c:pt idx="419">
                  <c:v>148.53808864689174</c:v>
                </c:pt>
                <c:pt idx="420">
                  <c:v>148.17505504293223</c:v>
                </c:pt>
                <c:pt idx="421">
                  <c:v>148.60950832826833</c:v>
                </c:pt>
                <c:pt idx="422">
                  <c:v>148.4856358699181</c:v>
                </c:pt>
                <c:pt idx="423">
                  <c:v>147.81532854471203</c:v>
                </c:pt>
                <c:pt idx="424">
                  <c:v>145.88152678267585</c:v>
                </c:pt>
                <c:pt idx="425">
                  <c:v>145.73074408337922</c:v>
                </c:pt>
                <c:pt idx="426">
                  <c:v>146.47547929377274</c:v>
                </c:pt>
                <c:pt idx="427">
                  <c:v>145.67481186245439</c:v>
                </c:pt>
                <c:pt idx="428">
                  <c:v>145.41676363614536</c:v>
                </c:pt>
                <c:pt idx="429">
                  <c:v>145.06163032508039</c:v>
                </c:pt>
                <c:pt idx="430">
                  <c:v>144.85532796884195</c:v>
                </c:pt>
                <c:pt idx="431">
                  <c:v>144.25349877030609</c:v>
                </c:pt>
                <c:pt idx="432">
                  <c:v>142.13419459659215</c:v>
                </c:pt>
                <c:pt idx="433">
                  <c:v>140.37987048454158</c:v>
                </c:pt>
                <c:pt idx="434">
                  <c:v>139.78853886672283</c:v>
                </c:pt>
                <c:pt idx="435">
                  <c:v>140.22725707961601</c:v>
                </c:pt>
                <c:pt idx="436">
                  <c:v>137.03212425986072</c:v>
                </c:pt>
                <c:pt idx="437">
                  <c:v>137.71076045199882</c:v>
                </c:pt>
                <c:pt idx="438">
                  <c:v>136.83110619200147</c:v>
                </c:pt>
                <c:pt idx="439">
                  <c:v>138.21596041852865</c:v>
                </c:pt>
                <c:pt idx="440">
                  <c:v>137.12198403473576</c:v>
                </c:pt>
                <c:pt idx="441">
                  <c:v>136.15789418636939</c:v>
                </c:pt>
                <c:pt idx="442">
                  <c:v>136.75700794885071</c:v>
                </c:pt>
                <c:pt idx="443">
                  <c:v>135.91033647196684</c:v>
                </c:pt>
                <c:pt idx="444">
                  <c:v>135.23884008652556</c:v>
                </c:pt>
                <c:pt idx="445">
                  <c:v>136.05737170253911</c:v>
                </c:pt>
                <c:pt idx="446">
                  <c:v>137.05983312172782</c:v>
                </c:pt>
                <c:pt idx="447">
                  <c:v>136.31384359091496</c:v>
                </c:pt>
                <c:pt idx="448">
                  <c:v>136.74433343448536</c:v>
                </c:pt>
                <c:pt idx="449">
                  <c:v>135.95399036722961</c:v>
                </c:pt>
                <c:pt idx="450">
                  <c:v>135.25520875586517</c:v>
                </c:pt>
                <c:pt idx="451">
                  <c:v>134.10370494024255</c:v>
                </c:pt>
                <c:pt idx="452">
                  <c:v>135.47612711329415</c:v>
                </c:pt>
                <c:pt idx="453">
                  <c:v>135.61600547759076</c:v>
                </c:pt>
                <c:pt idx="454">
                  <c:v>135.09204553766517</c:v>
                </c:pt>
                <c:pt idx="455">
                  <c:v>133.96763086203217</c:v>
                </c:pt>
                <c:pt idx="456">
                  <c:v>131.21127907383593</c:v>
                </c:pt>
                <c:pt idx="457">
                  <c:v>130.70338730694561</c:v>
                </c:pt>
                <c:pt idx="458">
                  <c:v>130.48784910715182</c:v>
                </c:pt>
                <c:pt idx="459">
                  <c:v>129.5421392164784</c:v>
                </c:pt>
                <c:pt idx="460">
                  <c:v>128.74925849135656</c:v>
                </c:pt>
                <c:pt idx="461">
                  <c:v>127.570393700221</c:v>
                </c:pt>
                <c:pt idx="462">
                  <c:v>125.808225701285</c:v>
                </c:pt>
                <c:pt idx="463">
                  <c:v>124.52429526971268</c:v>
                </c:pt>
                <c:pt idx="464">
                  <c:v>127.00830123478327</c:v>
                </c:pt>
                <c:pt idx="465">
                  <c:v>126.61799079335147</c:v>
                </c:pt>
                <c:pt idx="466">
                  <c:v>125.66098953664343</c:v>
                </c:pt>
                <c:pt idx="467">
                  <c:v>125.4597751950545</c:v>
                </c:pt>
                <c:pt idx="468">
                  <c:v>125.29965777026298</c:v>
                </c:pt>
                <c:pt idx="469">
                  <c:v>124.08889557208504</c:v>
                </c:pt>
                <c:pt idx="470">
                  <c:v>124.89635183558646</c:v>
                </c:pt>
                <c:pt idx="471">
                  <c:v>125.31261201019294</c:v>
                </c:pt>
                <c:pt idx="472">
                  <c:v>126.29738746030573</c:v>
                </c:pt>
                <c:pt idx="473">
                  <c:v>125.56104750444092</c:v>
                </c:pt>
                <c:pt idx="474">
                  <c:v>126.25872551715699</c:v>
                </c:pt>
                <c:pt idx="475">
                  <c:v>126.31617581268581</c:v>
                </c:pt>
                <c:pt idx="476">
                  <c:v>126.08872271798032</c:v>
                </c:pt>
                <c:pt idx="477">
                  <c:v>125.54576582089315</c:v>
                </c:pt>
                <c:pt idx="478">
                  <c:v>123.75528882959939</c:v>
                </c:pt>
                <c:pt idx="479">
                  <c:v>122.87671109751327</c:v>
                </c:pt>
                <c:pt idx="480">
                  <c:v>123.27198421881403</c:v>
                </c:pt>
                <c:pt idx="481">
                  <c:v>122.75931545882389</c:v>
                </c:pt>
                <c:pt idx="482">
                  <c:v>123.8155466876949</c:v>
                </c:pt>
                <c:pt idx="483">
                  <c:v>123.30515319297318</c:v>
                </c:pt>
                <c:pt idx="484">
                  <c:v>122.69648620122322</c:v>
                </c:pt>
                <c:pt idx="485">
                  <c:v>122.16774910721139</c:v>
                </c:pt>
                <c:pt idx="486">
                  <c:v>120.99337994728528</c:v>
                </c:pt>
                <c:pt idx="487">
                  <c:v>120.01374743325982</c:v>
                </c:pt>
                <c:pt idx="488">
                  <c:v>119.59382947616696</c:v>
                </c:pt>
                <c:pt idx="489">
                  <c:v>120.29447627453045</c:v>
                </c:pt>
                <c:pt idx="490">
                  <c:v>119.61077603493385</c:v>
                </c:pt>
                <c:pt idx="491">
                  <c:v>119.211147656097</c:v>
                </c:pt>
                <c:pt idx="492">
                  <c:v>118.71350441020911</c:v>
                </c:pt>
                <c:pt idx="493">
                  <c:v>117.21830334824001</c:v>
                </c:pt>
                <c:pt idx="494">
                  <c:v>115.82821790497174</c:v>
                </c:pt>
                <c:pt idx="495">
                  <c:v>114.63252294712633</c:v>
                </c:pt>
                <c:pt idx="496">
                  <c:v>113.89169317896959</c:v>
                </c:pt>
                <c:pt idx="497">
                  <c:v>112.93913774807375</c:v>
                </c:pt>
                <c:pt idx="498">
                  <c:v>112.60212842157533</c:v>
                </c:pt>
                <c:pt idx="499">
                  <c:v>113.10584345160042</c:v>
                </c:pt>
                <c:pt idx="500">
                  <c:v>112.78042500995723</c:v>
                </c:pt>
                <c:pt idx="501">
                  <c:v>111.42330444929726</c:v>
                </c:pt>
                <c:pt idx="502">
                  <c:v>112.69395955294789</c:v>
                </c:pt>
                <c:pt idx="503">
                  <c:v>113.30647126886159</c:v>
                </c:pt>
                <c:pt idx="504">
                  <c:v>115.36420391326634</c:v>
                </c:pt>
                <c:pt idx="505">
                  <c:v>116.32681838558585</c:v>
                </c:pt>
                <c:pt idx="506">
                  <c:v>116.68636844467903</c:v>
                </c:pt>
                <c:pt idx="507">
                  <c:v>116.52481933850888</c:v>
                </c:pt>
                <c:pt idx="508">
                  <c:v>116.35230786895369</c:v>
                </c:pt>
                <c:pt idx="509">
                  <c:v>116.7389048367293</c:v>
                </c:pt>
                <c:pt idx="510">
                  <c:v>116.32437732541678</c:v>
                </c:pt>
                <c:pt idx="511">
                  <c:v>116.06719171222768</c:v>
                </c:pt>
                <c:pt idx="512">
                  <c:v>115.6293640917676</c:v>
                </c:pt>
                <c:pt idx="513">
                  <c:v>115.48637042627051</c:v>
                </c:pt>
                <c:pt idx="514">
                  <c:v>116.00321298849799</c:v>
                </c:pt>
                <c:pt idx="515">
                  <c:v>115.23996633450825</c:v>
                </c:pt>
                <c:pt idx="516">
                  <c:v>115.63658941486185</c:v>
                </c:pt>
                <c:pt idx="517">
                  <c:v>117.1938314889827</c:v>
                </c:pt>
                <c:pt idx="518">
                  <c:v>117.47014125625377</c:v>
                </c:pt>
                <c:pt idx="519">
                  <c:v>114.84420908423878</c:v>
                </c:pt>
                <c:pt idx="520">
                  <c:v>115.44226598322922</c:v>
                </c:pt>
                <c:pt idx="521">
                  <c:v>114.23231276161611</c:v>
                </c:pt>
                <c:pt idx="522">
                  <c:v>114.42596257140745</c:v>
                </c:pt>
                <c:pt idx="523">
                  <c:v>114.36555855622676</c:v>
                </c:pt>
                <c:pt idx="524">
                  <c:v>115.68469979014426</c:v>
                </c:pt>
                <c:pt idx="525">
                  <c:v>116.5882265821046</c:v>
                </c:pt>
                <c:pt idx="526">
                  <c:v>117.23364077267935</c:v>
                </c:pt>
                <c:pt idx="527">
                  <c:v>117.95130014498761</c:v>
                </c:pt>
                <c:pt idx="528">
                  <c:v>117.49522926201558</c:v>
                </c:pt>
                <c:pt idx="529">
                  <c:v>117.08640463291724</c:v>
                </c:pt>
                <c:pt idx="530">
                  <c:v>116.1780589873203</c:v>
                </c:pt>
                <c:pt idx="531">
                  <c:v>116.69458727104043</c:v>
                </c:pt>
                <c:pt idx="532">
                  <c:v>116.15627927751208</c:v>
                </c:pt>
                <c:pt idx="533">
                  <c:v>116.54021988653155</c:v>
                </c:pt>
                <c:pt idx="534">
                  <c:v>116.69529612931842</c:v>
                </c:pt>
                <c:pt idx="535">
                  <c:v>115.76950130735136</c:v>
                </c:pt>
                <c:pt idx="536">
                  <c:v>114.25347132495773</c:v>
                </c:pt>
                <c:pt idx="537">
                  <c:v>113.89010272271689</c:v>
                </c:pt>
                <c:pt idx="538">
                  <c:v>114.76540090295194</c:v>
                </c:pt>
                <c:pt idx="539">
                  <c:v>114.79085937209908</c:v>
                </c:pt>
                <c:pt idx="540">
                  <c:v>114.56164325454591</c:v>
                </c:pt>
                <c:pt idx="541">
                  <c:v>114.71419325723197</c:v>
                </c:pt>
                <c:pt idx="542">
                  <c:v>113.93053044229902</c:v>
                </c:pt>
                <c:pt idx="543">
                  <c:v>115.00656088893624</c:v>
                </c:pt>
                <c:pt idx="544">
                  <c:v>115.66350680231369</c:v>
                </c:pt>
                <c:pt idx="545">
                  <c:v>115.74761940853602</c:v>
                </c:pt>
                <c:pt idx="546">
                  <c:v>115.58533504515385</c:v>
                </c:pt>
                <c:pt idx="547">
                  <c:v>114.87733641253833</c:v>
                </c:pt>
                <c:pt idx="548">
                  <c:v>115.31743341614546</c:v>
                </c:pt>
                <c:pt idx="549">
                  <c:v>115.61587905860878</c:v>
                </c:pt>
                <c:pt idx="550">
                  <c:v>114.82379309845696</c:v>
                </c:pt>
                <c:pt idx="551">
                  <c:v>115.33040554028054</c:v>
                </c:pt>
                <c:pt idx="552">
                  <c:v>116.86215317757792</c:v>
                </c:pt>
                <c:pt idx="553">
                  <c:v>117.32756208632053</c:v>
                </c:pt>
                <c:pt idx="554">
                  <c:v>116.72122501139022</c:v>
                </c:pt>
                <c:pt idx="555">
                  <c:v>116.63641481611134</c:v>
                </c:pt>
                <c:pt idx="556">
                  <c:v>115.20293105637387</c:v>
                </c:pt>
                <c:pt idx="557">
                  <c:v>114.60781535517073</c:v>
                </c:pt>
                <c:pt idx="558">
                  <c:v>113.22929090118583</c:v>
                </c:pt>
                <c:pt idx="559">
                  <c:v>113.97326803501643</c:v>
                </c:pt>
                <c:pt idx="560">
                  <c:v>114.14836653381941</c:v>
                </c:pt>
                <c:pt idx="561">
                  <c:v>114.34939264160298</c:v>
                </c:pt>
                <c:pt idx="562">
                  <c:v>114.0326178809073</c:v>
                </c:pt>
                <c:pt idx="563">
                  <c:v>111.45659554180946</c:v>
                </c:pt>
                <c:pt idx="564">
                  <c:v>111.38871299530092</c:v>
                </c:pt>
                <c:pt idx="565">
                  <c:v>110.83505096764374</c:v>
                </c:pt>
                <c:pt idx="566">
                  <c:v>110.49866957465595</c:v>
                </c:pt>
                <c:pt idx="567">
                  <c:v>110.70284289351262</c:v>
                </c:pt>
                <c:pt idx="568">
                  <c:v>109.58665904117929</c:v>
                </c:pt>
                <c:pt idx="569">
                  <c:v>108.97947385664901</c:v>
                </c:pt>
                <c:pt idx="570">
                  <c:v>109.29224845473901</c:v>
                </c:pt>
                <c:pt idx="571">
                  <c:v>108.50199591966279</c:v>
                </c:pt>
                <c:pt idx="572">
                  <c:v>107.93564384942472</c:v>
                </c:pt>
                <c:pt idx="573">
                  <c:v>108.71872824724488</c:v>
                </c:pt>
                <c:pt idx="574">
                  <c:v>107.96998441815849</c:v>
                </c:pt>
                <c:pt idx="575">
                  <c:v>106.80175215034021</c:v>
                </c:pt>
                <c:pt idx="576">
                  <c:v>106.85305309096761</c:v>
                </c:pt>
                <c:pt idx="577">
                  <c:v>107.48320115929744</c:v>
                </c:pt>
                <c:pt idx="578">
                  <c:v>106.52819798461137</c:v>
                </c:pt>
                <c:pt idx="579">
                  <c:v>105.84567257154706</c:v>
                </c:pt>
                <c:pt idx="580">
                  <c:v>105.58409748255599</c:v>
                </c:pt>
                <c:pt idx="581">
                  <c:v>106.30408387894194</c:v>
                </c:pt>
                <c:pt idx="582">
                  <c:v>105.53088748512693</c:v>
                </c:pt>
                <c:pt idx="583">
                  <c:v>104.48857250191874</c:v>
                </c:pt>
                <c:pt idx="584">
                  <c:v>103.96137792232682</c:v>
                </c:pt>
                <c:pt idx="585">
                  <c:v>102.6146621286545</c:v>
                </c:pt>
                <c:pt idx="586">
                  <c:v>102.83497704448719</c:v>
                </c:pt>
                <c:pt idx="587">
                  <c:v>103.5121728446402</c:v>
                </c:pt>
                <c:pt idx="588">
                  <c:v>103.54294885248275</c:v>
                </c:pt>
                <c:pt idx="589">
                  <c:v>103.43716467842965</c:v>
                </c:pt>
                <c:pt idx="590">
                  <c:v>102.9300897162896</c:v>
                </c:pt>
                <c:pt idx="591">
                  <c:v>102.31573138854732</c:v>
                </c:pt>
                <c:pt idx="592">
                  <c:v>100.99255499387098</c:v>
                </c:pt>
                <c:pt idx="593">
                  <c:v>100.31740508056191</c:v>
                </c:pt>
                <c:pt idx="594">
                  <c:v>99.283627090282707</c:v>
                </c:pt>
                <c:pt idx="595">
                  <c:v>99.228229829529013</c:v>
                </c:pt>
                <c:pt idx="596">
                  <c:v>99.301525083291722</c:v>
                </c:pt>
                <c:pt idx="597">
                  <c:v>100.24294562873833</c:v>
                </c:pt>
                <c:pt idx="598">
                  <c:v>99.509252850173155</c:v>
                </c:pt>
                <c:pt idx="599">
                  <c:v>98.71432627005953</c:v>
                </c:pt>
                <c:pt idx="600">
                  <c:v>98.679921276622409</c:v>
                </c:pt>
                <c:pt idx="601">
                  <c:v>97.885158652009039</c:v>
                </c:pt>
                <c:pt idx="602">
                  <c:v>97.136510806383626</c:v>
                </c:pt>
                <c:pt idx="603">
                  <c:v>96.368409892604433</c:v>
                </c:pt>
                <c:pt idx="604">
                  <c:v>96.524445084615053</c:v>
                </c:pt>
                <c:pt idx="605">
                  <c:v>96.279910863149709</c:v>
                </c:pt>
                <c:pt idx="606">
                  <c:v>95.467935920501262</c:v>
                </c:pt>
                <c:pt idx="607">
                  <c:v>95.233585477405853</c:v>
                </c:pt>
                <c:pt idx="608">
                  <c:v>94.659592133971373</c:v>
                </c:pt>
                <c:pt idx="609">
                  <c:v>94.312677449068289</c:v>
                </c:pt>
                <c:pt idx="610">
                  <c:v>93.310085927168259</c:v>
                </c:pt>
                <c:pt idx="611">
                  <c:v>93.993652229205864</c:v>
                </c:pt>
                <c:pt idx="612">
                  <c:v>94.782808649658691</c:v>
                </c:pt>
                <c:pt idx="613">
                  <c:v>94.912610223615715</c:v>
                </c:pt>
                <c:pt idx="614">
                  <c:v>95.388485161609978</c:v>
                </c:pt>
                <c:pt idx="615">
                  <c:v>95.070822928128607</c:v>
                </c:pt>
                <c:pt idx="616">
                  <c:v>95.09302617900309</c:v>
                </c:pt>
                <c:pt idx="617">
                  <c:v>95.540923193094969</c:v>
                </c:pt>
                <c:pt idx="618">
                  <c:v>95.559140770090195</c:v>
                </c:pt>
                <c:pt idx="619">
                  <c:v>95.495535265921447</c:v>
                </c:pt>
                <c:pt idx="620">
                  <c:v>95.000952526723538</c:v>
                </c:pt>
                <c:pt idx="621">
                  <c:v>95.166821316389289</c:v>
                </c:pt>
                <c:pt idx="622">
                  <c:v>94.687907911056499</c:v>
                </c:pt>
                <c:pt idx="623">
                  <c:v>94.742367037626423</c:v>
                </c:pt>
                <c:pt idx="624">
                  <c:v>94.78350316709907</c:v>
                </c:pt>
                <c:pt idx="625">
                  <c:v>93.942134591149951</c:v>
                </c:pt>
                <c:pt idx="626">
                  <c:v>93.446372923671987</c:v>
                </c:pt>
                <c:pt idx="627">
                  <c:v>93.507894386764136</c:v>
                </c:pt>
                <c:pt idx="628">
                  <c:v>93.543522602425298</c:v>
                </c:pt>
                <c:pt idx="629">
                  <c:v>93.95935424958239</c:v>
                </c:pt>
                <c:pt idx="630">
                  <c:v>93.666470540212558</c:v>
                </c:pt>
                <c:pt idx="631">
                  <c:v>94.421178075799631</c:v>
                </c:pt>
                <c:pt idx="632">
                  <c:v>94.134562617368701</c:v>
                </c:pt>
                <c:pt idx="633">
                  <c:v>93.085549915315482</c:v>
                </c:pt>
                <c:pt idx="634">
                  <c:v>93.417916718397493</c:v>
                </c:pt>
                <c:pt idx="635">
                  <c:v>93.803530693341401</c:v>
                </c:pt>
                <c:pt idx="636">
                  <c:v>92.036683661568944</c:v>
                </c:pt>
                <c:pt idx="637">
                  <c:v>91.909584533090751</c:v>
                </c:pt>
                <c:pt idx="638">
                  <c:v>91.540891755996995</c:v>
                </c:pt>
                <c:pt idx="639">
                  <c:v>90.870727300710286</c:v>
                </c:pt>
                <c:pt idx="640">
                  <c:v>90.257314934933476</c:v>
                </c:pt>
                <c:pt idx="641">
                  <c:v>90.061535113596364</c:v>
                </c:pt>
                <c:pt idx="642">
                  <c:v>89.586390984280541</c:v>
                </c:pt>
                <c:pt idx="643">
                  <c:v>89.018217287047136</c:v>
                </c:pt>
                <c:pt idx="644">
                  <c:v>89.150543355254882</c:v>
                </c:pt>
                <c:pt idx="645">
                  <c:v>88.540241536563329</c:v>
                </c:pt>
                <c:pt idx="646">
                  <c:v>89.031214070840605</c:v>
                </c:pt>
                <c:pt idx="647">
                  <c:v>88.849904851930788</c:v>
                </c:pt>
                <c:pt idx="648">
                  <c:v>88.095039997707133</c:v>
                </c:pt>
                <c:pt idx="649">
                  <c:v>88.309964171707591</c:v>
                </c:pt>
                <c:pt idx="650">
                  <c:v>88.385258244852281</c:v>
                </c:pt>
                <c:pt idx="651">
                  <c:v>88.796016925641325</c:v>
                </c:pt>
                <c:pt idx="652">
                  <c:v>88.317618284491914</c:v>
                </c:pt>
                <c:pt idx="653">
                  <c:v>88.119978829444946</c:v>
                </c:pt>
                <c:pt idx="654">
                  <c:v>88.175666029361267</c:v>
                </c:pt>
                <c:pt idx="655">
                  <c:v>88.848864043238351</c:v>
                </c:pt>
                <c:pt idx="656">
                  <c:v>89.085344072411218</c:v>
                </c:pt>
                <c:pt idx="657">
                  <c:v>89.233244286531601</c:v>
                </c:pt>
                <c:pt idx="658">
                  <c:v>89.582279073359899</c:v>
                </c:pt>
                <c:pt idx="659">
                  <c:v>89.219646659401775</c:v>
                </c:pt>
                <c:pt idx="660">
                  <c:v>89.098876717028048</c:v>
                </c:pt>
                <c:pt idx="661">
                  <c:v>89.183101889159857</c:v>
                </c:pt>
                <c:pt idx="662">
                  <c:v>88.90503379545919</c:v>
                </c:pt>
                <c:pt idx="663">
                  <c:v>89.514349922675223</c:v>
                </c:pt>
                <c:pt idx="664">
                  <c:v>90.166940261872114</c:v>
                </c:pt>
                <c:pt idx="665">
                  <c:v>90.030532943532464</c:v>
                </c:pt>
                <c:pt idx="666">
                  <c:v>90.109464635075028</c:v>
                </c:pt>
                <c:pt idx="667">
                  <c:v>90.525383812697513</c:v>
                </c:pt>
                <c:pt idx="668">
                  <c:v>90.704792456374477</c:v>
                </c:pt>
                <c:pt idx="669">
                  <c:v>91.080907693208644</c:v>
                </c:pt>
                <c:pt idx="670">
                  <c:v>91.84059214549454</c:v>
                </c:pt>
                <c:pt idx="671">
                  <c:v>90.945418168507686</c:v>
                </c:pt>
                <c:pt idx="672">
                  <c:v>90.779851346157812</c:v>
                </c:pt>
                <c:pt idx="673">
                  <c:v>91.159480462494045</c:v>
                </c:pt>
                <c:pt idx="674">
                  <c:v>91.647224316484426</c:v>
                </c:pt>
                <c:pt idx="675">
                  <c:v>91.489345573071617</c:v>
                </c:pt>
                <c:pt idx="676">
                  <c:v>91.945255540698227</c:v>
                </c:pt>
                <c:pt idx="677">
                  <c:v>90.815154558546908</c:v>
                </c:pt>
                <c:pt idx="678">
                  <c:v>90.847280300207387</c:v>
                </c:pt>
                <c:pt idx="679">
                  <c:v>90.472580648096724</c:v>
                </c:pt>
                <c:pt idx="680">
                  <c:v>91.206579058638098</c:v>
                </c:pt>
                <c:pt idx="681">
                  <c:v>91.532635286883121</c:v>
                </c:pt>
                <c:pt idx="682">
                  <c:v>91.95033945177596</c:v>
                </c:pt>
                <c:pt idx="683">
                  <c:v>92.216517623231525</c:v>
                </c:pt>
                <c:pt idx="684">
                  <c:v>92.492729553720736</c:v>
                </c:pt>
                <c:pt idx="685">
                  <c:v>92.309103175029605</c:v>
                </c:pt>
                <c:pt idx="686">
                  <c:v>93.296400040581986</c:v>
                </c:pt>
                <c:pt idx="687">
                  <c:v>94.227524890787279</c:v>
                </c:pt>
                <c:pt idx="688">
                  <c:v>93.532517268837367</c:v>
                </c:pt>
                <c:pt idx="689">
                  <c:v>94.290714804739267</c:v>
                </c:pt>
                <c:pt idx="690">
                  <c:v>94.620085458879686</c:v>
                </c:pt>
                <c:pt idx="691">
                  <c:v>94.061990625058712</c:v>
                </c:pt>
                <c:pt idx="692">
                  <c:v>94.189030737777955</c:v>
                </c:pt>
                <c:pt idx="693">
                  <c:v>94.384698189498209</c:v>
                </c:pt>
                <c:pt idx="694">
                  <c:v>94.467769603077116</c:v>
                </c:pt>
                <c:pt idx="695">
                  <c:v>94.552064116406711</c:v>
                </c:pt>
                <c:pt idx="696">
                  <c:v>95.0846702221871</c:v>
                </c:pt>
                <c:pt idx="697">
                  <c:v>94.916219011248458</c:v>
                </c:pt>
                <c:pt idx="698">
                  <c:v>94.150964799653323</c:v>
                </c:pt>
                <c:pt idx="699">
                  <c:v>94.921380126820779</c:v>
                </c:pt>
                <c:pt idx="700">
                  <c:v>94.271477818784831</c:v>
                </c:pt>
                <c:pt idx="701">
                  <c:v>94.540969190154058</c:v>
                </c:pt>
                <c:pt idx="702">
                  <c:v>93.924979172762164</c:v>
                </c:pt>
                <c:pt idx="703">
                  <c:v>94.130379173760929</c:v>
                </c:pt>
                <c:pt idx="704">
                  <c:v>94.459014282959927</c:v>
                </c:pt>
                <c:pt idx="705">
                  <c:v>94.248556740406244</c:v>
                </c:pt>
                <c:pt idx="706">
                  <c:v>94.615182680298048</c:v>
                </c:pt>
                <c:pt idx="707">
                  <c:v>94.574114295410453</c:v>
                </c:pt>
                <c:pt idx="708">
                  <c:v>94.873958758053746</c:v>
                </c:pt>
                <c:pt idx="709">
                  <c:v>95.983953760386044</c:v>
                </c:pt>
                <c:pt idx="710">
                  <c:v>96.177991314668262</c:v>
                </c:pt>
                <c:pt idx="711">
                  <c:v>94.189060425918143</c:v>
                </c:pt>
                <c:pt idx="712">
                  <c:v>94.296463097263626</c:v>
                </c:pt>
                <c:pt idx="713">
                  <c:v>94.355304320361412</c:v>
                </c:pt>
                <c:pt idx="714">
                  <c:v>95.428550220459755</c:v>
                </c:pt>
                <c:pt idx="715">
                  <c:v>95.880290329566421</c:v>
                </c:pt>
                <c:pt idx="716">
                  <c:v>95.436262629223009</c:v>
                </c:pt>
                <c:pt idx="717">
                  <c:v>95.419508585751743</c:v>
                </c:pt>
                <c:pt idx="718">
                  <c:v>95.46186201702497</c:v>
                </c:pt>
                <c:pt idx="719">
                  <c:v>95.375183696187293</c:v>
                </c:pt>
                <c:pt idx="720">
                  <c:v>96.183063613039394</c:v>
                </c:pt>
                <c:pt idx="721">
                  <c:v>96.777212749907463</c:v>
                </c:pt>
                <c:pt idx="722">
                  <c:v>97.288217194461154</c:v>
                </c:pt>
                <c:pt idx="723">
                  <c:v>97.637659058207348</c:v>
                </c:pt>
                <c:pt idx="724">
                  <c:v>97.774984506395157</c:v>
                </c:pt>
                <c:pt idx="725">
                  <c:v>97.735527184827276</c:v>
                </c:pt>
                <c:pt idx="726">
                  <c:v>97.442765792182598</c:v>
                </c:pt>
                <c:pt idx="727">
                  <c:v>96.860777200749155</c:v>
                </c:pt>
                <c:pt idx="728">
                  <c:v>96.630977785779535</c:v>
                </c:pt>
                <c:pt idx="729">
                  <c:v>96.215127482483169</c:v>
                </c:pt>
                <c:pt idx="730">
                  <c:v>95.861107646441511</c:v>
                </c:pt>
                <c:pt idx="731">
                  <c:v>95.39149372091083</c:v>
                </c:pt>
                <c:pt idx="732">
                  <c:v>95.315503110546899</c:v>
                </c:pt>
                <c:pt idx="733">
                  <c:v>95.673699692721911</c:v>
                </c:pt>
                <c:pt idx="734">
                  <c:v>95.984589550486092</c:v>
                </c:pt>
                <c:pt idx="735">
                  <c:v>96.561653216792052</c:v>
                </c:pt>
                <c:pt idx="736">
                  <c:v>97.149321213350888</c:v>
                </c:pt>
                <c:pt idx="737">
                  <c:v>97.13135060897946</c:v>
                </c:pt>
                <c:pt idx="738">
                  <c:v>96.643254560174555</c:v>
                </c:pt>
                <c:pt idx="739">
                  <c:v>96.494444341023183</c:v>
                </c:pt>
                <c:pt idx="740">
                  <c:v>97.386170616492905</c:v>
                </c:pt>
                <c:pt idx="741">
                  <c:v>98.501049897152527</c:v>
                </c:pt>
                <c:pt idx="742">
                  <c:v>99.454997320528477</c:v>
                </c:pt>
                <c:pt idx="743">
                  <c:v>100.17456822763728</c:v>
                </c:pt>
                <c:pt idx="744">
                  <c:v>100.02227460368786</c:v>
                </c:pt>
                <c:pt idx="745">
                  <c:v>99.428945491788923</c:v>
                </c:pt>
                <c:pt idx="746">
                  <c:v>97.887419323210224</c:v>
                </c:pt>
                <c:pt idx="747">
                  <c:v>96.599164436109163</c:v>
                </c:pt>
                <c:pt idx="748">
                  <c:v>97.22615947221702</c:v>
                </c:pt>
                <c:pt idx="749">
                  <c:v>96.535316414990717</c:v>
                </c:pt>
                <c:pt idx="750">
                  <c:v>96.099335938937202</c:v>
                </c:pt>
                <c:pt idx="751">
                  <c:v>95.650824954303232</c:v>
                </c:pt>
                <c:pt idx="752">
                  <c:v>96.123900781832859</c:v>
                </c:pt>
                <c:pt idx="753">
                  <c:v>95.871481538099516</c:v>
                </c:pt>
                <c:pt idx="754">
                  <c:v>95.774637478756887</c:v>
                </c:pt>
                <c:pt idx="755">
                  <c:v>95.553305777154435</c:v>
                </c:pt>
                <c:pt idx="756">
                  <c:v>95.542135828244838</c:v>
                </c:pt>
                <c:pt idx="757">
                  <c:v>95.091586029799203</c:v>
                </c:pt>
                <c:pt idx="758">
                  <c:v>94.975551915658272</c:v>
                </c:pt>
                <c:pt idx="759">
                  <c:v>94.865838984894523</c:v>
                </c:pt>
                <c:pt idx="760">
                  <c:v>96.171740152386903</c:v>
                </c:pt>
                <c:pt idx="761">
                  <c:v>96.855512999675909</c:v>
                </c:pt>
                <c:pt idx="762">
                  <c:v>97.315001424488742</c:v>
                </c:pt>
                <c:pt idx="763">
                  <c:v>97.230911825881847</c:v>
                </c:pt>
                <c:pt idx="764">
                  <c:v>96.401074059260651</c:v>
                </c:pt>
                <c:pt idx="765">
                  <c:v>95.744668920652984</c:v>
                </c:pt>
                <c:pt idx="766">
                  <c:v>95.041885900146326</c:v>
                </c:pt>
                <c:pt idx="767">
                  <c:v>93.672615247405346</c:v>
                </c:pt>
                <c:pt idx="768">
                  <c:v>93.16936039195042</c:v>
                </c:pt>
                <c:pt idx="769">
                  <c:v>92.590079408561351</c:v>
                </c:pt>
                <c:pt idx="770">
                  <c:v>93.803952805502291</c:v>
                </c:pt>
                <c:pt idx="771">
                  <c:v>94.211634837253399</c:v>
                </c:pt>
                <c:pt idx="772">
                  <c:v>94.256650170880249</c:v>
                </c:pt>
                <c:pt idx="773">
                  <c:v>95.056683959544216</c:v>
                </c:pt>
                <c:pt idx="774">
                  <c:v>92.680788362008883</c:v>
                </c:pt>
                <c:pt idx="775">
                  <c:v>92.648980683041842</c:v>
                </c:pt>
                <c:pt idx="776">
                  <c:v>93.981686454698774</c:v>
                </c:pt>
                <c:pt idx="777">
                  <c:v>94.819219770490605</c:v>
                </c:pt>
                <c:pt idx="778">
                  <c:v>95.248195813999843</c:v>
                </c:pt>
                <c:pt idx="779">
                  <c:v>95.025868812524649</c:v>
                </c:pt>
                <c:pt idx="780">
                  <c:v>94.798906633509986</c:v>
                </c:pt>
                <c:pt idx="781">
                  <c:v>94.700643843258447</c:v>
                </c:pt>
                <c:pt idx="782">
                  <c:v>94.608199261757548</c:v>
                </c:pt>
                <c:pt idx="783">
                  <c:v>93.847932467075921</c:v>
                </c:pt>
                <c:pt idx="784">
                  <c:v>93.518974964100963</c:v>
                </c:pt>
                <c:pt idx="785">
                  <c:v>93.332501634214864</c:v>
                </c:pt>
                <c:pt idx="786">
                  <c:v>93.655873721302711</c:v>
                </c:pt>
                <c:pt idx="787">
                  <c:v>94.331387886003768</c:v>
                </c:pt>
                <c:pt idx="788">
                  <c:v>93.326967536352129</c:v>
                </c:pt>
                <c:pt idx="789">
                  <c:v>93.439601269681248</c:v>
                </c:pt>
                <c:pt idx="790">
                  <c:v>93.461659128128218</c:v>
                </c:pt>
                <c:pt idx="791">
                  <c:v>93.697143787272893</c:v>
                </c:pt>
                <c:pt idx="792">
                  <c:v>93.526156424991569</c:v>
                </c:pt>
                <c:pt idx="793">
                  <c:v>93.0090559085682</c:v>
                </c:pt>
                <c:pt idx="794">
                  <c:v>94.369964750431095</c:v>
                </c:pt>
                <c:pt idx="795">
                  <c:v>95.352040898880915</c:v>
                </c:pt>
                <c:pt idx="796">
                  <c:v>95.519999502053111</c:v>
                </c:pt>
                <c:pt idx="797">
                  <c:v>95.356901247001261</c:v>
                </c:pt>
                <c:pt idx="798">
                  <c:v>94.600105098718373</c:v>
                </c:pt>
                <c:pt idx="799">
                  <c:v>95.478787644553833</c:v>
                </c:pt>
                <c:pt idx="800">
                  <c:v>95.16662315071865</c:v>
                </c:pt>
                <c:pt idx="801">
                  <c:v>95.367925579175406</c:v>
                </c:pt>
                <c:pt idx="802">
                  <c:v>95.120968027340581</c:v>
                </c:pt>
                <c:pt idx="803">
                  <c:v>95.415703435537196</c:v>
                </c:pt>
                <c:pt idx="804">
                  <c:v>93.719327704252464</c:v>
                </c:pt>
                <c:pt idx="805">
                  <c:v>94.439401171742645</c:v>
                </c:pt>
                <c:pt idx="806">
                  <c:v>94.38851396107485</c:v>
                </c:pt>
                <c:pt idx="807">
                  <c:v>94.235859815241881</c:v>
                </c:pt>
                <c:pt idx="808">
                  <c:v>93.12545374990485</c:v>
                </c:pt>
                <c:pt idx="809">
                  <c:v>92.895936636956847</c:v>
                </c:pt>
                <c:pt idx="810">
                  <c:v>91.47523175264422</c:v>
                </c:pt>
                <c:pt idx="811">
                  <c:v>92.423946611496902</c:v>
                </c:pt>
                <c:pt idx="812">
                  <c:v>93.073237787807912</c:v>
                </c:pt>
                <c:pt idx="813">
                  <c:v>93.408450725446784</c:v>
                </c:pt>
                <c:pt idx="814">
                  <c:v>93.584611345651609</c:v>
                </c:pt>
                <c:pt idx="815">
                  <c:v>93.394407178797735</c:v>
                </c:pt>
                <c:pt idx="816">
                  <c:v>93.330315790856886</c:v>
                </c:pt>
                <c:pt idx="817">
                  <c:v>93.0816715349102</c:v>
                </c:pt>
                <c:pt idx="818">
                  <c:v>92.775521490040376</c:v>
                </c:pt>
                <c:pt idx="819">
                  <c:v>92.157648877780588</c:v>
                </c:pt>
                <c:pt idx="820">
                  <c:v>91.30753519713339</c:v>
                </c:pt>
                <c:pt idx="821">
                  <c:v>91.947060581184431</c:v>
                </c:pt>
                <c:pt idx="822">
                  <c:v>91.419551669143132</c:v>
                </c:pt>
                <c:pt idx="823">
                  <c:v>91.103655476917822</c:v>
                </c:pt>
                <c:pt idx="824">
                  <c:v>90.578014695349168</c:v>
                </c:pt>
                <c:pt idx="825">
                  <c:v>89.955377384546935</c:v>
                </c:pt>
                <c:pt idx="826">
                  <c:v>89.832851692281309</c:v>
                </c:pt>
                <c:pt idx="827">
                  <c:v>89.914902292072213</c:v>
                </c:pt>
                <c:pt idx="828">
                  <c:v>89.365135505654337</c:v>
                </c:pt>
                <c:pt idx="829">
                  <c:v>89.528422769261724</c:v>
                </c:pt>
                <c:pt idx="830">
                  <c:v>89.717157023294504</c:v>
                </c:pt>
                <c:pt idx="831">
                  <c:v>89.780960618792449</c:v>
                </c:pt>
                <c:pt idx="832">
                  <c:v>89.522974748374466</c:v>
                </c:pt>
                <c:pt idx="833">
                  <c:v>88.988575208967376</c:v>
                </c:pt>
                <c:pt idx="834">
                  <c:v>87.800036290811136</c:v>
                </c:pt>
                <c:pt idx="835">
                  <c:v>88.727665667373032</c:v>
                </c:pt>
                <c:pt idx="836">
                  <c:v>87.031231236308344</c:v>
                </c:pt>
                <c:pt idx="837">
                  <c:v>86.87528994754669</c:v>
                </c:pt>
                <c:pt idx="838">
                  <c:v>88.20076254780075</c:v>
                </c:pt>
                <c:pt idx="839">
                  <c:v>89.636058936602922</c:v>
                </c:pt>
                <c:pt idx="840">
                  <c:v>89.310023322294015</c:v>
                </c:pt>
                <c:pt idx="841">
                  <c:v>89.235204135634831</c:v>
                </c:pt>
                <c:pt idx="842">
                  <c:v>90.929630841989649</c:v>
                </c:pt>
                <c:pt idx="843">
                  <c:v>91.238814055630584</c:v>
                </c:pt>
                <c:pt idx="844">
                  <c:v>90.376057622267069</c:v>
                </c:pt>
                <c:pt idx="845">
                  <c:v>90.22595566481678</c:v>
                </c:pt>
                <c:pt idx="846">
                  <c:v>90.960595001091207</c:v>
                </c:pt>
                <c:pt idx="847">
                  <c:v>90.996770018642366</c:v>
                </c:pt>
                <c:pt idx="848">
                  <c:v>91.722671147222101</c:v>
                </c:pt>
                <c:pt idx="849">
                  <c:v>91.507199554549885</c:v>
                </c:pt>
                <c:pt idx="850">
                  <c:v>92.524331958532116</c:v>
                </c:pt>
                <c:pt idx="851">
                  <c:v>92.877152343781546</c:v>
                </c:pt>
                <c:pt idx="852">
                  <c:v>92.689631075896557</c:v>
                </c:pt>
                <c:pt idx="853">
                  <c:v>91.543267696064348</c:v>
                </c:pt>
                <c:pt idx="854">
                  <c:v>90.916999806108905</c:v>
                </c:pt>
                <c:pt idx="855">
                  <c:v>92.195898161188865</c:v>
                </c:pt>
                <c:pt idx="856">
                  <c:v>93.563620183514203</c:v>
                </c:pt>
                <c:pt idx="857">
                  <c:v>94.535892625933471</c:v>
                </c:pt>
                <c:pt idx="858">
                  <c:v>91.966294243158387</c:v>
                </c:pt>
                <c:pt idx="859">
                  <c:v>93.923219165542747</c:v>
                </c:pt>
                <c:pt idx="860">
                  <c:v>93.420987871885302</c:v>
                </c:pt>
                <c:pt idx="861">
                  <c:v>92.209560011968662</c:v>
                </c:pt>
                <c:pt idx="862">
                  <c:v>92.085622522125306</c:v>
                </c:pt>
                <c:pt idx="863">
                  <c:v>90.713631646775127</c:v>
                </c:pt>
                <c:pt idx="864">
                  <c:v>91.756278286197826</c:v>
                </c:pt>
                <c:pt idx="865">
                  <c:v>92.357572500016786</c:v>
                </c:pt>
                <c:pt idx="866">
                  <c:v>93.920532958924781</c:v>
                </c:pt>
                <c:pt idx="867">
                  <c:v>94.502086435413375</c:v>
                </c:pt>
                <c:pt idx="868">
                  <c:v>96.084103510470001</c:v>
                </c:pt>
                <c:pt idx="869">
                  <c:v>96.531568549637569</c:v>
                </c:pt>
                <c:pt idx="870">
                  <c:v>99.325744030465643</c:v>
                </c:pt>
                <c:pt idx="871">
                  <c:v>99.943623056547494</c:v>
                </c:pt>
                <c:pt idx="872">
                  <c:v>100.17811493273474</c:v>
                </c:pt>
                <c:pt idx="873">
                  <c:v>99.619206020383601</c:v>
                </c:pt>
                <c:pt idx="874">
                  <c:v>100.29284442765</c:v>
                </c:pt>
                <c:pt idx="875">
                  <c:v>99.527992216255697</c:v>
                </c:pt>
                <c:pt idx="876">
                  <c:v>101.16574597182947</c:v>
                </c:pt>
                <c:pt idx="877">
                  <c:v>102.68080288768728</c:v>
                </c:pt>
                <c:pt idx="878">
                  <c:v>101.36822489939635</c:v>
                </c:pt>
                <c:pt idx="879">
                  <c:v>100.27898973184432</c:v>
                </c:pt>
                <c:pt idx="880">
                  <c:v>101.20178711093702</c:v>
                </c:pt>
                <c:pt idx="881">
                  <c:v>101.91961375113266</c:v>
                </c:pt>
                <c:pt idx="882">
                  <c:v>101.61164170997326</c:v>
                </c:pt>
                <c:pt idx="883">
                  <c:v>102.5604330322589</c:v>
                </c:pt>
                <c:pt idx="884">
                  <c:v>102.32201903991624</c:v>
                </c:pt>
                <c:pt idx="885">
                  <c:v>101.94384411674207</c:v>
                </c:pt>
                <c:pt idx="886">
                  <c:v>101.53908866575409</c:v>
                </c:pt>
                <c:pt idx="887">
                  <c:v>101.99917039412499</c:v>
                </c:pt>
                <c:pt idx="888">
                  <c:v>101.47066250384292</c:v>
                </c:pt>
                <c:pt idx="889">
                  <c:v>100</c:v>
                </c:pt>
              </c:numCache>
            </c:numRef>
          </c:val>
          <c:smooth val="0"/>
          <c:extLst>
            <c:ext xmlns:c16="http://schemas.microsoft.com/office/drawing/2014/chart" uri="{C3380CC4-5D6E-409C-BE32-E72D297353CC}">
              <c16:uniqueId val="{00000000-AFF7-45DD-A045-45ABE36DE96E}"/>
            </c:ext>
          </c:extLst>
        </c:ser>
        <c:ser>
          <c:idx val="1"/>
          <c:order val="1"/>
          <c:tx>
            <c:strRef>
              <c:f>Sheet1!$C$1</c:f>
              <c:strCache>
                <c:ptCount val="1"/>
                <c:pt idx="0">
                  <c:v>NIFTY</c:v>
                </c:pt>
              </c:strCache>
            </c:strRef>
          </c:tx>
          <c:spPr>
            <a:ln w="25400" cap="rnd">
              <a:solidFill>
                <a:schemeClr val="accent4">
                  <a:lumMod val="25000"/>
                </a:schemeClr>
              </a:solidFill>
              <a:round/>
            </a:ln>
            <a:effectLst/>
          </c:spPr>
          <c:marker>
            <c:symbol val="none"/>
          </c:marker>
          <c:cat>
            <c:numRef>
              <c:f>Sheet1!$A$2:$A$891</c:f>
              <c:numCache>
                <c:formatCode>m/d/yyyy</c:formatCode>
                <c:ptCount val="890"/>
                <c:pt idx="0">
                  <c:v>45961</c:v>
                </c:pt>
                <c:pt idx="1">
                  <c:v>45960</c:v>
                </c:pt>
                <c:pt idx="2">
                  <c:v>45959</c:v>
                </c:pt>
                <c:pt idx="3">
                  <c:v>45958</c:v>
                </c:pt>
                <c:pt idx="4">
                  <c:v>45957</c:v>
                </c:pt>
                <c:pt idx="5">
                  <c:v>45954</c:v>
                </c:pt>
                <c:pt idx="6">
                  <c:v>45953</c:v>
                </c:pt>
                <c:pt idx="7">
                  <c:v>45951</c:v>
                </c:pt>
                <c:pt idx="8">
                  <c:v>45950</c:v>
                </c:pt>
                <c:pt idx="9">
                  <c:v>45947</c:v>
                </c:pt>
                <c:pt idx="10">
                  <c:v>45946</c:v>
                </c:pt>
                <c:pt idx="11">
                  <c:v>45945</c:v>
                </c:pt>
                <c:pt idx="12">
                  <c:v>45944</c:v>
                </c:pt>
                <c:pt idx="13">
                  <c:v>45943</c:v>
                </c:pt>
                <c:pt idx="14">
                  <c:v>45940</c:v>
                </c:pt>
                <c:pt idx="15">
                  <c:v>45939</c:v>
                </c:pt>
                <c:pt idx="16">
                  <c:v>45938</c:v>
                </c:pt>
                <c:pt idx="17">
                  <c:v>45937</c:v>
                </c:pt>
                <c:pt idx="18">
                  <c:v>45936</c:v>
                </c:pt>
                <c:pt idx="19">
                  <c:v>45933</c:v>
                </c:pt>
                <c:pt idx="20">
                  <c:v>45931</c:v>
                </c:pt>
                <c:pt idx="21">
                  <c:v>45930</c:v>
                </c:pt>
                <c:pt idx="22">
                  <c:v>45929</c:v>
                </c:pt>
                <c:pt idx="23">
                  <c:v>45926</c:v>
                </c:pt>
                <c:pt idx="24">
                  <c:v>45925</c:v>
                </c:pt>
                <c:pt idx="25">
                  <c:v>45924</c:v>
                </c:pt>
                <c:pt idx="26">
                  <c:v>45923</c:v>
                </c:pt>
                <c:pt idx="27">
                  <c:v>45922</c:v>
                </c:pt>
                <c:pt idx="28">
                  <c:v>45919</c:v>
                </c:pt>
                <c:pt idx="29">
                  <c:v>45918</c:v>
                </c:pt>
                <c:pt idx="30">
                  <c:v>45917</c:v>
                </c:pt>
                <c:pt idx="31">
                  <c:v>45916</c:v>
                </c:pt>
                <c:pt idx="32">
                  <c:v>45915</c:v>
                </c:pt>
                <c:pt idx="33">
                  <c:v>45912</c:v>
                </c:pt>
                <c:pt idx="34">
                  <c:v>45911</c:v>
                </c:pt>
                <c:pt idx="35">
                  <c:v>45910</c:v>
                </c:pt>
                <c:pt idx="36">
                  <c:v>45909</c:v>
                </c:pt>
                <c:pt idx="37">
                  <c:v>45908</c:v>
                </c:pt>
                <c:pt idx="38">
                  <c:v>45905</c:v>
                </c:pt>
                <c:pt idx="39">
                  <c:v>45904</c:v>
                </c:pt>
                <c:pt idx="40">
                  <c:v>45903</c:v>
                </c:pt>
                <c:pt idx="41">
                  <c:v>45902</c:v>
                </c:pt>
                <c:pt idx="42">
                  <c:v>45901</c:v>
                </c:pt>
                <c:pt idx="43">
                  <c:v>45898</c:v>
                </c:pt>
                <c:pt idx="44">
                  <c:v>45897</c:v>
                </c:pt>
                <c:pt idx="45">
                  <c:v>45895</c:v>
                </c:pt>
                <c:pt idx="46">
                  <c:v>45894</c:v>
                </c:pt>
                <c:pt idx="47">
                  <c:v>45891</c:v>
                </c:pt>
                <c:pt idx="48">
                  <c:v>45890</c:v>
                </c:pt>
                <c:pt idx="49">
                  <c:v>45889</c:v>
                </c:pt>
                <c:pt idx="50">
                  <c:v>45888</c:v>
                </c:pt>
                <c:pt idx="51">
                  <c:v>45887</c:v>
                </c:pt>
                <c:pt idx="52">
                  <c:v>45883</c:v>
                </c:pt>
                <c:pt idx="53">
                  <c:v>45882</c:v>
                </c:pt>
                <c:pt idx="54">
                  <c:v>45881</c:v>
                </c:pt>
                <c:pt idx="55">
                  <c:v>45880</c:v>
                </c:pt>
                <c:pt idx="56">
                  <c:v>45877</c:v>
                </c:pt>
                <c:pt idx="57">
                  <c:v>45876</c:v>
                </c:pt>
                <c:pt idx="58">
                  <c:v>45875</c:v>
                </c:pt>
                <c:pt idx="59">
                  <c:v>45874</c:v>
                </c:pt>
                <c:pt idx="60">
                  <c:v>45873</c:v>
                </c:pt>
                <c:pt idx="61">
                  <c:v>45870</c:v>
                </c:pt>
                <c:pt idx="62">
                  <c:v>45869</c:v>
                </c:pt>
                <c:pt idx="63">
                  <c:v>45868</c:v>
                </c:pt>
                <c:pt idx="64">
                  <c:v>45867</c:v>
                </c:pt>
                <c:pt idx="65">
                  <c:v>45866</c:v>
                </c:pt>
                <c:pt idx="66">
                  <c:v>45863</c:v>
                </c:pt>
                <c:pt idx="67">
                  <c:v>45862</c:v>
                </c:pt>
                <c:pt idx="68">
                  <c:v>45861</c:v>
                </c:pt>
                <c:pt idx="69">
                  <c:v>45860</c:v>
                </c:pt>
                <c:pt idx="70">
                  <c:v>45859</c:v>
                </c:pt>
                <c:pt idx="71">
                  <c:v>45856</c:v>
                </c:pt>
                <c:pt idx="72">
                  <c:v>45855</c:v>
                </c:pt>
                <c:pt idx="73">
                  <c:v>45854</c:v>
                </c:pt>
                <c:pt idx="74">
                  <c:v>45853</c:v>
                </c:pt>
                <c:pt idx="75">
                  <c:v>45852</c:v>
                </c:pt>
                <c:pt idx="76">
                  <c:v>45849</c:v>
                </c:pt>
                <c:pt idx="77">
                  <c:v>45848</c:v>
                </c:pt>
                <c:pt idx="78">
                  <c:v>45847</c:v>
                </c:pt>
                <c:pt idx="79">
                  <c:v>45846</c:v>
                </c:pt>
                <c:pt idx="80">
                  <c:v>45845</c:v>
                </c:pt>
                <c:pt idx="81">
                  <c:v>45842</c:v>
                </c:pt>
                <c:pt idx="82">
                  <c:v>45841</c:v>
                </c:pt>
                <c:pt idx="83">
                  <c:v>45840</c:v>
                </c:pt>
                <c:pt idx="84">
                  <c:v>45839</c:v>
                </c:pt>
                <c:pt idx="85">
                  <c:v>45838</c:v>
                </c:pt>
                <c:pt idx="86">
                  <c:v>45835</c:v>
                </c:pt>
                <c:pt idx="87">
                  <c:v>45834</c:v>
                </c:pt>
                <c:pt idx="88">
                  <c:v>45833</c:v>
                </c:pt>
                <c:pt idx="89">
                  <c:v>45832</c:v>
                </c:pt>
                <c:pt idx="90">
                  <c:v>45831</c:v>
                </c:pt>
                <c:pt idx="91">
                  <c:v>45828</c:v>
                </c:pt>
                <c:pt idx="92">
                  <c:v>45827</c:v>
                </c:pt>
                <c:pt idx="93">
                  <c:v>45826</c:v>
                </c:pt>
                <c:pt idx="94">
                  <c:v>45825</c:v>
                </c:pt>
                <c:pt idx="95">
                  <c:v>45824</c:v>
                </c:pt>
                <c:pt idx="96">
                  <c:v>45821</c:v>
                </c:pt>
                <c:pt idx="97">
                  <c:v>45820</c:v>
                </c:pt>
                <c:pt idx="98">
                  <c:v>45819</c:v>
                </c:pt>
                <c:pt idx="99">
                  <c:v>45818</c:v>
                </c:pt>
                <c:pt idx="100">
                  <c:v>45817</c:v>
                </c:pt>
                <c:pt idx="101">
                  <c:v>45814</c:v>
                </c:pt>
                <c:pt idx="102">
                  <c:v>45813</c:v>
                </c:pt>
                <c:pt idx="103">
                  <c:v>45812</c:v>
                </c:pt>
                <c:pt idx="104">
                  <c:v>45811</c:v>
                </c:pt>
                <c:pt idx="105">
                  <c:v>45810</c:v>
                </c:pt>
                <c:pt idx="106">
                  <c:v>45807</c:v>
                </c:pt>
                <c:pt idx="107">
                  <c:v>45806</c:v>
                </c:pt>
                <c:pt idx="108">
                  <c:v>45805</c:v>
                </c:pt>
                <c:pt idx="109">
                  <c:v>45804</c:v>
                </c:pt>
                <c:pt idx="110">
                  <c:v>45803</c:v>
                </c:pt>
                <c:pt idx="111">
                  <c:v>45800</c:v>
                </c:pt>
                <c:pt idx="112">
                  <c:v>45799</c:v>
                </c:pt>
                <c:pt idx="113">
                  <c:v>45798</c:v>
                </c:pt>
                <c:pt idx="114">
                  <c:v>45797</c:v>
                </c:pt>
                <c:pt idx="115">
                  <c:v>45796</c:v>
                </c:pt>
                <c:pt idx="116">
                  <c:v>45793</c:v>
                </c:pt>
                <c:pt idx="117">
                  <c:v>45792</c:v>
                </c:pt>
                <c:pt idx="118">
                  <c:v>45791</c:v>
                </c:pt>
                <c:pt idx="119">
                  <c:v>45790</c:v>
                </c:pt>
                <c:pt idx="120">
                  <c:v>45789</c:v>
                </c:pt>
                <c:pt idx="121">
                  <c:v>45786</c:v>
                </c:pt>
                <c:pt idx="122">
                  <c:v>45785</c:v>
                </c:pt>
                <c:pt idx="123">
                  <c:v>45784</c:v>
                </c:pt>
                <c:pt idx="124">
                  <c:v>45783</c:v>
                </c:pt>
                <c:pt idx="125">
                  <c:v>45782</c:v>
                </c:pt>
                <c:pt idx="126">
                  <c:v>45779</c:v>
                </c:pt>
                <c:pt idx="127">
                  <c:v>45777</c:v>
                </c:pt>
                <c:pt idx="128">
                  <c:v>45776</c:v>
                </c:pt>
                <c:pt idx="129">
                  <c:v>45775</c:v>
                </c:pt>
                <c:pt idx="130">
                  <c:v>45772</c:v>
                </c:pt>
                <c:pt idx="131">
                  <c:v>45771</c:v>
                </c:pt>
                <c:pt idx="132">
                  <c:v>45770</c:v>
                </c:pt>
                <c:pt idx="133">
                  <c:v>45769</c:v>
                </c:pt>
                <c:pt idx="134">
                  <c:v>45768</c:v>
                </c:pt>
                <c:pt idx="135">
                  <c:v>45764</c:v>
                </c:pt>
                <c:pt idx="136">
                  <c:v>45763</c:v>
                </c:pt>
                <c:pt idx="137">
                  <c:v>45762</c:v>
                </c:pt>
                <c:pt idx="138">
                  <c:v>45758</c:v>
                </c:pt>
                <c:pt idx="139">
                  <c:v>45756</c:v>
                </c:pt>
                <c:pt idx="140">
                  <c:v>45755</c:v>
                </c:pt>
                <c:pt idx="141">
                  <c:v>45754</c:v>
                </c:pt>
                <c:pt idx="142">
                  <c:v>45751</c:v>
                </c:pt>
                <c:pt idx="143">
                  <c:v>45750</c:v>
                </c:pt>
                <c:pt idx="144">
                  <c:v>45749</c:v>
                </c:pt>
                <c:pt idx="145">
                  <c:v>45748</c:v>
                </c:pt>
                <c:pt idx="146">
                  <c:v>45744</c:v>
                </c:pt>
                <c:pt idx="147">
                  <c:v>45743</c:v>
                </c:pt>
                <c:pt idx="148">
                  <c:v>45742</c:v>
                </c:pt>
                <c:pt idx="149">
                  <c:v>45741</c:v>
                </c:pt>
                <c:pt idx="150">
                  <c:v>45740</c:v>
                </c:pt>
                <c:pt idx="151">
                  <c:v>45737</c:v>
                </c:pt>
                <c:pt idx="152">
                  <c:v>45736</c:v>
                </c:pt>
                <c:pt idx="153">
                  <c:v>45735</c:v>
                </c:pt>
                <c:pt idx="154">
                  <c:v>45734</c:v>
                </c:pt>
                <c:pt idx="155">
                  <c:v>45733</c:v>
                </c:pt>
                <c:pt idx="156">
                  <c:v>45729</c:v>
                </c:pt>
                <c:pt idx="157">
                  <c:v>45728</c:v>
                </c:pt>
                <c:pt idx="158">
                  <c:v>45727</c:v>
                </c:pt>
                <c:pt idx="159">
                  <c:v>45726</c:v>
                </c:pt>
                <c:pt idx="160">
                  <c:v>45723</c:v>
                </c:pt>
                <c:pt idx="161">
                  <c:v>45722</c:v>
                </c:pt>
                <c:pt idx="162">
                  <c:v>45721</c:v>
                </c:pt>
                <c:pt idx="163">
                  <c:v>45720</c:v>
                </c:pt>
                <c:pt idx="164">
                  <c:v>45719</c:v>
                </c:pt>
                <c:pt idx="165">
                  <c:v>45716</c:v>
                </c:pt>
                <c:pt idx="166">
                  <c:v>45715</c:v>
                </c:pt>
                <c:pt idx="167">
                  <c:v>45713</c:v>
                </c:pt>
                <c:pt idx="168">
                  <c:v>45712</c:v>
                </c:pt>
                <c:pt idx="169">
                  <c:v>45709</c:v>
                </c:pt>
                <c:pt idx="170">
                  <c:v>45708</c:v>
                </c:pt>
                <c:pt idx="171">
                  <c:v>45707</c:v>
                </c:pt>
                <c:pt idx="172">
                  <c:v>45706</c:v>
                </c:pt>
                <c:pt idx="173">
                  <c:v>45705</c:v>
                </c:pt>
                <c:pt idx="174">
                  <c:v>45702</c:v>
                </c:pt>
                <c:pt idx="175">
                  <c:v>45701</c:v>
                </c:pt>
                <c:pt idx="176">
                  <c:v>45700</c:v>
                </c:pt>
                <c:pt idx="177">
                  <c:v>45699</c:v>
                </c:pt>
                <c:pt idx="178">
                  <c:v>45698</c:v>
                </c:pt>
                <c:pt idx="179">
                  <c:v>45695</c:v>
                </c:pt>
                <c:pt idx="180">
                  <c:v>45694</c:v>
                </c:pt>
                <c:pt idx="181">
                  <c:v>45693</c:v>
                </c:pt>
                <c:pt idx="182">
                  <c:v>45692</c:v>
                </c:pt>
                <c:pt idx="183">
                  <c:v>45691</c:v>
                </c:pt>
                <c:pt idx="184">
                  <c:v>45689</c:v>
                </c:pt>
                <c:pt idx="185">
                  <c:v>45688</c:v>
                </c:pt>
                <c:pt idx="186">
                  <c:v>45687</c:v>
                </c:pt>
                <c:pt idx="187">
                  <c:v>45686</c:v>
                </c:pt>
                <c:pt idx="188">
                  <c:v>45685</c:v>
                </c:pt>
                <c:pt idx="189">
                  <c:v>45684</c:v>
                </c:pt>
                <c:pt idx="190">
                  <c:v>45681</c:v>
                </c:pt>
                <c:pt idx="191">
                  <c:v>45680</c:v>
                </c:pt>
                <c:pt idx="192">
                  <c:v>45679</c:v>
                </c:pt>
                <c:pt idx="193">
                  <c:v>45678</c:v>
                </c:pt>
                <c:pt idx="194">
                  <c:v>45677</c:v>
                </c:pt>
                <c:pt idx="195">
                  <c:v>45674</c:v>
                </c:pt>
                <c:pt idx="196">
                  <c:v>45673</c:v>
                </c:pt>
                <c:pt idx="197">
                  <c:v>45672</c:v>
                </c:pt>
                <c:pt idx="198">
                  <c:v>45671</c:v>
                </c:pt>
                <c:pt idx="199">
                  <c:v>45670</c:v>
                </c:pt>
                <c:pt idx="200">
                  <c:v>45667</c:v>
                </c:pt>
                <c:pt idx="201">
                  <c:v>45666</c:v>
                </c:pt>
                <c:pt idx="202">
                  <c:v>45665</c:v>
                </c:pt>
                <c:pt idx="203">
                  <c:v>45664</c:v>
                </c:pt>
                <c:pt idx="204">
                  <c:v>45663</c:v>
                </c:pt>
                <c:pt idx="205">
                  <c:v>45660</c:v>
                </c:pt>
                <c:pt idx="206">
                  <c:v>45659</c:v>
                </c:pt>
                <c:pt idx="207">
                  <c:v>45658</c:v>
                </c:pt>
                <c:pt idx="208">
                  <c:v>45657</c:v>
                </c:pt>
                <c:pt idx="209">
                  <c:v>45656</c:v>
                </c:pt>
                <c:pt idx="210">
                  <c:v>45653</c:v>
                </c:pt>
                <c:pt idx="211">
                  <c:v>45652</c:v>
                </c:pt>
                <c:pt idx="212">
                  <c:v>45650</c:v>
                </c:pt>
                <c:pt idx="213">
                  <c:v>45649</c:v>
                </c:pt>
                <c:pt idx="214">
                  <c:v>45646</c:v>
                </c:pt>
                <c:pt idx="215">
                  <c:v>45645</c:v>
                </c:pt>
                <c:pt idx="216">
                  <c:v>45644</c:v>
                </c:pt>
                <c:pt idx="217">
                  <c:v>45643</c:v>
                </c:pt>
                <c:pt idx="218">
                  <c:v>45642</c:v>
                </c:pt>
                <c:pt idx="219">
                  <c:v>45639</c:v>
                </c:pt>
                <c:pt idx="220">
                  <c:v>45638</c:v>
                </c:pt>
                <c:pt idx="221">
                  <c:v>45637</c:v>
                </c:pt>
                <c:pt idx="222">
                  <c:v>45636</c:v>
                </c:pt>
                <c:pt idx="223">
                  <c:v>45635</c:v>
                </c:pt>
                <c:pt idx="224">
                  <c:v>45632</c:v>
                </c:pt>
                <c:pt idx="225">
                  <c:v>45631</c:v>
                </c:pt>
                <c:pt idx="226">
                  <c:v>45630</c:v>
                </c:pt>
                <c:pt idx="227">
                  <c:v>45629</c:v>
                </c:pt>
                <c:pt idx="228">
                  <c:v>45628</c:v>
                </c:pt>
                <c:pt idx="229">
                  <c:v>45625</c:v>
                </c:pt>
                <c:pt idx="230">
                  <c:v>45624</c:v>
                </c:pt>
                <c:pt idx="231">
                  <c:v>45623</c:v>
                </c:pt>
                <c:pt idx="232">
                  <c:v>45622</c:v>
                </c:pt>
                <c:pt idx="233">
                  <c:v>45621</c:v>
                </c:pt>
                <c:pt idx="234">
                  <c:v>45618</c:v>
                </c:pt>
                <c:pt idx="235">
                  <c:v>45617</c:v>
                </c:pt>
                <c:pt idx="236">
                  <c:v>45615</c:v>
                </c:pt>
                <c:pt idx="237">
                  <c:v>45614</c:v>
                </c:pt>
                <c:pt idx="238">
                  <c:v>45610</c:v>
                </c:pt>
                <c:pt idx="239">
                  <c:v>45609</c:v>
                </c:pt>
                <c:pt idx="240">
                  <c:v>45608</c:v>
                </c:pt>
                <c:pt idx="241">
                  <c:v>45607</c:v>
                </c:pt>
                <c:pt idx="242">
                  <c:v>45604</c:v>
                </c:pt>
                <c:pt idx="243">
                  <c:v>45603</c:v>
                </c:pt>
                <c:pt idx="244">
                  <c:v>45602</c:v>
                </c:pt>
                <c:pt idx="245">
                  <c:v>45601</c:v>
                </c:pt>
                <c:pt idx="246">
                  <c:v>45600</c:v>
                </c:pt>
                <c:pt idx="247">
                  <c:v>45597</c:v>
                </c:pt>
                <c:pt idx="248">
                  <c:v>45596</c:v>
                </c:pt>
                <c:pt idx="249">
                  <c:v>45595</c:v>
                </c:pt>
                <c:pt idx="250">
                  <c:v>45594</c:v>
                </c:pt>
                <c:pt idx="251">
                  <c:v>45593</c:v>
                </c:pt>
                <c:pt idx="252">
                  <c:v>45590</c:v>
                </c:pt>
                <c:pt idx="253">
                  <c:v>45589</c:v>
                </c:pt>
                <c:pt idx="254">
                  <c:v>45588</c:v>
                </c:pt>
                <c:pt idx="255">
                  <c:v>45587</c:v>
                </c:pt>
                <c:pt idx="256">
                  <c:v>45586</c:v>
                </c:pt>
                <c:pt idx="257">
                  <c:v>45583</c:v>
                </c:pt>
                <c:pt idx="258">
                  <c:v>45582</c:v>
                </c:pt>
                <c:pt idx="259">
                  <c:v>45581</c:v>
                </c:pt>
                <c:pt idx="260">
                  <c:v>45580</c:v>
                </c:pt>
                <c:pt idx="261">
                  <c:v>45579</c:v>
                </c:pt>
                <c:pt idx="262">
                  <c:v>45576</c:v>
                </c:pt>
                <c:pt idx="263">
                  <c:v>45575</c:v>
                </c:pt>
                <c:pt idx="264">
                  <c:v>45574</c:v>
                </c:pt>
                <c:pt idx="265">
                  <c:v>45573</c:v>
                </c:pt>
                <c:pt idx="266">
                  <c:v>45572</c:v>
                </c:pt>
                <c:pt idx="267">
                  <c:v>45569</c:v>
                </c:pt>
                <c:pt idx="268">
                  <c:v>45568</c:v>
                </c:pt>
                <c:pt idx="269">
                  <c:v>45566</c:v>
                </c:pt>
                <c:pt idx="270">
                  <c:v>45565</c:v>
                </c:pt>
                <c:pt idx="271">
                  <c:v>45562</c:v>
                </c:pt>
                <c:pt idx="272">
                  <c:v>45561</c:v>
                </c:pt>
                <c:pt idx="273">
                  <c:v>45560</c:v>
                </c:pt>
                <c:pt idx="274">
                  <c:v>45559</c:v>
                </c:pt>
                <c:pt idx="275">
                  <c:v>45558</c:v>
                </c:pt>
                <c:pt idx="276">
                  <c:v>45555</c:v>
                </c:pt>
                <c:pt idx="277">
                  <c:v>45554</c:v>
                </c:pt>
                <c:pt idx="278">
                  <c:v>45553</c:v>
                </c:pt>
                <c:pt idx="279">
                  <c:v>45552</c:v>
                </c:pt>
                <c:pt idx="280">
                  <c:v>45551</c:v>
                </c:pt>
                <c:pt idx="281">
                  <c:v>45548</c:v>
                </c:pt>
                <c:pt idx="282">
                  <c:v>45547</c:v>
                </c:pt>
                <c:pt idx="283">
                  <c:v>45546</c:v>
                </c:pt>
                <c:pt idx="284">
                  <c:v>45545</c:v>
                </c:pt>
                <c:pt idx="285">
                  <c:v>45544</c:v>
                </c:pt>
                <c:pt idx="286">
                  <c:v>45541</c:v>
                </c:pt>
                <c:pt idx="287">
                  <c:v>45540</c:v>
                </c:pt>
                <c:pt idx="288">
                  <c:v>45539</c:v>
                </c:pt>
                <c:pt idx="289">
                  <c:v>45538</c:v>
                </c:pt>
                <c:pt idx="290">
                  <c:v>45537</c:v>
                </c:pt>
                <c:pt idx="291">
                  <c:v>45534</c:v>
                </c:pt>
                <c:pt idx="292">
                  <c:v>45533</c:v>
                </c:pt>
                <c:pt idx="293">
                  <c:v>45532</c:v>
                </c:pt>
                <c:pt idx="294">
                  <c:v>45531</c:v>
                </c:pt>
                <c:pt idx="295">
                  <c:v>45530</c:v>
                </c:pt>
                <c:pt idx="296">
                  <c:v>45527</c:v>
                </c:pt>
                <c:pt idx="297">
                  <c:v>45526</c:v>
                </c:pt>
                <c:pt idx="298">
                  <c:v>45525</c:v>
                </c:pt>
                <c:pt idx="299">
                  <c:v>45524</c:v>
                </c:pt>
                <c:pt idx="300">
                  <c:v>45523</c:v>
                </c:pt>
                <c:pt idx="301">
                  <c:v>45520</c:v>
                </c:pt>
                <c:pt idx="302">
                  <c:v>45518</c:v>
                </c:pt>
                <c:pt idx="303">
                  <c:v>45517</c:v>
                </c:pt>
                <c:pt idx="304">
                  <c:v>45516</c:v>
                </c:pt>
                <c:pt idx="305">
                  <c:v>45513</c:v>
                </c:pt>
                <c:pt idx="306">
                  <c:v>45512</c:v>
                </c:pt>
                <c:pt idx="307">
                  <c:v>45511</c:v>
                </c:pt>
                <c:pt idx="308">
                  <c:v>45510</c:v>
                </c:pt>
                <c:pt idx="309">
                  <c:v>45509</c:v>
                </c:pt>
                <c:pt idx="310">
                  <c:v>45506</c:v>
                </c:pt>
                <c:pt idx="311">
                  <c:v>45505</c:v>
                </c:pt>
                <c:pt idx="312">
                  <c:v>45504</c:v>
                </c:pt>
                <c:pt idx="313">
                  <c:v>45503</c:v>
                </c:pt>
                <c:pt idx="314">
                  <c:v>45502</c:v>
                </c:pt>
                <c:pt idx="315">
                  <c:v>45499</c:v>
                </c:pt>
                <c:pt idx="316">
                  <c:v>45498</c:v>
                </c:pt>
                <c:pt idx="317">
                  <c:v>45497</c:v>
                </c:pt>
                <c:pt idx="318">
                  <c:v>45496</c:v>
                </c:pt>
                <c:pt idx="319">
                  <c:v>45495</c:v>
                </c:pt>
                <c:pt idx="320">
                  <c:v>45492</c:v>
                </c:pt>
                <c:pt idx="321">
                  <c:v>45491</c:v>
                </c:pt>
                <c:pt idx="322">
                  <c:v>45489</c:v>
                </c:pt>
                <c:pt idx="323">
                  <c:v>45488</c:v>
                </c:pt>
                <c:pt idx="324">
                  <c:v>45485</c:v>
                </c:pt>
                <c:pt idx="325">
                  <c:v>45484</c:v>
                </c:pt>
                <c:pt idx="326">
                  <c:v>45483</c:v>
                </c:pt>
                <c:pt idx="327">
                  <c:v>45482</c:v>
                </c:pt>
                <c:pt idx="328">
                  <c:v>45481</c:v>
                </c:pt>
                <c:pt idx="329">
                  <c:v>45478</c:v>
                </c:pt>
                <c:pt idx="330">
                  <c:v>45477</c:v>
                </c:pt>
                <c:pt idx="331">
                  <c:v>45476</c:v>
                </c:pt>
                <c:pt idx="332">
                  <c:v>45475</c:v>
                </c:pt>
                <c:pt idx="333">
                  <c:v>45474</c:v>
                </c:pt>
                <c:pt idx="334">
                  <c:v>45471</c:v>
                </c:pt>
                <c:pt idx="335">
                  <c:v>45470</c:v>
                </c:pt>
                <c:pt idx="336">
                  <c:v>45469</c:v>
                </c:pt>
                <c:pt idx="337">
                  <c:v>45468</c:v>
                </c:pt>
                <c:pt idx="338">
                  <c:v>45467</c:v>
                </c:pt>
                <c:pt idx="339">
                  <c:v>45464</c:v>
                </c:pt>
                <c:pt idx="340">
                  <c:v>45463</c:v>
                </c:pt>
                <c:pt idx="341">
                  <c:v>45462</c:v>
                </c:pt>
                <c:pt idx="342">
                  <c:v>45461</c:v>
                </c:pt>
                <c:pt idx="343">
                  <c:v>45457</c:v>
                </c:pt>
                <c:pt idx="344">
                  <c:v>45456</c:v>
                </c:pt>
                <c:pt idx="345">
                  <c:v>45455</c:v>
                </c:pt>
                <c:pt idx="346">
                  <c:v>45454</c:v>
                </c:pt>
                <c:pt idx="347">
                  <c:v>45453</c:v>
                </c:pt>
                <c:pt idx="348">
                  <c:v>45450</c:v>
                </c:pt>
                <c:pt idx="349">
                  <c:v>45449</c:v>
                </c:pt>
                <c:pt idx="350">
                  <c:v>45448</c:v>
                </c:pt>
                <c:pt idx="351">
                  <c:v>45447</c:v>
                </c:pt>
                <c:pt idx="352">
                  <c:v>45446</c:v>
                </c:pt>
                <c:pt idx="353">
                  <c:v>45443</c:v>
                </c:pt>
                <c:pt idx="354">
                  <c:v>45442</c:v>
                </c:pt>
                <c:pt idx="355">
                  <c:v>45441</c:v>
                </c:pt>
                <c:pt idx="356">
                  <c:v>45440</c:v>
                </c:pt>
                <c:pt idx="357">
                  <c:v>45439</c:v>
                </c:pt>
                <c:pt idx="358">
                  <c:v>45436</c:v>
                </c:pt>
                <c:pt idx="359">
                  <c:v>45435</c:v>
                </c:pt>
                <c:pt idx="360">
                  <c:v>45434</c:v>
                </c:pt>
                <c:pt idx="361">
                  <c:v>45433</c:v>
                </c:pt>
                <c:pt idx="362">
                  <c:v>45430</c:v>
                </c:pt>
                <c:pt idx="363">
                  <c:v>45429</c:v>
                </c:pt>
                <c:pt idx="364">
                  <c:v>45428</c:v>
                </c:pt>
                <c:pt idx="365">
                  <c:v>45427</c:v>
                </c:pt>
                <c:pt idx="366">
                  <c:v>45426</c:v>
                </c:pt>
                <c:pt idx="367">
                  <c:v>45425</c:v>
                </c:pt>
                <c:pt idx="368">
                  <c:v>45422</c:v>
                </c:pt>
                <c:pt idx="369">
                  <c:v>45421</c:v>
                </c:pt>
                <c:pt idx="370">
                  <c:v>45420</c:v>
                </c:pt>
                <c:pt idx="371">
                  <c:v>45419</c:v>
                </c:pt>
                <c:pt idx="372">
                  <c:v>45418</c:v>
                </c:pt>
                <c:pt idx="373">
                  <c:v>45415</c:v>
                </c:pt>
                <c:pt idx="374">
                  <c:v>45414</c:v>
                </c:pt>
                <c:pt idx="375">
                  <c:v>45412</c:v>
                </c:pt>
                <c:pt idx="376">
                  <c:v>45411</c:v>
                </c:pt>
                <c:pt idx="377">
                  <c:v>45408</c:v>
                </c:pt>
                <c:pt idx="378">
                  <c:v>45407</c:v>
                </c:pt>
                <c:pt idx="379">
                  <c:v>45406</c:v>
                </c:pt>
                <c:pt idx="380">
                  <c:v>45405</c:v>
                </c:pt>
                <c:pt idx="381">
                  <c:v>45404</c:v>
                </c:pt>
                <c:pt idx="382">
                  <c:v>45401</c:v>
                </c:pt>
                <c:pt idx="383">
                  <c:v>45400</c:v>
                </c:pt>
                <c:pt idx="384">
                  <c:v>45398</c:v>
                </c:pt>
                <c:pt idx="385">
                  <c:v>45397</c:v>
                </c:pt>
                <c:pt idx="386">
                  <c:v>45394</c:v>
                </c:pt>
                <c:pt idx="387">
                  <c:v>45392</c:v>
                </c:pt>
                <c:pt idx="388">
                  <c:v>45391</c:v>
                </c:pt>
                <c:pt idx="389">
                  <c:v>45390</c:v>
                </c:pt>
                <c:pt idx="390">
                  <c:v>45387</c:v>
                </c:pt>
                <c:pt idx="391">
                  <c:v>45386</c:v>
                </c:pt>
                <c:pt idx="392">
                  <c:v>45385</c:v>
                </c:pt>
                <c:pt idx="393">
                  <c:v>45384</c:v>
                </c:pt>
                <c:pt idx="394">
                  <c:v>45383</c:v>
                </c:pt>
                <c:pt idx="395">
                  <c:v>45379</c:v>
                </c:pt>
                <c:pt idx="396">
                  <c:v>45378</c:v>
                </c:pt>
                <c:pt idx="397">
                  <c:v>45377</c:v>
                </c:pt>
                <c:pt idx="398">
                  <c:v>45373</c:v>
                </c:pt>
                <c:pt idx="399">
                  <c:v>45372</c:v>
                </c:pt>
                <c:pt idx="400">
                  <c:v>45371</c:v>
                </c:pt>
                <c:pt idx="401">
                  <c:v>45370</c:v>
                </c:pt>
                <c:pt idx="402">
                  <c:v>45369</c:v>
                </c:pt>
                <c:pt idx="403">
                  <c:v>45366</c:v>
                </c:pt>
                <c:pt idx="404">
                  <c:v>45365</c:v>
                </c:pt>
                <c:pt idx="405">
                  <c:v>45364</c:v>
                </c:pt>
                <c:pt idx="406">
                  <c:v>45363</c:v>
                </c:pt>
                <c:pt idx="407">
                  <c:v>45362</c:v>
                </c:pt>
                <c:pt idx="408">
                  <c:v>45358</c:v>
                </c:pt>
                <c:pt idx="409">
                  <c:v>45357</c:v>
                </c:pt>
                <c:pt idx="410">
                  <c:v>45356</c:v>
                </c:pt>
                <c:pt idx="411">
                  <c:v>45355</c:v>
                </c:pt>
                <c:pt idx="412">
                  <c:v>45353</c:v>
                </c:pt>
                <c:pt idx="413">
                  <c:v>45352</c:v>
                </c:pt>
                <c:pt idx="414">
                  <c:v>45351</c:v>
                </c:pt>
                <c:pt idx="415">
                  <c:v>45350</c:v>
                </c:pt>
                <c:pt idx="416">
                  <c:v>45349</c:v>
                </c:pt>
                <c:pt idx="417">
                  <c:v>45348</c:v>
                </c:pt>
                <c:pt idx="418">
                  <c:v>45345</c:v>
                </c:pt>
                <c:pt idx="419">
                  <c:v>45344</c:v>
                </c:pt>
                <c:pt idx="420">
                  <c:v>45343</c:v>
                </c:pt>
                <c:pt idx="421">
                  <c:v>45342</c:v>
                </c:pt>
                <c:pt idx="422">
                  <c:v>45341</c:v>
                </c:pt>
                <c:pt idx="423">
                  <c:v>45338</c:v>
                </c:pt>
                <c:pt idx="424">
                  <c:v>45337</c:v>
                </c:pt>
                <c:pt idx="425">
                  <c:v>45336</c:v>
                </c:pt>
                <c:pt idx="426">
                  <c:v>45335</c:v>
                </c:pt>
                <c:pt idx="427">
                  <c:v>45334</c:v>
                </c:pt>
                <c:pt idx="428">
                  <c:v>45331</c:v>
                </c:pt>
                <c:pt idx="429">
                  <c:v>45330</c:v>
                </c:pt>
                <c:pt idx="430">
                  <c:v>45329</c:v>
                </c:pt>
                <c:pt idx="431">
                  <c:v>45328</c:v>
                </c:pt>
                <c:pt idx="432">
                  <c:v>45327</c:v>
                </c:pt>
                <c:pt idx="433">
                  <c:v>45324</c:v>
                </c:pt>
                <c:pt idx="434">
                  <c:v>45323</c:v>
                </c:pt>
                <c:pt idx="435">
                  <c:v>45322</c:v>
                </c:pt>
                <c:pt idx="436">
                  <c:v>45321</c:v>
                </c:pt>
                <c:pt idx="437">
                  <c:v>45320</c:v>
                </c:pt>
                <c:pt idx="438">
                  <c:v>45316</c:v>
                </c:pt>
                <c:pt idx="439">
                  <c:v>45315</c:v>
                </c:pt>
                <c:pt idx="440">
                  <c:v>45314</c:v>
                </c:pt>
                <c:pt idx="441">
                  <c:v>45311</c:v>
                </c:pt>
                <c:pt idx="442">
                  <c:v>45310</c:v>
                </c:pt>
                <c:pt idx="443">
                  <c:v>45309</c:v>
                </c:pt>
                <c:pt idx="444">
                  <c:v>45308</c:v>
                </c:pt>
                <c:pt idx="445">
                  <c:v>45307</c:v>
                </c:pt>
                <c:pt idx="446">
                  <c:v>45306</c:v>
                </c:pt>
                <c:pt idx="447">
                  <c:v>45303</c:v>
                </c:pt>
                <c:pt idx="448">
                  <c:v>45302</c:v>
                </c:pt>
                <c:pt idx="449">
                  <c:v>45301</c:v>
                </c:pt>
                <c:pt idx="450">
                  <c:v>45300</c:v>
                </c:pt>
                <c:pt idx="451">
                  <c:v>45299</c:v>
                </c:pt>
                <c:pt idx="452">
                  <c:v>45296</c:v>
                </c:pt>
                <c:pt idx="453">
                  <c:v>45295</c:v>
                </c:pt>
                <c:pt idx="454">
                  <c:v>45294</c:v>
                </c:pt>
                <c:pt idx="455">
                  <c:v>45293</c:v>
                </c:pt>
                <c:pt idx="456">
                  <c:v>45292</c:v>
                </c:pt>
                <c:pt idx="457">
                  <c:v>45289</c:v>
                </c:pt>
                <c:pt idx="458">
                  <c:v>45288</c:v>
                </c:pt>
                <c:pt idx="459">
                  <c:v>45287</c:v>
                </c:pt>
                <c:pt idx="460">
                  <c:v>45286</c:v>
                </c:pt>
                <c:pt idx="461">
                  <c:v>45282</c:v>
                </c:pt>
                <c:pt idx="462">
                  <c:v>45281</c:v>
                </c:pt>
                <c:pt idx="463">
                  <c:v>45280</c:v>
                </c:pt>
                <c:pt idx="464">
                  <c:v>45279</c:v>
                </c:pt>
                <c:pt idx="465">
                  <c:v>45278</c:v>
                </c:pt>
                <c:pt idx="466">
                  <c:v>45275</c:v>
                </c:pt>
                <c:pt idx="467">
                  <c:v>45274</c:v>
                </c:pt>
                <c:pt idx="468">
                  <c:v>45273</c:v>
                </c:pt>
                <c:pt idx="469">
                  <c:v>45272</c:v>
                </c:pt>
                <c:pt idx="470">
                  <c:v>45271</c:v>
                </c:pt>
                <c:pt idx="471">
                  <c:v>45268</c:v>
                </c:pt>
                <c:pt idx="472">
                  <c:v>45267</c:v>
                </c:pt>
                <c:pt idx="473">
                  <c:v>45266</c:v>
                </c:pt>
                <c:pt idx="474">
                  <c:v>45265</c:v>
                </c:pt>
                <c:pt idx="475">
                  <c:v>45264</c:v>
                </c:pt>
                <c:pt idx="476">
                  <c:v>45261</c:v>
                </c:pt>
                <c:pt idx="477">
                  <c:v>45260</c:v>
                </c:pt>
                <c:pt idx="478">
                  <c:v>45259</c:v>
                </c:pt>
                <c:pt idx="479">
                  <c:v>45258</c:v>
                </c:pt>
                <c:pt idx="480">
                  <c:v>45254</c:v>
                </c:pt>
                <c:pt idx="481">
                  <c:v>45253</c:v>
                </c:pt>
                <c:pt idx="482">
                  <c:v>45252</c:v>
                </c:pt>
                <c:pt idx="483">
                  <c:v>45251</c:v>
                </c:pt>
                <c:pt idx="484">
                  <c:v>45250</c:v>
                </c:pt>
                <c:pt idx="485">
                  <c:v>45247</c:v>
                </c:pt>
                <c:pt idx="486">
                  <c:v>45246</c:v>
                </c:pt>
                <c:pt idx="487">
                  <c:v>45245</c:v>
                </c:pt>
                <c:pt idx="488">
                  <c:v>45243</c:v>
                </c:pt>
                <c:pt idx="489">
                  <c:v>45242</c:v>
                </c:pt>
                <c:pt idx="490">
                  <c:v>45240</c:v>
                </c:pt>
                <c:pt idx="491">
                  <c:v>45239</c:v>
                </c:pt>
                <c:pt idx="492">
                  <c:v>45238</c:v>
                </c:pt>
                <c:pt idx="493">
                  <c:v>45237</c:v>
                </c:pt>
                <c:pt idx="494">
                  <c:v>45236</c:v>
                </c:pt>
                <c:pt idx="495">
                  <c:v>45233</c:v>
                </c:pt>
                <c:pt idx="496">
                  <c:v>45232</c:v>
                </c:pt>
                <c:pt idx="497">
                  <c:v>45231</c:v>
                </c:pt>
                <c:pt idx="498">
                  <c:v>45230</c:v>
                </c:pt>
                <c:pt idx="499">
                  <c:v>45229</c:v>
                </c:pt>
                <c:pt idx="500">
                  <c:v>45226</c:v>
                </c:pt>
                <c:pt idx="501">
                  <c:v>45225</c:v>
                </c:pt>
                <c:pt idx="502">
                  <c:v>45224</c:v>
                </c:pt>
                <c:pt idx="503">
                  <c:v>45222</c:v>
                </c:pt>
                <c:pt idx="504">
                  <c:v>45219</c:v>
                </c:pt>
                <c:pt idx="505">
                  <c:v>45218</c:v>
                </c:pt>
                <c:pt idx="506">
                  <c:v>45217</c:v>
                </c:pt>
                <c:pt idx="507">
                  <c:v>45216</c:v>
                </c:pt>
                <c:pt idx="508">
                  <c:v>45215</c:v>
                </c:pt>
                <c:pt idx="509">
                  <c:v>45212</c:v>
                </c:pt>
                <c:pt idx="510">
                  <c:v>45211</c:v>
                </c:pt>
                <c:pt idx="511">
                  <c:v>45210</c:v>
                </c:pt>
                <c:pt idx="512">
                  <c:v>45209</c:v>
                </c:pt>
                <c:pt idx="513">
                  <c:v>45208</c:v>
                </c:pt>
                <c:pt idx="514">
                  <c:v>45205</c:v>
                </c:pt>
                <c:pt idx="515">
                  <c:v>45204</c:v>
                </c:pt>
                <c:pt idx="516">
                  <c:v>45203</c:v>
                </c:pt>
                <c:pt idx="517">
                  <c:v>45202</c:v>
                </c:pt>
                <c:pt idx="518">
                  <c:v>45198</c:v>
                </c:pt>
                <c:pt idx="519">
                  <c:v>45197</c:v>
                </c:pt>
                <c:pt idx="520">
                  <c:v>45196</c:v>
                </c:pt>
                <c:pt idx="521">
                  <c:v>45195</c:v>
                </c:pt>
                <c:pt idx="522">
                  <c:v>45194</c:v>
                </c:pt>
                <c:pt idx="523">
                  <c:v>45191</c:v>
                </c:pt>
                <c:pt idx="524">
                  <c:v>45190</c:v>
                </c:pt>
                <c:pt idx="525">
                  <c:v>45189</c:v>
                </c:pt>
                <c:pt idx="526">
                  <c:v>45187</c:v>
                </c:pt>
                <c:pt idx="527">
                  <c:v>45184</c:v>
                </c:pt>
                <c:pt idx="528">
                  <c:v>45183</c:v>
                </c:pt>
                <c:pt idx="529">
                  <c:v>45182</c:v>
                </c:pt>
                <c:pt idx="530">
                  <c:v>45181</c:v>
                </c:pt>
                <c:pt idx="531">
                  <c:v>45180</c:v>
                </c:pt>
                <c:pt idx="532">
                  <c:v>45177</c:v>
                </c:pt>
                <c:pt idx="533">
                  <c:v>45176</c:v>
                </c:pt>
                <c:pt idx="534">
                  <c:v>45175</c:v>
                </c:pt>
                <c:pt idx="535">
                  <c:v>45174</c:v>
                </c:pt>
                <c:pt idx="536">
                  <c:v>45173</c:v>
                </c:pt>
                <c:pt idx="537">
                  <c:v>45170</c:v>
                </c:pt>
                <c:pt idx="538">
                  <c:v>45169</c:v>
                </c:pt>
                <c:pt idx="539">
                  <c:v>45168</c:v>
                </c:pt>
                <c:pt idx="540">
                  <c:v>45167</c:v>
                </c:pt>
                <c:pt idx="541">
                  <c:v>45166</c:v>
                </c:pt>
                <c:pt idx="542">
                  <c:v>45163</c:v>
                </c:pt>
                <c:pt idx="543">
                  <c:v>45162</c:v>
                </c:pt>
                <c:pt idx="544">
                  <c:v>45161</c:v>
                </c:pt>
                <c:pt idx="545">
                  <c:v>45160</c:v>
                </c:pt>
                <c:pt idx="546">
                  <c:v>45159</c:v>
                </c:pt>
                <c:pt idx="547">
                  <c:v>45156</c:v>
                </c:pt>
                <c:pt idx="548">
                  <c:v>45155</c:v>
                </c:pt>
                <c:pt idx="549">
                  <c:v>45154</c:v>
                </c:pt>
                <c:pt idx="550">
                  <c:v>45152</c:v>
                </c:pt>
                <c:pt idx="551">
                  <c:v>45149</c:v>
                </c:pt>
                <c:pt idx="552">
                  <c:v>45148</c:v>
                </c:pt>
                <c:pt idx="553">
                  <c:v>45147</c:v>
                </c:pt>
                <c:pt idx="554">
                  <c:v>45146</c:v>
                </c:pt>
                <c:pt idx="555">
                  <c:v>45145</c:v>
                </c:pt>
                <c:pt idx="556">
                  <c:v>45142</c:v>
                </c:pt>
                <c:pt idx="557">
                  <c:v>45141</c:v>
                </c:pt>
                <c:pt idx="558">
                  <c:v>45140</c:v>
                </c:pt>
                <c:pt idx="559">
                  <c:v>45139</c:v>
                </c:pt>
                <c:pt idx="560">
                  <c:v>45138</c:v>
                </c:pt>
                <c:pt idx="561">
                  <c:v>45135</c:v>
                </c:pt>
                <c:pt idx="562">
                  <c:v>45134</c:v>
                </c:pt>
                <c:pt idx="563">
                  <c:v>45133</c:v>
                </c:pt>
                <c:pt idx="564">
                  <c:v>45132</c:v>
                </c:pt>
                <c:pt idx="565">
                  <c:v>45131</c:v>
                </c:pt>
                <c:pt idx="566">
                  <c:v>45128</c:v>
                </c:pt>
                <c:pt idx="567">
                  <c:v>45127</c:v>
                </c:pt>
                <c:pt idx="568">
                  <c:v>45126</c:v>
                </c:pt>
                <c:pt idx="569">
                  <c:v>45125</c:v>
                </c:pt>
                <c:pt idx="570">
                  <c:v>45124</c:v>
                </c:pt>
                <c:pt idx="571">
                  <c:v>45121</c:v>
                </c:pt>
                <c:pt idx="572">
                  <c:v>45120</c:v>
                </c:pt>
                <c:pt idx="573">
                  <c:v>45119</c:v>
                </c:pt>
                <c:pt idx="574">
                  <c:v>45118</c:v>
                </c:pt>
                <c:pt idx="575">
                  <c:v>45117</c:v>
                </c:pt>
                <c:pt idx="576">
                  <c:v>45114</c:v>
                </c:pt>
                <c:pt idx="577">
                  <c:v>45113</c:v>
                </c:pt>
                <c:pt idx="578">
                  <c:v>45112</c:v>
                </c:pt>
                <c:pt idx="579">
                  <c:v>45111</c:v>
                </c:pt>
                <c:pt idx="580">
                  <c:v>45110</c:v>
                </c:pt>
                <c:pt idx="581">
                  <c:v>45107</c:v>
                </c:pt>
                <c:pt idx="582">
                  <c:v>45105</c:v>
                </c:pt>
                <c:pt idx="583">
                  <c:v>45104</c:v>
                </c:pt>
                <c:pt idx="584">
                  <c:v>45103</c:v>
                </c:pt>
                <c:pt idx="585">
                  <c:v>45100</c:v>
                </c:pt>
                <c:pt idx="586">
                  <c:v>45099</c:v>
                </c:pt>
                <c:pt idx="587">
                  <c:v>45098</c:v>
                </c:pt>
                <c:pt idx="588">
                  <c:v>45097</c:v>
                </c:pt>
                <c:pt idx="589">
                  <c:v>45096</c:v>
                </c:pt>
                <c:pt idx="590">
                  <c:v>45093</c:v>
                </c:pt>
                <c:pt idx="591">
                  <c:v>45092</c:v>
                </c:pt>
                <c:pt idx="592">
                  <c:v>45091</c:v>
                </c:pt>
                <c:pt idx="593">
                  <c:v>45090</c:v>
                </c:pt>
                <c:pt idx="594">
                  <c:v>45089</c:v>
                </c:pt>
                <c:pt idx="595">
                  <c:v>45086</c:v>
                </c:pt>
                <c:pt idx="596">
                  <c:v>45085</c:v>
                </c:pt>
                <c:pt idx="597">
                  <c:v>45084</c:v>
                </c:pt>
                <c:pt idx="598">
                  <c:v>45083</c:v>
                </c:pt>
                <c:pt idx="599">
                  <c:v>45082</c:v>
                </c:pt>
                <c:pt idx="600">
                  <c:v>45079</c:v>
                </c:pt>
                <c:pt idx="601">
                  <c:v>45078</c:v>
                </c:pt>
                <c:pt idx="602">
                  <c:v>45077</c:v>
                </c:pt>
                <c:pt idx="603">
                  <c:v>45076</c:v>
                </c:pt>
                <c:pt idx="604">
                  <c:v>45075</c:v>
                </c:pt>
                <c:pt idx="605">
                  <c:v>45072</c:v>
                </c:pt>
                <c:pt idx="606">
                  <c:v>45071</c:v>
                </c:pt>
                <c:pt idx="607">
                  <c:v>45070</c:v>
                </c:pt>
                <c:pt idx="608">
                  <c:v>45069</c:v>
                </c:pt>
                <c:pt idx="609">
                  <c:v>45068</c:v>
                </c:pt>
                <c:pt idx="610">
                  <c:v>45065</c:v>
                </c:pt>
                <c:pt idx="611">
                  <c:v>45064</c:v>
                </c:pt>
                <c:pt idx="612">
                  <c:v>45063</c:v>
                </c:pt>
                <c:pt idx="613">
                  <c:v>45062</c:v>
                </c:pt>
                <c:pt idx="614">
                  <c:v>45061</c:v>
                </c:pt>
                <c:pt idx="615">
                  <c:v>45058</c:v>
                </c:pt>
                <c:pt idx="616">
                  <c:v>45057</c:v>
                </c:pt>
                <c:pt idx="617">
                  <c:v>45056</c:v>
                </c:pt>
                <c:pt idx="618">
                  <c:v>45055</c:v>
                </c:pt>
                <c:pt idx="619">
                  <c:v>45054</c:v>
                </c:pt>
                <c:pt idx="620">
                  <c:v>45051</c:v>
                </c:pt>
                <c:pt idx="621">
                  <c:v>45050</c:v>
                </c:pt>
                <c:pt idx="622">
                  <c:v>45049</c:v>
                </c:pt>
                <c:pt idx="623">
                  <c:v>45048</c:v>
                </c:pt>
                <c:pt idx="624">
                  <c:v>45044</c:v>
                </c:pt>
                <c:pt idx="625">
                  <c:v>45043</c:v>
                </c:pt>
                <c:pt idx="626">
                  <c:v>45042</c:v>
                </c:pt>
                <c:pt idx="627">
                  <c:v>45041</c:v>
                </c:pt>
                <c:pt idx="628">
                  <c:v>45040</c:v>
                </c:pt>
                <c:pt idx="629">
                  <c:v>45037</c:v>
                </c:pt>
                <c:pt idx="630">
                  <c:v>45036</c:v>
                </c:pt>
                <c:pt idx="631">
                  <c:v>45035</c:v>
                </c:pt>
                <c:pt idx="632">
                  <c:v>45034</c:v>
                </c:pt>
                <c:pt idx="633">
                  <c:v>45033</c:v>
                </c:pt>
                <c:pt idx="634">
                  <c:v>45029</c:v>
                </c:pt>
                <c:pt idx="635">
                  <c:v>45028</c:v>
                </c:pt>
                <c:pt idx="636">
                  <c:v>45027</c:v>
                </c:pt>
                <c:pt idx="637">
                  <c:v>45026</c:v>
                </c:pt>
                <c:pt idx="638">
                  <c:v>45022</c:v>
                </c:pt>
                <c:pt idx="639">
                  <c:v>45021</c:v>
                </c:pt>
                <c:pt idx="640">
                  <c:v>45019</c:v>
                </c:pt>
                <c:pt idx="641">
                  <c:v>45016</c:v>
                </c:pt>
                <c:pt idx="642">
                  <c:v>45014</c:v>
                </c:pt>
                <c:pt idx="643">
                  <c:v>45013</c:v>
                </c:pt>
                <c:pt idx="644">
                  <c:v>45012</c:v>
                </c:pt>
                <c:pt idx="645">
                  <c:v>45009</c:v>
                </c:pt>
                <c:pt idx="646">
                  <c:v>45008</c:v>
                </c:pt>
                <c:pt idx="647">
                  <c:v>45007</c:v>
                </c:pt>
                <c:pt idx="648">
                  <c:v>45006</c:v>
                </c:pt>
                <c:pt idx="649">
                  <c:v>45005</c:v>
                </c:pt>
                <c:pt idx="650">
                  <c:v>45002</c:v>
                </c:pt>
                <c:pt idx="651">
                  <c:v>45001</c:v>
                </c:pt>
                <c:pt idx="652">
                  <c:v>45000</c:v>
                </c:pt>
                <c:pt idx="653">
                  <c:v>44999</c:v>
                </c:pt>
                <c:pt idx="654">
                  <c:v>44998</c:v>
                </c:pt>
                <c:pt idx="655">
                  <c:v>44995</c:v>
                </c:pt>
                <c:pt idx="656">
                  <c:v>44994</c:v>
                </c:pt>
                <c:pt idx="657">
                  <c:v>44993</c:v>
                </c:pt>
                <c:pt idx="658">
                  <c:v>44991</c:v>
                </c:pt>
                <c:pt idx="659">
                  <c:v>44988</c:v>
                </c:pt>
                <c:pt idx="660">
                  <c:v>44987</c:v>
                </c:pt>
                <c:pt idx="661">
                  <c:v>44986</c:v>
                </c:pt>
                <c:pt idx="662">
                  <c:v>44985</c:v>
                </c:pt>
                <c:pt idx="663">
                  <c:v>44984</c:v>
                </c:pt>
                <c:pt idx="664">
                  <c:v>44981</c:v>
                </c:pt>
                <c:pt idx="665">
                  <c:v>44980</c:v>
                </c:pt>
                <c:pt idx="666">
                  <c:v>44979</c:v>
                </c:pt>
                <c:pt idx="667">
                  <c:v>44978</c:v>
                </c:pt>
                <c:pt idx="668">
                  <c:v>44977</c:v>
                </c:pt>
                <c:pt idx="669">
                  <c:v>44974</c:v>
                </c:pt>
                <c:pt idx="670">
                  <c:v>44973</c:v>
                </c:pt>
                <c:pt idx="671">
                  <c:v>44972</c:v>
                </c:pt>
                <c:pt idx="672">
                  <c:v>44971</c:v>
                </c:pt>
                <c:pt idx="673">
                  <c:v>44970</c:v>
                </c:pt>
                <c:pt idx="674">
                  <c:v>44967</c:v>
                </c:pt>
                <c:pt idx="675">
                  <c:v>44966</c:v>
                </c:pt>
                <c:pt idx="676">
                  <c:v>44965</c:v>
                </c:pt>
                <c:pt idx="677">
                  <c:v>44964</c:v>
                </c:pt>
                <c:pt idx="678">
                  <c:v>44963</c:v>
                </c:pt>
                <c:pt idx="679">
                  <c:v>44960</c:v>
                </c:pt>
                <c:pt idx="680">
                  <c:v>44959</c:v>
                </c:pt>
                <c:pt idx="681">
                  <c:v>44958</c:v>
                </c:pt>
                <c:pt idx="682">
                  <c:v>44957</c:v>
                </c:pt>
                <c:pt idx="683">
                  <c:v>44956</c:v>
                </c:pt>
                <c:pt idx="684">
                  <c:v>44953</c:v>
                </c:pt>
                <c:pt idx="685">
                  <c:v>44951</c:v>
                </c:pt>
                <c:pt idx="686">
                  <c:v>44950</c:v>
                </c:pt>
                <c:pt idx="687">
                  <c:v>44949</c:v>
                </c:pt>
                <c:pt idx="688">
                  <c:v>44946</c:v>
                </c:pt>
                <c:pt idx="689">
                  <c:v>44945</c:v>
                </c:pt>
                <c:pt idx="690">
                  <c:v>44944</c:v>
                </c:pt>
                <c:pt idx="691">
                  <c:v>44943</c:v>
                </c:pt>
                <c:pt idx="692">
                  <c:v>44942</c:v>
                </c:pt>
                <c:pt idx="693">
                  <c:v>44939</c:v>
                </c:pt>
                <c:pt idx="694">
                  <c:v>44938</c:v>
                </c:pt>
                <c:pt idx="695">
                  <c:v>44937</c:v>
                </c:pt>
                <c:pt idx="696">
                  <c:v>44936</c:v>
                </c:pt>
                <c:pt idx="697">
                  <c:v>44935</c:v>
                </c:pt>
                <c:pt idx="698">
                  <c:v>44932</c:v>
                </c:pt>
                <c:pt idx="699">
                  <c:v>44931</c:v>
                </c:pt>
                <c:pt idx="700">
                  <c:v>44930</c:v>
                </c:pt>
                <c:pt idx="701">
                  <c:v>44929</c:v>
                </c:pt>
                <c:pt idx="702">
                  <c:v>44928</c:v>
                </c:pt>
                <c:pt idx="703">
                  <c:v>44925</c:v>
                </c:pt>
                <c:pt idx="704">
                  <c:v>44924</c:v>
                </c:pt>
                <c:pt idx="705">
                  <c:v>44923</c:v>
                </c:pt>
                <c:pt idx="706">
                  <c:v>44922</c:v>
                </c:pt>
                <c:pt idx="707">
                  <c:v>44921</c:v>
                </c:pt>
                <c:pt idx="708">
                  <c:v>44918</c:v>
                </c:pt>
                <c:pt idx="709">
                  <c:v>44917</c:v>
                </c:pt>
                <c:pt idx="710">
                  <c:v>44916</c:v>
                </c:pt>
                <c:pt idx="711">
                  <c:v>44915</c:v>
                </c:pt>
                <c:pt idx="712">
                  <c:v>44914</c:v>
                </c:pt>
                <c:pt idx="713">
                  <c:v>44911</c:v>
                </c:pt>
                <c:pt idx="714">
                  <c:v>44910</c:v>
                </c:pt>
                <c:pt idx="715">
                  <c:v>44909</c:v>
                </c:pt>
                <c:pt idx="716">
                  <c:v>44908</c:v>
                </c:pt>
                <c:pt idx="717">
                  <c:v>44907</c:v>
                </c:pt>
                <c:pt idx="718">
                  <c:v>44904</c:v>
                </c:pt>
                <c:pt idx="719">
                  <c:v>44903</c:v>
                </c:pt>
                <c:pt idx="720">
                  <c:v>44902</c:v>
                </c:pt>
                <c:pt idx="721">
                  <c:v>44901</c:v>
                </c:pt>
                <c:pt idx="722">
                  <c:v>44900</c:v>
                </c:pt>
                <c:pt idx="723">
                  <c:v>44897</c:v>
                </c:pt>
                <c:pt idx="724">
                  <c:v>44896</c:v>
                </c:pt>
                <c:pt idx="725">
                  <c:v>44895</c:v>
                </c:pt>
                <c:pt idx="726">
                  <c:v>44894</c:v>
                </c:pt>
                <c:pt idx="727">
                  <c:v>44893</c:v>
                </c:pt>
                <c:pt idx="728">
                  <c:v>44890</c:v>
                </c:pt>
                <c:pt idx="729">
                  <c:v>44889</c:v>
                </c:pt>
                <c:pt idx="730">
                  <c:v>44888</c:v>
                </c:pt>
                <c:pt idx="731">
                  <c:v>44887</c:v>
                </c:pt>
                <c:pt idx="732">
                  <c:v>44886</c:v>
                </c:pt>
                <c:pt idx="733">
                  <c:v>44883</c:v>
                </c:pt>
                <c:pt idx="734">
                  <c:v>44882</c:v>
                </c:pt>
                <c:pt idx="735">
                  <c:v>44881</c:v>
                </c:pt>
                <c:pt idx="736">
                  <c:v>44880</c:v>
                </c:pt>
                <c:pt idx="737">
                  <c:v>44879</c:v>
                </c:pt>
                <c:pt idx="738">
                  <c:v>44876</c:v>
                </c:pt>
                <c:pt idx="739">
                  <c:v>44875</c:v>
                </c:pt>
                <c:pt idx="740">
                  <c:v>44874</c:v>
                </c:pt>
                <c:pt idx="741">
                  <c:v>44872</c:v>
                </c:pt>
                <c:pt idx="742">
                  <c:v>44869</c:v>
                </c:pt>
                <c:pt idx="743">
                  <c:v>44868</c:v>
                </c:pt>
                <c:pt idx="744">
                  <c:v>44867</c:v>
                </c:pt>
                <c:pt idx="745">
                  <c:v>44866</c:v>
                </c:pt>
                <c:pt idx="746">
                  <c:v>44865</c:v>
                </c:pt>
                <c:pt idx="747">
                  <c:v>44862</c:v>
                </c:pt>
                <c:pt idx="748">
                  <c:v>44861</c:v>
                </c:pt>
                <c:pt idx="749">
                  <c:v>44859</c:v>
                </c:pt>
                <c:pt idx="750">
                  <c:v>44858</c:v>
                </c:pt>
                <c:pt idx="751">
                  <c:v>44855</c:v>
                </c:pt>
                <c:pt idx="752">
                  <c:v>44854</c:v>
                </c:pt>
                <c:pt idx="753">
                  <c:v>44853</c:v>
                </c:pt>
                <c:pt idx="754">
                  <c:v>44852</c:v>
                </c:pt>
                <c:pt idx="755">
                  <c:v>44851</c:v>
                </c:pt>
                <c:pt idx="756">
                  <c:v>44848</c:v>
                </c:pt>
                <c:pt idx="757">
                  <c:v>44847</c:v>
                </c:pt>
                <c:pt idx="758">
                  <c:v>44846</c:v>
                </c:pt>
                <c:pt idx="759">
                  <c:v>44845</c:v>
                </c:pt>
                <c:pt idx="760">
                  <c:v>44844</c:v>
                </c:pt>
                <c:pt idx="761">
                  <c:v>44841</c:v>
                </c:pt>
                <c:pt idx="762">
                  <c:v>44840</c:v>
                </c:pt>
                <c:pt idx="763">
                  <c:v>44838</c:v>
                </c:pt>
                <c:pt idx="764">
                  <c:v>44837</c:v>
                </c:pt>
                <c:pt idx="765">
                  <c:v>44834</c:v>
                </c:pt>
                <c:pt idx="766">
                  <c:v>44833</c:v>
                </c:pt>
                <c:pt idx="767">
                  <c:v>44832</c:v>
                </c:pt>
                <c:pt idx="768">
                  <c:v>44831</c:v>
                </c:pt>
                <c:pt idx="769">
                  <c:v>44830</c:v>
                </c:pt>
                <c:pt idx="770">
                  <c:v>44827</c:v>
                </c:pt>
                <c:pt idx="771">
                  <c:v>44826</c:v>
                </c:pt>
                <c:pt idx="772">
                  <c:v>44825</c:v>
                </c:pt>
                <c:pt idx="773">
                  <c:v>44824</c:v>
                </c:pt>
                <c:pt idx="774">
                  <c:v>44823</c:v>
                </c:pt>
                <c:pt idx="775">
                  <c:v>44820</c:v>
                </c:pt>
                <c:pt idx="776">
                  <c:v>44819</c:v>
                </c:pt>
                <c:pt idx="777">
                  <c:v>44818</c:v>
                </c:pt>
                <c:pt idx="778">
                  <c:v>44817</c:v>
                </c:pt>
                <c:pt idx="779">
                  <c:v>44816</c:v>
                </c:pt>
                <c:pt idx="780">
                  <c:v>44813</c:v>
                </c:pt>
                <c:pt idx="781">
                  <c:v>44812</c:v>
                </c:pt>
                <c:pt idx="782">
                  <c:v>44811</c:v>
                </c:pt>
                <c:pt idx="783">
                  <c:v>44810</c:v>
                </c:pt>
                <c:pt idx="784">
                  <c:v>44809</c:v>
                </c:pt>
                <c:pt idx="785">
                  <c:v>44806</c:v>
                </c:pt>
                <c:pt idx="786">
                  <c:v>44805</c:v>
                </c:pt>
                <c:pt idx="787">
                  <c:v>44803</c:v>
                </c:pt>
                <c:pt idx="788">
                  <c:v>44802</c:v>
                </c:pt>
                <c:pt idx="789">
                  <c:v>44799</c:v>
                </c:pt>
                <c:pt idx="790">
                  <c:v>44798</c:v>
                </c:pt>
                <c:pt idx="791">
                  <c:v>44797</c:v>
                </c:pt>
                <c:pt idx="792">
                  <c:v>44796</c:v>
                </c:pt>
                <c:pt idx="793">
                  <c:v>44795</c:v>
                </c:pt>
                <c:pt idx="794">
                  <c:v>44792</c:v>
                </c:pt>
                <c:pt idx="795">
                  <c:v>44791</c:v>
                </c:pt>
                <c:pt idx="796">
                  <c:v>44790</c:v>
                </c:pt>
                <c:pt idx="797">
                  <c:v>44789</c:v>
                </c:pt>
                <c:pt idx="798">
                  <c:v>44785</c:v>
                </c:pt>
                <c:pt idx="799">
                  <c:v>44784</c:v>
                </c:pt>
                <c:pt idx="800">
                  <c:v>44783</c:v>
                </c:pt>
                <c:pt idx="801">
                  <c:v>44781</c:v>
                </c:pt>
                <c:pt idx="802">
                  <c:v>44778</c:v>
                </c:pt>
                <c:pt idx="803">
                  <c:v>44777</c:v>
                </c:pt>
                <c:pt idx="804">
                  <c:v>44776</c:v>
                </c:pt>
                <c:pt idx="805">
                  <c:v>44775</c:v>
                </c:pt>
                <c:pt idx="806">
                  <c:v>44774</c:v>
                </c:pt>
                <c:pt idx="807">
                  <c:v>44771</c:v>
                </c:pt>
                <c:pt idx="808">
                  <c:v>44770</c:v>
                </c:pt>
                <c:pt idx="809">
                  <c:v>44769</c:v>
                </c:pt>
                <c:pt idx="810">
                  <c:v>44768</c:v>
                </c:pt>
                <c:pt idx="811">
                  <c:v>44767</c:v>
                </c:pt>
                <c:pt idx="812">
                  <c:v>44764</c:v>
                </c:pt>
                <c:pt idx="813">
                  <c:v>44763</c:v>
                </c:pt>
                <c:pt idx="814">
                  <c:v>44762</c:v>
                </c:pt>
                <c:pt idx="815">
                  <c:v>44761</c:v>
                </c:pt>
                <c:pt idx="816">
                  <c:v>44760</c:v>
                </c:pt>
                <c:pt idx="817">
                  <c:v>44757</c:v>
                </c:pt>
                <c:pt idx="818">
                  <c:v>44756</c:v>
                </c:pt>
                <c:pt idx="819">
                  <c:v>44755</c:v>
                </c:pt>
                <c:pt idx="820">
                  <c:v>44754</c:v>
                </c:pt>
                <c:pt idx="821">
                  <c:v>44753</c:v>
                </c:pt>
                <c:pt idx="822">
                  <c:v>44750</c:v>
                </c:pt>
                <c:pt idx="823">
                  <c:v>44749</c:v>
                </c:pt>
                <c:pt idx="824">
                  <c:v>44748</c:v>
                </c:pt>
                <c:pt idx="825">
                  <c:v>44747</c:v>
                </c:pt>
                <c:pt idx="826">
                  <c:v>44746</c:v>
                </c:pt>
                <c:pt idx="827">
                  <c:v>44743</c:v>
                </c:pt>
                <c:pt idx="828">
                  <c:v>44742</c:v>
                </c:pt>
                <c:pt idx="829">
                  <c:v>44741</c:v>
                </c:pt>
                <c:pt idx="830">
                  <c:v>44740</c:v>
                </c:pt>
                <c:pt idx="831">
                  <c:v>44739</c:v>
                </c:pt>
                <c:pt idx="832">
                  <c:v>44736</c:v>
                </c:pt>
                <c:pt idx="833">
                  <c:v>44735</c:v>
                </c:pt>
                <c:pt idx="834">
                  <c:v>44734</c:v>
                </c:pt>
                <c:pt idx="835">
                  <c:v>44733</c:v>
                </c:pt>
                <c:pt idx="836">
                  <c:v>44732</c:v>
                </c:pt>
                <c:pt idx="837">
                  <c:v>44729</c:v>
                </c:pt>
                <c:pt idx="838">
                  <c:v>44728</c:v>
                </c:pt>
                <c:pt idx="839">
                  <c:v>44727</c:v>
                </c:pt>
                <c:pt idx="840">
                  <c:v>44726</c:v>
                </c:pt>
                <c:pt idx="841">
                  <c:v>44725</c:v>
                </c:pt>
                <c:pt idx="842">
                  <c:v>44722</c:v>
                </c:pt>
                <c:pt idx="843">
                  <c:v>44721</c:v>
                </c:pt>
                <c:pt idx="844">
                  <c:v>44720</c:v>
                </c:pt>
                <c:pt idx="845">
                  <c:v>44719</c:v>
                </c:pt>
                <c:pt idx="846">
                  <c:v>44718</c:v>
                </c:pt>
                <c:pt idx="847">
                  <c:v>44715</c:v>
                </c:pt>
                <c:pt idx="848">
                  <c:v>44714</c:v>
                </c:pt>
                <c:pt idx="849">
                  <c:v>44713</c:v>
                </c:pt>
                <c:pt idx="850">
                  <c:v>44712</c:v>
                </c:pt>
                <c:pt idx="851">
                  <c:v>44711</c:v>
                </c:pt>
                <c:pt idx="852">
                  <c:v>44708</c:v>
                </c:pt>
                <c:pt idx="853">
                  <c:v>44707</c:v>
                </c:pt>
                <c:pt idx="854">
                  <c:v>44706</c:v>
                </c:pt>
                <c:pt idx="855">
                  <c:v>44705</c:v>
                </c:pt>
                <c:pt idx="856">
                  <c:v>44704</c:v>
                </c:pt>
                <c:pt idx="857">
                  <c:v>44701</c:v>
                </c:pt>
                <c:pt idx="858">
                  <c:v>44700</c:v>
                </c:pt>
                <c:pt idx="859">
                  <c:v>44699</c:v>
                </c:pt>
                <c:pt idx="860">
                  <c:v>44698</c:v>
                </c:pt>
                <c:pt idx="861">
                  <c:v>44697</c:v>
                </c:pt>
                <c:pt idx="862">
                  <c:v>44694</c:v>
                </c:pt>
                <c:pt idx="863">
                  <c:v>44693</c:v>
                </c:pt>
                <c:pt idx="864">
                  <c:v>44692</c:v>
                </c:pt>
                <c:pt idx="865">
                  <c:v>44691</c:v>
                </c:pt>
                <c:pt idx="866">
                  <c:v>44690</c:v>
                </c:pt>
                <c:pt idx="867">
                  <c:v>44687</c:v>
                </c:pt>
                <c:pt idx="868">
                  <c:v>44686</c:v>
                </c:pt>
                <c:pt idx="869">
                  <c:v>44685</c:v>
                </c:pt>
                <c:pt idx="870">
                  <c:v>44683</c:v>
                </c:pt>
                <c:pt idx="871">
                  <c:v>44680</c:v>
                </c:pt>
                <c:pt idx="872">
                  <c:v>44679</c:v>
                </c:pt>
                <c:pt idx="873">
                  <c:v>44678</c:v>
                </c:pt>
                <c:pt idx="874">
                  <c:v>44677</c:v>
                </c:pt>
                <c:pt idx="875">
                  <c:v>44676</c:v>
                </c:pt>
                <c:pt idx="876">
                  <c:v>44673</c:v>
                </c:pt>
                <c:pt idx="877">
                  <c:v>44672</c:v>
                </c:pt>
                <c:pt idx="878">
                  <c:v>44671</c:v>
                </c:pt>
                <c:pt idx="879">
                  <c:v>44670</c:v>
                </c:pt>
                <c:pt idx="880">
                  <c:v>44669</c:v>
                </c:pt>
                <c:pt idx="881">
                  <c:v>44664</c:v>
                </c:pt>
                <c:pt idx="882">
                  <c:v>44663</c:v>
                </c:pt>
                <c:pt idx="883">
                  <c:v>44662</c:v>
                </c:pt>
                <c:pt idx="884">
                  <c:v>44659</c:v>
                </c:pt>
                <c:pt idx="885">
                  <c:v>44658</c:v>
                </c:pt>
                <c:pt idx="886">
                  <c:v>44657</c:v>
                </c:pt>
                <c:pt idx="887">
                  <c:v>44656</c:v>
                </c:pt>
                <c:pt idx="888">
                  <c:v>44655</c:v>
                </c:pt>
                <c:pt idx="889">
                  <c:v>44652</c:v>
                </c:pt>
              </c:numCache>
            </c:numRef>
          </c:cat>
          <c:val>
            <c:numRef>
              <c:f>Sheet1!$C$2:$C$891</c:f>
              <c:numCache>
                <c:formatCode>_ * #,##0_ ;_ * \-#,##0_ ;_ * "-"??_ ;_ @_ </c:formatCode>
                <c:ptCount val="890"/>
                <c:pt idx="0">
                  <c:v>147.93452549093661</c:v>
                </c:pt>
                <c:pt idx="1">
                  <c:v>147.48131236307765</c:v>
                </c:pt>
                <c:pt idx="2">
                  <c:v>148.4391751776183</c:v>
                </c:pt>
                <c:pt idx="3">
                  <c:v>147.70107168195207</c:v>
                </c:pt>
                <c:pt idx="4">
                  <c:v>147.9081910923903</c:v>
                </c:pt>
                <c:pt idx="5">
                  <c:v>146.85094789719412</c:v>
                </c:pt>
                <c:pt idx="6">
                  <c:v>147.40123962244328</c:v>
                </c:pt>
                <c:pt idx="7">
                  <c:v>147.27247805045124</c:v>
                </c:pt>
                <c:pt idx="8">
                  <c:v>147.17432088674113</c:v>
                </c:pt>
                <c:pt idx="9">
                  <c:v>146.11419953402628</c:v>
                </c:pt>
                <c:pt idx="10">
                  <c:v>145.49985681166345</c:v>
                </c:pt>
                <c:pt idx="11">
                  <c:v>144.10688853423594</c:v>
                </c:pt>
                <c:pt idx="12">
                  <c:v>142.95990678607183</c:v>
                </c:pt>
                <c:pt idx="13">
                  <c:v>144.21394400160793</c:v>
                </c:pt>
                <c:pt idx="14">
                  <c:v>144.5251927526075</c:v>
                </c:pt>
                <c:pt idx="15">
                  <c:v>143.95968276947829</c:v>
                </c:pt>
                <c:pt idx="16">
                  <c:v>143.0742895627935</c:v>
                </c:pt>
                <c:pt idx="17">
                  <c:v>143.43405925262886</c:v>
                </c:pt>
                <c:pt idx="18">
                  <c:v>143.29444462832672</c:v>
                </c:pt>
                <c:pt idx="19">
                  <c:v>142.23627802426</c:v>
                </c:pt>
                <c:pt idx="20">
                  <c:v>141.93127727354059</c:v>
                </c:pt>
                <c:pt idx="21">
                  <c:v>140.85621348637457</c:v>
                </c:pt>
                <c:pt idx="22">
                  <c:v>139.77149587919797</c:v>
                </c:pt>
                <c:pt idx="23">
                  <c:v>139.85342742989647</c:v>
                </c:pt>
                <c:pt idx="24">
                  <c:v>141.28430344030966</c:v>
                </c:pt>
                <c:pt idx="25">
                  <c:v>142.37736770429041</c:v>
                </c:pt>
                <c:pt idx="26">
                  <c:v>142.95982283981087</c:v>
                </c:pt>
                <c:pt idx="27">
                  <c:v>143.10849166797382</c:v>
                </c:pt>
                <c:pt idx="28">
                  <c:v>143.80613306585656</c:v>
                </c:pt>
                <c:pt idx="29">
                  <c:v>144.14341715007723</c:v>
                </c:pt>
                <c:pt idx="30">
                  <c:v>143.74677106703373</c:v>
                </c:pt>
                <c:pt idx="31">
                  <c:v>143.14862997303646</c:v>
                </c:pt>
                <c:pt idx="32">
                  <c:v>142.1331440465072</c:v>
                </c:pt>
                <c:pt idx="33">
                  <c:v>142.38064160846793</c:v>
                </c:pt>
                <c:pt idx="34">
                  <c:v>141.82043223210229</c:v>
                </c:pt>
                <c:pt idx="35">
                  <c:v>141.5673942169181</c:v>
                </c:pt>
                <c:pt idx="36">
                  <c:v>140.87132381334763</c:v>
                </c:pt>
                <c:pt idx="37">
                  <c:v>140.30974731216062</c:v>
                </c:pt>
                <c:pt idx="38">
                  <c:v>140.13715379962363</c:v>
                </c:pt>
                <c:pt idx="39">
                  <c:v>140.12041251672329</c:v>
                </c:pt>
                <c:pt idx="40">
                  <c:v>140.15510630714644</c:v>
                </c:pt>
                <c:pt idx="41">
                  <c:v>139.4705365413277</c:v>
                </c:pt>
                <c:pt idx="42">
                  <c:v>139.51870970279666</c:v>
                </c:pt>
                <c:pt idx="43">
                  <c:v>138.35299594611513</c:v>
                </c:pt>
                <c:pt idx="44">
                  <c:v>138.74183502688919</c:v>
                </c:pt>
                <c:pt idx="45">
                  <c:v>139.84861850837569</c:v>
                </c:pt>
                <c:pt idx="46">
                  <c:v>141.21334486515113</c:v>
                </c:pt>
                <c:pt idx="47">
                  <c:v>140.54446105780923</c:v>
                </c:pt>
                <c:pt idx="48">
                  <c:v>141.77097589207293</c:v>
                </c:pt>
                <c:pt idx="49">
                  <c:v>141.67585278608047</c:v>
                </c:pt>
                <c:pt idx="50">
                  <c:v>141.14918593713048</c:v>
                </c:pt>
                <c:pt idx="51">
                  <c:v>140.38286450545817</c:v>
                </c:pt>
                <c:pt idx="52">
                  <c:v>138.72617305305835</c:v>
                </c:pt>
                <c:pt idx="53">
                  <c:v>138.76658718154985</c:v>
                </c:pt>
                <c:pt idx="54">
                  <c:v>138.05425518799885</c:v>
                </c:pt>
                <c:pt idx="55">
                  <c:v>138.49789918485783</c:v>
                </c:pt>
                <c:pt idx="56">
                  <c:v>137.241079750387</c:v>
                </c:pt>
                <c:pt idx="57">
                  <c:v>138.53615469521031</c:v>
                </c:pt>
                <c:pt idx="58">
                  <c:v>138.45672954001768</c:v>
                </c:pt>
                <c:pt idx="59">
                  <c:v>138.97177582798597</c:v>
                </c:pt>
                <c:pt idx="60">
                  <c:v>139.25683334556552</c:v>
                </c:pt>
                <c:pt idx="61">
                  <c:v>138.07098447857621</c:v>
                </c:pt>
                <c:pt idx="62">
                  <c:v>139.2852191740935</c:v>
                </c:pt>
                <c:pt idx="63">
                  <c:v>139.84678368295752</c:v>
                </c:pt>
                <c:pt idx="64">
                  <c:v>139.75338747147626</c:v>
                </c:pt>
                <c:pt idx="65">
                  <c:v>138.91747458946682</c:v>
                </c:pt>
                <c:pt idx="66">
                  <c:v>140.01618723757798</c:v>
                </c:pt>
                <c:pt idx="67">
                  <c:v>141.37273483007118</c:v>
                </c:pt>
                <c:pt idx="68">
                  <c:v>142.32991408220116</c:v>
                </c:pt>
                <c:pt idx="69">
                  <c:v>141.29239825833096</c:v>
                </c:pt>
                <c:pt idx="70">
                  <c:v>141.58463917738419</c:v>
                </c:pt>
                <c:pt idx="71">
                  <c:v>141.36895724832792</c:v>
                </c:pt>
                <c:pt idx="72">
                  <c:v>142.01280108525728</c:v>
                </c:pt>
                <c:pt idx="73">
                  <c:v>142.52234289697108</c:v>
                </c:pt>
                <c:pt idx="74">
                  <c:v>142.44741486290135</c:v>
                </c:pt>
                <c:pt idx="75">
                  <c:v>141.7974789258908</c:v>
                </c:pt>
                <c:pt idx="76">
                  <c:v>142.2342872986429</c:v>
                </c:pt>
                <c:pt idx="77">
                  <c:v>143.5106062503028</c:v>
                </c:pt>
                <c:pt idx="78">
                  <c:v>144.17212677132608</c:v>
                </c:pt>
                <c:pt idx="79">
                  <c:v>144.46151351750663</c:v>
                </c:pt>
                <c:pt idx="80">
                  <c:v>144.23929577241833</c:v>
                </c:pt>
                <c:pt idx="81">
                  <c:v>144.17258247959984</c:v>
                </c:pt>
                <c:pt idx="82">
                  <c:v>143.88654159153475</c:v>
                </c:pt>
                <c:pt idx="83">
                  <c:v>144.24446446362899</c:v>
                </c:pt>
                <c:pt idx="84">
                  <c:v>144.596187304735</c:v>
                </c:pt>
                <c:pt idx="85">
                  <c:v>144.4231260916012</c:v>
                </c:pt>
                <c:pt idx="86">
                  <c:v>144.93675728545614</c:v>
                </c:pt>
                <c:pt idx="87">
                  <c:v>144.35903911751853</c:v>
                </c:pt>
                <c:pt idx="88">
                  <c:v>142.719136917311</c:v>
                </c:pt>
                <c:pt idx="89">
                  <c:v>141.50828405687815</c:v>
                </c:pt>
                <c:pt idx="90">
                  <c:v>141.18956408865299</c:v>
                </c:pt>
                <c:pt idx="91">
                  <c:v>141.8820487876481</c:v>
                </c:pt>
                <c:pt idx="92">
                  <c:v>140.1302102446098</c:v>
                </c:pt>
                <c:pt idx="93">
                  <c:v>140.32436595389095</c:v>
                </c:pt>
                <c:pt idx="94">
                  <c:v>140.69605601278286</c:v>
                </c:pt>
                <c:pt idx="95">
                  <c:v>141.26852154324888</c:v>
                </c:pt>
                <c:pt idx="96">
                  <c:v>139.96042293565353</c:v>
                </c:pt>
                <c:pt idx="97">
                  <c:v>140.81286123874941</c:v>
                </c:pt>
                <c:pt idx="98">
                  <c:v>142.26117408679659</c:v>
                </c:pt>
                <c:pt idx="99">
                  <c:v>142.02397793028814</c:v>
                </c:pt>
                <c:pt idx="100">
                  <c:v>141.92739176089034</c:v>
                </c:pt>
                <c:pt idx="101">
                  <c:v>141.16989667894202</c:v>
                </c:pt>
                <c:pt idx="102">
                  <c:v>139.84215464628164</c:v>
                </c:pt>
                <c:pt idx="103">
                  <c:v>139.19960598023567</c:v>
                </c:pt>
                <c:pt idx="104">
                  <c:v>138.79004416532712</c:v>
                </c:pt>
                <c:pt idx="105">
                  <c:v>139.86458029028137</c:v>
                </c:pt>
                <c:pt idx="106">
                  <c:v>140.04623999900224</c:v>
                </c:pt>
                <c:pt idx="107">
                  <c:v>140.64957376885613</c:v>
                </c:pt>
                <c:pt idx="108">
                  <c:v>140.18996799009147</c:v>
                </c:pt>
                <c:pt idx="109">
                  <c:v>140.63232880839001</c:v>
                </c:pt>
                <c:pt idx="110">
                  <c:v>141.58774518903979</c:v>
                </c:pt>
                <c:pt idx="111">
                  <c:v>140.73239275145625</c:v>
                </c:pt>
                <c:pt idx="112">
                  <c:v>139.36537586098882</c:v>
                </c:pt>
                <c:pt idx="113">
                  <c:v>140.61041883427905</c:v>
                </c:pt>
                <c:pt idx="114">
                  <c:v>139.84145909154796</c:v>
                </c:pt>
                <c:pt idx="115">
                  <c:v>141.35307941268317</c:v>
                </c:pt>
                <c:pt idx="116">
                  <c:v>141.76189770356609</c:v>
                </c:pt>
                <c:pt idx="117">
                  <c:v>142.05088870308785</c:v>
                </c:pt>
                <c:pt idx="118">
                  <c:v>139.77354656643004</c:v>
                </c:pt>
                <c:pt idx="119">
                  <c:v>139.14357784720534</c:v>
                </c:pt>
                <c:pt idx="120">
                  <c:v>141.01662279874915</c:v>
                </c:pt>
                <c:pt idx="121">
                  <c:v>135.87987913657193</c:v>
                </c:pt>
                <c:pt idx="122">
                  <c:v>137.20083351441741</c:v>
                </c:pt>
                <c:pt idx="123">
                  <c:v>138.05797280812715</c:v>
                </c:pt>
                <c:pt idx="124">
                  <c:v>137.96185433932612</c:v>
                </c:pt>
                <c:pt idx="125">
                  <c:v>138.47883139129655</c:v>
                </c:pt>
                <c:pt idx="126">
                  <c:v>137.68521543248872</c:v>
                </c:pt>
                <c:pt idx="127">
                  <c:v>137.63956065884864</c:v>
                </c:pt>
                <c:pt idx="128">
                  <c:v>137.84141543949227</c:v>
                </c:pt>
                <c:pt idx="129">
                  <c:v>137.75592216886437</c:v>
                </c:pt>
                <c:pt idx="130">
                  <c:v>136.15062981281903</c:v>
                </c:pt>
                <c:pt idx="131">
                  <c:v>137.3712923934614</c:v>
                </c:pt>
                <c:pt idx="132">
                  <c:v>137.82277936955879</c:v>
                </c:pt>
                <c:pt idx="133">
                  <c:v>136.53097832891297</c:v>
                </c:pt>
                <c:pt idx="134">
                  <c:v>136.48842956692843</c:v>
                </c:pt>
                <c:pt idx="135">
                  <c:v>134.99056444026792</c:v>
                </c:pt>
                <c:pt idx="136">
                  <c:v>132.81546884946133</c:v>
                </c:pt>
                <c:pt idx="137">
                  <c:v>132.21777147141486</c:v>
                </c:pt>
                <c:pt idx="138">
                  <c:v>129.59363533840175</c:v>
                </c:pt>
                <c:pt idx="139">
                  <c:v>127.14469505201551</c:v>
                </c:pt>
                <c:pt idx="140">
                  <c:v>127.95169444328518</c:v>
                </c:pt>
                <c:pt idx="141">
                  <c:v>125.73815146495819</c:v>
                </c:pt>
                <c:pt idx="142">
                  <c:v>129.64525029657014</c:v>
                </c:pt>
                <c:pt idx="143">
                  <c:v>132.04361895688857</c:v>
                </c:pt>
                <c:pt idx="144">
                  <c:v>132.61360207649471</c:v>
                </c:pt>
                <c:pt idx="145">
                  <c:v>131.84194406108983</c:v>
                </c:pt>
                <c:pt idx="146">
                  <c:v>133.60149366781363</c:v>
                </c:pt>
                <c:pt idx="147">
                  <c:v>133.38698698641079</c:v>
                </c:pt>
                <c:pt idx="148">
                  <c:v>132.76080784125236</c:v>
                </c:pt>
                <c:pt idx="149">
                  <c:v>133.73306144338639</c:v>
                </c:pt>
                <c:pt idx="150">
                  <c:v>133.74530560516379</c:v>
                </c:pt>
                <c:pt idx="151">
                  <c:v>131.98413703483578</c:v>
                </c:pt>
                <c:pt idx="152">
                  <c:v>131.03001582506943</c:v>
                </c:pt>
                <c:pt idx="153">
                  <c:v>129.3424921102507</c:v>
                </c:pt>
                <c:pt idx="154">
                  <c:v>128.95301743635795</c:v>
                </c:pt>
                <c:pt idx="155">
                  <c:v>127.26317920320128</c:v>
                </c:pt>
                <c:pt idx="156">
                  <c:v>126.71005728972543</c:v>
                </c:pt>
                <c:pt idx="157">
                  <c:v>127.17689443925578</c:v>
                </c:pt>
                <c:pt idx="158">
                  <c:v>127.51534177880689</c:v>
                </c:pt>
                <c:pt idx="159">
                  <c:v>127.23866689500049</c:v>
                </c:pt>
                <c:pt idx="160">
                  <c:v>127.83937434611859</c:v>
                </c:pt>
                <c:pt idx="161">
                  <c:v>127.66775221174413</c:v>
                </c:pt>
                <c:pt idx="162">
                  <c:v>126.27808182314011</c:v>
                </c:pt>
                <c:pt idx="163">
                  <c:v>124.61732497324513</c:v>
                </c:pt>
                <c:pt idx="164">
                  <c:v>124.8752078869191</c:v>
                </c:pt>
                <c:pt idx="165">
                  <c:v>124.8284977888555</c:v>
                </c:pt>
                <c:pt idx="166">
                  <c:v>127.63778339658086</c:v>
                </c:pt>
                <c:pt idx="167">
                  <c:v>127.72205345026329</c:v>
                </c:pt>
                <c:pt idx="168">
                  <c:v>127.84436315248431</c:v>
                </c:pt>
                <c:pt idx="169">
                  <c:v>129.35288945428692</c:v>
                </c:pt>
                <c:pt idx="170">
                  <c:v>130.02953229460627</c:v>
                </c:pt>
                <c:pt idx="171">
                  <c:v>129.94685721988213</c:v>
                </c:pt>
                <c:pt idx="172">
                  <c:v>130.28745118524924</c:v>
                </c:pt>
                <c:pt idx="173">
                  <c:v>130.38956581554751</c:v>
                </c:pt>
                <c:pt idx="174">
                  <c:v>130.13134711682969</c:v>
                </c:pt>
                <c:pt idx="175">
                  <c:v>130.82812506745682</c:v>
                </c:pt>
                <c:pt idx="176">
                  <c:v>130.8768738604295</c:v>
                </c:pt>
                <c:pt idx="177">
                  <c:v>131.04606155323609</c:v>
                </c:pt>
                <c:pt idx="178">
                  <c:v>132.87336778487884</c:v>
                </c:pt>
                <c:pt idx="179">
                  <c:v>134.14304298959979</c:v>
                </c:pt>
                <c:pt idx="180">
                  <c:v>134.3333131862307</c:v>
                </c:pt>
                <c:pt idx="181">
                  <c:v>135.0159282034013</c:v>
                </c:pt>
                <c:pt idx="182">
                  <c:v>135.32345933427257</c:v>
                </c:pt>
                <c:pt idx="183">
                  <c:v>133.33218207032587</c:v>
                </c:pt>
                <c:pt idx="184">
                  <c:v>#N/A</c:v>
                </c:pt>
                <c:pt idx="185">
                  <c:v>134.12569009822673</c:v>
                </c:pt>
                <c:pt idx="186">
                  <c:v>132.61861486750641</c:v>
                </c:pt>
                <c:pt idx="187">
                  <c:v>132.10111015332424</c:v>
                </c:pt>
                <c:pt idx="188">
                  <c:v>130.50006307961894</c:v>
                </c:pt>
                <c:pt idx="189">
                  <c:v>130.11683640600634</c:v>
                </c:pt>
                <c:pt idx="190">
                  <c:v>131.85634684100626</c:v>
                </c:pt>
                <c:pt idx="191">
                  <c:v>132.47909618178826</c:v>
                </c:pt>
                <c:pt idx="192">
                  <c:v>132.16632440576842</c:v>
                </c:pt>
                <c:pt idx="193">
                  <c:v>131.39007333065663</c:v>
                </c:pt>
                <c:pt idx="194">
                  <c:v>133.19128426746335</c:v>
                </c:pt>
                <c:pt idx="195">
                  <c:v>132.40413217074959</c:v>
                </c:pt>
                <c:pt idx="196">
                  <c:v>132.67644184898595</c:v>
                </c:pt>
                <c:pt idx="197">
                  <c:v>132.13172655392924</c:v>
                </c:pt>
                <c:pt idx="198">
                  <c:v>131.85098627262772</c:v>
                </c:pt>
                <c:pt idx="199">
                  <c:v>131.4238557045322</c:v>
                </c:pt>
                <c:pt idx="200">
                  <c:v>133.3978760156898</c:v>
                </c:pt>
                <c:pt idx="201">
                  <c:v>133.64109231834149</c:v>
                </c:pt>
                <c:pt idx="202">
                  <c:v>134.58511599214646</c:v>
                </c:pt>
                <c:pt idx="203">
                  <c:v>134.39614096639895</c:v>
                </c:pt>
                <c:pt idx="204">
                  <c:v>133.92333164001732</c:v>
                </c:pt>
                <c:pt idx="205">
                  <c:v>136.33630694974306</c:v>
                </c:pt>
                <c:pt idx="206">
                  <c:v>137.10613013972974</c:v>
                </c:pt>
                <c:pt idx="207">
                  <c:v>134.4115271168009</c:v>
                </c:pt>
                <c:pt idx="208">
                  <c:v>133.89994661017803</c:v>
                </c:pt>
                <c:pt idx="209">
                  <c:v>133.90425185413307</c:v>
                </c:pt>
                <c:pt idx="210">
                  <c:v>134.67438684451761</c:v>
                </c:pt>
                <c:pt idx="211">
                  <c:v>134.43005525582743</c:v>
                </c:pt>
                <c:pt idx="212">
                  <c:v>134.19752411296383</c:v>
                </c:pt>
                <c:pt idx="213">
                  <c:v>134.34559332497707</c:v>
                </c:pt>
                <c:pt idx="214">
                  <c:v>133.55687023395103</c:v>
                </c:pt>
                <c:pt idx="215">
                  <c:v>135.75289242838303</c:v>
                </c:pt>
                <c:pt idx="216">
                  <c:v>137.11686326880982</c:v>
                </c:pt>
                <c:pt idx="217">
                  <c:v>137.77239962065883</c:v>
                </c:pt>
                <c:pt idx="218">
                  <c:v>139.70268392985545</c:v>
                </c:pt>
                <c:pt idx="219">
                  <c:v>140.39639184579599</c:v>
                </c:pt>
                <c:pt idx="220">
                  <c:v>139.1117502219779</c:v>
                </c:pt>
                <c:pt idx="221">
                  <c:v>139.6339919037429</c:v>
                </c:pt>
                <c:pt idx="222">
                  <c:v>139.44495691638042</c:v>
                </c:pt>
                <c:pt idx="223">
                  <c:v>139.58562686510604</c:v>
                </c:pt>
                <c:pt idx="224">
                  <c:v>139.99280220773869</c:v>
                </c:pt>
                <c:pt idx="225">
                  <c:v>140.20592977199715</c:v>
                </c:pt>
                <c:pt idx="226">
                  <c:v>138.77361468282464</c:v>
                </c:pt>
                <c:pt idx="227">
                  <c:v>138.86609947775833</c:v>
                </c:pt>
                <c:pt idx="228">
                  <c:v>137.8257654579844</c:v>
                </c:pt>
                <c:pt idx="229">
                  <c:v>136.95622610229836</c:v>
                </c:pt>
                <c:pt idx="230">
                  <c:v>135.617535078744</c:v>
                </c:pt>
                <c:pt idx="231">
                  <c:v>137.66130274043769</c:v>
                </c:pt>
                <c:pt idx="232">
                  <c:v>137.14301852526089</c:v>
                </c:pt>
                <c:pt idx="233">
                  <c:v>137.40912817250907</c:v>
                </c:pt>
                <c:pt idx="234">
                  <c:v>135.69843528966496</c:v>
                </c:pt>
                <c:pt idx="235">
                  <c:v>132.28135476793176</c:v>
                </c:pt>
                <c:pt idx="236">
                  <c:v>133.76901442772396</c:v>
                </c:pt>
                <c:pt idx="237">
                  <c:v>133.62701333114592</c:v>
                </c:pt>
                <c:pt idx="238">
                  <c:v>134.22089715048017</c:v>
                </c:pt>
                <c:pt idx="239">
                  <c:v>134.4902087479679</c:v>
                </c:pt>
                <c:pt idx="240">
                  <c:v>136.27009733449034</c:v>
                </c:pt>
                <c:pt idx="241">
                  <c:v>137.68502355532081</c:v>
                </c:pt>
                <c:pt idx="242">
                  <c:v>137.87247555604804</c:v>
                </c:pt>
                <c:pt idx="243">
                  <c:v>138.23500348017211</c:v>
                </c:pt>
                <c:pt idx="244">
                  <c:v>139.80582989993127</c:v>
                </c:pt>
                <c:pt idx="245">
                  <c:v>137.94663608144612</c:v>
                </c:pt>
                <c:pt idx="246">
                  <c:v>136.91918181656831</c:v>
                </c:pt>
                <c:pt idx="247">
                  <c:v>138.76982510875837</c:v>
                </c:pt>
                <c:pt idx="248">
                  <c:v>138.16368513532379</c:v>
                </c:pt>
                <c:pt idx="249">
                  <c:v>139.19667985342502</c:v>
                </c:pt>
                <c:pt idx="250">
                  <c:v>139.611938021756</c:v>
                </c:pt>
                <c:pt idx="251">
                  <c:v>139.02245538496075</c:v>
                </c:pt>
                <c:pt idx="252">
                  <c:v>138.02639702168261</c:v>
                </c:pt>
                <c:pt idx="253">
                  <c:v>139.37830358517692</c:v>
                </c:pt>
                <c:pt idx="254">
                  <c:v>139.73195719028507</c:v>
                </c:pt>
                <c:pt idx="255">
                  <c:v>139.86501201390917</c:v>
                </c:pt>
                <c:pt idx="256">
                  <c:v>141.85041303958857</c:v>
                </c:pt>
                <c:pt idx="257">
                  <c:v>142.53493483611533</c:v>
                </c:pt>
                <c:pt idx="258">
                  <c:v>141.99416501532377</c:v>
                </c:pt>
                <c:pt idx="259">
                  <c:v>143.35714049294205</c:v>
                </c:pt>
                <c:pt idx="260">
                  <c:v>143.77094759019067</c:v>
                </c:pt>
                <c:pt idx="261">
                  <c:v>144.34203400351231</c:v>
                </c:pt>
                <c:pt idx="262">
                  <c:v>143.72248661296985</c:v>
                </c:pt>
                <c:pt idx="263">
                  <c:v>143.853250902902</c:v>
                </c:pt>
                <c:pt idx="264">
                  <c:v>143.87776321110277</c:v>
                </c:pt>
                <c:pt idx="265">
                  <c:v>143.99756651781794</c:v>
                </c:pt>
                <c:pt idx="266">
                  <c:v>142.87091175712956</c:v>
                </c:pt>
                <c:pt idx="267">
                  <c:v>144.1434531270462</c:v>
                </c:pt>
                <c:pt idx="268">
                  <c:v>145.41381189417783</c:v>
                </c:pt>
                <c:pt idx="269">
                  <c:v>148.48967484974818</c:v>
                </c:pt>
                <c:pt idx="270">
                  <c:v>148.58996664695127</c:v>
                </c:pt>
                <c:pt idx="271">
                  <c:v>149.33170381648483</c:v>
                </c:pt>
                <c:pt idx="272">
                  <c:v>149.20980185324561</c:v>
                </c:pt>
                <c:pt idx="273">
                  <c:v>147.8841464847863</c:v>
                </c:pt>
                <c:pt idx="274">
                  <c:v>147.61539852647928</c:v>
                </c:pt>
                <c:pt idx="275">
                  <c:v>147.62181441928135</c:v>
                </c:pt>
                <c:pt idx="276">
                  <c:v>146.65246295931195</c:v>
                </c:pt>
                <c:pt idx="277">
                  <c:v>144.76800131627735</c:v>
                </c:pt>
                <c:pt idx="278">
                  <c:v>144.69346902886647</c:v>
                </c:pt>
                <c:pt idx="279">
                  <c:v>145.33412290787928</c:v>
                </c:pt>
                <c:pt idx="280">
                  <c:v>145.17055961455713</c:v>
                </c:pt>
                <c:pt idx="281">
                  <c:v>145.23168448486018</c:v>
                </c:pt>
                <c:pt idx="282">
                  <c:v>145.39124234230215</c:v>
                </c:pt>
                <c:pt idx="283">
                  <c:v>142.67411773678961</c:v>
                </c:pt>
                <c:pt idx="284">
                  <c:v>143.43198458075079</c:v>
                </c:pt>
                <c:pt idx="285">
                  <c:v>142.49130676506127</c:v>
                </c:pt>
                <c:pt idx="286">
                  <c:v>142.24361732593263</c:v>
                </c:pt>
                <c:pt idx="287">
                  <c:v>143.81030639425865</c:v>
                </c:pt>
                <c:pt idx="288">
                  <c:v>144.18730905223711</c:v>
                </c:pt>
                <c:pt idx="289">
                  <c:v>144.64195000928206</c:v>
                </c:pt>
                <c:pt idx="290">
                  <c:v>144.76451155028599</c:v>
                </c:pt>
                <c:pt idx="291">
                  <c:v>144.47863855474279</c:v>
                </c:pt>
                <c:pt idx="292">
                  <c:v>143.92049185793223</c:v>
                </c:pt>
                <c:pt idx="293">
                  <c:v>143.21043840575018</c:v>
                </c:pt>
                <c:pt idx="294">
                  <c:v>142.98722529785331</c:v>
                </c:pt>
                <c:pt idx="295">
                  <c:v>143.08881226593982</c:v>
                </c:pt>
                <c:pt idx="296">
                  <c:v>142.00205596385419</c:v>
                </c:pt>
                <c:pt idx="297">
                  <c:v>141.96156988142471</c:v>
                </c:pt>
                <c:pt idx="298">
                  <c:v>141.89827440065969</c:v>
                </c:pt>
                <c:pt idx="299">
                  <c:v>141.34174666745335</c:v>
                </c:pt>
                <c:pt idx="300">
                  <c:v>140.62793961817403</c:v>
                </c:pt>
                <c:pt idx="301">
                  <c:v>140.21633910835641</c:v>
                </c:pt>
                <c:pt idx="302">
                  <c:v>137.93410410391684</c:v>
                </c:pt>
                <c:pt idx="303">
                  <c:v>137.8852953493292</c:v>
                </c:pt>
                <c:pt idx="304">
                  <c:v>138.88344037680838</c:v>
                </c:pt>
                <c:pt idx="305">
                  <c:v>139.20404313974365</c:v>
                </c:pt>
                <c:pt idx="306">
                  <c:v>137.70489483452272</c:v>
                </c:pt>
                <c:pt idx="307">
                  <c:v>138.90795268500918</c:v>
                </c:pt>
                <c:pt idx="308">
                  <c:v>137.05307610280204</c:v>
                </c:pt>
                <c:pt idx="309">
                  <c:v>137.31566000708986</c:v>
                </c:pt>
                <c:pt idx="310">
                  <c:v>141.18679386204127</c:v>
                </c:pt>
                <c:pt idx="311">
                  <c:v>143.15710854539358</c:v>
                </c:pt>
                <c:pt idx="312">
                  <c:v>142.67103570978003</c:v>
                </c:pt>
                <c:pt idx="313">
                  <c:v>142.02451758482292</c:v>
                </c:pt>
                <c:pt idx="314">
                  <c:v>141.91972866649684</c:v>
                </c:pt>
                <c:pt idx="315">
                  <c:v>141.84205439046141</c:v>
                </c:pt>
                <c:pt idx="316">
                  <c:v>139.26591153407236</c:v>
                </c:pt>
                <c:pt idx="317">
                  <c:v>139.09568050916525</c:v>
                </c:pt>
                <c:pt idx="318">
                  <c:v>139.39436130566656</c:v>
                </c:pt>
                <c:pt idx="319">
                  <c:v>139.44558051717613</c:v>
                </c:pt>
                <c:pt idx="320">
                  <c:v>139.86366887373379</c:v>
                </c:pt>
                <c:pt idx="321">
                  <c:v>141.6984703072481</c:v>
                </c:pt>
                <c:pt idx="322">
                  <c:v>140.43814911446287</c:v>
                </c:pt>
                <c:pt idx="323">
                  <c:v>140.23880072932511</c:v>
                </c:pt>
                <c:pt idx="324">
                  <c:v>139.62125605672273</c:v>
                </c:pt>
                <c:pt idx="325">
                  <c:v>138.24873469000084</c:v>
                </c:pt>
                <c:pt idx="326">
                  <c:v>138.24979001442438</c:v>
                </c:pt>
                <c:pt idx="327">
                  <c:v>138.80010572431951</c:v>
                </c:pt>
                <c:pt idx="328">
                  <c:v>138.22006104572097</c:v>
                </c:pt>
                <c:pt idx="329">
                  <c:v>138.23976443240096</c:v>
                </c:pt>
                <c:pt idx="330">
                  <c:v>137.66732288658093</c:v>
                </c:pt>
                <c:pt idx="331">
                  <c:v>137.51731091824257</c:v>
                </c:pt>
                <c:pt idx="332">
                  <c:v>136.85576641257333</c:v>
                </c:pt>
                <c:pt idx="333">
                  <c:v>137.03592708091986</c:v>
                </c:pt>
                <c:pt idx="334">
                  <c:v>136.29618063700343</c:v>
                </c:pt>
                <c:pt idx="335">
                  <c:v>136.24571694184252</c:v>
                </c:pt>
                <c:pt idx="336">
                  <c:v>135.05387191335595</c:v>
                </c:pt>
                <c:pt idx="337">
                  <c:v>134.09970273429761</c:v>
                </c:pt>
                <c:pt idx="338">
                  <c:v>133.44985074354801</c:v>
                </c:pt>
                <c:pt idx="339">
                  <c:v>133.31971005441156</c:v>
                </c:pt>
                <c:pt idx="340">
                  <c:v>133.760188078</c:v>
                </c:pt>
                <c:pt idx="341">
                  <c:v>133.60049830500506</c:v>
                </c:pt>
                <c:pt idx="342">
                  <c:v>134.35066607760376</c:v>
                </c:pt>
                <c:pt idx="343">
                  <c:v>133.92039352088366</c:v>
                </c:pt>
                <c:pt idx="344">
                  <c:v>133.63961726261317</c:v>
                </c:pt>
                <c:pt idx="345">
                  <c:v>133.16202299935674</c:v>
                </c:pt>
                <c:pt idx="346">
                  <c:v>132.80914889524323</c:v>
                </c:pt>
                <c:pt idx="347">
                  <c:v>132.70659054899417</c:v>
                </c:pt>
                <c:pt idx="348">
                  <c:v>132.83779855487711</c:v>
                </c:pt>
                <c:pt idx="349">
                  <c:v>130.0493675968392</c:v>
                </c:pt>
                <c:pt idx="350">
                  <c:v>128.73168712317121</c:v>
                </c:pt>
                <c:pt idx="351">
                  <c:v>124.73110813381705</c:v>
                </c:pt>
                <c:pt idx="352">
                  <c:v>132.61499318596208</c:v>
                </c:pt>
                <c:pt idx="353">
                  <c:v>128.3873995223218</c:v>
                </c:pt>
                <c:pt idx="354">
                  <c:v>128.20299357163518</c:v>
                </c:pt>
                <c:pt idx="355">
                  <c:v>129.7594052191549</c:v>
                </c:pt>
                <c:pt idx="356">
                  <c:v>130.64682512842577</c:v>
                </c:pt>
                <c:pt idx="357">
                  <c:v>130.96705612934824</c:v>
                </c:pt>
                <c:pt idx="358">
                  <c:v>131.27850874983869</c:v>
                </c:pt>
                <c:pt idx="359">
                  <c:v>131.51325847245627</c:v>
                </c:pt>
                <c:pt idx="360">
                  <c:v>129.46116813860439</c:v>
                </c:pt>
                <c:pt idx="361">
                  <c:v>128.98518084662922</c:v>
                </c:pt>
                <c:pt idx="362">
                  <c:v>#N/A</c:v>
                </c:pt>
                <c:pt idx="363">
                  <c:v>128.43833091807949</c:v>
                </c:pt>
                <c:pt idx="364">
                  <c:v>128.2283093654766</c:v>
                </c:pt>
                <c:pt idx="365">
                  <c:v>127.2108806826222</c:v>
                </c:pt>
                <c:pt idx="366">
                  <c:v>127.26124843919916</c:v>
                </c:pt>
                <c:pt idx="367">
                  <c:v>126.54083361994985</c:v>
                </c:pt>
                <c:pt idx="368">
                  <c:v>126.32053464654066</c:v>
                </c:pt>
                <c:pt idx="369">
                  <c:v>125.63161166747494</c:v>
                </c:pt>
                <c:pt idx="370">
                  <c:v>127.53747960705475</c:v>
                </c:pt>
                <c:pt idx="371">
                  <c:v>127.36756038254551</c:v>
                </c:pt>
                <c:pt idx="372">
                  <c:v>127.99064550837136</c:v>
                </c:pt>
                <c:pt idx="373">
                  <c:v>128.31835971884237</c:v>
                </c:pt>
                <c:pt idx="374">
                  <c:v>129.31207957913662</c:v>
                </c:pt>
                <c:pt idx="375">
                  <c:v>128.9622994943557</c:v>
                </c:pt>
                <c:pt idx="376">
                  <c:v>129.15465635518765</c:v>
                </c:pt>
                <c:pt idx="377">
                  <c:v>128.17933271836702</c:v>
                </c:pt>
                <c:pt idx="378">
                  <c:v>129.12646240382756</c:v>
                </c:pt>
                <c:pt idx="379">
                  <c:v>128.11562949862017</c:v>
                </c:pt>
                <c:pt idx="380">
                  <c:v>128.04202062007985</c:v>
                </c:pt>
                <c:pt idx="381">
                  <c:v>127.80318151532116</c:v>
                </c:pt>
                <c:pt idx="382">
                  <c:v>126.65551620474638</c:v>
                </c:pt>
                <c:pt idx="383">
                  <c:v>125.97748225495965</c:v>
                </c:pt>
                <c:pt idx="384">
                  <c:v>126.83441767917849</c:v>
                </c:pt>
                <c:pt idx="385">
                  <c:v>127.57313278331743</c:v>
                </c:pt>
                <c:pt idx="386">
                  <c:v>128.82575490474017</c:v>
                </c:pt>
                <c:pt idx="387">
                  <c:v>130.10189397155517</c:v>
                </c:pt>
                <c:pt idx="388">
                  <c:v>129.30976506079867</c:v>
                </c:pt>
                <c:pt idx="389">
                  <c:v>129.65255362127382</c:v>
                </c:pt>
                <c:pt idx="390">
                  <c:v>128.82714601420756</c:v>
                </c:pt>
                <c:pt idx="391">
                  <c:v>128.99862424070608</c:v>
                </c:pt>
                <c:pt idx="392">
                  <c:v>128.74316377627696</c:v>
                </c:pt>
                <c:pt idx="393">
                  <c:v>128.80612347199815</c:v>
                </c:pt>
                <c:pt idx="394">
                  <c:v>128.77298868356434</c:v>
                </c:pt>
                <c:pt idx="395">
                  <c:v>128.02422401275601</c:v>
                </c:pt>
                <c:pt idx="396">
                  <c:v>126.37491983132078</c:v>
                </c:pt>
                <c:pt idx="397">
                  <c:v>125.80167479986014</c:v>
                </c:pt>
                <c:pt idx="398">
                  <c:v>126.28650043388225</c:v>
                </c:pt>
                <c:pt idx="399">
                  <c:v>125.83444981860413</c:v>
                </c:pt>
                <c:pt idx="400">
                  <c:v>124.85398147521882</c:v>
                </c:pt>
                <c:pt idx="401">
                  <c:v>124.57047096730558</c:v>
                </c:pt>
                <c:pt idx="402">
                  <c:v>126.20179865657202</c:v>
                </c:pt>
                <c:pt idx="403">
                  <c:v>126.06323935669342</c:v>
                </c:pt>
                <c:pt idx="404">
                  <c:v>126.65944968668856</c:v>
                </c:pt>
                <c:pt idx="405">
                  <c:v>125.54240077671876</c:v>
                </c:pt>
                <c:pt idx="406">
                  <c:v>127.97678238298971</c:v>
                </c:pt>
                <c:pt idx="407">
                  <c:v>128.08474926690928</c:v>
                </c:pt>
                <c:pt idx="408">
                  <c:v>128.86716439604021</c:v>
                </c:pt>
                <c:pt idx="409">
                  <c:v>128.65852196058171</c:v>
                </c:pt>
                <c:pt idx="410">
                  <c:v>128.09004987367288</c:v>
                </c:pt>
                <c:pt idx="411">
                  <c:v>128.42488752400263</c:v>
                </c:pt>
                <c:pt idx="412">
                  <c:v>#N/A</c:v>
                </c:pt>
                <c:pt idx="413">
                  <c:v>127.995826191905</c:v>
                </c:pt>
                <c:pt idx="414">
                  <c:v>126.19142529718175</c:v>
                </c:pt>
                <c:pt idx="415">
                  <c:v>125.99772529617441</c:v>
                </c:pt>
                <c:pt idx="416">
                  <c:v>127.44515071232001</c:v>
                </c:pt>
                <c:pt idx="417">
                  <c:v>126.92843749145545</c:v>
                </c:pt>
                <c:pt idx="418">
                  <c:v>127.49361168954083</c:v>
                </c:pt>
                <c:pt idx="419">
                  <c:v>127.55699111656682</c:v>
                </c:pt>
                <c:pt idx="420">
                  <c:v>126.46750056483842</c:v>
                </c:pt>
                <c:pt idx="421">
                  <c:v>127.29959988813562</c:v>
                </c:pt>
                <c:pt idx="422">
                  <c:v>127.19381560700103</c:v>
                </c:pt>
                <c:pt idx="423">
                  <c:v>126.74761724534423</c:v>
                </c:pt>
                <c:pt idx="424">
                  <c:v>126.01638535075385</c:v>
                </c:pt>
                <c:pt idx="425">
                  <c:v>125.75115114308424</c:v>
                </c:pt>
                <c:pt idx="426">
                  <c:v>125.07779419926538</c:v>
                </c:pt>
                <c:pt idx="427">
                  <c:v>124.38092031005432</c:v>
                </c:pt>
                <c:pt idx="428">
                  <c:v>125.30703944562849</c:v>
                </c:pt>
                <c:pt idx="429">
                  <c:v>124.95210266195993</c:v>
                </c:pt>
                <c:pt idx="430">
                  <c:v>125.70993352895211</c:v>
                </c:pt>
                <c:pt idx="431">
                  <c:v>125.56002949152069</c:v>
                </c:pt>
                <c:pt idx="432">
                  <c:v>124.33597308347089</c:v>
                </c:pt>
                <c:pt idx="433">
                  <c:v>124.80392551903974</c:v>
                </c:pt>
                <c:pt idx="434">
                  <c:v>123.49875303825503</c:v>
                </c:pt>
                <c:pt idx="435">
                  <c:v>123.62835407285672</c:v>
                </c:pt>
                <c:pt idx="436">
                  <c:v>122.35187922099789</c:v>
                </c:pt>
                <c:pt idx="437">
                  <c:v>123.59442779110526</c:v>
                </c:pt>
                <c:pt idx="438">
                  <c:v>121.20201931531511</c:v>
                </c:pt>
                <c:pt idx="439">
                  <c:v>121.73943128566818</c:v>
                </c:pt>
                <c:pt idx="440">
                  <c:v>120.41077783646021</c:v>
                </c:pt>
                <c:pt idx="441">
                  <c:v>#N/A</c:v>
                </c:pt>
                <c:pt idx="442">
                  <c:v>122.81799683114858</c:v>
                </c:pt>
                <c:pt idx="443">
                  <c:v>121.82070325860197</c:v>
                </c:pt>
                <c:pt idx="444">
                  <c:v>122.4032063634144</c:v>
                </c:pt>
                <c:pt idx="445">
                  <c:v>124.30857062542842</c:v>
                </c:pt>
                <c:pt idx="446">
                  <c:v>124.8369643688896</c:v>
                </c:pt>
                <c:pt idx="447">
                  <c:v>123.70883455247288</c:v>
                </c:pt>
                <c:pt idx="448">
                  <c:v>122.21427930695884</c:v>
                </c:pt>
                <c:pt idx="449">
                  <c:v>121.96257243962705</c:v>
                </c:pt>
                <c:pt idx="450">
                  <c:v>121.51630212403228</c:v>
                </c:pt>
                <c:pt idx="451">
                  <c:v>121.23196414583239</c:v>
                </c:pt>
                <c:pt idx="452">
                  <c:v>122.30247085026049</c:v>
                </c:pt>
                <c:pt idx="453">
                  <c:v>121.91780509788855</c:v>
                </c:pt>
                <c:pt idx="454">
                  <c:v>121.24665474150066</c:v>
                </c:pt>
                <c:pt idx="455">
                  <c:v>122.09932089873348</c:v>
                </c:pt>
                <c:pt idx="456">
                  <c:v>122.46776103809384</c:v>
                </c:pt>
                <c:pt idx="457">
                  <c:v>122.31150106947537</c:v>
                </c:pt>
                <c:pt idx="458">
                  <c:v>122.5004641028999</c:v>
                </c:pt>
                <c:pt idx="459">
                  <c:v>121.7852659441532</c:v>
                </c:pt>
                <c:pt idx="460">
                  <c:v>120.66849285761228</c:v>
                </c:pt>
                <c:pt idx="461">
                  <c:v>120.1741213344865</c:v>
                </c:pt>
                <c:pt idx="462">
                  <c:v>119.32439329638737</c:v>
                </c:pt>
                <c:pt idx="463">
                  <c:v>118.80522164930898</c:v>
                </c:pt>
                <c:pt idx="464">
                  <c:v>120.70012860567178</c:v>
                </c:pt>
                <c:pt idx="465">
                  <c:v>120.49789007069234</c:v>
                </c:pt>
                <c:pt idx="466">
                  <c:v>120.56322424636645</c:v>
                </c:pt>
                <c:pt idx="467">
                  <c:v>118.77232670733504</c:v>
                </c:pt>
                <c:pt idx="468">
                  <c:v>117.38644589279727</c:v>
                </c:pt>
                <c:pt idx="469">
                  <c:v>117.32227497245364</c:v>
                </c:pt>
                <c:pt idx="470">
                  <c:v>117.74003953629044</c:v>
                </c:pt>
                <c:pt idx="471">
                  <c:v>117.5078681631167</c:v>
                </c:pt>
                <c:pt idx="472">
                  <c:v>117.30312323263139</c:v>
                </c:pt>
                <c:pt idx="473">
                  <c:v>117.46660257969259</c:v>
                </c:pt>
                <c:pt idx="474">
                  <c:v>116.93455117771808</c:v>
                </c:pt>
                <c:pt idx="475">
                  <c:v>115.86084252305045</c:v>
                </c:pt>
                <c:pt idx="476">
                  <c:v>113.80070534046925</c:v>
                </c:pt>
                <c:pt idx="477">
                  <c:v>113.07823983398788</c:v>
                </c:pt>
                <c:pt idx="478">
                  <c:v>112.85140504454669</c:v>
                </c:pt>
                <c:pt idx="479">
                  <c:v>111.88753407618579</c:v>
                </c:pt>
                <c:pt idx="480">
                  <c:v>111.1187662106226</c:v>
                </c:pt>
                <c:pt idx="481">
                  <c:v>111.31904999695395</c:v>
                </c:pt>
                <c:pt idx="482">
                  <c:v>111.40092158603747</c:v>
                </c:pt>
                <c:pt idx="483">
                  <c:v>111.19321455177254</c:v>
                </c:pt>
                <c:pt idx="484">
                  <c:v>110.82846804789446</c:v>
                </c:pt>
                <c:pt idx="485">
                  <c:v>111.02631739265792</c:v>
                </c:pt>
                <c:pt idx="486">
                  <c:v>111.15319616993986</c:v>
                </c:pt>
                <c:pt idx="487">
                  <c:v>110.48182995173809</c:v>
                </c:pt>
                <c:pt idx="488">
                  <c:v>109.10100989750401</c:v>
                </c:pt>
                <c:pt idx="489">
                  <c:v>#N/A</c:v>
                </c:pt>
                <c:pt idx="490">
                  <c:v>108.95142965279348</c:v>
                </c:pt>
                <c:pt idx="491">
                  <c:v>108.79690857100918</c:v>
                </c:pt>
                <c:pt idx="492">
                  <c:v>109.17632168590954</c:v>
                </c:pt>
                <c:pt idx="493">
                  <c:v>108.86429343391535</c:v>
                </c:pt>
                <c:pt idx="494">
                  <c:v>108.89901120898446</c:v>
                </c:pt>
                <c:pt idx="495">
                  <c:v>107.94125632535076</c:v>
                </c:pt>
                <c:pt idx="496">
                  <c:v>107.45623881416073</c:v>
                </c:pt>
                <c:pt idx="497">
                  <c:v>106.63490859691261</c:v>
                </c:pt>
                <c:pt idx="498">
                  <c:v>107.20387236906421</c:v>
                </c:pt>
                <c:pt idx="499">
                  <c:v>107.4678833597884</c:v>
                </c:pt>
                <c:pt idx="500">
                  <c:v>106.93790662969194</c:v>
                </c:pt>
                <c:pt idx="501">
                  <c:v>105.81359037198747</c:v>
                </c:pt>
                <c:pt idx="502">
                  <c:v>107.35597100160361</c:v>
                </c:pt>
                <c:pt idx="503">
                  <c:v>108.13514820352603</c:v>
                </c:pt>
                <c:pt idx="504">
                  <c:v>109.73138635571054</c:v>
                </c:pt>
                <c:pt idx="505">
                  <c:v>110.17315955018236</c:v>
                </c:pt>
                <c:pt idx="506">
                  <c:v>110.38855366348679</c:v>
                </c:pt>
                <c:pt idx="507">
                  <c:v>111.11715923934133</c:v>
                </c:pt>
                <c:pt idx="508">
                  <c:v>110.70603842244348</c:v>
                </c:pt>
                <c:pt idx="509">
                  <c:v>110.8930826841889</c:v>
                </c:pt>
                <c:pt idx="510">
                  <c:v>110.93775408734345</c:v>
                </c:pt>
                <c:pt idx="511">
                  <c:v>111.12088885179263</c:v>
                </c:pt>
                <c:pt idx="512">
                  <c:v>110.4962327316545</c:v>
                </c:pt>
                <c:pt idx="513">
                  <c:v>109.52897992820915</c:v>
                </c:pt>
                <c:pt idx="514">
                  <c:v>110.24270303122753</c:v>
                </c:pt>
                <c:pt idx="515">
                  <c:v>109.56627605272209</c:v>
                </c:pt>
                <c:pt idx="516">
                  <c:v>108.99234745885073</c:v>
                </c:pt>
                <c:pt idx="517">
                  <c:v>109.47846826375627</c:v>
                </c:pt>
                <c:pt idx="518">
                  <c:v>110.04546529493679</c:v>
                </c:pt>
                <c:pt idx="519">
                  <c:v>109.44433811251389</c:v>
                </c:pt>
                <c:pt idx="520">
                  <c:v>110.67055313870273</c:v>
                </c:pt>
                <c:pt idx="521">
                  <c:v>110.32453864334208</c:v>
                </c:pt>
                <c:pt idx="522">
                  <c:v>110.30980007838183</c:v>
                </c:pt>
                <c:pt idx="523">
                  <c:v>110.29682438490175</c:v>
                </c:pt>
                <c:pt idx="524">
                  <c:v>110.55427557494795</c:v>
                </c:pt>
                <c:pt idx="525">
                  <c:v>111.3654722792657</c:v>
                </c:pt>
                <c:pt idx="526">
                  <c:v>112.46825032487202</c:v>
                </c:pt>
                <c:pt idx="527">
                  <c:v>112.61745880756975</c:v>
                </c:pt>
                <c:pt idx="528">
                  <c:v>112.13133800266422</c:v>
                </c:pt>
                <c:pt idx="529">
                  <c:v>111.95352782962458</c:v>
                </c:pt>
                <c:pt idx="530">
                  <c:v>111.48670267241722</c:v>
                </c:pt>
                <c:pt idx="531">
                  <c:v>111.62361902404557</c:v>
                </c:pt>
                <c:pt idx="532">
                  <c:v>110.54947864575013</c:v>
                </c:pt>
                <c:pt idx="533">
                  <c:v>110.06609209048734</c:v>
                </c:pt>
                <c:pt idx="534">
                  <c:v>110.63546360162077</c:v>
                </c:pt>
                <c:pt idx="535">
                  <c:v>110.42078902769603</c:v>
                </c:pt>
                <c:pt idx="536">
                  <c:v>110.1116869025125</c:v>
                </c:pt>
                <c:pt idx="537">
                  <c:v>109.47729301610281</c:v>
                </c:pt>
                <c:pt idx="538">
                  <c:v>108.35514736886036</c:v>
                </c:pt>
                <c:pt idx="539">
                  <c:v>108.96311017539013</c:v>
                </c:pt>
                <c:pt idx="540">
                  <c:v>108.85021444671979</c:v>
                </c:pt>
                <c:pt idx="541">
                  <c:v>108.65560302916487</c:v>
                </c:pt>
                <c:pt idx="542">
                  <c:v>108.56641612305467</c:v>
                </c:pt>
                <c:pt idx="543">
                  <c:v>109.18659910671585</c:v>
                </c:pt>
                <c:pt idx="544">
                  <c:v>109.55898472034143</c:v>
                </c:pt>
                <c:pt idx="545">
                  <c:v>109.46831076617994</c:v>
                </c:pt>
                <c:pt idx="546">
                  <c:v>109.43149433458676</c:v>
                </c:pt>
                <c:pt idx="547">
                  <c:v>107.72333183189448</c:v>
                </c:pt>
                <c:pt idx="548">
                  <c:v>108.01955420218192</c:v>
                </c:pt>
                <c:pt idx="549">
                  <c:v>108.50443979781903</c:v>
                </c:pt>
                <c:pt idx="550">
                  <c:v>108.3154887567175</c:v>
                </c:pt>
                <c:pt idx="551">
                  <c:v>108.35837330374586</c:v>
                </c:pt>
                <c:pt idx="552">
                  <c:v>108.88510011431083</c:v>
                </c:pt>
                <c:pt idx="553">
                  <c:v>109.26464514476413</c:v>
                </c:pt>
                <c:pt idx="554">
                  <c:v>108.90404798464215</c:v>
                </c:pt>
                <c:pt idx="555">
                  <c:v>109.13835399130893</c:v>
                </c:pt>
                <c:pt idx="556">
                  <c:v>108.62183264761231</c:v>
                </c:pt>
                <c:pt idx="557">
                  <c:v>107.95785370037517</c:v>
                </c:pt>
                <c:pt idx="558">
                  <c:v>108.74383054943549</c:v>
                </c:pt>
                <c:pt idx="559">
                  <c:v>109.83769829905687</c:v>
                </c:pt>
                <c:pt idx="560">
                  <c:v>109.98136632853112</c:v>
                </c:pt>
                <c:pt idx="561">
                  <c:v>109.26782311035768</c:v>
                </c:pt>
                <c:pt idx="562">
                  <c:v>109.23633127017409</c:v>
                </c:pt>
                <c:pt idx="563">
                  <c:v>109.82287578783566</c:v>
                </c:pt>
                <c:pt idx="564">
                  <c:v>109.35473147509892</c:v>
                </c:pt>
                <c:pt idx="565">
                  <c:v>109.31386163833361</c:v>
                </c:pt>
                <c:pt idx="566">
                  <c:v>109.65095384538634</c:v>
                </c:pt>
                <c:pt idx="567">
                  <c:v>111.06277405456125</c:v>
                </c:pt>
                <c:pt idx="568">
                  <c:v>111.6648366381777</c:v>
                </c:pt>
                <c:pt idx="569">
                  <c:v>111.22844799673042</c:v>
                </c:pt>
                <c:pt idx="570">
                  <c:v>111.12536198826959</c:v>
                </c:pt>
                <c:pt idx="571">
                  <c:v>108.15169760925846</c:v>
                </c:pt>
                <c:pt idx="572">
                  <c:v>107.12607816979882</c:v>
                </c:pt>
                <c:pt idx="573">
                  <c:v>109.64079634780998</c:v>
                </c:pt>
                <c:pt idx="574">
                  <c:v>109.88888153359746</c:v>
                </c:pt>
                <c:pt idx="575">
                  <c:v>109.3684986618966</c:v>
                </c:pt>
                <c:pt idx="576">
                  <c:v>109.29016480809646</c:v>
                </c:pt>
                <c:pt idx="577">
                  <c:v>110.14080426274316</c:v>
                </c:pt>
                <c:pt idx="578">
                  <c:v>109.58268155057857</c:v>
                </c:pt>
                <c:pt idx="579">
                  <c:v>109.34124011173007</c:v>
                </c:pt>
                <c:pt idx="580">
                  <c:v>108.90373618424429</c:v>
                </c:pt>
                <c:pt idx="581">
                  <c:v>108.22112116707368</c:v>
                </c:pt>
                <c:pt idx="582">
                  <c:v>107.03207034984483</c:v>
                </c:pt>
                <c:pt idx="583">
                  <c:v>106.08326173916505</c:v>
                </c:pt>
                <c:pt idx="584">
                  <c:v>105.46113599917877</c:v>
                </c:pt>
                <c:pt idx="585">
                  <c:v>105.31695229981575</c:v>
                </c:pt>
                <c:pt idx="586">
                  <c:v>106.03041157172824</c:v>
                </c:pt>
                <c:pt idx="587">
                  <c:v>106.68266202707674</c:v>
                </c:pt>
                <c:pt idx="588">
                  <c:v>106.44951927574044</c:v>
                </c:pt>
                <c:pt idx="589">
                  <c:v>106.12196096546836</c:v>
                </c:pt>
                <c:pt idx="590">
                  <c:v>106.48565214492291</c:v>
                </c:pt>
                <c:pt idx="591">
                  <c:v>105.82698579677235</c:v>
                </c:pt>
                <c:pt idx="592">
                  <c:v>106.12942019037092</c:v>
                </c:pt>
                <c:pt idx="593">
                  <c:v>105.82190105182268</c:v>
                </c:pt>
                <c:pt idx="594">
                  <c:v>105.2211336390896</c:v>
                </c:pt>
                <c:pt idx="595">
                  <c:v>104.88891031517265</c:v>
                </c:pt>
                <c:pt idx="596">
                  <c:v>105.38171084398611</c:v>
                </c:pt>
                <c:pt idx="597">
                  <c:v>105.95116630138051</c:v>
                </c:pt>
                <c:pt idx="598">
                  <c:v>105.14604970482095</c:v>
                </c:pt>
                <c:pt idx="599">
                  <c:v>105.14885590840169</c:v>
                </c:pt>
                <c:pt idx="600">
                  <c:v>104.92712984855615</c:v>
                </c:pt>
                <c:pt idx="601">
                  <c:v>104.70132639889249</c:v>
                </c:pt>
                <c:pt idx="602">
                  <c:v>104.83567639339999</c:v>
                </c:pt>
                <c:pt idx="603">
                  <c:v>105.31042847610675</c:v>
                </c:pt>
                <c:pt idx="604">
                  <c:v>105.25905336439824</c:v>
                </c:pt>
                <c:pt idx="605">
                  <c:v>104.79381119382616</c:v>
                </c:pt>
                <c:pt idx="606">
                  <c:v>103.72601475439482</c:v>
                </c:pt>
                <c:pt idx="607">
                  <c:v>103.50209409944131</c:v>
                </c:pt>
                <c:pt idx="608">
                  <c:v>103.80659117259495</c:v>
                </c:pt>
                <c:pt idx="609">
                  <c:v>103.48283442871211</c:v>
                </c:pt>
                <c:pt idx="610">
                  <c:v>102.5408614421392</c:v>
                </c:pt>
                <c:pt idx="611">
                  <c:v>102.12015875916873</c:v>
                </c:pt>
                <c:pt idx="612">
                  <c:v>102.50298968612253</c:v>
                </c:pt>
                <c:pt idx="613">
                  <c:v>103.10953739853895</c:v>
                </c:pt>
                <c:pt idx="614">
                  <c:v>103.60892171267642</c:v>
                </c:pt>
                <c:pt idx="615">
                  <c:v>103.24022973453314</c:v>
                </c:pt>
                <c:pt idx="616">
                  <c:v>103.2082222244608</c:v>
                </c:pt>
                <c:pt idx="617">
                  <c:v>103.14164084719526</c:v>
                </c:pt>
                <c:pt idx="618">
                  <c:v>102.82876114026844</c:v>
                </c:pt>
                <c:pt idx="619">
                  <c:v>102.79086539960578</c:v>
                </c:pt>
                <c:pt idx="620">
                  <c:v>101.72031072588572</c:v>
                </c:pt>
                <c:pt idx="621">
                  <c:v>102.40971339787122</c:v>
                </c:pt>
                <c:pt idx="622">
                  <c:v>101.42491582588491</c:v>
                </c:pt>
                <c:pt idx="623">
                  <c:v>101.85944565726803</c:v>
                </c:pt>
                <c:pt idx="624">
                  <c:v>101.4504714661862</c:v>
                </c:pt>
                <c:pt idx="625">
                  <c:v>100.49958818362836</c:v>
                </c:pt>
                <c:pt idx="626">
                  <c:v>100.0128857510576</c:v>
                </c:pt>
                <c:pt idx="627">
                  <c:v>99.768086461770636</c:v>
                </c:pt>
                <c:pt idx="628">
                  <c:v>99.531585859995857</c:v>
                </c:pt>
                <c:pt idx="629">
                  <c:v>98.922897517924923</c:v>
                </c:pt>
                <c:pt idx="630">
                  <c:v>98.871276563595046</c:v>
                </c:pt>
                <c:pt idx="631">
                  <c:v>98.845541038448829</c:v>
                </c:pt>
                <c:pt idx="632">
                  <c:v>99.155200806651607</c:v>
                </c:pt>
                <c:pt idx="633">
                  <c:v>99.392852671433857</c:v>
                </c:pt>
                <c:pt idx="634">
                  <c:v>99.801101326974532</c:v>
                </c:pt>
                <c:pt idx="635">
                  <c:v>99.787370117145812</c:v>
                </c:pt>
                <c:pt idx="636">
                  <c:v>99.335157605507263</c:v>
                </c:pt>
                <c:pt idx="637">
                  <c:v>98.892431021357368</c:v>
                </c:pt>
                <c:pt idx="638">
                  <c:v>98.648129413474678</c:v>
                </c:pt>
                <c:pt idx="639">
                  <c:v>98.406058377668941</c:v>
                </c:pt>
                <c:pt idx="640">
                  <c:v>97.64289692310571</c:v>
                </c:pt>
                <c:pt idx="641">
                  <c:v>97.399051023496796</c:v>
                </c:pt>
                <c:pt idx="642">
                  <c:v>95.881962203076071</c:v>
                </c:pt>
                <c:pt idx="643">
                  <c:v>94.989937241775309</c:v>
                </c:pt>
                <c:pt idx="644">
                  <c:v>95.364175669303535</c:v>
                </c:pt>
                <c:pt idx="645">
                  <c:v>95.124754936879611</c:v>
                </c:pt>
                <c:pt idx="646">
                  <c:v>95.970597462328513</c:v>
                </c:pt>
                <c:pt idx="647">
                  <c:v>96.345543436913431</c:v>
                </c:pt>
                <c:pt idx="648">
                  <c:v>96.069294280573345</c:v>
                </c:pt>
                <c:pt idx="649">
                  <c:v>95.530587139336888</c:v>
                </c:pt>
                <c:pt idx="650">
                  <c:v>96.262226772909059</c:v>
                </c:pt>
                <c:pt idx="651">
                  <c:v>95.719915938612743</c:v>
                </c:pt>
                <c:pt idx="652">
                  <c:v>95.585044278054966</c:v>
                </c:pt>
                <c:pt idx="653">
                  <c:v>95.941282228768429</c:v>
                </c:pt>
                <c:pt idx="654">
                  <c:v>96.72941769596774</c:v>
                </c:pt>
                <c:pt idx="655">
                  <c:v>98.131931862498902</c:v>
                </c:pt>
                <c:pt idx="656">
                  <c:v>98.951499208266839</c:v>
                </c:pt>
                <c:pt idx="657">
                  <c:v>99.983576513659017</c:v>
                </c:pt>
                <c:pt idx="658">
                  <c:v>99.718744048809711</c:v>
                </c:pt>
                <c:pt idx="659">
                  <c:v>98.995559002948681</c:v>
                </c:pt>
                <c:pt idx="660">
                  <c:v>97.381590201216795</c:v>
                </c:pt>
                <c:pt idx="661">
                  <c:v>98.075687867654636</c:v>
                </c:pt>
                <c:pt idx="662">
                  <c:v>97.033992719220862</c:v>
                </c:pt>
                <c:pt idx="663">
                  <c:v>97.484934044621994</c:v>
                </c:pt>
                <c:pt idx="664">
                  <c:v>98.070920919264324</c:v>
                </c:pt>
                <c:pt idx="665">
                  <c:v>98.302900415270159</c:v>
                </c:pt>
                <c:pt idx="666">
                  <c:v>98.509564117434579</c:v>
                </c:pt>
                <c:pt idx="667">
                  <c:v>100.10497479933247</c:v>
                </c:pt>
                <c:pt idx="668">
                  <c:v>100.30451506163813</c:v>
                </c:pt>
                <c:pt idx="669">
                  <c:v>100.84927232982534</c:v>
                </c:pt>
                <c:pt idx="670">
                  <c:v>101.44459522791888</c:v>
                </c:pt>
                <c:pt idx="671">
                  <c:v>101.23752378677267</c:v>
                </c:pt>
                <c:pt idx="672">
                  <c:v>100.66782848291838</c:v>
                </c:pt>
                <c:pt idx="673">
                  <c:v>99.866735310723485</c:v>
                </c:pt>
                <c:pt idx="674">
                  <c:v>100.47760025941793</c:v>
                </c:pt>
                <c:pt idx="675">
                  <c:v>100.75231439841473</c:v>
                </c:pt>
                <c:pt idx="676">
                  <c:v>100.73094407883849</c:v>
                </c:pt>
                <c:pt idx="677">
                  <c:v>99.64362413757209</c:v>
                </c:pt>
                <c:pt idx="678">
                  <c:v>99.763463421256247</c:v>
                </c:pt>
                <c:pt idx="679">
                  <c:v>100.18198949760321</c:v>
                </c:pt>
                <c:pt idx="680">
                  <c:v>98.931022316753698</c:v>
                </c:pt>
                <c:pt idx="681">
                  <c:v>99.222993408539594</c:v>
                </c:pt>
                <c:pt idx="682">
                  <c:v>100.17068073701938</c:v>
                </c:pt>
                <c:pt idx="683">
                  <c:v>100.16407896321091</c:v>
                </c:pt>
                <c:pt idx="684">
                  <c:v>99.797023937156396</c:v>
                </c:pt>
                <c:pt idx="685">
                  <c:v>101.57675062731842</c:v>
                </c:pt>
                <c:pt idx="686">
                  <c:v>102.71175204481099</c:v>
                </c:pt>
                <c:pt idx="687">
                  <c:v>102.70637948410946</c:v>
                </c:pt>
                <c:pt idx="688">
                  <c:v>102.1944991694117</c:v>
                </c:pt>
                <c:pt idx="689">
                  <c:v>102.8356207490213</c:v>
                </c:pt>
                <c:pt idx="690">
                  <c:v>103.25741473338428</c:v>
                </c:pt>
                <c:pt idx="691">
                  <c:v>102.75667528674843</c:v>
                </c:pt>
                <c:pt idx="692">
                  <c:v>101.91095268452948</c:v>
                </c:pt>
                <c:pt idx="693">
                  <c:v>102.39757716700078</c:v>
                </c:pt>
                <c:pt idx="694">
                  <c:v>101.79497492884954</c:v>
                </c:pt>
                <c:pt idx="695">
                  <c:v>102.02065845528327</c:v>
                </c:pt>
                <c:pt idx="696">
                  <c:v>102.23735973179409</c:v>
                </c:pt>
                <c:pt idx="697">
                  <c:v>103.32151369978995</c:v>
                </c:pt>
                <c:pt idx="698">
                  <c:v>101.85527232886595</c:v>
                </c:pt>
                <c:pt idx="699">
                  <c:v>102.67035454583393</c:v>
                </c:pt>
                <c:pt idx="700">
                  <c:v>102.88562873590843</c:v>
                </c:pt>
                <c:pt idx="701">
                  <c:v>103.88095556748391</c:v>
                </c:pt>
                <c:pt idx="702">
                  <c:v>103.65325733078711</c:v>
                </c:pt>
                <c:pt idx="703">
                  <c:v>103.22997629837283</c:v>
                </c:pt>
                <c:pt idx="704">
                  <c:v>103.5200106299951</c:v>
                </c:pt>
                <c:pt idx="705">
                  <c:v>103.16046879429663</c:v>
                </c:pt>
                <c:pt idx="706">
                  <c:v>103.2025258710384</c:v>
                </c:pt>
                <c:pt idx="707">
                  <c:v>102.52525942992334</c:v>
                </c:pt>
                <c:pt idx="708">
                  <c:v>101.41123258534816</c:v>
                </c:pt>
                <c:pt idx="709">
                  <c:v>103.38588848962449</c:v>
                </c:pt>
                <c:pt idx="710">
                  <c:v>103.78901042708499</c:v>
                </c:pt>
                <c:pt idx="711">
                  <c:v>104.84765672407153</c:v>
                </c:pt>
                <c:pt idx="712">
                  <c:v>104.9641621419632</c:v>
                </c:pt>
                <c:pt idx="713">
                  <c:v>104.0809515380634</c:v>
                </c:pt>
                <c:pt idx="714">
                  <c:v>105.03143907396242</c:v>
                </c:pt>
                <c:pt idx="715">
                  <c:v>106.34289553199623</c:v>
                </c:pt>
                <c:pt idx="716">
                  <c:v>106.0256865964684</c:v>
                </c:pt>
                <c:pt idx="717">
                  <c:v>105.35657493498962</c:v>
                </c:pt>
                <c:pt idx="718">
                  <c:v>105.36447787584299</c:v>
                </c:pt>
                <c:pt idx="719">
                  <c:v>106.08334568542601</c:v>
                </c:pt>
                <c:pt idx="720">
                  <c:v>105.97727358853956</c:v>
                </c:pt>
                <c:pt idx="721">
                  <c:v>106.50061856402007</c:v>
                </c:pt>
                <c:pt idx="722">
                  <c:v>106.75774596134539</c:v>
                </c:pt>
                <c:pt idx="723">
                  <c:v>106.7703738774586</c:v>
                </c:pt>
                <c:pt idx="724">
                  <c:v>107.38972939083315</c:v>
                </c:pt>
                <c:pt idx="725">
                  <c:v>106.97629405559736</c:v>
                </c:pt>
                <c:pt idx="726">
                  <c:v>106.2177916185175</c:v>
                </c:pt>
                <c:pt idx="727">
                  <c:v>105.88796675919943</c:v>
                </c:pt>
                <c:pt idx="728">
                  <c:v>105.51494555245513</c:v>
                </c:pt>
                <c:pt idx="729">
                  <c:v>105.29457462510798</c:v>
                </c:pt>
                <c:pt idx="730">
                  <c:v>104.10036710899151</c:v>
                </c:pt>
                <c:pt idx="731">
                  <c:v>104.06758009792452</c:v>
                </c:pt>
                <c:pt idx="732">
                  <c:v>103.56243946874967</c:v>
                </c:pt>
                <c:pt idx="733">
                  <c:v>104.47233299131229</c:v>
                </c:pt>
                <c:pt idx="734">
                  <c:v>104.70521191154272</c:v>
                </c:pt>
                <c:pt idx="735">
                  <c:v>105.03104332730359</c:v>
                </c:pt>
                <c:pt idx="736">
                  <c:v>105.12164532752712</c:v>
                </c:pt>
                <c:pt idx="737">
                  <c:v>104.79885996180684</c:v>
                </c:pt>
                <c:pt idx="738">
                  <c:v>104.93310202540742</c:v>
                </c:pt>
                <c:pt idx="739">
                  <c:v>103.29608997504158</c:v>
                </c:pt>
                <c:pt idx="740">
                  <c:v>104.07946449001206</c:v>
                </c:pt>
                <c:pt idx="741">
                  <c:v>104.3554078421158</c:v>
                </c:pt>
                <c:pt idx="742">
                  <c:v>103.82521525020543</c:v>
                </c:pt>
                <c:pt idx="743">
                  <c:v>103.19335174394759</c:v>
                </c:pt>
                <c:pt idx="744">
                  <c:v>103.30988114648527</c:v>
                </c:pt>
                <c:pt idx="745">
                  <c:v>103.69760494122082</c:v>
                </c:pt>
                <c:pt idx="746">
                  <c:v>102.74862843801911</c:v>
                </c:pt>
                <c:pt idx="747">
                  <c:v>101.5276300723329</c:v>
                </c:pt>
                <c:pt idx="748">
                  <c:v>101.11231194238697</c:v>
                </c:pt>
                <c:pt idx="749">
                  <c:v>100.67714651788511</c:v>
                </c:pt>
                <c:pt idx="750">
                  <c:v>101.13423390882093</c:v>
                </c:pt>
                <c:pt idx="751">
                  <c:v>100.41818429514163</c:v>
                </c:pt>
                <c:pt idx="752">
                  <c:v>100.51146657955444</c:v>
                </c:pt>
                <c:pt idx="753">
                  <c:v>100.03106011655578</c:v>
                </c:pt>
                <c:pt idx="754">
                  <c:v>100.00468300212934</c:v>
                </c:pt>
                <c:pt idx="755">
                  <c:v>98.903050223369007</c:v>
                </c:pt>
                <c:pt idx="756">
                  <c:v>98.2097260617643</c:v>
                </c:pt>
                <c:pt idx="757">
                  <c:v>97.570067545560036</c:v>
                </c:pt>
                <c:pt idx="758">
                  <c:v>98.135109828092453</c:v>
                </c:pt>
                <c:pt idx="759">
                  <c:v>97.3435565488397</c:v>
                </c:pt>
                <c:pt idx="760">
                  <c:v>98.831042319948466</c:v>
                </c:pt>
                <c:pt idx="761">
                  <c:v>99.17688292662568</c:v>
                </c:pt>
                <c:pt idx="762">
                  <c:v>99.327554472728735</c:v>
                </c:pt>
                <c:pt idx="763">
                  <c:v>99.056587934667732</c:v>
                </c:pt>
                <c:pt idx="764">
                  <c:v>96.850546154373816</c:v>
                </c:pt>
                <c:pt idx="765">
                  <c:v>98.119363908000651</c:v>
                </c:pt>
                <c:pt idx="766">
                  <c:v>94.418029354328539</c:v>
                </c:pt>
                <c:pt idx="767">
                  <c:v>94.70297294483963</c:v>
                </c:pt>
                <c:pt idx="768">
                  <c:v>95.417103786839817</c:v>
                </c:pt>
                <c:pt idx="769">
                  <c:v>95.348687584156124</c:v>
                </c:pt>
                <c:pt idx="770">
                  <c:v>97.040150777078551</c:v>
                </c:pt>
                <c:pt idx="771">
                  <c:v>98.631975754401054</c:v>
                </c:pt>
                <c:pt idx="772">
                  <c:v>98.919329801834053</c:v>
                </c:pt>
                <c:pt idx="773">
                  <c:v>99.494289735482937</c:v>
                </c:pt>
                <c:pt idx="774">
                  <c:v>98.502290773538419</c:v>
                </c:pt>
                <c:pt idx="775">
                  <c:v>97.925675899316289</c:v>
                </c:pt>
                <c:pt idx="776">
                  <c:v>99.934587874226438</c:v>
                </c:pt>
                <c:pt idx="777">
                  <c:v>100.5785996036777</c:v>
                </c:pt>
                <c:pt idx="778">
                  <c:v>101.04835688385722</c:v>
                </c:pt>
                <c:pt idx="779">
                  <c:v>100.35668766282578</c:v>
                </c:pt>
                <c:pt idx="780">
                  <c:v>99.772331744110687</c:v>
                </c:pt>
                <c:pt idx="781">
                  <c:v>99.541899257771149</c:v>
                </c:pt>
                <c:pt idx="782">
                  <c:v>98.677774435917101</c:v>
                </c:pt>
                <c:pt idx="783">
                  <c:v>98.710717347183035</c:v>
                </c:pt>
                <c:pt idx="784">
                  <c:v>98.746178646277798</c:v>
                </c:pt>
                <c:pt idx="785">
                  <c:v>98.126739186642283</c:v>
                </c:pt>
                <c:pt idx="786">
                  <c:v>98.262756114046041</c:v>
                </c:pt>
                <c:pt idx="787">
                  <c:v>99.490026464658385</c:v>
                </c:pt>
                <c:pt idx="788">
                  <c:v>97.073777250755157</c:v>
                </c:pt>
                <c:pt idx="789">
                  <c:v>98.36841447578918</c:v>
                </c:pt>
                <c:pt idx="790">
                  <c:v>98.13105642292031</c:v>
                </c:pt>
                <c:pt idx="791">
                  <c:v>98.585517495120328</c:v>
                </c:pt>
                <c:pt idx="792">
                  <c:v>98.545403174703679</c:v>
                </c:pt>
                <c:pt idx="793">
                  <c:v>98.100038279494996</c:v>
                </c:pt>
                <c:pt idx="794">
                  <c:v>99.549982083469445</c:v>
                </c:pt>
                <c:pt idx="795">
                  <c:v>100.66361917754729</c:v>
                </c:pt>
                <c:pt idx="796">
                  <c:v>100.66222806807994</c:v>
                </c:pt>
                <c:pt idx="797">
                  <c:v>99.920263044409495</c:v>
                </c:pt>
                <c:pt idx="798">
                  <c:v>99.216481577153573</c:v>
                </c:pt>
                <c:pt idx="799">
                  <c:v>98.990312361638573</c:v>
                </c:pt>
                <c:pt idx="800">
                  <c:v>98.365296471810609</c:v>
                </c:pt>
                <c:pt idx="801">
                  <c:v>98.421720351499786</c:v>
                </c:pt>
                <c:pt idx="802">
                  <c:v>97.853572057311794</c:v>
                </c:pt>
                <c:pt idx="803">
                  <c:v>97.812330458533665</c:v>
                </c:pt>
                <c:pt idx="804">
                  <c:v>97.844979557886219</c:v>
                </c:pt>
                <c:pt idx="805">
                  <c:v>97.614894848913522</c:v>
                </c:pt>
                <c:pt idx="806">
                  <c:v>97.441252008114489</c:v>
                </c:pt>
                <c:pt idx="807">
                  <c:v>96.438681813450302</c:v>
                </c:pt>
                <c:pt idx="808">
                  <c:v>95.08155858945338</c:v>
                </c:pt>
                <c:pt idx="809">
                  <c:v>93.396883051345853</c:v>
                </c:pt>
                <c:pt idx="810">
                  <c:v>92.451108498383675</c:v>
                </c:pt>
                <c:pt idx="811">
                  <c:v>93.208921376891368</c:v>
                </c:pt>
                <c:pt idx="812">
                  <c:v>93.776763866842998</c:v>
                </c:pt>
                <c:pt idx="813">
                  <c:v>93.221933047340414</c:v>
                </c:pt>
                <c:pt idx="814">
                  <c:v>92.739619804985637</c:v>
                </c:pt>
                <c:pt idx="815">
                  <c:v>91.626858150486385</c:v>
                </c:pt>
                <c:pt idx="816">
                  <c:v>91.294946626967274</c:v>
                </c:pt>
                <c:pt idx="817">
                  <c:v>90.025709142035637</c:v>
                </c:pt>
                <c:pt idx="818">
                  <c:v>89.437557653092796</c:v>
                </c:pt>
                <c:pt idx="819">
                  <c:v>89.612933384564542</c:v>
                </c:pt>
                <c:pt idx="820">
                  <c:v>90.057698663623498</c:v>
                </c:pt>
                <c:pt idx="821">
                  <c:v>90.875383214681293</c:v>
                </c:pt>
                <c:pt idx="822">
                  <c:v>91.144490942678132</c:v>
                </c:pt>
                <c:pt idx="823">
                  <c:v>90.78367792074225</c:v>
                </c:pt>
                <c:pt idx="824">
                  <c:v>90.12123399084841</c:v>
                </c:pt>
                <c:pt idx="825">
                  <c:v>89.068008223855415</c:v>
                </c:pt>
                <c:pt idx="826">
                  <c:v>89.142966238732612</c:v>
                </c:pt>
                <c:pt idx="827">
                  <c:v>88.835585011898786</c:v>
                </c:pt>
                <c:pt idx="828">
                  <c:v>89.126105032602325</c:v>
                </c:pt>
                <c:pt idx="829">
                  <c:v>89.337985395269357</c:v>
                </c:pt>
                <c:pt idx="830">
                  <c:v>89.597361353156174</c:v>
                </c:pt>
                <c:pt idx="831">
                  <c:v>89.434109860231871</c:v>
                </c:pt>
                <c:pt idx="832">
                  <c:v>88.671098309706053</c:v>
                </c:pt>
                <c:pt idx="833">
                  <c:v>87.915977707710638</c:v>
                </c:pt>
                <c:pt idx="834">
                  <c:v>87.021584262618447</c:v>
                </c:pt>
                <c:pt idx="835">
                  <c:v>88.299270339099721</c:v>
                </c:pt>
                <c:pt idx="836">
                  <c:v>86.573964810686789</c:v>
                </c:pt>
                <c:pt idx="837">
                  <c:v>86.351075495510798</c:v>
                </c:pt>
                <c:pt idx="838">
                  <c:v>86.90819684870533</c:v>
                </c:pt>
                <c:pt idx="839">
                  <c:v>88.807073263979333</c:v>
                </c:pt>
                <c:pt idx="840">
                  <c:v>89.028217696159629</c:v>
                </c:pt>
                <c:pt idx="841">
                  <c:v>89.292168725268823</c:v>
                </c:pt>
                <c:pt idx="842">
                  <c:v>91.685578560029015</c:v>
                </c:pt>
                <c:pt idx="843">
                  <c:v>93.142969596583043</c:v>
                </c:pt>
                <c:pt idx="844">
                  <c:v>92.456361135855275</c:v>
                </c:pt>
                <c:pt idx="845">
                  <c:v>92.696207595745506</c:v>
                </c:pt>
                <c:pt idx="846">
                  <c:v>93.527005751997805</c:v>
                </c:pt>
                <c:pt idx="847">
                  <c:v>93.681712714788503</c:v>
                </c:pt>
                <c:pt idx="848">
                  <c:v>93.921829001946108</c:v>
                </c:pt>
                <c:pt idx="849">
                  <c:v>93.119956328756587</c:v>
                </c:pt>
                <c:pt idx="850">
                  <c:v>93.585726161540421</c:v>
                </c:pt>
                <c:pt idx="851">
                  <c:v>93.88484467783104</c:v>
                </c:pt>
                <c:pt idx="852">
                  <c:v>92.066220888036312</c:v>
                </c:pt>
                <c:pt idx="853">
                  <c:v>91.209363413916947</c:v>
                </c:pt>
                <c:pt idx="854">
                  <c:v>90.473910221632508</c:v>
                </c:pt>
                <c:pt idx="855">
                  <c:v>91.268539531733367</c:v>
                </c:pt>
                <c:pt idx="856">
                  <c:v>91.912455322600678</c:v>
                </c:pt>
                <c:pt idx="857">
                  <c:v>92.192248210385642</c:v>
                </c:pt>
                <c:pt idx="858">
                  <c:v>89.687597587528373</c:v>
                </c:pt>
                <c:pt idx="859">
                  <c:v>92.273640106549394</c:v>
                </c:pt>
                <c:pt idx="860">
                  <c:v>92.353071257903537</c:v>
                </c:pt>
                <c:pt idx="861">
                  <c:v>89.903303501230653</c:v>
                </c:pt>
                <c:pt idx="862">
                  <c:v>89.664704242931847</c:v>
                </c:pt>
                <c:pt idx="863">
                  <c:v>89.736364368985562</c:v>
                </c:pt>
                <c:pt idx="864">
                  <c:v>91.596391653918829</c:v>
                </c:pt>
                <c:pt idx="865">
                  <c:v>92.098444259922559</c:v>
                </c:pt>
                <c:pt idx="866">
                  <c:v>92.561204019634786</c:v>
                </c:pt>
                <c:pt idx="867">
                  <c:v>93.430167743817123</c:v>
                </c:pt>
                <c:pt idx="868">
                  <c:v>94.929573883982428</c:v>
                </c:pt>
                <c:pt idx="869">
                  <c:v>95.002799008186926</c:v>
                </c:pt>
                <c:pt idx="870">
                  <c:v>97.217829034565227</c:v>
                </c:pt>
                <c:pt idx="871">
                  <c:v>97.593380621461364</c:v>
                </c:pt>
                <c:pt idx="872">
                  <c:v>98.523391265847266</c:v>
                </c:pt>
                <c:pt idx="873">
                  <c:v>97.346122905960513</c:v>
                </c:pt>
                <c:pt idx="874">
                  <c:v>98.243664335838758</c:v>
                </c:pt>
                <c:pt idx="875">
                  <c:v>96.792911050062187</c:v>
                </c:pt>
                <c:pt idx="876">
                  <c:v>98.223888995220818</c:v>
                </c:pt>
                <c:pt idx="877">
                  <c:v>99.346268492761666</c:v>
                </c:pt>
                <c:pt idx="878">
                  <c:v>97.887126577050438</c:v>
                </c:pt>
                <c:pt idx="879">
                  <c:v>96.709210631722001</c:v>
                </c:pt>
                <c:pt idx="880">
                  <c:v>97.741611729835029</c:v>
                </c:pt>
                <c:pt idx="881">
                  <c:v>99.17988100737432</c:v>
                </c:pt>
                <c:pt idx="882">
                  <c:v>99.418432296381155</c:v>
                </c:pt>
                <c:pt idx="883">
                  <c:v>100.34137946252326</c:v>
                </c:pt>
                <c:pt idx="884">
                  <c:v>100.83720805289286</c:v>
                </c:pt>
                <c:pt idx="885">
                  <c:v>99.985285419685738</c:v>
                </c:pt>
                <c:pt idx="886">
                  <c:v>101.00012376077329</c:v>
                </c:pt>
                <c:pt idx="887">
                  <c:v>101.44842077895416</c:v>
                </c:pt>
                <c:pt idx="888">
                  <c:v>101.72308095249744</c:v>
                </c:pt>
                <c:pt idx="889">
                  <c:v>100</c:v>
                </c:pt>
              </c:numCache>
            </c:numRef>
          </c:val>
          <c:smooth val="0"/>
          <c:extLst>
            <c:ext xmlns:c16="http://schemas.microsoft.com/office/drawing/2014/chart" uri="{C3380CC4-5D6E-409C-BE32-E72D297353CC}">
              <c16:uniqueId val="{00000001-AFF7-45DD-A045-45ABE36DE96E}"/>
            </c:ext>
          </c:extLst>
        </c:ser>
        <c:dLbls>
          <c:showLegendKey val="0"/>
          <c:showVal val="0"/>
          <c:showCatName val="0"/>
          <c:showSerName val="0"/>
          <c:showPercent val="0"/>
          <c:showBubbleSize val="0"/>
        </c:dLbls>
        <c:smooth val="0"/>
        <c:axId val="1227343759"/>
        <c:axId val="1227348559"/>
      </c:lineChart>
      <c:dateAx>
        <c:axId val="1227343759"/>
        <c:scaling>
          <c:orientation val="minMax"/>
        </c:scaling>
        <c:delete val="0"/>
        <c:axPos val="b"/>
        <c:numFmt formatCode="yyyy"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1227348559"/>
        <c:crosses val="autoZero"/>
        <c:auto val="1"/>
        <c:lblOffset val="100"/>
        <c:baseTimeUnit val="days"/>
        <c:majorUnit val="1"/>
        <c:majorTimeUnit val="years"/>
      </c:dateAx>
      <c:valAx>
        <c:axId val="1227348559"/>
        <c:scaling>
          <c:orientation val="minMax"/>
          <c:min val="70"/>
        </c:scaling>
        <c:delete val="1"/>
        <c:axPos val="l"/>
        <c:numFmt formatCode="_ * #,##0_ ;_ * \-#,##0_ ;_ * &quot;-&quot;??_ ;_ @_ " sourceLinked="1"/>
        <c:majorTickMark val="none"/>
        <c:minorTickMark val="none"/>
        <c:tickLblPos val="nextTo"/>
        <c:crossAx val="1227343759"/>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Output!$U$25</c:f>
              <c:strCache>
                <c:ptCount val="1"/>
                <c:pt idx="0">
                  <c:v>Pharma</c:v>
                </c:pt>
              </c:strCache>
            </c:strRef>
          </c:tx>
          <c:spPr>
            <a:solidFill>
              <a:srgbClr val="92D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T$26:$T$32</c:f>
              <c:strCache>
                <c:ptCount val="7"/>
                <c:pt idx="0">
                  <c:v>FY20</c:v>
                </c:pt>
                <c:pt idx="1">
                  <c:v>FY21</c:v>
                </c:pt>
                <c:pt idx="2">
                  <c:v>FY22</c:v>
                </c:pt>
                <c:pt idx="3">
                  <c:v>FY23</c:v>
                </c:pt>
                <c:pt idx="4">
                  <c:v>FY24</c:v>
                </c:pt>
                <c:pt idx="5">
                  <c:v>FY25</c:v>
                </c:pt>
                <c:pt idx="6">
                  <c:v>FY26 YTD</c:v>
                </c:pt>
              </c:strCache>
            </c:strRef>
          </c:cat>
          <c:val>
            <c:numRef>
              <c:f>Output!$U$26:$U$32</c:f>
              <c:numCache>
                <c:formatCode>0%</c:formatCode>
                <c:ptCount val="7"/>
                <c:pt idx="0">
                  <c:v>0.41569545094835803</c:v>
                </c:pt>
                <c:pt idx="1">
                  <c:v>0.58306749504071476</c:v>
                </c:pt>
                <c:pt idx="2">
                  <c:v>0.40375815394833287</c:v>
                </c:pt>
                <c:pt idx="3">
                  <c:v>0.36410003736151514</c:v>
                </c:pt>
                <c:pt idx="4">
                  <c:v>0.40555848335084976</c:v>
                </c:pt>
                <c:pt idx="5">
                  <c:v>0.52898166775908428</c:v>
                </c:pt>
                <c:pt idx="6">
                  <c:v>0.81026893428461144</c:v>
                </c:pt>
              </c:numCache>
            </c:numRef>
          </c:val>
          <c:extLst>
            <c:ext xmlns:c16="http://schemas.microsoft.com/office/drawing/2014/chart" uri="{C3380CC4-5D6E-409C-BE32-E72D297353CC}">
              <c16:uniqueId val="{00000000-732C-4974-9FAF-978D21941451}"/>
            </c:ext>
          </c:extLst>
        </c:ser>
        <c:ser>
          <c:idx val="1"/>
          <c:order val="1"/>
          <c:tx>
            <c:strRef>
              <c:f>Output!$V$25</c:f>
              <c:strCache>
                <c:ptCount val="1"/>
                <c:pt idx="0">
                  <c:v>Hospitals</c:v>
                </c:pt>
              </c:strCache>
            </c:strRef>
          </c:tx>
          <c:spPr>
            <a:solidFill>
              <a:schemeClr val="accent4">
                <a:lumMod val="9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T$26:$T$32</c:f>
              <c:strCache>
                <c:ptCount val="7"/>
                <c:pt idx="0">
                  <c:v>FY20</c:v>
                </c:pt>
                <c:pt idx="1">
                  <c:v>FY21</c:v>
                </c:pt>
                <c:pt idx="2">
                  <c:v>FY22</c:v>
                </c:pt>
                <c:pt idx="3">
                  <c:v>FY23</c:v>
                </c:pt>
                <c:pt idx="4">
                  <c:v>FY24</c:v>
                </c:pt>
                <c:pt idx="5">
                  <c:v>FY25</c:v>
                </c:pt>
                <c:pt idx="6">
                  <c:v>FY26 YTD</c:v>
                </c:pt>
              </c:strCache>
            </c:strRef>
          </c:cat>
          <c:val>
            <c:numRef>
              <c:f>Output!$V$26:$V$32</c:f>
              <c:numCache>
                <c:formatCode>0%</c:formatCode>
                <c:ptCount val="7"/>
                <c:pt idx="0">
                  <c:v>0.25765106946267402</c:v>
                </c:pt>
                <c:pt idx="1">
                  <c:v>0.17980394602382238</c:v>
                </c:pt>
                <c:pt idx="2">
                  <c:v>0.26056274900980092</c:v>
                </c:pt>
                <c:pt idx="3">
                  <c:v>0.33485142461164169</c:v>
                </c:pt>
                <c:pt idx="4">
                  <c:v>0.53048051839324095</c:v>
                </c:pt>
                <c:pt idx="5">
                  <c:v>0.24138039607677581</c:v>
                </c:pt>
                <c:pt idx="6">
                  <c:v>0.177714024100004</c:v>
                </c:pt>
              </c:numCache>
            </c:numRef>
          </c:val>
          <c:extLst>
            <c:ext xmlns:c16="http://schemas.microsoft.com/office/drawing/2014/chart" uri="{C3380CC4-5D6E-409C-BE32-E72D297353CC}">
              <c16:uniqueId val="{00000001-732C-4974-9FAF-978D21941451}"/>
            </c:ext>
          </c:extLst>
        </c:ser>
        <c:ser>
          <c:idx val="2"/>
          <c:order val="2"/>
          <c:tx>
            <c:strRef>
              <c:f>Output!$W$25</c:f>
              <c:strCache>
                <c:ptCount val="1"/>
                <c:pt idx="0">
                  <c:v>Diagnostics</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T$26:$T$32</c:f>
              <c:strCache>
                <c:ptCount val="7"/>
                <c:pt idx="0">
                  <c:v>FY20</c:v>
                </c:pt>
                <c:pt idx="1">
                  <c:v>FY21</c:v>
                </c:pt>
                <c:pt idx="2">
                  <c:v>FY22</c:v>
                </c:pt>
                <c:pt idx="3">
                  <c:v>FY23</c:v>
                </c:pt>
                <c:pt idx="4">
                  <c:v>FY24</c:v>
                </c:pt>
                <c:pt idx="5">
                  <c:v>FY25</c:v>
                </c:pt>
                <c:pt idx="6">
                  <c:v>FY26 YTD</c:v>
                </c:pt>
              </c:strCache>
            </c:strRef>
          </c:cat>
          <c:val>
            <c:numRef>
              <c:f>Output!$W$26:$W$32</c:f>
              <c:numCache>
                <c:formatCode>0%</c:formatCode>
                <c:ptCount val="7"/>
                <c:pt idx="0">
                  <c:v>0.12585218875997942</c:v>
                </c:pt>
                <c:pt idx="1">
                  <c:v>2.7773008830175801E-2</c:v>
                </c:pt>
                <c:pt idx="2">
                  <c:v>8.2142618137025197E-2</c:v>
                </c:pt>
                <c:pt idx="3">
                  <c:v>5.9589409278946938E-2</c:v>
                </c:pt>
                <c:pt idx="4">
                  <c:v>7.0613323514393403E-3</c:v>
                </c:pt>
                <c:pt idx="5">
                  <c:v>7.1201883571845676E-2</c:v>
                </c:pt>
                <c:pt idx="6">
                  <c:v>7.4048935553959697E-3</c:v>
                </c:pt>
              </c:numCache>
            </c:numRef>
          </c:val>
          <c:extLst>
            <c:ext xmlns:c16="http://schemas.microsoft.com/office/drawing/2014/chart" uri="{C3380CC4-5D6E-409C-BE32-E72D297353CC}">
              <c16:uniqueId val="{00000002-732C-4974-9FAF-978D21941451}"/>
            </c:ext>
          </c:extLst>
        </c:ser>
        <c:ser>
          <c:idx val="3"/>
          <c:order val="3"/>
          <c:tx>
            <c:strRef>
              <c:f>Output!$X$25</c:f>
              <c:strCache>
                <c:ptCount val="1"/>
                <c:pt idx="0">
                  <c:v>Medtech </c:v>
                </c:pt>
              </c:strCache>
            </c:strRef>
          </c:tx>
          <c:spPr>
            <a:solidFill>
              <a:schemeClr val="accent2"/>
            </a:solidFill>
            <a:ln>
              <a:noFill/>
            </a:ln>
            <a:effectLst/>
          </c:spPr>
          <c:invertIfNegative val="0"/>
          <c:dLbls>
            <c:dLbl>
              <c:idx val="6"/>
              <c:delete val="1"/>
              <c:extLst>
                <c:ext xmlns:c15="http://schemas.microsoft.com/office/drawing/2012/chart" uri="{CE6537A1-D6FC-4f65-9D91-7224C49458BB}"/>
                <c:ext xmlns:c16="http://schemas.microsoft.com/office/drawing/2014/chart" uri="{C3380CC4-5D6E-409C-BE32-E72D297353CC}">
                  <c16:uniqueId val="{00000000-61DF-4EF9-9764-480F14B5B6DC}"/>
                </c:ext>
              </c:extLst>
            </c:dLbl>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T$26:$T$32</c:f>
              <c:strCache>
                <c:ptCount val="7"/>
                <c:pt idx="0">
                  <c:v>FY20</c:v>
                </c:pt>
                <c:pt idx="1">
                  <c:v>FY21</c:v>
                </c:pt>
                <c:pt idx="2">
                  <c:v>FY22</c:v>
                </c:pt>
                <c:pt idx="3">
                  <c:v>FY23</c:v>
                </c:pt>
                <c:pt idx="4">
                  <c:v>FY24</c:v>
                </c:pt>
                <c:pt idx="5">
                  <c:v>FY25</c:v>
                </c:pt>
                <c:pt idx="6">
                  <c:v>FY26 YTD</c:v>
                </c:pt>
              </c:strCache>
            </c:strRef>
          </c:cat>
          <c:val>
            <c:numRef>
              <c:f>Output!$X$26:$X$32</c:f>
              <c:numCache>
                <c:formatCode>0%</c:formatCode>
                <c:ptCount val="7"/>
                <c:pt idx="0">
                  <c:v>0.20080129082898851</c:v>
                </c:pt>
                <c:pt idx="1">
                  <c:v>0.20935555010528697</c:v>
                </c:pt>
                <c:pt idx="2">
                  <c:v>0.2535364789048411</c:v>
                </c:pt>
                <c:pt idx="3">
                  <c:v>0.24145912874789624</c:v>
                </c:pt>
                <c:pt idx="4">
                  <c:v>5.6899665904470077E-2</c:v>
                </c:pt>
                <c:pt idx="5">
                  <c:v>0.15843605259229421</c:v>
                </c:pt>
                <c:pt idx="6">
                  <c:v>4.6121480599884274E-3</c:v>
                </c:pt>
              </c:numCache>
            </c:numRef>
          </c:val>
          <c:extLst>
            <c:ext xmlns:c16="http://schemas.microsoft.com/office/drawing/2014/chart" uri="{C3380CC4-5D6E-409C-BE32-E72D297353CC}">
              <c16:uniqueId val="{00000003-732C-4974-9FAF-978D21941451}"/>
            </c:ext>
          </c:extLst>
        </c:ser>
        <c:dLbls>
          <c:dLblPos val="ctr"/>
          <c:showLegendKey val="0"/>
          <c:showVal val="1"/>
          <c:showCatName val="0"/>
          <c:showSerName val="0"/>
          <c:showPercent val="0"/>
          <c:showBubbleSize val="0"/>
        </c:dLbls>
        <c:gapWidth val="150"/>
        <c:overlap val="100"/>
        <c:axId val="863573343"/>
        <c:axId val="863568063"/>
      </c:barChart>
      <c:catAx>
        <c:axId val="86357334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63568063"/>
        <c:crosses val="autoZero"/>
        <c:auto val="1"/>
        <c:lblAlgn val="ctr"/>
        <c:lblOffset val="100"/>
        <c:noMultiLvlLbl val="0"/>
      </c:catAx>
      <c:valAx>
        <c:axId val="863568063"/>
        <c:scaling>
          <c:orientation val="minMax"/>
        </c:scaling>
        <c:delete val="1"/>
        <c:axPos val="l"/>
        <c:numFmt formatCode="0%" sourceLinked="1"/>
        <c:majorTickMark val="none"/>
        <c:minorTickMark val="none"/>
        <c:tickLblPos val="nextTo"/>
        <c:crossAx val="863573343"/>
        <c:crosses val="autoZero"/>
        <c:crossBetween val="between"/>
      </c:valAx>
      <c:spPr>
        <a:noFill/>
        <a:ln>
          <a:noFill/>
        </a:ln>
        <a:effectLst/>
      </c:spPr>
    </c:plotArea>
    <c:legend>
      <c:legendPos val="b"/>
      <c:layout>
        <c:manualLayout>
          <c:xMode val="edge"/>
          <c:yMode val="edge"/>
          <c:x val="0.27088742571515939"/>
          <c:y val="0.92683729221315636"/>
          <c:w val="0.30571791609300242"/>
          <c:h val="5.4757177432211125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Output!$T$50</c:f>
              <c:strCache>
                <c:ptCount val="1"/>
                <c:pt idx="0">
                  <c:v>Private Equity </c:v>
                </c:pt>
              </c:strCache>
            </c:strRef>
          </c:tx>
          <c:spPr>
            <a:solidFill>
              <a:schemeClr val="bg2">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S$51:$S$57</c:f>
              <c:strCache>
                <c:ptCount val="7"/>
                <c:pt idx="0">
                  <c:v>FY20</c:v>
                </c:pt>
                <c:pt idx="1">
                  <c:v>FY21</c:v>
                </c:pt>
                <c:pt idx="2">
                  <c:v>FY22</c:v>
                </c:pt>
                <c:pt idx="3">
                  <c:v>FY23</c:v>
                </c:pt>
                <c:pt idx="4">
                  <c:v>FY24</c:v>
                </c:pt>
                <c:pt idx="5">
                  <c:v>FY25</c:v>
                </c:pt>
                <c:pt idx="6">
                  <c:v>FY26 YTD</c:v>
                </c:pt>
              </c:strCache>
            </c:strRef>
          </c:cat>
          <c:val>
            <c:numRef>
              <c:f>Output!$T$51:$T$57</c:f>
              <c:numCache>
                <c:formatCode>0%</c:formatCode>
                <c:ptCount val="7"/>
                <c:pt idx="0">
                  <c:v>0.3767542352480861</c:v>
                </c:pt>
                <c:pt idx="1">
                  <c:v>0.4038925334073174</c:v>
                </c:pt>
                <c:pt idx="2">
                  <c:v>0.48819610866220492</c:v>
                </c:pt>
                <c:pt idx="3">
                  <c:v>0.51312642352327553</c:v>
                </c:pt>
                <c:pt idx="4">
                  <c:v>0.13420889218664131</c:v>
                </c:pt>
                <c:pt idx="5">
                  <c:v>0.19108101702168009</c:v>
                </c:pt>
                <c:pt idx="6">
                  <c:v>0.1156565230292176</c:v>
                </c:pt>
              </c:numCache>
            </c:numRef>
          </c:val>
          <c:extLst>
            <c:ext xmlns:c16="http://schemas.microsoft.com/office/drawing/2014/chart" uri="{C3380CC4-5D6E-409C-BE32-E72D297353CC}">
              <c16:uniqueId val="{00000000-8803-4578-A8E5-AB6E28C44EB6}"/>
            </c:ext>
          </c:extLst>
        </c:ser>
        <c:ser>
          <c:idx val="1"/>
          <c:order val="1"/>
          <c:tx>
            <c:strRef>
              <c:f>Output!$U$50</c:f>
              <c:strCache>
                <c:ptCount val="1"/>
                <c:pt idx="0">
                  <c:v>M&amp;A</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S$51:$S$57</c:f>
              <c:strCache>
                <c:ptCount val="7"/>
                <c:pt idx="0">
                  <c:v>FY20</c:v>
                </c:pt>
                <c:pt idx="1">
                  <c:v>FY21</c:v>
                </c:pt>
                <c:pt idx="2">
                  <c:v>FY22</c:v>
                </c:pt>
                <c:pt idx="3">
                  <c:v>FY23</c:v>
                </c:pt>
                <c:pt idx="4">
                  <c:v>FY24</c:v>
                </c:pt>
                <c:pt idx="5">
                  <c:v>FY25</c:v>
                </c:pt>
                <c:pt idx="6">
                  <c:v>FY26 YTD</c:v>
                </c:pt>
              </c:strCache>
            </c:strRef>
          </c:cat>
          <c:val>
            <c:numRef>
              <c:f>Output!$U$51:$U$57</c:f>
              <c:numCache>
                <c:formatCode>0%</c:formatCode>
                <c:ptCount val="7"/>
                <c:pt idx="0">
                  <c:v>0.55270601225187999</c:v>
                </c:pt>
                <c:pt idx="1">
                  <c:v>0.34758740606992877</c:v>
                </c:pt>
                <c:pt idx="2">
                  <c:v>0.32504130813924065</c:v>
                </c:pt>
                <c:pt idx="3">
                  <c:v>0.4011314944583117</c:v>
                </c:pt>
                <c:pt idx="4">
                  <c:v>0.67189154372643367</c:v>
                </c:pt>
                <c:pt idx="5">
                  <c:v>0.51298707145771671</c:v>
                </c:pt>
                <c:pt idx="6">
                  <c:v>0.74657303191407698</c:v>
                </c:pt>
              </c:numCache>
            </c:numRef>
          </c:val>
          <c:extLst>
            <c:ext xmlns:c16="http://schemas.microsoft.com/office/drawing/2014/chart" uri="{C3380CC4-5D6E-409C-BE32-E72D297353CC}">
              <c16:uniqueId val="{00000001-8803-4578-A8E5-AB6E28C44EB6}"/>
            </c:ext>
          </c:extLst>
        </c:ser>
        <c:ser>
          <c:idx val="2"/>
          <c:order val="2"/>
          <c:tx>
            <c:strRef>
              <c:f>Output!$V$50</c:f>
              <c:strCache>
                <c:ptCount val="1"/>
                <c:pt idx="0">
                  <c:v>ECM</c:v>
                </c:pt>
              </c:strCache>
            </c:strRef>
          </c:tx>
          <c:spPr>
            <a:solidFill>
              <a:schemeClr val="accent1">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S$51:$S$57</c:f>
              <c:strCache>
                <c:ptCount val="7"/>
                <c:pt idx="0">
                  <c:v>FY20</c:v>
                </c:pt>
                <c:pt idx="1">
                  <c:v>FY21</c:v>
                </c:pt>
                <c:pt idx="2">
                  <c:v>FY22</c:v>
                </c:pt>
                <c:pt idx="3">
                  <c:v>FY23</c:v>
                </c:pt>
                <c:pt idx="4">
                  <c:v>FY24</c:v>
                </c:pt>
                <c:pt idx="5">
                  <c:v>FY25</c:v>
                </c:pt>
                <c:pt idx="6">
                  <c:v>FY26 YTD</c:v>
                </c:pt>
              </c:strCache>
            </c:strRef>
          </c:cat>
          <c:val>
            <c:numRef>
              <c:f>Output!$V$51:$V$57</c:f>
              <c:numCache>
                <c:formatCode>0%</c:formatCode>
                <c:ptCount val="7"/>
                <c:pt idx="0">
                  <c:v>7.0539752500033998E-2</c:v>
                </c:pt>
                <c:pt idx="1">
                  <c:v>0.24852006052275386</c:v>
                </c:pt>
                <c:pt idx="2">
                  <c:v>0.18676258319855452</c:v>
                </c:pt>
                <c:pt idx="3">
                  <c:v>8.574208201841281E-2</c:v>
                </c:pt>
                <c:pt idx="4">
                  <c:v>0.19389956408692502</c:v>
                </c:pt>
                <c:pt idx="5">
                  <c:v>0.29593191152060316</c:v>
                </c:pt>
                <c:pt idx="6">
                  <c:v>0.13777044505670535</c:v>
                </c:pt>
              </c:numCache>
            </c:numRef>
          </c:val>
          <c:extLst>
            <c:ext xmlns:c16="http://schemas.microsoft.com/office/drawing/2014/chart" uri="{C3380CC4-5D6E-409C-BE32-E72D297353CC}">
              <c16:uniqueId val="{00000002-8803-4578-A8E5-AB6E28C44EB6}"/>
            </c:ext>
          </c:extLst>
        </c:ser>
        <c:dLbls>
          <c:dLblPos val="ctr"/>
          <c:showLegendKey val="0"/>
          <c:showVal val="1"/>
          <c:showCatName val="0"/>
          <c:showSerName val="0"/>
          <c:showPercent val="0"/>
          <c:showBubbleSize val="0"/>
        </c:dLbls>
        <c:gapWidth val="150"/>
        <c:overlap val="100"/>
        <c:axId val="863416383"/>
        <c:axId val="863429343"/>
      </c:barChart>
      <c:catAx>
        <c:axId val="86341638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63429343"/>
        <c:crosses val="autoZero"/>
        <c:auto val="1"/>
        <c:lblAlgn val="ctr"/>
        <c:lblOffset val="100"/>
        <c:noMultiLvlLbl val="0"/>
      </c:catAx>
      <c:valAx>
        <c:axId val="863429343"/>
        <c:scaling>
          <c:orientation val="minMax"/>
        </c:scaling>
        <c:delete val="1"/>
        <c:axPos val="l"/>
        <c:numFmt formatCode="0%" sourceLinked="1"/>
        <c:majorTickMark val="none"/>
        <c:minorTickMark val="none"/>
        <c:tickLblPos val="nextTo"/>
        <c:crossAx val="86341638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Output!$L$73</c:f>
              <c:strCache>
                <c:ptCount val="1"/>
                <c:pt idx="0">
                  <c:v>FY20</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1A35-4581-9C32-89417AC3CEAD}"/>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1A35-4581-9C32-89417AC3CEAD}"/>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1A35-4581-9C32-89417AC3CEAD}"/>
              </c:ext>
            </c:extLst>
          </c:dPt>
          <c:dLbls>
            <c:dLbl>
              <c:idx val="0"/>
              <c:layout>
                <c:manualLayout>
                  <c:x val="2.5329947484798311E-2"/>
                  <c:y val="6.5905947441217153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A35-4581-9C32-89417AC3CEAD}"/>
                </c:ext>
              </c:extLst>
            </c:dLbl>
            <c:dLbl>
              <c:idx val="1"/>
              <c:layout>
                <c:manualLayout>
                  <c:x val="-2.3821171918186845E-2"/>
                  <c:y val="-0.1420954356846473"/>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A35-4581-9C32-89417AC3CEAD}"/>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0"/>
            <c:showSerName val="0"/>
            <c:showPercent val="0"/>
            <c:showBubbleSize val="0"/>
            <c:showLeaderLines val="0"/>
            <c:extLst>
              <c:ext xmlns:c15="http://schemas.microsoft.com/office/drawing/2012/chart" uri="{CE6537A1-D6FC-4f65-9D91-7224C49458BB}"/>
            </c:extLst>
          </c:dLbls>
          <c:cat>
            <c:strRef>
              <c:f>Output!$M$72:$O$72</c:f>
              <c:strCache>
                <c:ptCount val="3"/>
                <c:pt idx="0">
                  <c:v>PE</c:v>
                </c:pt>
                <c:pt idx="1">
                  <c:v>M&amp;A</c:v>
                </c:pt>
                <c:pt idx="2">
                  <c:v>ECM</c:v>
                </c:pt>
              </c:strCache>
            </c:strRef>
          </c:cat>
          <c:val>
            <c:numRef>
              <c:f>Output!$M$73:$O$73</c:f>
              <c:numCache>
                <c:formatCode>0%</c:formatCode>
                <c:ptCount val="3"/>
                <c:pt idx="0">
                  <c:v>0.23758805004029943</c:v>
                </c:pt>
                <c:pt idx="1">
                  <c:v>0.76241194995970063</c:v>
                </c:pt>
                <c:pt idx="2">
                  <c:v>0</c:v>
                </c:pt>
              </c:numCache>
            </c:numRef>
          </c:val>
          <c:extLst>
            <c:ext xmlns:c16="http://schemas.microsoft.com/office/drawing/2014/chart" uri="{C3380CC4-5D6E-409C-BE32-E72D297353CC}">
              <c16:uniqueId val="{00000006-1A35-4581-9C32-89417AC3CEAD}"/>
            </c:ext>
          </c:extLst>
        </c:ser>
        <c:dLbls>
          <c:dLblPos val="bestFit"/>
          <c:showLegendKey val="0"/>
          <c:showVal val="1"/>
          <c:showCatName val="0"/>
          <c:showSerName val="0"/>
          <c:showPercent val="0"/>
          <c:showBubbleSize val="0"/>
          <c:showLeaderLines val="0"/>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2-9979-44C0-8EB3-173D3ECB69A0}"/>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355D-4347-8C45-83811F1351D8}"/>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1-9979-44C0-8EB3-173D3ECB69A0}"/>
              </c:ext>
            </c:extLst>
          </c:dPt>
          <c:dLbls>
            <c:dLbl>
              <c:idx val="0"/>
              <c:layout>
                <c:manualLayout>
                  <c:x val="-2.3928361105812059E-2"/>
                  <c:y val="-8.6187822963927629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979-44C0-8EB3-173D3ECB69A0}"/>
                </c:ext>
              </c:extLst>
            </c:dLbl>
            <c:dLbl>
              <c:idx val="1"/>
              <c:layout>
                <c:manualLayout>
                  <c:x val="-1.7448519308024296E-2"/>
                  <c:y val="4.4257981304380266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55D-4347-8C45-83811F1351D8}"/>
                </c:ext>
              </c:extLst>
            </c:dLbl>
            <c:dLbl>
              <c:idx val="2"/>
              <c:layout>
                <c:manualLayout>
                  <c:x val="-1.8644125201485295E-2"/>
                  <c:y val="-1.1515245141544254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979-44C0-8EB3-173D3ECB69A0}"/>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0"/>
            <c:showSerName val="0"/>
            <c:showPercent val="0"/>
            <c:showBubbleSize val="0"/>
            <c:showLeaderLines val="0"/>
            <c:extLst>
              <c:ext xmlns:c15="http://schemas.microsoft.com/office/drawing/2012/chart" uri="{CE6537A1-D6FC-4f65-9D91-7224C49458BB}"/>
            </c:extLst>
          </c:dLbls>
          <c:cat>
            <c:strRef>
              <c:f>Sheet1!$A$2:$A$4</c:f>
              <c:strCache>
                <c:ptCount val="3"/>
                <c:pt idx="0">
                  <c:v>PE</c:v>
                </c:pt>
                <c:pt idx="1">
                  <c:v>M&amp;A</c:v>
                </c:pt>
                <c:pt idx="2">
                  <c:v>ECM</c:v>
                </c:pt>
              </c:strCache>
            </c:strRef>
          </c:cat>
          <c:val>
            <c:numRef>
              <c:f>Sheet1!$B$2:$B$4</c:f>
              <c:numCache>
                <c:formatCode>0%</c:formatCode>
                <c:ptCount val="3"/>
                <c:pt idx="0">
                  <c:v>0.09</c:v>
                </c:pt>
                <c:pt idx="1">
                  <c:v>0.51</c:v>
                </c:pt>
                <c:pt idx="2">
                  <c:v>0.4</c:v>
                </c:pt>
              </c:numCache>
            </c:numRef>
          </c:val>
          <c:extLst>
            <c:ext xmlns:c16="http://schemas.microsoft.com/office/drawing/2014/chart" uri="{C3380CC4-5D6E-409C-BE32-E72D297353CC}">
              <c16:uniqueId val="{00000000-9979-44C0-8EB3-173D3ECB69A0}"/>
            </c:ext>
          </c:extLst>
        </c:ser>
        <c:dLbls>
          <c:dLblPos val="bestFit"/>
          <c:showLegendKey val="0"/>
          <c:showVal val="1"/>
          <c:showCatName val="0"/>
          <c:showSerName val="0"/>
          <c:showPercent val="0"/>
          <c:showBubbleSize val="0"/>
          <c:showLeaderLines val="0"/>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ub-Sector Summary'!$B$16</c:f>
              <c:strCache>
                <c:ptCount val="1"/>
                <c:pt idx="0">
                  <c:v>FY20</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AA1E-4285-AC5F-951A6EB1F89F}"/>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AA1E-4285-AC5F-951A6EB1F89F}"/>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AA1E-4285-AC5F-951A6EB1F89F}"/>
              </c:ext>
            </c:extLst>
          </c:dPt>
          <c:dLbls>
            <c:dLbl>
              <c:idx val="0"/>
              <c:layout>
                <c:manualLayout>
                  <c:x val="-3.6999032614704257E-3"/>
                  <c:y val="-1.4999999999999999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A1E-4285-AC5F-951A6EB1F89F}"/>
                </c:ext>
              </c:extLst>
            </c:dLbl>
            <c:dLbl>
              <c:idx val="1"/>
              <c:layout>
                <c:manualLayout>
                  <c:x val="-0.12979443062465451"/>
                  <c:y val="-0.12839655887230514"/>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A1E-4285-AC5F-951A6EB1F89F}"/>
                </c:ext>
              </c:extLst>
            </c:dLbl>
            <c:dLbl>
              <c:idx val="2"/>
              <c:layout>
                <c:manualLayout>
                  <c:x val="-5.7148459093421783E-2"/>
                  <c:y val="2.6111111111111113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A1E-4285-AC5F-951A6EB1F89F}"/>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0"/>
            <c:showSerName val="0"/>
            <c:showPercent val="0"/>
            <c:showBubbleSize val="0"/>
            <c:showLeaderLines val="0"/>
            <c:extLst>
              <c:ext xmlns:c15="http://schemas.microsoft.com/office/drawing/2012/chart" uri="{CE6537A1-D6FC-4f65-9D91-7224C49458BB}"/>
            </c:extLst>
          </c:dLbls>
          <c:cat>
            <c:strRef>
              <c:f>'Sub-Sector Summary'!$C$15:$E$15</c:f>
              <c:strCache>
                <c:ptCount val="3"/>
                <c:pt idx="0">
                  <c:v>API</c:v>
                </c:pt>
                <c:pt idx="1">
                  <c:v>Formulations</c:v>
                </c:pt>
                <c:pt idx="2">
                  <c:v>CDMO</c:v>
                </c:pt>
              </c:strCache>
            </c:strRef>
          </c:cat>
          <c:val>
            <c:numRef>
              <c:f>'Sub-Sector Summary'!$C$16:$E$16</c:f>
              <c:numCache>
                <c:formatCode>0%</c:formatCode>
                <c:ptCount val="3"/>
                <c:pt idx="0">
                  <c:v>0.12775735608123634</c:v>
                </c:pt>
                <c:pt idx="1">
                  <c:v>0.82170280974822019</c:v>
                </c:pt>
                <c:pt idx="2">
                  <c:v>5.0539834170543571E-2</c:v>
                </c:pt>
              </c:numCache>
            </c:numRef>
          </c:val>
          <c:extLst>
            <c:ext xmlns:c16="http://schemas.microsoft.com/office/drawing/2014/chart" uri="{C3380CC4-5D6E-409C-BE32-E72D297353CC}">
              <c16:uniqueId val="{00000008-AA1E-4285-AC5F-951A6EB1F89F}"/>
            </c:ext>
          </c:extLst>
        </c:ser>
        <c:dLbls>
          <c:dLblPos val="bestFit"/>
          <c:showLegendKey val="0"/>
          <c:showVal val="1"/>
          <c:showCatName val="0"/>
          <c:showSerName val="0"/>
          <c:showPercent val="0"/>
          <c:showBubbleSize val="0"/>
          <c:showLeaderLines val="0"/>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7BD0AF00-B7DE-4E6E-BC28-D77C2CE9FC32}" type="datetimeFigureOut">
              <a:rPr lang="en-IN" smtClean="0"/>
              <a:t>13-11-2025</a:t>
            </a:fld>
            <a:endParaRPr lang="en-IN"/>
          </a:p>
        </p:txBody>
      </p:sp>
      <p:sp>
        <p:nvSpPr>
          <p:cNvPr id="4" name="Slide Image Placeholder 3"/>
          <p:cNvSpPr>
            <a:spLocks noGrp="1" noRot="1" noChangeAspect="1"/>
          </p:cNvSpPr>
          <p:nvPr>
            <p:ph type="sldImg" idx="2"/>
          </p:nvPr>
        </p:nvSpPr>
        <p:spPr>
          <a:xfrm>
            <a:off x="409575" y="1233488"/>
            <a:ext cx="5916613" cy="3328987"/>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788C91AA-7515-4719-8B87-3024AC3A6C0C}" type="slidenum">
              <a:rPr lang="en-IN" smtClean="0"/>
              <a:t>‹#›</a:t>
            </a:fld>
            <a:endParaRPr lang="en-IN"/>
          </a:p>
        </p:txBody>
      </p:sp>
    </p:spTree>
    <p:extLst>
      <p:ext uri="{BB962C8B-B14F-4D97-AF65-F5344CB8AC3E}">
        <p14:creationId xmlns:p14="http://schemas.microsoft.com/office/powerpoint/2010/main" val="19913215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E9AEAB9-177D-4724-927D-EFD96B495788}" type="slidenum">
              <a:rPr lang="en-US" smtClean="0"/>
              <a:t>1</a:t>
            </a:fld>
            <a:endParaRPr lang="en-US" dirty="0"/>
          </a:p>
        </p:txBody>
      </p:sp>
    </p:spTree>
    <p:extLst>
      <p:ext uri="{BB962C8B-B14F-4D97-AF65-F5344CB8AC3E}">
        <p14:creationId xmlns:p14="http://schemas.microsoft.com/office/powerpoint/2010/main" val="7580723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https://www.greenqueen.com.hk/zydus-perfect-day-sterling-biotech-fermentation-animal-free-protein-india/</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8C91AA-7515-4719-8B87-3024AC3A6C0C}"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451992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hyperlink" Target="mailto:contact@equirus.com" TargetMode="External"/><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3.xml"/><Relationship Id="rId4" Type="http://schemas.openxmlformats.org/officeDocument/2006/relationships/image" Target="../media/image5.sv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hyperlink" Target="mailto:contact@equirus.com" TargetMode="External"/><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hyperlink" Target="mailto:contact@equirus.com" TargetMode="External"/><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eneral Sl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50D20B1-6B26-45B9-ACA1-0D8BC03871D8}"/>
              </a:ext>
            </a:extLst>
          </p:cNvPr>
          <p:cNvSpPr>
            <a:spLocks noGrp="1"/>
          </p:cNvSpPr>
          <p:nvPr>
            <p:ph type="title"/>
          </p:nvPr>
        </p:nvSpPr>
        <p:spPr>
          <a:xfrm>
            <a:off x="344487" y="88836"/>
            <a:ext cx="11504613" cy="408795"/>
          </a:xfrm>
        </p:spPr>
        <p:txBody>
          <a:bodyPr/>
          <a:lstStyle/>
          <a:p>
            <a:r>
              <a:rPr lang="en-US"/>
              <a:t>Click to edit Master title style</a:t>
            </a:r>
          </a:p>
        </p:txBody>
      </p:sp>
      <p:sp>
        <p:nvSpPr>
          <p:cNvPr id="6" name="Text Placeholder 7">
            <a:extLst>
              <a:ext uri="{FF2B5EF4-FFF2-40B4-BE49-F238E27FC236}">
                <a16:creationId xmlns:a16="http://schemas.microsoft.com/office/drawing/2014/main" id="{9B6ACBC5-8B35-4F11-B076-8EC2B9686C41}"/>
              </a:ext>
            </a:extLst>
          </p:cNvPr>
          <p:cNvSpPr>
            <a:spLocks noGrp="1"/>
          </p:cNvSpPr>
          <p:nvPr>
            <p:ph type="body" sz="quarter" idx="10"/>
          </p:nvPr>
        </p:nvSpPr>
        <p:spPr>
          <a:xfrm>
            <a:off x="344488" y="487848"/>
            <a:ext cx="11504612" cy="281861"/>
          </a:xfrm>
        </p:spPr>
        <p:txBody>
          <a:bodyPr anchor="ctr"/>
          <a:lstStyle>
            <a:lvl1pPr marL="0" indent="0" algn="l" defTabSz="914400" rtl="0" eaLnBrk="1" latinLnBrk="0" hangingPunct="1">
              <a:lnSpc>
                <a:spcPct val="90000"/>
              </a:lnSpc>
              <a:spcBef>
                <a:spcPct val="0"/>
              </a:spcBef>
              <a:buNone/>
              <a:defRPr lang="en-US" sz="1400" b="1" i="0" kern="1200" dirty="0" smtClean="0">
                <a:solidFill>
                  <a:srgbClr val="595959"/>
                </a:solidFill>
                <a:latin typeface="Segoe UI Semibold" panose="020B0702040204020203" pitchFamily="34" charset="0"/>
                <a:ea typeface="+mj-ea"/>
                <a:cs typeface="Segoe UI Semibold" panose="020B0702040204020203" pitchFamily="34" charset="0"/>
              </a:defRPr>
            </a:lvl1pPr>
            <a:lvl2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2pPr>
            <a:lvl3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3pPr>
            <a:lvl4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4pPr>
            <a:lvl5pPr marL="0" indent="0" algn="l" defTabSz="914400" rtl="0" eaLnBrk="1" latinLnBrk="0" hangingPunct="1">
              <a:lnSpc>
                <a:spcPct val="90000"/>
              </a:lnSpc>
              <a:spcBef>
                <a:spcPct val="0"/>
              </a:spcBef>
              <a:buNone/>
              <a:defRPr lang="en-IN" sz="1400" b="1" i="1" kern="1200" dirty="0">
                <a:solidFill>
                  <a:schemeClr val="bg1">
                    <a:lumMod val="50000"/>
                  </a:schemeClr>
                </a:solidFill>
                <a:latin typeface="+mj-lt"/>
                <a:ea typeface="+mj-ea"/>
                <a:cs typeface="+mj-cs"/>
              </a:defRPr>
            </a:lvl5pPr>
          </a:lstStyle>
          <a:p>
            <a:pPr lvl="0"/>
            <a:r>
              <a:rPr lang="en-US"/>
              <a:t>Click to edit Master text styles</a:t>
            </a:r>
          </a:p>
        </p:txBody>
      </p:sp>
      <p:sp>
        <p:nvSpPr>
          <p:cNvPr id="2" name="Text Placeholder 5">
            <a:extLst>
              <a:ext uri="{FF2B5EF4-FFF2-40B4-BE49-F238E27FC236}">
                <a16:creationId xmlns:a16="http://schemas.microsoft.com/office/drawing/2014/main" id="{1AAF154C-D019-928E-124D-92A3C02B9976}"/>
              </a:ext>
            </a:extLst>
          </p:cNvPr>
          <p:cNvSpPr>
            <a:spLocks noGrp="1"/>
          </p:cNvSpPr>
          <p:nvPr>
            <p:ph type="body" sz="quarter" idx="11" hasCustomPrompt="1"/>
          </p:nvPr>
        </p:nvSpPr>
        <p:spPr>
          <a:xfrm>
            <a:off x="3319462" y="6637956"/>
            <a:ext cx="7318058" cy="157512"/>
          </a:xfrm>
        </p:spPr>
        <p:txBody>
          <a:bodyPr lIns="36000" anchor="ctr"/>
          <a:lstStyle>
            <a:lvl1pPr marL="0" indent="0">
              <a:buNone/>
              <a:defRPr sz="800">
                <a:solidFill>
                  <a:schemeClr val="bg1"/>
                </a:solidFill>
              </a:defRPr>
            </a:lvl1pPr>
          </a:lstStyle>
          <a:p>
            <a:pPr lvl="0"/>
            <a:r>
              <a:rPr lang="en-US"/>
              <a:t>Footnotes</a:t>
            </a:r>
            <a:endParaRPr lang="en-IN"/>
          </a:p>
        </p:txBody>
      </p:sp>
    </p:spTree>
    <p:extLst>
      <p:ext uri="{BB962C8B-B14F-4D97-AF65-F5344CB8AC3E}">
        <p14:creationId xmlns:p14="http://schemas.microsoft.com/office/powerpoint/2010/main" val="85777277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Header - Vertical">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50D20B1-6B26-45B9-ACA1-0D8BC03871D8}"/>
              </a:ext>
            </a:extLst>
          </p:cNvPr>
          <p:cNvSpPr>
            <a:spLocks noGrp="1"/>
          </p:cNvSpPr>
          <p:nvPr>
            <p:ph type="title"/>
          </p:nvPr>
        </p:nvSpPr>
        <p:spPr>
          <a:xfrm>
            <a:off x="344487" y="88836"/>
            <a:ext cx="11504613" cy="408795"/>
          </a:xfrm>
        </p:spPr>
        <p:txBody>
          <a:bodyPr/>
          <a:lstStyle/>
          <a:p>
            <a:r>
              <a:rPr lang="en-US"/>
              <a:t>Click to edit Master title style</a:t>
            </a:r>
          </a:p>
        </p:txBody>
      </p:sp>
      <p:sp>
        <p:nvSpPr>
          <p:cNvPr id="6" name="Text Placeholder 7">
            <a:extLst>
              <a:ext uri="{FF2B5EF4-FFF2-40B4-BE49-F238E27FC236}">
                <a16:creationId xmlns:a16="http://schemas.microsoft.com/office/drawing/2014/main" id="{9B6ACBC5-8B35-4F11-B076-8EC2B9686C41}"/>
              </a:ext>
            </a:extLst>
          </p:cNvPr>
          <p:cNvSpPr>
            <a:spLocks noGrp="1"/>
          </p:cNvSpPr>
          <p:nvPr>
            <p:ph type="body" sz="quarter" idx="10"/>
          </p:nvPr>
        </p:nvSpPr>
        <p:spPr>
          <a:xfrm>
            <a:off x="344488" y="487848"/>
            <a:ext cx="11504612" cy="281861"/>
          </a:xfrm>
        </p:spPr>
        <p:txBody>
          <a:bodyPr anchor="ctr"/>
          <a:lstStyle>
            <a:lvl1pPr marL="0" indent="0" algn="l" defTabSz="914400" rtl="0" eaLnBrk="1" latinLnBrk="0" hangingPunct="1">
              <a:lnSpc>
                <a:spcPct val="90000"/>
              </a:lnSpc>
              <a:spcBef>
                <a:spcPct val="0"/>
              </a:spcBef>
              <a:buNone/>
              <a:defRPr lang="en-US" sz="1400" b="1" i="0" kern="1200" dirty="0" smtClean="0">
                <a:solidFill>
                  <a:srgbClr val="595959"/>
                </a:solidFill>
                <a:latin typeface="Segoe UI Semibold" panose="020B0702040204020203" pitchFamily="34" charset="0"/>
                <a:ea typeface="+mj-ea"/>
                <a:cs typeface="Segoe UI Semibold" panose="020B0702040204020203" pitchFamily="34" charset="0"/>
              </a:defRPr>
            </a:lvl1pPr>
            <a:lvl2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2pPr>
            <a:lvl3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3pPr>
            <a:lvl4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4pPr>
            <a:lvl5pPr marL="0" indent="0" algn="l" defTabSz="914400" rtl="0" eaLnBrk="1" latinLnBrk="0" hangingPunct="1">
              <a:lnSpc>
                <a:spcPct val="90000"/>
              </a:lnSpc>
              <a:spcBef>
                <a:spcPct val="0"/>
              </a:spcBef>
              <a:buNone/>
              <a:defRPr lang="en-IN" sz="1400" b="1" i="1" kern="1200" dirty="0">
                <a:solidFill>
                  <a:schemeClr val="bg1">
                    <a:lumMod val="50000"/>
                  </a:schemeClr>
                </a:solidFill>
                <a:latin typeface="+mj-lt"/>
                <a:ea typeface="+mj-ea"/>
                <a:cs typeface="+mj-cs"/>
              </a:defRPr>
            </a:lvl5pPr>
          </a:lstStyle>
          <a:p>
            <a:pPr lvl="0"/>
            <a:r>
              <a:rPr lang="en-US"/>
              <a:t>Click to edit Master text styles</a:t>
            </a:r>
          </a:p>
        </p:txBody>
      </p:sp>
      <p:sp>
        <p:nvSpPr>
          <p:cNvPr id="2" name="Text Placeholder 5">
            <a:extLst>
              <a:ext uri="{FF2B5EF4-FFF2-40B4-BE49-F238E27FC236}">
                <a16:creationId xmlns:a16="http://schemas.microsoft.com/office/drawing/2014/main" id="{1AAF154C-D019-928E-124D-92A3C02B9976}"/>
              </a:ext>
            </a:extLst>
          </p:cNvPr>
          <p:cNvSpPr>
            <a:spLocks noGrp="1"/>
          </p:cNvSpPr>
          <p:nvPr>
            <p:ph type="body" sz="quarter" idx="11" hasCustomPrompt="1"/>
          </p:nvPr>
        </p:nvSpPr>
        <p:spPr>
          <a:xfrm>
            <a:off x="3319462" y="6637956"/>
            <a:ext cx="7318058" cy="157512"/>
          </a:xfrm>
        </p:spPr>
        <p:txBody>
          <a:bodyPr lIns="36000" anchor="ctr"/>
          <a:lstStyle>
            <a:lvl1pPr marL="0" indent="0">
              <a:buNone/>
              <a:defRPr sz="800">
                <a:solidFill>
                  <a:schemeClr val="bg1"/>
                </a:solidFill>
              </a:defRPr>
            </a:lvl1pPr>
          </a:lstStyle>
          <a:p>
            <a:pPr lvl="0"/>
            <a:r>
              <a:rPr lang="en-US"/>
              <a:t>Footnotes</a:t>
            </a:r>
            <a:endParaRPr lang="en-IN"/>
          </a:p>
        </p:txBody>
      </p:sp>
      <p:sp>
        <p:nvSpPr>
          <p:cNvPr id="17" name="Text Placeholder 2">
            <a:extLst>
              <a:ext uri="{FF2B5EF4-FFF2-40B4-BE49-F238E27FC236}">
                <a16:creationId xmlns:a16="http://schemas.microsoft.com/office/drawing/2014/main" id="{DE9CA1BB-81C1-3DDE-F8A7-05DEAC433832}"/>
              </a:ext>
            </a:extLst>
          </p:cNvPr>
          <p:cNvSpPr>
            <a:spLocks noGrp="1"/>
          </p:cNvSpPr>
          <p:nvPr>
            <p:ph type="body" idx="1"/>
          </p:nvPr>
        </p:nvSpPr>
        <p:spPr>
          <a:xfrm>
            <a:off x="344487" y="896797"/>
            <a:ext cx="5157787"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19" name="Group 18">
            <a:extLst>
              <a:ext uri="{FF2B5EF4-FFF2-40B4-BE49-F238E27FC236}">
                <a16:creationId xmlns:a16="http://schemas.microsoft.com/office/drawing/2014/main" id="{1C437E69-259A-4D93-85B7-739A88FCFC39}"/>
              </a:ext>
            </a:extLst>
          </p:cNvPr>
          <p:cNvGrpSpPr/>
          <p:nvPr userDrawn="1"/>
        </p:nvGrpSpPr>
        <p:grpSpPr>
          <a:xfrm>
            <a:off x="344487" y="1214416"/>
            <a:ext cx="5561013" cy="55768"/>
            <a:chOff x="344487" y="1214416"/>
            <a:chExt cx="5561013" cy="55768"/>
          </a:xfrm>
        </p:grpSpPr>
        <p:cxnSp>
          <p:nvCxnSpPr>
            <p:cNvPr id="8" name="Straight Connector 7">
              <a:extLst>
                <a:ext uri="{FF2B5EF4-FFF2-40B4-BE49-F238E27FC236}">
                  <a16:creationId xmlns:a16="http://schemas.microsoft.com/office/drawing/2014/main" id="{CBC944B2-5B81-4284-24E4-CF9E3058C579}"/>
                </a:ext>
              </a:extLst>
            </p:cNvPr>
            <p:cNvCxnSpPr>
              <a:cxnSpLocks/>
            </p:cNvCxnSpPr>
            <p:nvPr/>
          </p:nvCxnSpPr>
          <p:spPr>
            <a:xfrm>
              <a:off x="398568" y="1242300"/>
              <a:ext cx="5506932"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CA5B0CB2-7B37-3A9F-911D-9B5245C564E4}"/>
                </a:ext>
              </a:extLst>
            </p:cNvPr>
            <p:cNvSpPr/>
            <p:nvPr/>
          </p:nvSpPr>
          <p:spPr>
            <a:xfrm>
              <a:off x="344487" y="1214416"/>
              <a:ext cx="545724" cy="55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prstClr val="white"/>
                </a:solidFill>
                <a:effectLst/>
                <a:uLnTx/>
                <a:uFillTx/>
                <a:latin typeface="Segoe UI"/>
                <a:ea typeface="+mn-ea"/>
                <a:cs typeface="+mn-cs"/>
              </a:endParaRPr>
            </a:p>
          </p:txBody>
        </p:sp>
      </p:grpSp>
      <p:sp>
        <p:nvSpPr>
          <p:cNvPr id="18" name="Text Placeholder 2">
            <a:extLst>
              <a:ext uri="{FF2B5EF4-FFF2-40B4-BE49-F238E27FC236}">
                <a16:creationId xmlns:a16="http://schemas.microsoft.com/office/drawing/2014/main" id="{CE4CC8C8-0E01-4E7E-59CB-54EBC3FCD14F}"/>
              </a:ext>
            </a:extLst>
          </p:cNvPr>
          <p:cNvSpPr>
            <a:spLocks noGrp="1"/>
          </p:cNvSpPr>
          <p:nvPr>
            <p:ph type="body" idx="12"/>
          </p:nvPr>
        </p:nvSpPr>
        <p:spPr>
          <a:xfrm>
            <a:off x="6288087" y="896797"/>
            <a:ext cx="5157787"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11" name="Group 10">
            <a:extLst>
              <a:ext uri="{FF2B5EF4-FFF2-40B4-BE49-F238E27FC236}">
                <a16:creationId xmlns:a16="http://schemas.microsoft.com/office/drawing/2014/main" id="{E12FE721-4FA0-4493-AE93-A96BE344DB84}"/>
              </a:ext>
            </a:extLst>
          </p:cNvPr>
          <p:cNvGrpSpPr/>
          <p:nvPr/>
        </p:nvGrpSpPr>
        <p:grpSpPr>
          <a:xfrm>
            <a:off x="6288087" y="1214416"/>
            <a:ext cx="5561013" cy="55768"/>
            <a:chOff x="671913" y="1348872"/>
            <a:chExt cx="4897195" cy="89815"/>
          </a:xfrm>
        </p:grpSpPr>
        <p:cxnSp>
          <p:nvCxnSpPr>
            <p:cNvPr id="13" name="Straight Connector 12">
              <a:extLst>
                <a:ext uri="{FF2B5EF4-FFF2-40B4-BE49-F238E27FC236}">
                  <a16:creationId xmlns:a16="http://schemas.microsoft.com/office/drawing/2014/main" id="{BE5167E5-F310-164C-669A-06765F060FF5}"/>
                </a:ext>
              </a:extLst>
            </p:cNvPr>
            <p:cNvCxnSpPr>
              <a:cxnSpLocks/>
            </p:cNvCxnSpPr>
            <p:nvPr/>
          </p:nvCxnSpPr>
          <p:spPr>
            <a:xfrm>
              <a:off x="719538" y="1393780"/>
              <a:ext cx="4849570"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DF8EAF54-BCC1-349D-7040-16DAD0F1F9BD}"/>
                </a:ext>
              </a:extLst>
            </p:cNvPr>
            <p:cNvSpPr/>
            <p:nvPr/>
          </p:nvSpPr>
          <p:spPr>
            <a:xfrm>
              <a:off x="671913" y="1348872"/>
              <a:ext cx="480581" cy="898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5" name="Text Placeholder 2">
            <a:extLst>
              <a:ext uri="{FF2B5EF4-FFF2-40B4-BE49-F238E27FC236}">
                <a16:creationId xmlns:a16="http://schemas.microsoft.com/office/drawing/2014/main" id="{B649D142-DF3F-46EA-7F65-9AB5205769D7}"/>
              </a:ext>
            </a:extLst>
          </p:cNvPr>
          <p:cNvSpPr>
            <a:spLocks noGrp="1"/>
          </p:cNvSpPr>
          <p:nvPr>
            <p:ph idx="15"/>
          </p:nvPr>
        </p:nvSpPr>
        <p:spPr>
          <a:xfrm>
            <a:off x="343500" y="1325880"/>
            <a:ext cx="5562000" cy="4997918"/>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3764688D-FB67-7AFC-446D-F869973432AB}"/>
              </a:ext>
            </a:extLst>
          </p:cNvPr>
          <p:cNvSpPr>
            <a:spLocks noGrp="1"/>
          </p:cNvSpPr>
          <p:nvPr>
            <p:ph idx="16"/>
          </p:nvPr>
        </p:nvSpPr>
        <p:spPr>
          <a:xfrm>
            <a:off x="6287100" y="1325880"/>
            <a:ext cx="5562000" cy="4997918"/>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171528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Header - Horizontal">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50D20B1-6B26-45B9-ACA1-0D8BC03871D8}"/>
              </a:ext>
            </a:extLst>
          </p:cNvPr>
          <p:cNvSpPr>
            <a:spLocks noGrp="1"/>
          </p:cNvSpPr>
          <p:nvPr>
            <p:ph type="title"/>
          </p:nvPr>
        </p:nvSpPr>
        <p:spPr>
          <a:xfrm>
            <a:off x="344487" y="88836"/>
            <a:ext cx="11504613" cy="408795"/>
          </a:xfrm>
        </p:spPr>
        <p:txBody>
          <a:bodyPr/>
          <a:lstStyle/>
          <a:p>
            <a:r>
              <a:rPr lang="en-US"/>
              <a:t>Click to edit Master title style</a:t>
            </a:r>
          </a:p>
        </p:txBody>
      </p:sp>
      <p:sp>
        <p:nvSpPr>
          <p:cNvPr id="6" name="Text Placeholder 7">
            <a:extLst>
              <a:ext uri="{FF2B5EF4-FFF2-40B4-BE49-F238E27FC236}">
                <a16:creationId xmlns:a16="http://schemas.microsoft.com/office/drawing/2014/main" id="{9B6ACBC5-8B35-4F11-B076-8EC2B9686C41}"/>
              </a:ext>
            </a:extLst>
          </p:cNvPr>
          <p:cNvSpPr>
            <a:spLocks noGrp="1"/>
          </p:cNvSpPr>
          <p:nvPr>
            <p:ph type="body" sz="quarter" idx="10"/>
          </p:nvPr>
        </p:nvSpPr>
        <p:spPr>
          <a:xfrm>
            <a:off x="344488" y="487848"/>
            <a:ext cx="11504612" cy="281861"/>
          </a:xfrm>
        </p:spPr>
        <p:txBody>
          <a:bodyPr anchor="ctr"/>
          <a:lstStyle>
            <a:lvl1pPr marL="0" indent="0" algn="l" defTabSz="914400" rtl="0" eaLnBrk="1" latinLnBrk="0" hangingPunct="1">
              <a:lnSpc>
                <a:spcPct val="90000"/>
              </a:lnSpc>
              <a:spcBef>
                <a:spcPct val="0"/>
              </a:spcBef>
              <a:buNone/>
              <a:defRPr lang="en-US" sz="1400" b="1" i="0" kern="1200" dirty="0" smtClean="0">
                <a:solidFill>
                  <a:srgbClr val="595959"/>
                </a:solidFill>
                <a:latin typeface="Segoe UI Semibold" panose="020B0702040204020203" pitchFamily="34" charset="0"/>
                <a:ea typeface="+mj-ea"/>
                <a:cs typeface="Segoe UI Semibold" panose="020B0702040204020203" pitchFamily="34" charset="0"/>
              </a:defRPr>
            </a:lvl1pPr>
            <a:lvl2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2pPr>
            <a:lvl3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3pPr>
            <a:lvl4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4pPr>
            <a:lvl5pPr marL="0" indent="0" algn="l" defTabSz="914400" rtl="0" eaLnBrk="1" latinLnBrk="0" hangingPunct="1">
              <a:lnSpc>
                <a:spcPct val="90000"/>
              </a:lnSpc>
              <a:spcBef>
                <a:spcPct val="0"/>
              </a:spcBef>
              <a:buNone/>
              <a:defRPr lang="en-IN" sz="1400" b="1" i="1" kern="1200" dirty="0">
                <a:solidFill>
                  <a:schemeClr val="bg1">
                    <a:lumMod val="50000"/>
                  </a:schemeClr>
                </a:solidFill>
                <a:latin typeface="+mj-lt"/>
                <a:ea typeface="+mj-ea"/>
                <a:cs typeface="+mj-cs"/>
              </a:defRPr>
            </a:lvl5pPr>
          </a:lstStyle>
          <a:p>
            <a:pPr lvl="0"/>
            <a:r>
              <a:rPr lang="en-US"/>
              <a:t>Click to edit Master text styles</a:t>
            </a:r>
          </a:p>
        </p:txBody>
      </p:sp>
      <p:sp>
        <p:nvSpPr>
          <p:cNvPr id="2" name="Text Placeholder 5">
            <a:extLst>
              <a:ext uri="{FF2B5EF4-FFF2-40B4-BE49-F238E27FC236}">
                <a16:creationId xmlns:a16="http://schemas.microsoft.com/office/drawing/2014/main" id="{1AAF154C-D019-928E-124D-92A3C02B9976}"/>
              </a:ext>
            </a:extLst>
          </p:cNvPr>
          <p:cNvSpPr>
            <a:spLocks noGrp="1"/>
          </p:cNvSpPr>
          <p:nvPr>
            <p:ph type="body" sz="quarter" idx="11" hasCustomPrompt="1"/>
          </p:nvPr>
        </p:nvSpPr>
        <p:spPr>
          <a:xfrm>
            <a:off x="3319462" y="6637956"/>
            <a:ext cx="7318058" cy="157512"/>
          </a:xfrm>
        </p:spPr>
        <p:txBody>
          <a:bodyPr lIns="36000" anchor="ctr"/>
          <a:lstStyle>
            <a:lvl1pPr marL="0" indent="0">
              <a:buNone/>
              <a:defRPr sz="800">
                <a:solidFill>
                  <a:schemeClr val="bg1"/>
                </a:solidFill>
              </a:defRPr>
            </a:lvl1pPr>
          </a:lstStyle>
          <a:p>
            <a:pPr lvl="0"/>
            <a:r>
              <a:rPr lang="en-US"/>
              <a:t>Footnotes</a:t>
            </a:r>
            <a:endParaRPr lang="en-IN"/>
          </a:p>
        </p:txBody>
      </p:sp>
      <p:sp>
        <p:nvSpPr>
          <p:cNvPr id="17" name="Text Placeholder 2">
            <a:extLst>
              <a:ext uri="{FF2B5EF4-FFF2-40B4-BE49-F238E27FC236}">
                <a16:creationId xmlns:a16="http://schemas.microsoft.com/office/drawing/2014/main" id="{DE9CA1BB-81C1-3DDE-F8A7-05DEAC433832}"/>
              </a:ext>
            </a:extLst>
          </p:cNvPr>
          <p:cNvSpPr>
            <a:spLocks noGrp="1"/>
          </p:cNvSpPr>
          <p:nvPr>
            <p:ph type="body" idx="1"/>
          </p:nvPr>
        </p:nvSpPr>
        <p:spPr>
          <a:xfrm>
            <a:off x="344486" y="896797"/>
            <a:ext cx="11203200"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19" name="Group 18">
            <a:extLst>
              <a:ext uri="{FF2B5EF4-FFF2-40B4-BE49-F238E27FC236}">
                <a16:creationId xmlns:a16="http://schemas.microsoft.com/office/drawing/2014/main" id="{1C437E69-259A-4D93-85B7-739A88FCFC39}"/>
              </a:ext>
            </a:extLst>
          </p:cNvPr>
          <p:cNvGrpSpPr/>
          <p:nvPr userDrawn="1"/>
        </p:nvGrpSpPr>
        <p:grpSpPr>
          <a:xfrm>
            <a:off x="344486" y="1214416"/>
            <a:ext cx="11505600" cy="55768"/>
            <a:chOff x="344487" y="1214416"/>
            <a:chExt cx="5561013" cy="55768"/>
          </a:xfrm>
        </p:grpSpPr>
        <p:cxnSp>
          <p:nvCxnSpPr>
            <p:cNvPr id="8" name="Straight Connector 7">
              <a:extLst>
                <a:ext uri="{FF2B5EF4-FFF2-40B4-BE49-F238E27FC236}">
                  <a16:creationId xmlns:a16="http://schemas.microsoft.com/office/drawing/2014/main" id="{CBC944B2-5B81-4284-24E4-CF9E3058C579}"/>
                </a:ext>
              </a:extLst>
            </p:cNvPr>
            <p:cNvCxnSpPr>
              <a:cxnSpLocks/>
            </p:cNvCxnSpPr>
            <p:nvPr/>
          </p:nvCxnSpPr>
          <p:spPr>
            <a:xfrm>
              <a:off x="398568" y="1242300"/>
              <a:ext cx="5506932"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CA5B0CB2-7B37-3A9F-911D-9B5245C564E4}"/>
                </a:ext>
              </a:extLst>
            </p:cNvPr>
            <p:cNvSpPr/>
            <p:nvPr/>
          </p:nvSpPr>
          <p:spPr>
            <a:xfrm>
              <a:off x="344487" y="1214416"/>
              <a:ext cx="264479" cy="55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prstClr val="white"/>
                </a:solidFill>
                <a:effectLst/>
                <a:uLnTx/>
                <a:uFillTx/>
                <a:latin typeface="Segoe UI"/>
                <a:ea typeface="+mn-ea"/>
                <a:cs typeface="+mn-cs"/>
              </a:endParaRPr>
            </a:p>
          </p:txBody>
        </p:sp>
      </p:grpSp>
      <p:sp>
        <p:nvSpPr>
          <p:cNvPr id="7" name="Text Placeholder 2">
            <a:extLst>
              <a:ext uri="{FF2B5EF4-FFF2-40B4-BE49-F238E27FC236}">
                <a16:creationId xmlns:a16="http://schemas.microsoft.com/office/drawing/2014/main" id="{8A0CA280-7199-E0B4-DCEC-E0B35AF66275}"/>
              </a:ext>
            </a:extLst>
          </p:cNvPr>
          <p:cNvSpPr>
            <a:spLocks noGrp="1"/>
          </p:cNvSpPr>
          <p:nvPr>
            <p:ph type="body" idx="13"/>
          </p:nvPr>
        </p:nvSpPr>
        <p:spPr>
          <a:xfrm>
            <a:off x="344486" y="3800417"/>
            <a:ext cx="11203200"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10" name="Group 9">
            <a:extLst>
              <a:ext uri="{FF2B5EF4-FFF2-40B4-BE49-F238E27FC236}">
                <a16:creationId xmlns:a16="http://schemas.microsoft.com/office/drawing/2014/main" id="{EBA14E75-9C64-2489-C60B-F72B47940F86}"/>
              </a:ext>
            </a:extLst>
          </p:cNvPr>
          <p:cNvGrpSpPr/>
          <p:nvPr userDrawn="1"/>
        </p:nvGrpSpPr>
        <p:grpSpPr>
          <a:xfrm>
            <a:off x="344486" y="4118036"/>
            <a:ext cx="11505600" cy="55768"/>
            <a:chOff x="344487" y="1214416"/>
            <a:chExt cx="5561013" cy="55768"/>
          </a:xfrm>
        </p:grpSpPr>
        <p:cxnSp>
          <p:nvCxnSpPr>
            <p:cNvPr id="12" name="Straight Connector 11">
              <a:extLst>
                <a:ext uri="{FF2B5EF4-FFF2-40B4-BE49-F238E27FC236}">
                  <a16:creationId xmlns:a16="http://schemas.microsoft.com/office/drawing/2014/main" id="{7002CF5F-A64F-6BF3-4035-5277E5E64224}"/>
                </a:ext>
              </a:extLst>
            </p:cNvPr>
            <p:cNvCxnSpPr>
              <a:cxnSpLocks/>
            </p:cNvCxnSpPr>
            <p:nvPr/>
          </p:nvCxnSpPr>
          <p:spPr>
            <a:xfrm>
              <a:off x="398568" y="1242300"/>
              <a:ext cx="5506932"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D4F36BCE-12B0-9512-5EB7-DD45DB107594}"/>
                </a:ext>
              </a:extLst>
            </p:cNvPr>
            <p:cNvSpPr/>
            <p:nvPr/>
          </p:nvSpPr>
          <p:spPr>
            <a:xfrm>
              <a:off x="344487" y="1214416"/>
              <a:ext cx="264479" cy="55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prstClr val="white"/>
                </a:solidFill>
                <a:effectLst/>
                <a:uLnTx/>
                <a:uFillTx/>
                <a:latin typeface="Segoe UI"/>
                <a:ea typeface="+mn-ea"/>
                <a:cs typeface="+mn-cs"/>
              </a:endParaRPr>
            </a:p>
          </p:txBody>
        </p:sp>
      </p:grpSp>
      <p:sp>
        <p:nvSpPr>
          <p:cNvPr id="25" name="Text Placeholder 2">
            <a:extLst>
              <a:ext uri="{FF2B5EF4-FFF2-40B4-BE49-F238E27FC236}">
                <a16:creationId xmlns:a16="http://schemas.microsoft.com/office/drawing/2014/main" id="{B649D142-DF3F-46EA-7F65-9AB5205769D7}"/>
              </a:ext>
            </a:extLst>
          </p:cNvPr>
          <p:cNvSpPr>
            <a:spLocks noGrp="1"/>
          </p:cNvSpPr>
          <p:nvPr>
            <p:ph idx="15"/>
          </p:nvPr>
        </p:nvSpPr>
        <p:spPr>
          <a:xfrm>
            <a:off x="343500" y="1325880"/>
            <a:ext cx="11505600" cy="2286000"/>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 Placeholder 2">
            <a:extLst>
              <a:ext uri="{FF2B5EF4-FFF2-40B4-BE49-F238E27FC236}">
                <a16:creationId xmlns:a16="http://schemas.microsoft.com/office/drawing/2014/main" id="{000EC6B4-8CBA-98FE-E605-7612ED3494CF}"/>
              </a:ext>
            </a:extLst>
          </p:cNvPr>
          <p:cNvSpPr>
            <a:spLocks noGrp="1"/>
          </p:cNvSpPr>
          <p:nvPr>
            <p:ph idx="17"/>
          </p:nvPr>
        </p:nvSpPr>
        <p:spPr>
          <a:xfrm>
            <a:off x="343500" y="4229500"/>
            <a:ext cx="11505600" cy="2286000"/>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983889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Header - 3">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50D20B1-6B26-45B9-ACA1-0D8BC03871D8}"/>
              </a:ext>
            </a:extLst>
          </p:cNvPr>
          <p:cNvSpPr>
            <a:spLocks noGrp="1"/>
          </p:cNvSpPr>
          <p:nvPr>
            <p:ph type="title"/>
          </p:nvPr>
        </p:nvSpPr>
        <p:spPr>
          <a:xfrm>
            <a:off x="344487" y="88836"/>
            <a:ext cx="11504613" cy="408795"/>
          </a:xfrm>
        </p:spPr>
        <p:txBody>
          <a:bodyPr/>
          <a:lstStyle/>
          <a:p>
            <a:r>
              <a:rPr lang="en-US"/>
              <a:t>Click to edit Master title style</a:t>
            </a:r>
          </a:p>
        </p:txBody>
      </p:sp>
      <p:sp>
        <p:nvSpPr>
          <p:cNvPr id="6" name="Text Placeholder 7">
            <a:extLst>
              <a:ext uri="{FF2B5EF4-FFF2-40B4-BE49-F238E27FC236}">
                <a16:creationId xmlns:a16="http://schemas.microsoft.com/office/drawing/2014/main" id="{9B6ACBC5-8B35-4F11-B076-8EC2B9686C41}"/>
              </a:ext>
            </a:extLst>
          </p:cNvPr>
          <p:cNvSpPr>
            <a:spLocks noGrp="1"/>
          </p:cNvSpPr>
          <p:nvPr>
            <p:ph type="body" sz="quarter" idx="10"/>
          </p:nvPr>
        </p:nvSpPr>
        <p:spPr>
          <a:xfrm>
            <a:off x="344488" y="487848"/>
            <a:ext cx="11504612" cy="281861"/>
          </a:xfrm>
        </p:spPr>
        <p:txBody>
          <a:bodyPr anchor="ctr"/>
          <a:lstStyle>
            <a:lvl1pPr marL="0" indent="0" algn="l" defTabSz="914400" rtl="0" eaLnBrk="1" latinLnBrk="0" hangingPunct="1">
              <a:lnSpc>
                <a:spcPct val="90000"/>
              </a:lnSpc>
              <a:spcBef>
                <a:spcPct val="0"/>
              </a:spcBef>
              <a:buNone/>
              <a:defRPr lang="en-US" sz="1400" b="1" i="0" kern="1200" dirty="0" smtClean="0">
                <a:solidFill>
                  <a:srgbClr val="595959"/>
                </a:solidFill>
                <a:latin typeface="Segoe UI Semibold" panose="020B0702040204020203" pitchFamily="34" charset="0"/>
                <a:ea typeface="+mj-ea"/>
                <a:cs typeface="Segoe UI Semibold" panose="020B0702040204020203" pitchFamily="34" charset="0"/>
              </a:defRPr>
            </a:lvl1pPr>
            <a:lvl2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2pPr>
            <a:lvl3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3pPr>
            <a:lvl4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4pPr>
            <a:lvl5pPr marL="0" indent="0" algn="l" defTabSz="914400" rtl="0" eaLnBrk="1" latinLnBrk="0" hangingPunct="1">
              <a:lnSpc>
                <a:spcPct val="90000"/>
              </a:lnSpc>
              <a:spcBef>
                <a:spcPct val="0"/>
              </a:spcBef>
              <a:buNone/>
              <a:defRPr lang="en-IN" sz="1400" b="1" i="1" kern="1200" dirty="0">
                <a:solidFill>
                  <a:schemeClr val="bg1">
                    <a:lumMod val="50000"/>
                  </a:schemeClr>
                </a:solidFill>
                <a:latin typeface="+mj-lt"/>
                <a:ea typeface="+mj-ea"/>
                <a:cs typeface="+mj-cs"/>
              </a:defRPr>
            </a:lvl5pPr>
          </a:lstStyle>
          <a:p>
            <a:pPr lvl="0"/>
            <a:r>
              <a:rPr lang="en-US"/>
              <a:t>Click to edit Master text styles</a:t>
            </a:r>
          </a:p>
        </p:txBody>
      </p:sp>
      <p:sp>
        <p:nvSpPr>
          <p:cNvPr id="2" name="Text Placeholder 5">
            <a:extLst>
              <a:ext uri="{FF2B5EF4-FFF2-40B4-BE49-F238E27FC236}">
                <a16:creationId xmlns:a16="http://schemas.microsoft.com/office/drawing/2014/main" id="{1AAF154C-D019-928E-124D-92A3C02B9976}"/>
              </a:ext>
            </a:extLst>
          </p:cNvPr>
          <p:cNvSpPr>
            <a:spLocks noGrp="1"/>
          </p:cNvSpPr>
          <p:nvPr>
            <p:ph type="body" sz="quarter" idx="11" hasCustomPrompt="1"/>
          </p:nvPr>
        </p:nvSpPr>
        <p:spPr>
          <a:xfrm>
            <a:off x="3319462" y="6637956"/>
            <a:ext cx="7318058" cy="157512"/>
          </a:xfrm>
        </p:spPr>
        <p:txBody>
          <a:bodyPr lIns="36000" anchor="ctr"/>
          <a:lstStyle>
            <a:lvl1pPr marL="0" indent="0">
              <a:buNone/>
              <a:defRPr sz="800">
                <a:solidFill>
                  <a:schemeClr val="bg1"/>
                </a:solidFill>
              </a:defRPr>
            </a:lvl1pPr>
          </a:lstStyle>
          <a:p>
            <a:pPr lvl="0"/>
            <a:r>
              <a:rPr lang="en-US"/>
              <a:t>Footnotes</a:t>
            </a:r>
            <a:endParaRPr lang="en-IN"/>
          </a:p>
        </p:txBody>
      </p:sp>
      <p:sp>
        <p:nvSpPr>
          <p:cNvPr id="17" name="Text Placeholder 2">
            <a:extLst>
              <a:ext uri="{FF2B5EF4-FFF2-40B4-BE49-F238E27FC236}">
                <a16:creationId xmlns:a16="http://schemas.microsoft.com/office/drawing/2014/main" id="{DE9CA1BB-81C1-3DDE-F8A7-05DEAC433832}"/>
              </a:ext>
            </a:extLst>
          </p:cNvPr>
          <p:cNvSpPr>
            <a:spLocks noGrp="1"/>
          </p:cNvSpPr>
          <p:nvPr>
            <p:ph type="body" idx="1"/>
          </p:nvPr>
        </p:nvSpPr>
        <p:spPr>
          <a:xfrm>
            <a:off x="344487" y="896797"/>
            <a:ext cx="7281863"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19" name="Group 18">
            <a:extLst>
              <a:ext uri="{FF2B5EF4-FFF2-40B4-BE49-F238E27FC236}">
                <a16:creationId xmlns:a16="http://schemas.microsoft.com/office/drawing/2014/main" id="{1C437E69-259A-4D93-85B7-739A88FCFC39}"/>
              </a:ext>
            </a:extLst>
          </p:cNvPr>
          <p:cNvGrpSpPr/>
          <p:nvPr userDrawn="1"/>
        </p:nvGrpSpPr>
        <p:grpSpPr>
          <a:xfrm>
            <a:off x="344486" y="1214416"/>
            <a:ext cx="7653600" cy="55768"/>
            <a:chOff x="344487" y="1214416"/>
            <a:chExt cx="5561013" cy="55768"/>
          </a:xfrm>
        </p:grpSpPr>
        <p:cxnSp>
          <p:nvCxnSpPr>
            <p:cNvPr id="8" name="Straight Connector 7">
              <a:extLst>
                <a:ext uri="{FF2B5EF4-FFF2-40B4-BE49-F238E27FC236}">
                  <a16:creationId xmlns:a16="http://schemas.microsoft.com/office/drawing/2014/main" id="{CBC944B2-5B81-4284-24E4-CF9E3058C579}"/>
                </a:ext>
              </a:extLst>
            </p:cNvPr>
            <p:cNvCxnSpPr>
              <a:cxnSpLocks/>
            </p:cNvCxnSpPr>
            <p:nvPr/>
          </p:nvCxnSpPr>
          <p:spPr>
            <a:xfrm>
              <a:off x="398568" y="1242300"/>
              <a:ext cx="5506932"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CA5B0CB2-7B37-3A9F-911D-9B5245C564E4}"/>
                </a:ext>
              </a:extLst>
            </p:cNvPr>
            <p:cNvSpPr/>
            <p:nvPr/>
          </p:nvSpPr>
          <p:spPr>
            <a:xfrm>
              <a:off x="344487" y="1214416"/>
              <a:ext cx="397589" cy="55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prstClr val="white"/>
                </a:solidFill>
                <a:effectLst/>
                <a:uLnTx/>
                <a:uFillTx/>
                <a:latin typeface="Segoe UI"/>
                <a:ea typeface="+mn-ea"/>
                <a:cs typeface="+mn-cs"/>
              </a:endParaRPr>
            </a:p>
          </p:txBody>
        </p:sp>
      </p:grpSp>
      <p:sp>
        <p:nvSpPr>
          <p:cNvPr id="18" name="Text Placeholder 2">
            <a:extLst>
              <a:ext uri="{FF2B5EF4-FFF2-40B4-BE49-F238E27FC236}">
                <a16:creationId xmlns:a16="http://schemas.microsoft.com/office/drawing/2014/main" id="{CE4CC8C8-0E01-4E7E-59CB-54EBC3FCD14F}"/>
              </a:ext>
            </a:extLst>
          </p:cNvPr>
          <p:cNvSpPr>
            <a:spLocks noGrp="1"/>
          </p:cNvSpPr>
          <p:nvPr>
            <p:ph type="body" idx="12"/>
          </p:nvPr>
        </p:nvSpPr>
        <p:spPr>
          <a:xfrm>
            <a:off x="8231099" y="896797"/>
            <a:ext cx="3369600"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11" name="Group 10">
            <a:extLst>
              <a:ext uri="{FF2B5EF4-FFF2-40B4-BE49-F238E27FC236}">
                <a16:creationId xmlns:a16="http://schemas.microsoft.com/office/drawing/2014/main" id="{E12FE721-4FA0-4493-AE93-A96BE344DB84}"/>
              </a:ext>
            </a:extLst>
          </p:cNvPr>
          <p:cNvGrpSpPr/>
          <p:nvPr/>
        </p:nvGrpSpPr>
        <p:grpSpPr>
          <a:xfrm>
            <a:off x="8231099" y="1214416"/>
            <a:ext cx="3618001" cy="55768"/>
            <a:chOff x="671912" y="1348872"/>
            <a:chExt cx="4897196" cy="89815"/>
          </a:xfrm>
        </p:grpSpPr>
        <p:cxnSp>
          <p:nvCxnSpPr>
            <p:cNvPr id="13" name="Straight Connector 12">
              <a:extLst>
                <a:ext uri="{FF2B5EF4-FFF2-40B4-BE49-F238E27FC236}">
                  <a16:creationId xmlns:a16="http://schemas.microsoft.com/office/drawing/2014/main" id="{BE5167E5-F310-164C-669A-06765F060FF5}"/>
                </a:ext>
              </a:extLst>
            </p:cNvPr>
            <p:cNvCxnSpPr>
              <a:cxnSpLocks/>
            </p:cNvCxnSpPr>
            <p:nvPr/>
          </p:nvCxnSpPr>
          <p:spPr>
            <a:xfrm>
              <a:off x="719538" y="1393780"/>
              <a:ext cx="4849570"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DF8EAF54-BCC1-349D-7040-16DAD0F1F9BD}"/>
                </a:ext>
              </a:extLst>
            </p:cNvPr>
            <p:cNvSpPr/>
            <p:nvPr/>
          </p:nvSpPr>
          <p:spPr>
            <a:xfrm>
              <a:off x="671912" y="1348872"/>
              <a:ext cx="740670" cy="898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prstClr val="white"/>
                </a:solidFill>
                <a:effectLst/>
                <a:uLnTx/>
                <a:uFillTx/>
                <a:latin typeface="Segoe UI"/>
                <a:ea typeface="+mn-ea"/>
                <a:cs typeface="+mn-cs"/>
              </a:endParaRPr>
            </a:p>
          </p:txBody>
        </p:sp>
      </p:grpSp>
      <p:sp>
        <p:nvSpPr>
          <p:cNvPr id="25" name="Text Placeholder 2">
            <a:extLst>
              <a:ext uri="{FF2B5EF4-FFF2-40B4-BE49-F238E27FC236}">
                <a16:creationId xmlns:a16="http://schemas.microsoft.com/office/drawing/2014/main" id="{B649D142-DF3F-46EA-7F65-9AB5205769D7}"/>
              </a:ext>
            </a:extLst>
          </p:cNvPr>
          <p:cNvSpPr>
            <a:spLocks noGrp="1"/>
          </p:cNvSpPr>
          <p:nvPr>
            <p:ph idx="15"/>
          </p:nvPr>
        </p:nvSpPr>
        <p:spPr>
          <a:xfrm>
            <a:off x="343500" y="1325879"/>
            <a:ext cx="7655094" cy="5184241"/>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3764688D-FB67-7AFC-446D-F869973432AB}"/>
              </a:ext>
            </a:extLst>
          </p:cNvPr>
          <p:cNvSpPr>
            <a:spLocks noGrp="1"/>
          </p:cNvSpPr>
          <p:nvPr>
            <p:ph idx="16"/>
          </p:nvPr>
        </p:nvSpPr>
        <p:spPr>
          <a:xfrm>
            <a:off x="8229600" y="1325879"/>
            <a:ext cx="3619500" cy="5184241"/>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80120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wo Header - 3">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50D20B1-6B26-45B9-ACA1-0D8BC03871D8}"/>
              </a:ext>
            </a:extLst>
          </p:cNvPr>
          <p:cNvSpPr>
            <a:spLocks noGrp="1"/>
          </p:cNvSpPr>
          <p:nvPr>
            <p:ph type="title"/>
          </p:nvPr>
        </p:nvSpPr>
        <p:spPr>
          <a:xfrm>
            <a:off x="344487" y="88836"/>
            <a:ext cx="11504613" cy="408795"/>
          </a:xfrm>
        </p:spPr>
        <p:txBody>
          <a:bodyPr/>
          <a:lstStyle/>
          <a:p>
            <a:r>
              <a:rPr lang="en-US"/>
              <a:t>Click to edit Master title style</a:t>
            </a:r>
          </a:p>
        </p:txBody>
      </p:sp>
      <p:sp>
        <p:nvSpPr>
          <p:cNvPr id="6" name="Text Placeholder 7">
            <a:extLst>
              <a:ext uri="{FF2B5EF4-FFF2-40B4-BE49-F238E27FC236}">
                <a16:creationId xmlns:a16="http://schemas.microsoft.com/office/drawing/2014/main" id="{9B6ACBC5-8B35-4F11-B076-8EC2B9686C41}"/>
              </a:ext>
            </a:extLst>
          </p:cNvPr>
          <p:cNvSpPr>
            <a:spLocks noGrp="1"/>
          </p:cNvSpPr>
          <p:nvPr>
            <p:ph type="body" sz="quarter" idx="10"/>
          </p:nvPr>
        </p:nvSpPr>
        <p:spPr>
          <a:xfrm>
            <a:off x="344488" y="487848"/>
            <a:ext cx="11504612" cy="281861"/>
          </a:xfrm>
        </p:spPr>
        <p:txBody>
          <a:bodyPr anchor="ctr"/>
          <a:lstStyle>
            <a:lvl1pPr marL="0" indent="0" algn="l" defTabSz="914400" rtl="0" eaLnBrk="1" latinLnBrk="0" hangingPunct="1">
              <a:lnSpc>
                <a:spcPct val="90000"/>
              </a:lnSpc>
              <a:spcBef>
                <a:spcPct val="0"/>
              </a:spcBef>
              <a:buNone/>
              <a:defRPr lang="en-US" sz="1400" b="1" i="0" kern="1200" dirty="0" smtClean="0">
                <a:solidFill>
                  <a:srgbClr val="595959"/>
                </a:solidFill>
                <a:latin typeface="Segoe UI Semibold" panose="020B0702040204020203" pitchFamily="34" charset="0"/>
                <a:ea typeface="+mj-ea"/>
                <a:cs typeface="Segoe UI Semibold" panose="020B0702040204020203" pitchFamily="34" charset="0"/>
              </a:defRPr>
            </a:lvl1pPr>
            <a:lvl2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2pPr>
            <a:lvl3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3pPr>
            <a:lvl4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4pPr>
            <a:lvl5pPr marL="0" indent="0" algn="l" defTabSz="914400" rtl="0" eaLnBrk="1" latinLnBrk="0" hangingPunct="1">
              <a:lnSpc>
                <a:spcPct val="90000"/>
              </a:lnSpc>
              <a:spcBef>
                <a:spcPct val="0"/>
              </a:spcBef>
              <a:buNone/>
              <a:defRPr lang="en-IN" sz="1400" b="1" i="1" kern="1200" dirty="0">
                <a:solidFill>
                  <a:schemeClr val="bg1">
                    <a:lumMod val="50000"/>
                  </a:schemeClr>
                </a:solidFill>
                <a:latin typeface="+mj-lt"/>
                <a:ea typeface="+mj-ea"/>
                <a:cs typeface="+mj-cs"/>
              </a:defRPr>
            </a:lvl5pPr>
          </a:lstStyle>
          <a:p>
            <a:pPr lvl="0"/>
            <a:r>
              <a:rPr lang="en-US"/>
              <a:t>Click to edit Master text styles</a:t>
            </a:r>
          </a:p>
        </p:txBody>
      </p:sp>
      <p:sp>
        <p:nvSpPr>
          <p:cNvPr id="2" name="Text Placeholder 5">
            <a:extLst>
              <a:ext uri="{FF2B5EF4-FFF2-40B4-BE49-F238E27FC236}">
                <a16:creationId xmlns:a16="http://schemas.microsoft.com/office/drawing/2014/main" id="{1AAF154C-D019-928E-124D-92A3C02B9976}"/>
              </a:ext>
            </a:extLst>
          </p:cNvPr>
          <p:cNvSpPr>
            <a:spLocks noGrp="1"/>
          </p:cNvSpPr>
          <p:nvPr>
            <p:ph type="body" sz="quarter" idx="11" hasCustomPrompt="1"/>
          </p:nvPr>
        </p:nvSpPr>
        <p:spPr>
          <a:xfrm>
            <a:off x="3319462" y="6637956"/>
            <a:ext cx="7318058" cy="157512"/>
          </a:xfrm>
        </p:spPr>
        <p:txBody>
          <a:bodyPr lIns="36000" anchor="ctr"/>
          <a:lstStyle>
            <a:lvl1pPr marL="0" indent="0">
              <a:buNone/>
              <a:defRPr sz="800">
                <a:solidFill>
                  <a:schemeClr val="bg1"/>
                </a:solidFill>
              </a:defRPr>
            </a:lvl1pPr>
          </a:lstStyle>
          <a:p>
            <a:pPr lvl="0"/>
            <a:r>
              <a:rPr lang="en-US"/>
              <a:t>Footnotes</a:t>
            </a:r>
            <a:endParaRPr lang="en-IN"/>
          </a:p>
        </p:txBody>
      </p:sp>
      <p:sp>
        <p:nvSpPr>
          <p:cNvPr id="17" name="Text Placeholder 2">
            <a:extLst>
              <a:ext uri="{FF2B5EF4-FFF2-40B4-BE49-F238E27FC236}">
                <a16:creationId xmlns:a16="http://schemas.microsoft.com/office/drawing/2014/main" id="{DE9CA1BB-81C1-3DDE-F8A7-05DEAC433832}"/>
              </a:ext>
            </a:extLst>
          </p:cNvPr>
          <p:cNvSpPr>
            <a:spLocks noGrp="1"/>
          </p:cNvSpPr>
          <p:nvPr>
            <p:ph type="body" idx="1"/>
          </p:nvPr>
        </p:nvSpPr>
        <p:spPr>
          <a:xfrm>
            <a:off x="4194993" y="896797"/>
            <a:ext cx="7281863"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19" name="Group 18">
            <a:extLst>
              <a:ext uri="{FF2B5EF4-FFF2-40B4-BE49-F238E27FC236}">
                <a16:creationId xmlns:a16="http://schemas.microsoft.com/office/drawing/2014/main" id="{1C437E69-259A-4D93-85B7-739A88FCFC39}"/>
              </a:ext>
            </a:extLst>
          </p:cNvPr>
          <p:cNvGrpSpPr/>
          <p:nvPr userDrawn="1"/>
        </p:nvGrpSpPr>
        <p:grpSpPr>
          <a:xfrm>
            <a:off x="4194992" y="1214416"/>
            <a:ext cx="7653600" cy="55768"/>
            <a:chOff x="344487" y="1214416"/>
            <a:chExt cx="5561013" cy="55768"/>
          </a:xfrm>
        </p:grpSpPr>
        <p:cxnSp>
          <p:nvCxnSpPr>
            <p:cNvPr id="8" name="Straight Connector 7">
              <a:extLst>
                <a:ext uri="{FF2B5EF4-FFF2-40B4-BE49-F238E27FC236}">
                  <a16:creationId xmlns:a16="http://schemas.microsoft.com/office/drawing/2014/main" id="{CBC944B2-5B81-4284-24E4-CF9E3058C579}"/>
                </a:ext>
              </a:extLst>
            </p:cNvPr>
            <p:cNvCxnSpPr>
              <a:cxnSpLocks/>
            </p:cNvCxnSpPr>
            <p:nvPr/>
          </p:nvCxnSpPr>
          <p:spPr>
            <a:xfrm>
              <a:off x="398568" y="1242300"/>
              <a:ext cx="5506932"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CA5B0CB2-7B37-3A9F-911D-9B5245C564E4}"/>
                </a:ext>
              </a:extLst>
            </p:cNvPr>
            <p:cNvSpPr/>
            <p:nvPr/>
          </p:nvSpPr>
          <p:spPr>
            <a:xfrm>
              <a:off x="344487" y="1214416"/>
              <a:ext cx="397589" cy="55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prstClr val="white"/>
                </a:solidFill>
                <a:effectLst/>
                <a:uLnTx/>
                <a:uFillTx/>
                <a:latin typeface="Segoe UI"/>
                <a:ea typeface="+mn-ea"/>
                <a:cs typeface="+mn-cs"/>
              </a:endParaRPr>
            </a:p>
          </p:txBody>
        </p:sp>
      </p:grpSp>
      <p:sp>
        <p:nvSpPr>
          <p:cNvPr id="18" name="Text Placeholder 2">
            <a:extLst>
              <a:ext uri="{FF2B5EF4-FFF2-40B4-BE49-F238E27FC236}">
                <a16:creationId xmlns:a16="http://schemas.microsoft.com/office/drawing/2014/main" id="{CE4CC8C8-0E01-4E7E-59CB-54EBC3FCD14F}"/>
              </a:ext>
            </a:extLst>
          </p:cNvPr>
          <p:cNvSpPr>
            <a:spLocks noGrp="1"/>
          </p:cNvSpPr>
          <p:nvPr>
            <p:ph type="body" idx="12"/>
          </p:nvPr>
        </p:nvSpPr>
        <p:spPr>
          <a:xfrm>
            <a:off x="344488" y="896797"/>
            <a:ext cx="3369600"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11" name="Group 10">
            <a:extLst>
              <a:ext uri="{FF2B5EF4-FFF2-40B4-BE49-F238E27FC236}">
                <a16:creationId xmlns:a16="http://schemas.microsoft.com/office/drawing/2014/main" id="{E12FE721-4FA0-4493-AE93-A96BE344DB84}"/>
              </a:ext>
            </a:extLst>
          </p:cNvPr>
          <p:cNvGrpSpPr/>
          <p:nvPr/>
        </p:nvGrpSpPr>
        <p:grpSpPr>
          <a:xfrm>
            <a:off x="344488" y="1214416"/>
            <a:ext cx="3618001" cy="55768"/>
            <a:chOff x="671912" y="1348872"/>
            <a:chExt cx="4897196" cy="89815"/>
          </a:xfrm>
        </p:grpSpPr>
        <p:cxnSp>
          <p:nvCxnSpPr>
            <p:cNvPr id="13" name="Straight Connector 12">
              <a:extLst>
                <a:ext uri="{FF2B5EF4-FFF2-40B4-BE49-F238E27FC236}">
                  <a16:creationId xmlns:a16="http://schemas.microsoft.com/office/drawing/2014/main" id="{BE5167E5-F310-164C-669A-06765F060FF5}"/>
                </a:ext>
              </a:extLst>
            </p:cNvPr>
            <p:cNvCxnSpPr>
              <a:cxnSpLocks/>
            </p:cNvCxnSpPr>
            <p:nvPr/>
          </p:nvCxnSpPr>
          <p:spPr>
            <a:xfrm>
              <a:off x="719538" y="1393780"/>
              <a:ext cx="4849570"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DF8EAF54-BCC1-349D-7040-16DAD0F1F9BD}"/>
                </a:ext>
              </a:extLst>
            </p:cNvPr>
            <p:cNvSpPr/>
            <p:nvPr/>
          </p:nvSpPr>
          <p:spPr>
            <a:xfrm>
              <a:off x="671912" y="1348872"/>
              <a:ext cx="740670" cy="898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prstClr val="white"/>
                </a:solidFill>
                <a:effectLst/>
                <a:uLnTx/>
                <a:uFillTx/>
                <a:latin typeface="Segoe UI"/>
                <a:ea typeface="+mn-ea"/>
                <a:cs typeface="+mn-cs"/>
              </a:endParaRPr>
            </a:p>
          </p:txBody>
        </p:sp>
      </p:grpSp>
      <p:sp>
        <p:nvSpPr>
          <p:cNvPr id="25" name="Text Placeholder 2">
            <a:extLst>
              <a:ext uri="{FF2B5EF4-FFF2-40B4-BE49-F238E27FC236}">
                <a16:creationId xmlns:a16="http://schemas.microsoft.com/office/drawing/2014/main" id="{B649D142-DF3F-46EA-7F65-9AB5205769D7}"/>
              </a:ext>
            </a:extLst>
          </p:cNvPr>
          <p:cNvSpPr>
            <a:spLocks noGrp="1"/>
          </p:cNvSpPr>
          <p:nvPr>
            <p:ph idx="15"/>
          </p:nvPr>
        </p:nvSpPr>
        <p:spPr>
          <a:xfrm>
            <a:off x="4194006" y="1325880"/>
            <a:ext cx="7655094" cy="5189620"/>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3764688D-FB67-7AFC-446D-F869973432AB}"/>
              </a:ext>
            </a:extLst>
          </p:cNvPr>
          <p:cNvSpPr>
            <a:spLocks noGrp="1"/>
          </p:cNvSpPr>
          <p:nvPr>
            <p:ph idx="16"/>
          </p:nvPr>
        </p:nvSpPr>
        <p:spPr>
          <a:xfrm>
            <a:off x="344488" y="1325880"/>
            <a:ext cx="3619500" cy="5189620"/>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705280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ree Header Vertical">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50D20B1-6B26-45B9-ACA1-0D8BC03871D8}"/>
              </a:ext>
            </a:extLst>
          </p:cNvPr>
          <p:cNvSpPr>
            <a:spLocks noGrp="1"/>
          </p:cNvSpPr>
          <p:nvPr>
            <p:ph type="title"/>
          </p:nvPr>
        </p:nvSpPr>
        <p:spPr>
          <a:xfrm>
            <a:off x="344487" y="88836"/>
            <a:ext cx="11504613" cy="408795"/>
          </a:xfrm>
        </p:spPr>
        <p:txBody>
          <a:bodyPr/>
          <a:lstStyle/>
          <a:p>
            <a:r>
              <a:rPr lang="en-US"/>
              <a:t>Click to edit Master title style</a:t>
            </a:r>
          </a:p>
        </p:txBody>
      </p:sp>
      <p:sp>
        <p:nvSpPr>
          <p:cNvPr id="6" name="Text Placeholder 7">
            <a:extLst>
              <a:ext uri="{FF2B5EF4-FFF2-40B4-BE49-F238E27FC236}">
                <a16:creationId xmlns:a16="http://schemas.microsoft.com/office/drawing/2014/main" id="{9B6ACBC5-8B35-4F11-B076-8EC2B9686C41}"/>
              </a:ext>
            </a:extLst>
          </p:cNvPr>
          <p:cNvSpPr>
            <a:spLocks noGrp="1"/>
          </p:cNvSpPr>
          <p:nvPr>
            <p:ph type="body" sz="quarter" idx="10"/>
          </p:nvPr>
        </p:nvSpPr>
        <p:spPr>
          <a:xfrm>
            <a:off x="344488" y="487848"/>
            <a:ext cx="11504612" cy="281861"/>
          </a:xfrm>
        </p:spPr>
        <p:txBody>
          <a:bodyPr anchor="ctr"/>
          <a:lstStyle>
            <a:lvl1pPr marL="0" indent="0" algn="l" defTabSz="914400" rtl="0" eaLnBrk="1" latinLnBrk="0" hangingPunct="1">
              <a:lnSpc>
                <a:spcPct val="90000"/>
              </a:lnSpc>
              <a:spcBef>
                <a:spcPct val="0"/>
              </a:spcBef>
              <a:buNone/>
              <a:defRPr lang="en-US" sz="1400" b="1" i="0" kern="1200" dirty="0" smtClean="0">
                <a:solidFill>
                  <a:srgbClr val="595959"/>
                </a:solidFill>
                <a:latin typeface="Segoe UI Semibold" panose="020B0702040204020203" pitchFamily="34" charset="0"/>
                <a:ea typeface="+mj-ea"/>
                <a:cs typeface="Segoe UI Semibold" panose="020B0702040204020203" pitchFamily="34" charset="0"/>
              </a:defRPr>
            </a:lvl1pPr>
            <a:lvl2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2pPr>
            <a:lvl3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3pPr>
            <a:lvl4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4pPr>
            <a:lvl5pPr marL="0" indent="0" algn="l" defTabSz="914400" rtl="0" eaLnBrk="1" latinLnBrk="0" hangingPunct="1">
              <a:lnSpc>
                <a:spcPct val="90000"/>
              </a:lnSpc>
              <a:spcBef>
                <a:spcPct val="0"/>
              </a:spcBef>
              <a:buNone/>
              <a:defRPr lang="en-IN" sz="1400" b="1" i="1" kern="1200" dirty="0">
                <a:solidFill>
                  <a:schemeClr val="bg1">
                    <a:lumMod val="50000"/>
                  </a:schemeClr>
                </a:solidFill>
                <a:latin typeface="+mj-lt"/>
                <a:ea typeface="+mj-ea"/>
                <a:cs typeface="+mj-cs"/>
              </a:defRPr>
            </a:lvl5pPr>
          </a:lstStyle>
          <a:p>
            <a:pPr lvl="0"/>
            <a:r>
              <a:rPr lang="en-US"/>
              <a:t>Click to edit Master text styles</a:t>
            </a:r>
          </a:p>
        </p:txBody>
      </p:sp>
      <p:sp>
        <p:nvSpPr>
          <p:cNvPr id="17" name="Text Placeholder 2">
            <a:extLst>
              <a:ext uri="{FF2B5EF4-FFF2-40B4-BE49-F238E27FC236}">
                <a16:creationId xmlns:a16="http://schemas.microsoft.com/office/drawing/2014/main" id="{DE9CA1BB-81C1-3DDE-F8A7-05DEAC433832}"/>
              </a:ext>
            </a:extLst>
          </p:cNvPr>
          <p:cNvSpPr>
            <a:spLocks noGrp="1"/>
          </p:cNvSpPr>
          <p:nvPr>
            <p:ph type="body" idx="1"/>
          </p:nvPr>
        </p:nvSpPr>
        <p:spPr>
          <a:xfrm>
            <a:off x="344487" y="896797"/>
            <a:ext cx="3370263"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19" name="Group 18">
            <a:extLst>
              <a:ext uri="{FF2B5EF4-FFF2-40B4-BE49-F238E27FC236}">
                <a16:creationId xmlns:a16="http://schemas.microsoft.com/office/drawing/2014/main" id="{1C437E69-259A-4D93-85B7-739A88FCFC39}"/>
              </a:ext>
            </a:extLst>
          </p:cNvPr>
          <p:cNvGrpSpPr/>
          <p:nvPr userDrawn="1"/>
        </p:nvGrpSpPr>
        <p:grpSpPr>
          <a:xfrm>
            <a:off x="344486" y="1214416"/>
            <a:ext cx="3618001" cy="55768"/>
            <a:chOff x="344485" y="1214416"/>
            <a:chExt cx="5561015" cy="55768"/>
          </a:xfrm>
        </p:grpSpPr>
        <p:cxnSp>
          <p:nvCxnSpPr>
            <p:cNvPr id="8" name="Straight Connector 7">
              <a:extLst>
                <a:ext uri="{FF2B5EF4-FFF2-40B4-BE49-F238E27FC236}">
                  <a16:creationId xmlns:a16="http://schemas.microsoft.com/office/drawing/2014/main" id="{CBC944B2-5B81-4284-24E4-CF9E3058C579}"/>
                </a:ext>
              </a:extLst>
            </p:cNvPr>
            <p:cNvCxnSpPr>
              <a:cxnSpLocks/>
            </p:cNvCxnSpPr>
            <p:nvPr/>
          </p:nvCxnSpPr>
          <p:spPr>
            <a:xfrm>
              <a:off x="398568" y="1242300"/>
              <a:ext cx="5506932"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CA5B0CB2-7B37-3A9F-911D-9B5245C564E4}"/>
                </a:ext>
              </a:extLst>
            </p:cNvPr>
            <p:cNvSpPr/>
            <p:nvPr/>
          </p:nvSpPr>
          <p:spPr>
            <a:xfrm>
              <a:off x="344485" y="1214416"/>
              <a:ext cx="841069" cy="55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prstClr val="white"/>
                </a:solidFill>
                <a:effectLst/>
                <a:uLnTx/>
                <a:uFillTx/>
                <a:latin typeface="Segoe UI"/>
                <a:ea typeface="+mn-ea"/>
                <a:cs typeface="+mn-cs"/>
              </a:endParaRPr>
            </a:p>
          </p:txBody>
        </p:sp>
      </p:grpSp>
      <p:sp>
        <p:nvSpPr>
          <p:cNvPr id="18" name="Text Placeholder 2">
            <a:extLst>
              <a:ext uri="{FF2B5EF4-FFF2-40B4-BE49-F238E27FC236}">
                <a16:creationId xmlns:a16="http://schemas.microsoft.com/office/drawing/2014/main" id="{CE4CC8C8-0E01-4E7E-59CB-54EBC3FCD14F}"/>
              </a:ext>
            </a:extLst>
          </p:cNvPr>
          <p:cNvSpPr>
            <a:spLocks noGrp="1"/>
          </p:cNvSpPr>
          <p:nvPr>
            <p:ph type="body" idx="12"/>
          </p:nvPr>
        </p:nvSpPr>
        <p:spPr>
          <a:xfrm>
            <a:off x="4287300" y="896797"/>
            <a:ext cx="3370263"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11" name="Group 10">
            <a:extLst>
              <a:ext uri="{FF2B5EF4-FFF2-40B4-BE49-F238E27FC236}">
                <a16:creationId xmlns:a16="http://schemas.microsoft.com/office/drawing/2014/main" id="{E12FE721-4FA0-4493-AE93-A96BE344DB84}"/>
              </a:ext>
            </a:extLst>
          </p:cNvPr>
          <p:cNvGrpSpPr/>
          <p:nvPr/>
        </p:nvGrpSpPr>
        <p:grpSpPr>
          <a:xfrm>
            <a:off x="4287299" y="1214416"/>
            <a:ext cx="3618001" cy="55768"/>
            <a:chOff x="671912" y="1348872"/>
            <a:chExt cx="4897196" cy="89815"/>
          </a:xfrm>
        </p:grpSpPr>
        <p:cxnSp>
          <p:nvCxnSpPr>
            <p:cNvPr id="13" name="Straight Connector 12">
              <a:extLst>
                <a:ext uri="{FF2B5EF4-FFF2-40B4-BE49-F238E27FC236}">
                  <a16:creationId xmlns:a16="http://schemas.microsoft.com/office/drawing/2014/main" id="{BE5167E5-F310-164C-669A-06765F060FF5}"/>
                </a:ext>
              </a:extLst>
            </p:cNvPr>
            <p:cNvCxnSpPr>
              <a:cxnSpLocks/>
            </p:cNvCxnSpPr>
            <p:nvPr/>
          </p:nvCxnSpPr>
          <p:spPr>
            <a:xfrm>
              <a:off x="719538" y="1393780"/>
              <a:ext cx="4849570"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DF8EAF54-BCC1-349D-7040-16DAD0F1F9BD}"/>
                </a:ext>
              </a:extLst>
            </p:cNvPr>
            <p:cNvSpPr/>
            <p:nvPr/>
          </p:nvSpPr>
          <p:spPr>
            <a:xfrm>
              <a:off x="671912" y="1348872"/>
              <a:ext cx="740670" cy="898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prstClr val="white"/>
                </a:solidFill>
                <a:effectLst/>
                <a:uLnTx/>
                <a:uFillTx/>
                <a:latin typeface="Segoe UI"/>
                <a:ea typeface="+mn-ea"/>
                <a:cs typeface="+mn-cs"/>
              </a:endParaRPr>
            </a:p>
          </p:txBody>
        </p:sp>
      </p:grpSp>
      <p:sp>
        <p:nvSpPr>
          <p:cNvPr id="25" name="Text Placeholder 2">
            <a:extLst>
              <a:ext uri="{FF2B5EF4-FFF2-40B4-BE49-F238E27FC236}">
                <a16:creationId xmlns:a16="http://schemas.microsoft.com/office/drawing/2014/main" id="{B649D142-DF3F-46EA-7F65-9AB5205769D7}"/>
              </a:ext>
            </a:extLst>
          </p:cNvPr>
          <p:cNvSpPr>
            <a:spLocks noGrp="1"/>
          </p:cNvSpPr>
          <p:nvPr>
            <p:ph idx="15"/>
          </p:nvPr>
        </p:nvSpPr>
        <p:spPr>
          <a:xfrm>
            <a:off x="343500" y="1325878"/>
            <a:ext cx="3618900" cy="5189619"/>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3764688D-FB67-7AFC-446D-F869973432AB}"/>
              </a:ext>
            </a:extLst>
          </p:cNvPr>
          <p:cNvSpPr>
            <a:spLocks noGrp="1"/>
          </p:cNvSpPr>
          <p:nvPr>
            <p:ph idx="16"/>
          </p:nvPr>
        </p:nvSpPr>
        <p:spPr>
          <a:xfrm>
            <a:off x="4287300" y="1325878"/>
            <a:ext cx="3618000" cy="5189619"/>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20D6939C-5DEC-2D11-AA0E-C305757D107E}"/>
              </a:ext>
            </a:extLst>
          </p:cNvPr>
          <p:cNvSpPr>
            <a:spLocks noGrp="1"/>
          </p:cNvSpPr>
          <p:nvPr>
            <p:ph idx="19"/>
          </p:nvPr>
        </p:nvSpPr>
        <p:spPr>
          <a:xfrm>
            <a:off x="8230200" y="1325878"/>
            <a:ext cx="3618900" cy="5189619"/>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Text Placeholder 2">
            <a:extLst>
              <a:ext uri="{FF2B5EF4-FFF2-40B4-BE49-F238E27FC236}">
                <a16:creationId xmlns:a16="http://schemas.microsoft.com/office/drawing/2014/main" id="{702A8BC5-AA83-7195-747D-0A9E46C2B000}"/>
              </a:ext>
            </a:extLst>
          </p:cNvPr>
          <p:cNvSpPr>
            <a:spLocks noGrp="1"/>
          </p:cNvSpPr>
          <p:nvPr>
            <p:ph type="body" idx="21"/>
          </p:nvPr>
        </p:nvSpPr>
        <p:spPr>
          <a:xfrm>
            <a:off x="8230200" y="896797"/>
            <a:ext cx="3370263"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30" name="Group 29">
            <a:extLst>
              <a:ext uri="{FF2B5EF4-FFF2-40B4-BE49-F238E27FC236}">
                <a16:creationId xmlns:a16="http://schemas.microsoft.com/office/drawing/2014/main" id="{63E159CC-B1C4-FE46-4D0B-691DD4065477}"/>
              </a:ext>
            </a:extLst>
          </p:cNvPr>
          <p:cNvGrpSpPr/>
          <p:nvPr userDrawn="1"/>
        </p:nvGrpSpPr>
        <p:grpSpPr>
          <a:xfrm>
            <a:off x="8230199" y="1214416"/>
            <a:ext cx="3618001" cy="55768"/>
            <a:chOff x="671912" y="1348872"/>
            <a:chExt cx="4897196" cy="89815"/>
          </a:xfrm>
        </p:grpSpPr>
        <p:cxnSp>
          <p:nvCxnSpPr>
            <p:cNvPr id="31" name="Straight Connector 30">
              <a:extLst>
                <a:ext uri="{FF2B5EF4-FFF2-40B4-BE49-F238E27FC236}">
                  <a16:creationId xmlns:a16="http://schemas.microsoft.com/office/drawing/2014/main" id="{50477659-ED86-DCF4-C29E-348CC84BAF00}"/>
                </a:ext>
              </a:extLst>
            </p:cNvPr>
            <p:cNvCxnSpPr>
              <a:cxnSpLocks/>
            </p:cNvCxnSpPr>
            <p:nvPr/>
          </p:nvCxnSpPr>
          <p:spPr>
            <a:xfrm>
              <a:off x="719538" y="1393780"/>
              <a:ext cx="4849570"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03202133-62F1-5B1C-8121-F5BBEE137447}"/>
                </a:ext>
              </a:extLst>
            </p:cNvPr>
            <p:cNvSpPr/>
            <p:nvPr/>
          </p:nvSpPr>
          <p:spPr>
            <a:xfrm>
              <a:off x="671912" y="1348872"/>
              <a:ext cx="740670" cy="898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prstClr val="white"/>
                </a:solidFill>
                <a:effectLst/>
                <a:uLnTx/>
                <a:uFillTx/>
                <a:latin typeface="Segoe UI"/>
                <a:ea typeface="+mn-ea"/>
                <a:cs typeface="+mn-cs"/>
              </a:endParaRPr>
            </a:p>
          </p:txBody>
        </p:sp>
      </p:grpSp>
      <p:sp>
        <p:nvSpPr>
          <p:cNvPr id="37" name="Text Placeholder 5">
            <a:extLst>
              <a:ext uri="{FF2B5EF4-FFF2-40B4-BE49-F238E27FC236}">
                <a16:creationId xmlns:a16="http://schemas.microsoft.com/office/drawing/2014/main" id="{7ADBDE9C-BB7F-A493-6992-C2F568EA2D6C}"/>
              </a:ext>
            </a:extLst>
          </p:cNvPr>
          <p:cNvSpPr>
            <a:spLocks noGrp="1"/>
          </p:cNvSpPr>
          <p:nvPr>
            <p:ph type="body" sz="quarter" idx="11" hasCustomPrompt="1"/>
          </p:nvPr>
        </p:nvSpPr>
        <p:spPr>
          <a:xfrm>
            <a:off x="3319462" y="6637956"/>
            <a:ext cx="7318058" cy="157512"/>
          </a:xfrm>
        </p:spPr>
        <p:txBody>
          <a:bodyPr lIns="36000" anchor="ctr"/>
          <a:lstStyle>
            <a:lvl1pPr marL="0" indent="0">
              <a:buNone/>
              <a:defRPr sz="800">
                <a:solidFill>
                  <a:schemeClr val="bg1"/>
                </a:solidFill>
              </a:defRPr>
            </a:lvl1pPr>
          </a:lstStyle>
          <a:p>
            <a:pPr lvl="0"/>
            <a:r>
              <a:rPr lang="en-US"/>
              <a:t>Footnotes</a:t>
            </a:r>
            <a:endParaRPr lang="en-IN"/>
          </a:p>
        </p:txBody>
      </p:sp>
    </p:spTree>
    <p:extLst>
      <p:ext uri="{BB962C8B-B14F-4D97-AF65-F5344CB8AC3E}">
        <p14:creationId xmlns:p14="http://schemas.microsoft.com/office/powerpoint/2010/main" val="399859397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Header">
    <p:spTree>
      <p:nvGrpSpPr>
        <p:cNvPr id="1" name=""/>
        <p:cNvGrpSpPr/>
        <p:nvPr/>
      </p:nvGrpSpPr>
      <p:grpSpPr>
        <a:xfrm>
          <a:off x="0" y="0"/>
          <a:ext cx="0" cy="0"/>
          <a:chOff x="0" y="0"/>
          <a:chExt cx="0" cy="0"/>
        </a:xfrm>
      </p:grpSpPr>
      <p:sp>
        <p:nvSpPr>
          <p:cNvPr id="23" name="Text Placeholder 2">
            <a:extLst>
              <a:ext uri="{FF2B5EF4-FFF2-40B4-BE49-F238E27FC236}">
                <a16:creationId xmlns:a16="http://schemas.microsoft.com/office/drawing/2014/main" id="{960B2C2B-A3AF-FFDD-3DE2-E6CAC727E657}"/>
              </a:ext>
            </a:extLst>
          </p:cNvPr>
          <p:cNvSpPr>
            <a:spLocks noGrp="1"/>
          </p:cNvSpPr>
          <p:nvPr>
            <p:ph type="body" idx="13"/>
          </p:nvPr>
        </p:nvSpPr>
        <p:spPr>
          <a:xfrm>
            <a:off x="344486" y="3800417"/>
            <a:ext cx="11203200"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5" name="Title 4">
            <a:extLst>
              <a:ext uri="{FF2B5EF4-FFF2-40B4-BE49-F238E27FC236}">
                <a16:creationId xmlns:a16="http://schemas.microsoft.com/office/drawing/2014/main" id="{150D20B1-6B26-45B9-ACA1-0D8BC03871D8}"/>
              </a:ext>
            </a:extLst>
          </p:cNvPr>
          <p:cNvSpPr>
            <a:spLocks noGrp="1"/>
          </p:cNvSpPr>
          <p:nvPr>
            <p:ph type="title"/>
          </p:nvPr>
        </p:nvSpPr>
        <p:spPr>
          <a:xfrm>
            <a:off x="344487" y="88836"/>
            <a:ext cx="11504613" cy="408795"/>
          </a:xfrm>
        </p:spPr>
        <p:txBody>
          <a:bodyPr/>
          <a:lstStyle/>
          <a:p>
            <a:r>
              <a:rPr lang="en-US"/>
              <a:t>Click to edit Master title style</a:t>
            </a:r>
          </a:p>
        </p:txBody>
      </p:sp>
      <p:sp>
        <p:nvSpPr>
          <p:cNvPr id="6" name="Text Placeholder 7">
            <a:extLst>
              <a:ext uri="{FF2B5EF4-FFF2-40B4-BE49-F238E27FC236}">
                <a16:creationId xmlns:a16="http://schemas.microsoft.com/office/drawing/2014/main" id="{9B6ACBC5-8B35-4F11-B076-8EC2B9686C41}"/>
              </a:ext>
            </a:extLst>
          </p:cNvPr>
          <p:cNvSpPr>
            <a:spLocks noGrp="1"/>
          </p:cNvSpPr>
          <p:nvPr>
            <p:ph type="body" sz="quarter" idx="10"/>
          </p:nvPr>
        </p:nvSpPr>
        <p:spPr>
          <a:xfrm>
            <a:off x="344488" y="487848"/>
            <a:ext cx="11504612" cy="281861"/>
          </a:xfrm>
        </p:spPr>
        <p:txBody>
          <a:bodyPr anchor="ctr"/>
          <a:lstStyle>
            <a:lvl1pPr marL="0" indent="0" algn="l" defTabSz="914400" rtl="0" eaLnBrk="1" latinLnBrk="0" hangingPunct="1">
              <a:lnSpc>
                <a:spcPct val="90000"/>
              </a:lnSpc>
              <a:spcBef>
                <a:spcPct val="0"/>
              </a:spcBef>
              <a:buNone/>
              <a:defRPr lang="en-US" sz="1400" b="1" i="0" kern="1200" dirty="0" smtClean="0">
                <a:solidFill>
                  <a:srgbClr val="595959"/>
                </a:solidFill>
                <a:latin typeface="Segoe UI Semibold" panose="020B0702040204020203" pitchFamily="34" charset="0"/>
                <a:ea typeface="+mj-ea"/>
                <a:cs typeface="Segoe UI Semibold" panose="020B0702040204020203" pitchFamily="34" charset="0"/>
              </a:defRPr>
            </a:lvl1pPr>
            <a:lvl2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2pPr>
            <a:lvl3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3pPr>
            <a:lvl4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4pPr>
            <a:lvl5pPr marL="0" indent="0" algn="l" defTabSz="914400" rtl="0" eaLnBrk="1" latinLnBrk="0" hangingPunct="1">
              <a:lnSpc>
                <a:spcPct val="90000"/>
              </a:lnSpc>
              <a:spcBef>
                <a:spcPct val="0"/>
              </a:spcBef>
              <a:buNone/>
              <a:defRPr lang="en-IN" sz="1400" b="1" i="1" kern="1200" dirty="0">
                <a:solidFill>
                  <a:schemeClr val="bg1">
                    <a:lumMod val="50000"/>
                  </a:schemeClr>
                </a:solidFill>
                <a:latin typeface="+mj-lt"/>
                <a:ea typeface="+mj-ea"/>
                <a:cs typeface="+mj-cs"/>
              </a:defRPr>
            </a:lvl5pPr>
          </a:lstStyle>
          <a:p>
            <a:pPr lvl="0"/>
            <a:r>
              <a:rPr lang="en-US"/>
              <a:t>Click to edit Master text styles</a:t>
            </a:r>
          </a:p>
        </p:txBody>
      </p:sp>
      <p:sp>
        <p:nvSpPr>
          <p:cNvPr id="2" name="Text Placeholder 5">
            <a:extLst>
              <a:ext uri="{FF2B5EF4-FFF2-40B4-BE49-F238E27FC236}">
                <a16:creationId xmlns:a16="http://schemas.microsoft.com/office/drawing/2014/main" id="{1AAF154C-D019-928E-124D-92A3C02B9976}"/>
              </a:ext>
            </a:extLst>
          </p:cNvPr>
          <p:cNvSpPr>
            <a:spLocks noGrp="1"/>
          </p:cNvSpPr>
          <p:nvPr>
            <p:ph type="body" sz="quarter" idx="11" hasCustomPrompt="1"/>
          </p:nvPr>
        </p:nvSpPr>
        <p:spPr>
          <a:xfrm>
            <a:off x="3319462" y="6637956"/>
            <a:ext cx="7318058" cy="157512"/>
          </a:xfrm>
        </p:spPr>
        <p:txBody>
          <a:bodyPr lIns="36000" anchor="ctr"/>
          <a:lstStyle>
            <a:lvl1pPr marL="0" indent="0">
              <a:buNone/>
              <a:defRPr sz="800">
                <a:solidFill>
                  <a:schemeClr val="bg1"/>
                </a:solidFill>
              </a:defRPr>
            </a:lvl1pPr>
          </a:lstStyle>
          <a:p>
            <a:pPr lvl="0"/>
            <a:r>
              <a:rPr lang="en-US"/>
              <a:t>Footnotes</a:t>
            </a:r>
            <a:endParaRPr lang="en-IN"/>
          </a:p>
        </p:txBody>
      </p:sp>
      <p:sp>
        <p:nvSpPr>
          <p:cNvPr id="27" name="Text Placeholder 2">
            <a:extLst>
              <a:ext uri="{FF2B5EF4-FFF2-40B4-BE49-F238E27FC236}">
                <a16:creationId xmlns:a16="http://schemas.microsoft.com/office/drawing/2014/main" id="{000EC6B4-8CBA-98FE-E605-7612ED3494CF}"/>
              </a:ext>
            </a:extLst>
          </p:cNvPr>
          <p:cNvSpPr>
            <a:spLocks noGrp="1"/>
          </p:cNvSpPr>
          <p:nvPr>
            <p:ph idx="17"/>
          </p:nvPr>
        </p:nvSpPr>
        <p:spPr>
          <a:xfrm>
            <a:off x="343500" y="4229500"/>
            <a:ext cx="11505600" cy="2286000"/>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a:extLst>
              <a:ext uri="{FF2B5EF4-FFF2-40B4-BE49-F238E27FC236}">
                <a16:creationId xmlns:a16="http://schemas.microsoft.com/office/drawing/2014/main" id="{D8A1059B-28DA-8B74-C490-E699DA24DDD5}"/>
              </a:ext>
            </a:extLst>
          </p:cNvPr>
          <p:cNvSpPr>
            <a:spLocks noGrp="1"/>
          </p:cNvSpPr>
          <p:nvPr>
            <p:ph type="body" idx="1"/>
          </p:nvPr>
        </p:nvSpPr>
        <p:spPr>
          <a:xfrm>
            <a:off x="344487" y="896797"/>
            <a:ext cx="5157787"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4" name="Group 3">
            <a:extLst>
              <a:ext uri="{FF2B5EF4-FFF2-40B4-BE49-F238E27FC236}">
                <a16:creationId xmlns:a16="http://schemas.microsoft.com/office/drawing/2014/main" id="{893132ED-0F14-C9DB-8A72-D535BBD67F91}"/>
              </a:ext>
            </a:extLst>
          </p:cNvPr>
          <p:cNvGrpSpPr/>
          <p:nvPr userDrawn="1"/>
        </p:nvGrpSpPr>
        <p:grpSpPr>
          <a:xfrm>
            <a:off x="344487" y="1214416"/>
            <a:ext cx="5561013" cy="55768"/>
            <a:chOff x="344487" y="1214416"/>
            <a:chExt cx="5561013" cy="55768"/>
          </a:xfrm>
        </p:grpSpPr>
        <p:cxnSp>
          <p:nvCxnSpPr>
            <p:cNvPr id="11" name="Straight Connector 10">
              <a:extLst>
                <a:ext uri="{FF2B5EF4-FFF2-40B4-BE49-F238E27FC236}">
                  <a16:creationId xmlns:a16="http://schemas.microsoft.com/office/drawing/2014/main" id="{AE088B86-CE8B-ADF8-7C4C-EBE287D02246}"/>
                </a:ext>
              </a:extLst>
            </p:cNvPr>
            <p:cNvCxnSpPr>
              <a:cxnSpLocks/>
            </p:cNvCxnSpPr>
            <p:nvPr/>
          </p:nvCxnSpPr>
          <p:spPr>
            <a:xfrm>
              <a:off x="398568" y="1242300"/>
              <a:ext cx="5506932"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803A985A-0903-9496-CCF9-E3B1B7C513AA}"/>
                </a:ext>
              </a:extLst>
            </p:cNvPr>
            <p:cNvSpPr/>
            <p:nvPr/>
          </p:nvSpPr>
          <p:spPr>
            <a:xfrm>
              <a:off x="344487" y="1214416"/>
              <a:ext cx="545724" cy="55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prstClr val="white"/>
                </a:solidFill>
                <a:effectLst/>
                <a:uLnTx/>
                <a:uFillTx/>
                <a:latin typeface="Segoe UI"/>
                <a:ea typeface="+mn-ea"/>
                <a:cs typeface="+mn-cs"/>
              </a:endParaRPr>
            </a:p>
          </p:txBody>
        </p:sp>
      </p:grpSp>
      <p:sp>
        <p:nvSpPr>
          <p:cNvPr id="14" name="Text Placeholder 2">
            <a:extLst>
              <a:ext uri="{FF2B5EF4-FFF2-40B4-BE49-F238E27FC236}">
                <a16:creationId xmlns:a16="http://schemas.microsoft.com/office/drawing/2014/main" id="{B5B4FAE6-BB95-722B-7E2E-4AC4DC10D0B9}"/>
              </a:ext>
            </a:extLst>
          </p:cNvPr>
          <p:cNvSpPr>
            <a:spLocks noGrp="1"/>
          </p:cNvSpPr>
          <p:nvPr>
            <p:ph type="body" idx="12"/>
          </p:nvPr>
        </p:nvSpPr>
        <p:spPr>
          <a:xfrm>
            <a:off x="6288087" y="896797"/>
            <a:ext cx="5157787"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16" name="Group 15">
            <a:extLst>
              <a:ext uri="{FF2B5EF4-FFF2-40B4-BE49-F238E27FC236}">
                <a16:creationId xmlns:a16="http://schemas.microsoft.com/office/drawing/2014/main" id="{4681E46A-7F68-86EC-C52A-8E327AEF7178}"/>
              </a:ext>
            </a:extLst>
          </p:cNvPr>
          <p:cNvGrpSpPr/>
          <p:nvPr userDrawn="1"/>
        </p:nvGrpSpPr>
        <p:grpSpPr>
          <a:xfrm>
            <a:off x="6288087" y="1214416"/>
            <a:ext cx="5561013" cy="55768"/>
            <a:chOff x="671913" y="1348872"/>
            <a:chExt cx="4897195" cy="89815"/>
          </a:xfrm>
        </p:grpSpPr>
        <p:cxnSp>
          <p:nvCxnSpPr>
            <p:cNvPr id="18" name="Straight Connector 17">
              <a:extLst>
                <a:ext uri="{FF2B5EF4-FFF2-40B4-BE49-F238E27FC236}">
                  <a16:creationId xmlns:a16="http://schemas.microsoft.com/office/drawing/2014/main" id="{1BD7C016-F4B7-2D82-AC9A-38B3685F9E77}"/>
                </a:ext>
              </a:extLst>
            </p:cNvPr>
            <p:cNvCxnSpPr>
              <a:cxnSpLocks/>
            </p:cNvCxnSpPr>
            <p:nvPr/>
          </p:nvCxnSpPr>
          <p:spPr>
            <a:xfrm>
              <a:off x="719538" y="1393780"/>
              <a:ext cx="4849570"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C3C1402C-0693-B541-1682-1400EB5E997B}"/>
                </a:ext>
              </a:extLst>
            </p:cNvPr>
            <p:cNvSpPr/>
            <p:nvPr/>
          </p:nvSpPr>
          <p:spPr>
            <a:xfrm>
              <a:off x="671913" y="1348872"/>
              <a:ext cx="480581" cy="898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1" name="Text Placeholder 2">
            <a:extLst>
              <a:ext uri="{FF2B5EF4-FFF2-40B4-BE49-F238E27FC236}">
                <a16:creationId xmlns:a16="http://schemas.microsoft.com/office/drawing/2014/main" id="{570CDB18-B500-E9DC-D57F-21614160662A}"/>
              </a:ext>
            </a:extLst>
          </p:cNvPr>
          <p:cNvSpPr>
            <a:spLocks noGrp="1"/>
          </p:cNvSpPr>
          <p:nvPr>
            <p:ph idx="15"/>
          </p:nvPr>
        </p:nvSpPr>
        <p:spPr>
          <a:xfrm>
            <a:off x="343500" y="1325880"/>
            <a:ext cx="5562000" cy="2286000"/>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BADE845E-9529-9908-6212-EB422CD717C4}"/>
              </a:ext>
            </a:extLst>
          </p:cNvPr>
          <p:cNvSpPr>
            <a:spLocks noGrp="1"/>
          </p:cNvSpPr>
          <p:nvPr>
            <p:ph idx="16"/>
          </p:nvPr>
        </p:nvSpPr>
        <p:spPr>
          <a:xfrm>
            <a:off x="6287100" y="1325880"/>
            <a:ext cx="5562000" cy="2286000"/>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0" name="Group 9">
            <a:extLst>
              <a:ext uri="{FF2B5EF4-FFF2-40B4-BE49-F238E27FC236}">
                <a16:creationId xmlns:a16="http://schemas.microsoft.com/office/drawing/2014/main" id="{EBA14E75-9C64-2489-C60B-F72B47940F86}"/>
              </a:ext>
            </a:extLst>
          </p:cNvPr>
          <p:cNvGrpSpPr/>
          <p:nvPr userDrawn="1"/>
        </p:nvGrpSpPr>
        <p:grpSpPr>
          <a:xfrm>
            <a:off x="344486" y="4118036"/>
            <a:ext cx="11505600" cy="55768"/>
            <a:chOff x="344487" y="1214416"/>
            <a:chExt cx="5561013" cy="55768"/>
          </a:xfrm>
        </p:grpSpPr>
        <p:cxnSp>
          <p:nvCxnSpPr>
            <p:cNvPr id="12" name="Straight Connector 11">
              <a:extLst>
                <a:ext uri="{FF2B5EF4-FFF2-40B4-BE49-F238E27FC236}">
                  <a16:creationId xmlns:a16="http://schemas.microsoft.com/office/drawing/2014/main" id="{7002CF5F-A64F-6BF3-4035-5277E5E64224}"/>
                </a:ext>
              </a:extLst>
            </p:cNvPr>
            <p:cNvCxnSpPr>
              <a:cxnSpLocks/>
            </p:cNvCxnSpPr>
            <p:nvPr/>
          </p:nvCxnSpPr>
          <p:spPr>
            <a:xfrm>
              <a:off x="398568" y="1242300"/>
              <a:ext cx="5506932"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D4F36BCE-12B0-9512-5EB7-DD45DB107594}"/>
                </a:ext>
              </a:extLst>
            </p:cNvPr>
            <p:cNvSpPr/>
            <p:nvPr/>
          </p:nvSpPr>
          <p:spPr>
            <a:xfrm>
              <a:off x="344487" y="1214416"/>
              <a:ext cx="264479" cy="55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239813859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ree Header - 2">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50D20B1-6B26-45B9-ACA1-0D8BC03871D8}"/>
              </a:ext>
            </a:extLst>
          </p:cNvPr>
          <p:cNvSpPr>
            <a:spLocks noGrp="1"/>
          </p:cNvSpPr>
          <p:nvPr>
            <p:ph type="title"/>
          </p:nvPr>
        </p:nvSpPr>
        <p:spPr>
          <a:xfrm>
            <a:off x="344487" y="88836"/>
            <a:ext cx="11504613" cy="408795"/>
          </a:xfrm>
        </p:spPr>
        <p:txBody>
          <a:bodyPr/>
          <a:lstStyle/>
          <a:p>
            <a:r>
              <a:rPr lang="en-US"/>
              <a:t>Click to edit Master title style</a:t>
            </a:r>
          </a:p>
        </p:txBody>
      </p:sp>
      <p:sp>
        <p:nvSpPr>
          <p:cNvPr id="6" name="Text Placeholder 7">
            <a:extLst>
              <a:ext uri="{FF2B5EF4-FFF2-40B4-BE49-F238E27FC236}">
                <a16:creationId xmlns:a16="http://schemas.microsoft.com/office/drawing/2014/main" id="{9B6ACBC5-8B35-4F11-B076-8EC2B9686C41}"/>
              </a:ext>
            </a:extLst>
          </p:cNvPr>
          <p:cNvSpPr>
            <a:spLocks noGrp="1"/>
          </p:cNvSpPr>
          <p:nvPr>
            <p:ph type="body" sz="quarter" idx="10"/>
          </p:nvPr>
        </p:nvSpPr>
        <p:spPr>
          <a:xfrm>
            <a:off x="344488" y="487848"/>
            <a:ext cx="11504612" cy="281861"/>
          </a:xfrm>
        </p:spPr>
        <p:txBody>
          <a:bodyPr anchor="ctr"/>
          <a:lstStyle>
            <a:lvl1pPr marL="0" indent="0" algn="l" defTabSz="914400" rtl="0" eaLnBrk="1" latinLnBrk="0" hangingPunct="1">
              <a:lnSpc>
                <a:spcPct val="90000"/>
              </a:lnSpc>
              <a:spcBef>
                <a:spcPct val="0"/>
              </a:spcBef>
              <a:buNone/>
              <a:defRPr lang="en-US" sz="1400" b="1" i="0" kern="1200" dirty="0" smtClean="0">
                <a:solidFill>
                  <a:srgbClr val="595959"/>
                </a:solidFill>
                <a:latin typeface="Segoe UI Semibold" panose="020B0702040204020203" pitchFamily="34" charset="0"/>
                <a:ea typeface="+mj-ea"/>
                <a:cs typeface="Segoe UI Semibold" panose="020B0702040204020203" pitchFamily="34" charset="0"/>
              </a:defRPr>
            </a:lvl1pPr>
            <a:lvl2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2pPr>
            <a:lvl3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3pPr>
            <a:lvl4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4pPr>
            <a:lvl5pPr marL="0" indent="0" algn="l" defTabSz="914400" rtl="0" eaLnBrk="1" latinLnBrk="0" hangingPunct="1">
              <a:lnSpc>
                <a:spcPct val="90000"/>
              </a:lnSpc>
              <a:spcBef>
                <a:spcPct val="0"/>
              </a:spcBef>
              <a:buNone/>
              <a:defRPr lang="en-IN" sz="1400" b="1" i="1" kern="1200" dirty="0">
                <a:solidFill>
                  <a:schemeClr val="bg1">
                    <a:lumMod val="50000"/>
                  </a:schemeClr>
                </a:solidFill>
                <a:latin typeface="+mj-lt"/>
                <a:ea typeface="+mj-ea"/>
                <a:cs typeface="+mj-cs"/>
              </a:defRPr>
            </a:lvl5pPr>
          </a:lstStyle>
          <a:p>
            <a:pPr lvl="0"/>
            <a:r>
              <a:rPr lang="en-US"/>
              <a:t>Click to edit Master text styles</a:t>
            </a:r>
          </a:p>
        </p:txBody>
      </p:sp>
      <p:sp>
        <p:nvSpPr>
          <p:cNvPr id="8" name="Text Placeholder 2">
            <a:extLst>
              <a:ext uri="{FF2B5EF4-FFF2-40B4-BE49-F238E27FC236}">
                <a16:creationId xmlns:a16="http://schemas.microsoft.com/office/drawing/2014/main" id="{9B980E67-3143-FEB0-2ADE-D495611217D2}"/>
              </a:ext>
            </a:extLst>
          </p:cNvPr>
          <p:cNvSpPr>
            <a:spLocks noGrp="1"/>
          </p:cNvSpPr>
          <p:nvPr>
            <p:ph type="body" idx="1"/>
          </p:nvPr>
        </p:nvSpPr>
        <p:spPr>
          <a:xfrm>
            <a:off x="344487" y="896797"/>
            <a:ext cx="11202353"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9" name="Group 8">
            <a:extLst>
              <a:ext uri="{FF2B5EF4-FFF2-40B4-BE49-F238E27FC236}">
                <a16:creationId xmlns:a16="http://schemas.microsoft.com/office/drawing/2014/main" id="{D5075BD3-89A8-BD66-B990-8C5C8BF24DE8}"/>
              </a:ext>
            </a:extLst>
          </p:cNvPr>
          <p:cNvGrpSpPr/>
          <p:nvPr userDrawn="1"/>
        </p:nvGrpSpPr>
        <p:grpSpPr>
          <a:xfrm>
            <a:off x="344486" y="1214416"/>
            <a:ext cx="11505600" cy="55768"/>
            <a:chOff x="344487" y="1214416"/>
            <a:chExt cx="5561013" cy="55768"/>
          </a:xfrm>
        </p:grpSpPr>
        <p:cxnSp>
          <p:nvCxnSpPr>
            <p:cNvPr id="17" name="Straight Connector 16">
              <a:extLst>
                <a:ext uri="{FF2B5EF4-FFF2-40B4-BE49-F238E27FC236}">
                  <a16:creationId xmlns:a16="http://schemas.microsoft.com/office/drawing/2014/main" id="{13A7490D-AA01-8B1C-B30C-74570B55C7C9}"/>
                </a:ext>
              </a:extLst>
            </p:cNvPr>
            <p:cNvCxnSpPr>
              <a:cxnSpLocks/>
            </p:cNvCxnSpPr>
            <p:nvPr/>
          </p:nvCxnSpPr>
          <p:spPr>
            <a:xfrm>
              <a:off x="398568" y="1242300"/>
              <a:ext cx="5506932"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B22425A8-A8B8-A42D-9044-C07FF39DDB19}"/>
                </a:ext>
              </a:extLst>
            </p:cNvPr>
            <p:cNvSpPr/>
            <p:nvPr/>
          </p:nvSpPr>
          <p:spPr>
            <a:xfrm>
              <a:off x="344487" y="1214416"/>
              <a:ext cx="264479" cy="55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prstClr val="white"/>
                </a:solidFill>
                <a:effectLst/>
                <a:uLnTx/>
                <a:uFillTx/>
                <a:latin typeface="Segoe UI"/>
                <a:ea typeface="+mn-ea"/>
                <a:cs typeface="+mn-cs"/>
              </a:endParaRPr>
            </a:p>
          </p:txBody>
        </p:sp>
      </p:grpSp>
      <p:sp>
        <p:nvSpPr>
          <p:cNvPr id="23" name="Text Placeholder 2">
            <a:extLst>
              <a:ext uri="{FF2B5EF4-FFF2-40B4-BE49-F238E27FC236}">
                <a16:creationId xmlns:a16="http://schemas.microsoft.com/office/drawing/2014/main" id="{836E93AB-1504-A8D0-4F0C-6238B1CC8E10}"/>
              </a:ext>
            </a:extLst>
          </p:cNvPr>
          <p:cNvSpPr>
            <a:spLocks noGrp="1"/>
          </p:cNvSpPr>
          <p:nvPr>
            <p:ph idx="15"/>
          </p:nvPr>
        </p:nvSpPr>
        <p:spPr>
          <a:xfrm>
            <a:off x="343500" y="1325880"/>
            <a:ext cx="11505600" cy="2286000"/>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FD670B5C-A521-B775-848E-0CA96BF4A812}"/>
              </a:ext>
            </a:extLst>
          </p:cNvPr>
          <p:cNvSpPr>
            <a:spLocks noGrp="1"/>
          </p:cNvSpPr>
          <p:nvPr>
            <p:ph type="body" idx="13"/>
          </p:nvPr>
        </p:nvSpPr>
        <p:spPr>
          <a:xfrm>
            <a:off x="344487" y="3800417"/>
            <a:ext cx="5157787"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25" name="Group 24">
            <a:extLst>
              <a:ext uri="{FF2B5EF4-FFF2-40B4-BE49-F238E27FC236}">
                <a16:creationId xmlns:a16="http://schemas.microsoft.com/office/drawing/2014/main" id="{0A5763FB-0486-337E-4AA9-23EB27F79258}"/>
              </a:ext>
            </a:extLst>
          </p:cNvPr>
          <p:cNvGrpSpPr/>
          <p:nvPr userDrawn="1"/>
        </p:nvGrpSpPr>
        <p:grpSpPr>
          <a:xfrm>
            <a:off x="344487" y="4118036"/>
            <a:ext cx="5561013" cy="55768"/>
            <a:chOff x="344487" y="1214416"/>
            <a:chExt cx="5561013" cy="55768"/>
          </a:xfrm>
        </p:grpSpPr>
        <p:cxnSp>
          <p:nvCxnSpPr>
            <p:cNvPr id="26" name="Straight Connector 25">
              <a:extLst>
                <a:ext uri="{FF2B5EF4-FFF2-40B4-BE49-F238E27FC236}">
                  <a16:creationId xmlns:a16="http://schemas.microsoft.com/office/drawing/2014/main" id="{7FB08237-9F89-A49E-69B7-C8A0B5EC987F}"/>
                </a:ext>
              </a:extLst>
            </p:cNvPr>
            <p:cNvCxnSpPr>
              <a:cxnSpLocks/>
            </p:cNvCxnSpPr>
            <p:nvPr/>
          </p:nvCxnSpPr>
          <p:spPr>
            <a:xfrm>
              <a:off x="398568" y="1242300"/>
              <a:ext cx="5506932"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D867A3A3-4F97-C5B0-875D-E459441CDF3B}"/>
                </a:ext>
              </a:extLst>
            </p:cNvPr>
            <p:cNvSpPr/>
            <p:nvPr/>
          </p:nvSpPr>
          <p:spPr>
            <a:xfrm>
              <a:off x="344487" y="1214416"/>
              <a:ext cx="545724" cy="55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9" name="Text Placeholder 2">
            <a:extLst>
              <a:ext uri="{FF2B5EF4-FFF2-40B4-BE49-F238E27FC236}">
                <a16:creationId xmlns:a16="http://schemas.microsoft.com/office/drawing/2014/main" id="{F2613B46-E084-8A98-E099-69758417F756}"/>
              </a:ext>
            </a:extLst>
          </p:cNvPr>
          <p:cNvSpPr>
            <a:spLocks noGrp="1"/>
          </p:cNvSpPr>
          <p:nvPr>
            <p:ph type="body" idx="14"/>
          </p:nvPr>
        </p:nvSpPr>
        <p:spPr>
          <a:xfrm>
            <a:off x="6288087" y="3800417"/>
            <a:ext cx="5157787"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30" name="Group 29">
            <a:extLst>
              <a:ext uri="{FF2B5EF4-FFF2-40B4-BE49-F238E27FC236}">
                <a16:creationId xmlns:a16="http://schemas.microsoft.com/office/drawing/2014/main" id="{6410B51E-311C-BDD5-2E3A-CE1946D10E84}"/>
              </a:ext>
            </a:extLst>
          </p:cNvPr>
          <p:cNvGrpSpPr/>
          <p:nvPr userDrawn="1"/>
        </p:nvGrpSpPr>
        <p:grpSpPr>
          <a:xfrm>
            <a:off x="6288087" y="4118036"/>
            <a:ext cx="5561013" cy="55768"/>
            <a:chOff x="671913" y="1348872"/>
            <a:chExt cx="4897195" cy="89815"/>
          </a:xfrm>
        </p:grpSpPr>
        <p:cxnSp>
          <p:nvCxnSpPr>
            <p:cNvPr id="31" name="Straight Connector 30">
              <a:extLst>
                <a:ext uri="{FF2B5EF4-FFF2-40B4-BE49-F238E27FC236}">
                  <a16:creationId xmlns:a16="http://schemas.microsoft.com/office/drawing/2014/main" id="{F895D631-F959-63D6-CADE-60D9D6A4AD35}"/>
                </a:ext>
              </a:extLst>
            </p:cNvPr>
            <p:cNvCxnSpPr>
              <a:cxnSpLocks/>
            </p:cNvCxnSpPr>
            <p:nvPr/>
          </p:nvCxnSpPr>
          <p:spPr>
            <a:xfrm>
              <a:off x="719538" y="1393780"/>
              <a:ext cx="4849570"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F2B67D7A-F453-67BD-3108-D1699D780DE2}"/>
                </a:ext>
              </a:extLst>
            </p:cNvPr>
            <p:cNvSpPr/>
            <p:nvPr/>
          </p:nvSpPr>
          <p:spPr>
            <a:xfrm>
              <a:off x="671913" y="1348872"/>
              <a:ext cx="480581" cy="898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prstClr val="white"/>
                </a:solidFill>
                <a:effectLst/>
                <a:uLnTx/>
                <a:uFillTx/>
                <a:latin typeface="Segoe UI"/>
                <a:ea typeface="+mn-ea"/>
                <a:cs typeface="+mn-cs"/>
              </a:endParaRPr>
            </a:p>
          </p:txBody>
        </p:sp>
      </p:grpSp>
      <p:sp>
        <p:nvSpPr>
          <p:cNvPr id="33" name="Text Placeholder 2">
            <a:extLst>
              <a:ext uri="{FF2B5EF4-FFF2-40B4-BE49-F238E27FC236}">
                <a16:creationId xmlns:a16="http://schemas.microsoft.com/office/drawing/2014/main" id="{F1AAE546-A934-62C3-C490-47D53728FB4D}"/>
              </a:ext>
            </a:extLst>
          </p:cNvPr>
          <p:cNvSpPr>
            <a:spLocks noGrp="1"/>
          </p:cNvSpPr>
          <p:nvPr>
            <p:ph idx="17"/>
          </p:nvPr>
        </p:nvSpPr>
        <p:spPr>
          <a:xfrm>
            <a:off x="343500" y="4229500"/>
            <a:ext cx="5562000" cy="2286000"/>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ext Placeholder 2">
            <a:extLst>
              <a:ext uri="{FF2B5EF4-FFF2-40B4-BE49-F238E27FC236}">
                <a16:creationId xmlns:a16="http://schemas.microsoft.com/office/drawing/2014/main" id="{735367DA-B3DE-865C-B1E1-75522F9CD31E}"/>
              </a:ext>
            </a:extLst>
          </p:cNvPr>
          <p:cNvSpPr>
            <a:spLocks noGrp="1"/>
          </p:cNvSpPr>
          <p:nvPr>
            <p:ph idx="18"/>
          </p:nvPr>
        </p:nvSpPr>
        <p:spPr>
          <a:xfrm>
            <a:off x="6287100" y="4229500"/>
            <a:ext cx="5562000" cy="2286000"/>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ext Placeholder 5">
            <a:extLst>
              <a:ext uri="{FF2B5EF4-FFF2-40B4-BE49-F238E27FC236}">
                <a16:creationId xmlns:a16="http://schemas.microsoft.com/office/drawing/2014/main" id="{0FAA8A59-09C6-6AFD-A255-042C23B5B2AE}"/>
              </a:ext>
            </a:extLst>
          </p:cNvPr>
          <p:cNvSpPr>
            <a:spLocks noGrp="1"/>
          </p:cNvSpPr>
          <p:nvPr>
            <p:ph type="body" sz="quarter" idx="11" hasCustomPrompt="1"/>
          </p:nvPr>
        </p:nvSpPr>
        <p:spPr>
          <a:xfrm>
            <a:off x="3319462" y="6637956"/>
            <a:ext cx="7318058" cy="157512"/>
          </a:xfrm>
        </p:spPr>
        <p:txBody>
          <a:bodyPr lIns="36000" anchor="ctr"/>
          <a:lstStyle>
            <a:lvl1pPr marL="0" indent="0">
              <a:buNone/>
              <a:defRPr sz="800">
                <a:solidFill>
                  <a:schemeClr val="bg1"/>
                </a:solidFill>
              </a:defRPr>
            </a:lvl1pPr>
          </a:lstStyle>
          <a:p>
            <a:pPr lvl="0"/>
            <a:r>
              <a:rPr lang="en-US"/>
              <a:t>Footnotes</a:t>
            </a:r>
            <a:endParaRPr lang="en-IN"/>
          </a:p>
        </p:txBody>
      </p:sp>
    </p:spTree>
    <p:extLst>
      <p:ext uri="{BB962C8B-B14F-4D97-AF65-F5344CB8AC3E}">
        <p14:creationId xmlns:p14="http://schemas.microsoft.com/office/powerpoint/2010/main" val="33550984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ur Header">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50D20B1-6B26-45B9-ACA1-0D8BC03871D8}"/>
              </a:ext>
            </a:extLst>
          </p:cNvPr>
          <p:cNvSpPr>
            <a:spLocks noGrp="1"/>
          </p:cNvSpPr>
          <p:nvPr>
            <p:ph type="title"/>
          </p:nvPr>
        </p:nvSpPr>
        <p:spPr>
          <a:xfrm>
            <a:off x="344487" y="88836"/>
            <a:ext cx="11504613" cy="408795"/>
          </a:xfrm>
        </p:spPr>
        <p:txBody>
          <a:bodyPr/>
          <a:lstStyle/>
          <a:p>
            <a:r>
              <a:rPr lang="en-US"/>
              <a:t>Click to edit Master title style</a:t>
            </a:r>
          </a:p>
        </p:txBody>
      </p:sp>
      <p:sp>
        <p:nvSpPr>
          <p:cNvPr id="6" name="Text Placeholder 7">
            <a:extLst>
              <a:ext uri="{FF2B5EF4-FFF2-40B4-BE49-F238E27FC236}">
                <a16:creationId xmlns:a16="http://schemas.microsoft.com/office/drawing/2014/main" id="{9B6ACBC5-8B35-4F11-B076-8EC2B9686C41}"/>
              </a:ext>
            </a:extLst>
          </p:cNvPr>
          <p:cNvSpPr>
            <a:spLocks noGrp="1"/>
          </p:cNvSpPr>
          <p:nvPr>
            <p:ph type="body" sz="quarter" idx="10"/>
          </p:nvPr>
        </p:nvSpPr>
        <p:spPr>
          <a:xfrm>
            <a:off x="344488" y="487848"/>
            <a:ext cx="11504612" cy="281861"/>
          </a:xfrm>
        </p:spPr>
        <p:txBody>
          <a:bodyPr anchor="ctr"/>
          <a:lstStyle>
            <a:lvl1pPr marL="0" indent="0" algn="l" defTabSz="914400" rtl="0" eaLnBrk="1" latinLnBrk="0" hangingPunct="1">
              <a:lnSpc>
                <a:spcPct val="90000"/>
              </a:lnSpc>
              <a:spcBef>
                <a:spcPct val="0"/>
              </a:spcBef>
              <a:buNone/>
              <a:defRPr lang="en-US" sz="1400" b="1" i="0" kern="1200" dirty="0" smtClean="0">
                <a:solidFill>
                  <a:srgbClr val="595959"/>
                </a:solidFill>
                <a:latin typeface="Segoe UI Semibold" panose="020B0702040204020203" pitchFamily="34" charset="0"/>
                <a:ea typeface="+mj-ea"/>
                <a:cs typeface="Segoe UI Semibold" panose="020B0702040204020203" pitchFamily="34" charset="0"/>
              </a:defRPr>
            </a:lvl1pPr>
            <a:lvl2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2pPr>
            <a:lvl3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3pPr>
            <a:lvl4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4pPr>
            <a:lvl5pPr marL="0" indent="0" algn="l" defTabSz="914400" rtl="0" eaLnBrk="1" latinLnBrk="0" hangingPunct="1">
              <a:lnSpc>
                <a:spcPct val="90000"/>
              </a:lnSpc>
              <a:spcBef>
                <a:spcPct val="0"/>
              </a:spcBef>
              <a:buNone/>
              <a:defRPr lang="en-IN" sz="1400" b="1" i="1" kern="1200" dirty="0">
                <a:solidFill>
                  <a:schemeClr val="bg1">
                    <a:lumMod val="50000"/>
                  </a:schemeClr>
                </a:solidFill>
                <a:latin typeface="+mj-lt"/>
                <a:ea typeface="+mj-ea"/>
                <a:cs typeface="+mj-cs"/>
              </a:defRPr>
            </a:lvl5pPr>
          </a:lstStyle>
          <a:p>
            <a:pPr lvl="0"/>
            <a:r>
              <a:rPr lang="en-US"/>
              <a:t>Click to edit Master text styles</a:t>
            </a:r>
          </a:p>
        </p:txBody>
      </p:sp>
      <p:sp>
        <p:nvSpPr>
          <p:cNvPr id="2" name="Text Placeholder 5">
            <a:extLst>
              <a:ext uri="{FF2B5EF4-FFF2-40B4-BE49-F238E27FC236}">
                <a16:creationId xmlns:a16="http://schemas.microsoft.com/office/drawing/2014/main" id="{1AAF154C-D019-928E-124D-92A3C02B9976}"/>
              </a:ext>
            </a:extLst>
          </p:cNvPr>
          <p:cNvSpPr>
            <a:spLocks noGrp="1"/>
          </p:cNvSpPr>
          <p:nvPr>
            <p:ph type="body" sz="quarter" idx="11" hasCustomPrompt="1"/>
          </p:nvPr>
        </p:nvSpPr>
        <p:spPr>
          <a:xfrm>
            <a:off x="3319462" y="6637956"/>
            <a:ext cx="7318058" cy="157512"/>
          </a:xfrm>
        </p:spPr>
        <p:txBody>
          <a:bodyPr lIns="36000" anchor="ctr"/>
          <a:lstStyle>
            <a:lvl1pPr marL="0" indent="0">
              <a:buNone/>
              <a:defRPr sz="800">
                <a:solidFill>
                  <a:schemeClr val="bg1"/>
                </a:solidFill>
              </a:defRPr>
            </a:lvl1pPr>
          </a:lstStyle>
          <a:p>
            <a:pPr lvl="0"/>
            <a:r>
              <a:rPr lang="en-US"/>
              <a:t>Footnotes</a:t>
            </a:r>
            <a:endParaRPr lang="en-IN"/>
          </a:p>
        </p:txBody>
      </p:sp>
      <p:sp>
        <p:nvSpPr>
          <p:cNvPr id="17" name="Text Placeholder 2">
            <a:extLst>
              <a:ext uri="{FF2B5EF4-FFF2-40B4-BE49-F238E27FC236}">
                <a16:creationId xmlns:a16="http://schemas.microsoft.com/office/drawing/2014/main" id="{DE9CA1BB-81C1-3DDE-F8A7-05DEAC433832}"/>
              </a:ext>
            </a:extLst>
          </p:cNvPr>
          <p:cNvSpPr>
            <a:spLocks noGrp="1"/>
          </p:cNvSpPr>
          <p:nvPr>
            <p:ph type="body" idx="1"/>
          </p:nvPr>
        </p:nvSpPr>
        <p:spPr>
          <a:xfrm>
            <a:off x="344487" y="896797"/>
            <a:ext cx="5157787"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19" name="Group 18">
            <a:extLst>
              <a:ext uri="{FF2B5EF4-FFF2-40B4-BE49-F238E27FC236}">
                <a16:creationId xmlns:a16="http://schemas.microsoft.com/office/drawing/2014/main" id="{1C437E69-259A-4D93-85B7-739A88FCFC39}"/>
              </a:ext>
            </a:extLst>
          </p:cNvPr>
          <p:cNvGrpSpPr/>
          <p:nvPr userDrawn="1"/>
        </p:nvGrpSpPr>
        <p:grpSpPr>
          <a:xfrm>
            <a:off x="344487" y="1214416"/>
            <a:ext cx="5561013" cy="55768"/>
            <a:chOff x="344487" y="1214416"/>
            <a:chExt cx="5561013" cy="55768"/>
          </a:xfrm>
        </p:grpSpPr>
        <p:cxnSp>
          <p:nvCxnSpPr>
            <p:cNvPr id="8" name="Straight Connector 7">
              <a:extLst>
                <a:ext uri="{FF2B5EF4-FFF2-40B4-BE49-F238E27FC236}">
                  <a16:creationId xmlns:a16="http://schemas.microsoft.com/office/drawing/2014/main" id="{CBC944B2-5B81-4284-24E4-CF9E3058C579}"/>
                </a:ext>
              </a:extLst>
            </p:cNvPr>
            <p:cNvCxnSpPr>
              <a:cxnSpLocks/>
            </p:cNvCxnSpPr>
            <p:nvPr/>
          </p:nvCxnSpPr>
          <p:spPr>
            <a:xfrm>
              <a:off x="398568" y="1242300"/>
              <a:ext cx="5506932"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CA5B0CB2-7B37-3A9F-911D-9B5245C564E4}"/>
                </a:ext>
              </a:extLst>
            </p:cNvPr>
            <p:cNvSpPr/>
            <p:nvPr/>
          </p:nvSpPr>
          <p:spPr>
            <a:xfrm>
              <a:off x="344487" y="1214416"/>
              <a:ext cx="545724" cy="55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prstClr val="white"/>
                </a:solidFill>
                <a:effectLst/>
                <a:uLnTx/>
                <a:uFillTx/>
                <a:latin typeface="Segoe UI"/>
                <a:ea typeface="+mn-ea"/>
                <a:cs typeface="+mn-cs"/>
              </a:endParaRPr>
            </a:p>
          </p:txBody>
        </p:sp>
      </p:grpSp>
      <p:sp>
        <p:nvSpPr>
          <p:cNvPr id="18" name="Text Placeholder 2">
            <a:extLst>
              <a:ext uri="{FF2B5EF4-FFF2-40B4-BE49-F238E27FC236}">
                <a16:creationId xmlns:a16="http://schemas.microsoft.com/office/drawing/2014/main" id="{CE4CC8C8-0E01-4E7E-59CB-54EBC3FCD14F}"/>
              </a:ext>
            </a:extLst>
          </p:cNvPr>
          <p:cNvSpPr>
            <a:spLocks noGrp="1"/>
          </p:cNvSpPr>
          <p:nvPr>
            <p:ph type="body" idx="12"/>
          </p:nvPr>
        </p:nvSpPr>
        <p:spPr>
          <a:xfrm>
            <a:off x="6288087" y="896797"/>
            <a:ext cx="5157787"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11" name="Group 10">
            <a:extLst>
              <a:ext uri="{FF2B5EF4-FFF2-40B4-BE49-F238E27FC236}">
                <a16:creationId xmlns:a16="http://schemas.microsoft.com/office/drawing/2014/main" id="{E12FE721-4FA0-4493-AE93-A96BE344DB84}"/>
              </a:ext>
            </a:extLst>
          </p:cNvPr>
          <p:cNvGrpSpPr/>
          <p:nvPr/>
        </p:nvGrpSpPr>
        <p:grpSpPr>
          <a:xfrm>
            <a:off x="6288087" y="1214416"/>
            <a:ext cx="5561013" cy="55768"/>
            <a:chOff x="671913" y="1348872"/>
            <a:chExt cx="4897195" cy="89815"/>
          </a:xfrm>
        </p:grpSpPr>
        <p:cxnSp>
          <p:nvCxnSpPr>
            <p:cNvPr id="13" name="Straight Connector 12">
              <a:extLst>
                <a:ext uri="{FF2B5EF4-FFF2-40B4-BE49-F238E27FC236}">
                  <a16:creationId xmlns:a16="http://schemas.microsoft.com/office/drawing/2014/main" id="{BE5167E5-F310-164C-669A-06765F060FF5}"/>
                </a:ext>
              </a:extLst>
            </p:cNvPr>
            <p:cNvCxnSpPr>
              <a:cxnSpLocks/>
            </p:cNvCxnSpPr>
            <p:nvPr/>
          </p:nvCxnSpPr>
          <p:spPr>
            <a:xfrm>
              <a:off x="719538" y="1393780"/>
              <a:ext cx="4849570"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DF8EAF54-BCC1-349D-7040-16DAD0F1F9BD}"/>
                </a:ext>
              </a:extLst>
            </p:cNvPr>
            <p:cNvSpPr/>
            <p:nvPr/>
          </p:nvSpPr>
          <p:spPr>
            <a:xfrm>
              <a:off x="671913" y="1348872"/>
              <a:ext cx="480581" cy="898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prstClr val="white"/>
                </a:solidFill>
                <a:effectLst/>
                <a:uLnTx/>
                <a:uFillTx/>
                <a:latin typeface="Segoe UI"/>
                <a:ea typeface="+mn-ea"/>
                <a:cs typeface="+mn-cs"/>
              </a:endParaRPr>
            </a:p>
          </p:txBody>
        </p:sp>
      </p:grpSp>
      <p:sp>
        <p:nvSpPr>
          <p:cNvPr id="7" name="Text Placeholder 2">
            <a:extLst>
              <a:ext uri="{FF2B5EF4-FFF2-40B4-BE49-F238E27FC236}">
                <a16:creationId xmlns:a16="http://schemas.microsoft.com/office/drawing/2014/main" id="{8A0CA280-7199-E0B4-DCEC-E0B35AF66275}"/>
              </a:ext>
            </a:extLst>
          </p:cNvPr>
          <p:cNvSpPr>
            <a:spLocks noGrp="1"/>
          </p:cNvSpPr>
          <p:nvPr>
            <p:ph type="body" idx="13"/>
          </p:nvPr>
        </p:nvSpPr>
        <p:spPr>
          <a:xfrm>
            <a:off x="344487" y="3800417"/>
            <a:ext cx="5157787"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10" name="Group 9">
            <a:extLst>
              <a:ext uri="{FF2B5EF4-FFF2-40B4-BE49-F238E27FC236}">
                <a16:creationId xmlns:a16="http://schemas.microsoft.com/office/drawing/2014/main" id="{EBA14E75-9C64-2489-C60B-F72B47940F86}"/>
              </a:ext>
            </a:extLst>
          </p:cNvPr>
          <p:cNvGrpSpPr/>
          <p:nvPr userDrawn="1"/>
        </p:nvGrpSpPr>
        <p:grpSpPr>
          <a:xfrm>
            <a:off x="344487" y="4118036"/>
            <a:ext cx="5561013" cy="55768"/>
            <a:chOff x="344487" y="1214416"/>
            <a:chExt cx="5561013" cy="55768"/>
          </a:xfrm>
        </p:grpSpPr>
        <p:cxnSp>
          <p:nvCxnSpPr>
            <p:cNvPr id="12" name="Straight Connector 11">
              <a:extLst>
                <a:ext uri="{FF2B5EF4-FFF2-40B4-BE49-F238E27FC236}">
                  <a16:creationId xmlns:a16="http://schemas.microsoft.com/office/drawing/2014/main" id="{7002CF5F-A64F-6BF3-4035-5277E5E64224}"/>
                </a:ext>
              </a:extLst>
            </p:cNvPr>
            <p:cNvCxnSpPr>
              <a:cxnSpLocks/>
            </p:cNvCxnSpPr>
            <p:nvPr/>
          </p:nvCxnSpPr>
          <p:spPr>
            <a:xfrm>
              <a:off x="398568" y="1242300"/>
              <a:ext cx="5506932"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D4F36BCE-12B0-9512-5EB7-DD45DB107594}"/>
                </a:ext>
              </a:extLst>
            </p:cNvPr>
            <p:cNvSpPr/>
            <p:nvPr/>
          </p:nvSpPr>
          <p:spPr>
            <a:xfrm>
              <a:off x="344487" y="1214416"/>
              <a:ext cx="545724" cy="55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prstClr val="white"/>
                </a:solidFill>
                <a:effectLst/>
                <a:uLnTx/>
                <a:uFillTx/>
                <a:latin typeface="Segoe UI"/>
                <a:ea typeface="+mn-ea"/>
                <a:cs typeface="+mn-cs"/>
              </a:endParaRPr>
            </a:p>
          </p:txBody>
        </p:sp>
      </p:grpSp>
      <p:sp>
        <p:nvSpPr>
          <p:cNvPr id="16" name="Text Placeholder 2">
            <a:extLst>
              <a:ext uri="{FF2B5EF4-FFF2-40B4-BE49-F238E27FC236}">
                <a16:creationId xmlns:a16="http://schemas.microsoft.com/office/drawing/2014/main" id="{8E735704-3BE9-AACC-6906-FD5C2AE28FAE}"/>
              </a:ext>
            </a:extLst>
          </p:cNvPr>
          <p:cNvSpPr>
            <a:spLocks noGrp="1"/>
          </p:cNvSpPr>
          <p:nvPr>
            <p:ph type="body" idx="14"/>
          </p:nvPr>
        </p:nvSpPr>
        <p:spPr>
          <a:xfrm>
            <a:off x="6288087" y="3800417"/>
            <a:ext cx="5157787"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20" name="Group 19">
            <a:extLst>
              <a:ext uri="{FF2B5EF4-FFF2-40B4-BE49-F238E27FC236}">
                <a16:creationId xmlns:a16="http://schemas.microsoft.com/office/drawing/2014/main" id="{F604C4E9-A2F3-9795-488C-11DF6A5B07DC}"/>
              </a:ext>
            </a:extLst>
          </p:cNvPr>
          <p:cNvGrpSpPr/>
          <p:nvPr userDrawn="1"/>
        </p:nvGrpSpPr>
        <p:grpSpPr>
          <a:xfrm>
            <a:off x="6288087" y="4118036"/>
            <a:ext cx="5561013" cy="55768"/>
            <a:chOff x="671913" y="1348872"/>
            <a:chExt cx="4897195" cy="89815"/>
          </a:xfrm>
        </p:grpSpPr>
        <p:cxnSp>
          <p:nvCxnSpPr>
            <p:cNvPr id="21" name="Straight Connector 20">
              <a:extLst>
                <a:ext uri="{FF2B5EF4-FFF2-40B4-BE49-F238E27FC236}">
                  <a16:creationId xmlns:a16="http://schemas.microsoft.com/office/drawing/2014/main" id="{0AB343CC-86EF-AABA-5242-1DC3E262C31A}"/>
                </a:ext>
              </a:extLst>
            </p:cNvPr>
            <p:cNvCxnSpPr>
              <a:cxnSpLocks/>
            </p:cNvCxnSpPr>
            <p:nvPr/>
          </p:nvCxnSpPr>
          <p:spPr>
            <a:xfrm>
              <a:off x="719538" y="1393780"/>
              <a:ext cx="4849570"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BF2B6539-B769-607C-6721-39DED3D307DD}"/>
                </a:ext>
              </a:extLst>
            </p:cNvPr>
            <p:cNvSpPr/>
            <p:nvPr/>
          </p:nvSpPr>
          <p:spPr>
            <a:xfrm>
              <a:off x="671913" y="1348872"/>
              <a:ext cx="480581" cy="898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5" name="Text Placeholder 2">
            <a:extLst>
              <a:ext uri="{FF2B5EF4-FFF2-40B4-BE49-F238E27FC236}">
                <a16:creationId xmlns:a16="http://schemas.microsoft.com/office/drawing/2014/main" id="{B649D142-DF3F-46EA-7F65-9AB5205769D7}"/>
              </a:ext>
            </a:extLst>
          </p:cNvPr>
          <p:cNvSpPr>
            <a:spLocks noGrp="1"/>
          </p:cNvSpPr>
          <p:nvPr>
            <p:ph idx="15"/>
          </p:nvPr>
        </p:nvSpPr>
        <p:spPr>
          <a:xfrm>
            <a:off x="343500" y="1325880"/>
            <a:ext cx="5562000" cy="2286000"/>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3764688D-FB67-7AFC-446D-F869973432AB}"/>
              </a:ext>
            </a:extLst>
          </p:cNvPr>
          <p:cNvSpPr>
            <a:spLocks noGrp="1"/>
          </p:cNvSpPr>
          <p:nvPr>
            <p:ph idx="16"/>
          </p:nvPr>
        </p:nvSpPr>
        <p:spPr>
          <a:xfrm>
            <a:off x="6287100" y="1325880"/>
            <a:ext cx="5562000" cy="2286000"/>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 Placeholder 2">
            <a:extLst>
              <a:ext uri="{FF2B5EF4-FFF2-40B4-BE49-F238E27FC236}">
                <a16:creationId xmlns:a16="http://schemas.microsoft.com/office/drawing/2014/main" id="{000EC6B4-8CBA-98FE-E605-7612ED3494CF}"/>
              </a:ext>
            </a:extLst>
          </p:cNvPr>
          <p:cNvSpPr>
            <a:spLocks noGrp="1"/>
          </p:cNvSpPr>
          <p:nvPr>
            <p:ph idx="17"/>
          </p:nvPr>
        </p:nvSpPr>
        <p:spPr>
          <a:xfrm>
            <a:off x="343500" y="4229500"/>
            <a:ext cx="5562000" cy="2286000"/>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ext Placeholder 2">
            <a:extLst>
              <a:ext uri="{FF2B5EF4-FFF2-40B4-BE49-F238E27FC236}">
                <a16:creationId xmlns:a16="http://schemas.microsoft.com/office/drawing/2014/main" id="{1C816339-DE76-873B-F192-13A6C88801E1}"/>
              </a:ext>
            </a:extLst>
          </p:cNvPr>
          <p:cNvSpPr>
            <a:spLocks noGrp="1"/>
          </p:cNvSpPr>
          <p:nvPr>
            <p:ph idx="18"/>
          </p:nvPr>
        </p:nvSpPr>
        <p:spPr>
          <a:xfrm>
            <a:off x="6287100" y="4229500"/>
            <a:ext cx="5562000" cy="2286000"/>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1511055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ive Header">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50D20B1-6B26-45B9-ACA1-0D8BC03871D8}"/>
              </a:ext>
            </a:extLst>
          </p:cNvPr>
          <p:cNvSpPr>
            <a:spLocks noGrp="1"/>
          </p:cNvSpPr>
          <p:nvPr>
            <p:ph type="title"/>
          </p:nvPr>
        </p:nvSpPr>
        <p:spPr>
          <a:xfrm>
            <a:off x="344487" y="88836"/>
            <a:ext cx="11504613" cy="408795"/>
          </a:xfrm>
        </p:spPr>
        <p:txBody>
          <a:bodyPr/>
          <a:lstStyle/>
          <a:p>
            <a:r>
              <a:rPr lang="en-US"/>
              <a:t>Click to edit Master title style</a:t>
            </a:r>
          </a:p>
        </p:txBody>
      </p:sp>
      <p:sp>
        <p:nvSpPr>
          <p:cNvPr id="6" name="Text Placeholder 7">
            <a:extLst>
              <a:ext uri="{FF2B5EF4-FFF2-40B4-BE49-F238E27FC236}">
                <a16:creationId xmlns:a16="http://schemas.microsoft.com/office/drawing/2014/main" id="{9B6ACBC5-8B35-4F11-B076-8EC2B9686C41}"/>
              </a:ext>
            </a:extLst>
          </p:cNvPr>
          <p:cNvSpPr>
            <a:spLocks noGrp="1"/>
          </p:cNvSpPr>
          <p:nvPr>
            <p:ph type="body" sz="quarter" idx="10"/>
          </p:nvPr>
        </p:nvSpPr>
        <p:spPr>
          <a:xfrm>
            <a:off x="344488" y="487848"/>
            <a:ext cx="11504612" cy="281861"/>
          </a:xfrm>
        </p:spPr>
        <p:txBody>
          <a:bodyPr anchor="ctr"/>
          <a:lstStyle>
            <a:lvl1pPr marL="0" indent="0" algn="l" defTabSz="914400" rtl="0" eaLnBrk="1" latinLnBrk="0" hangingPunct="1">
              <a:lnSpc>
                <a:spcPct val="90000"/>
              </a:lnSpc>
              <a:spcBef>
                <a:spcPct val="0"/>
              </a:spcBef>
              <a:buNone/>
              <a:defRPr lang="en-US" sz="1400" b="1" i="0" kern="1200" dirty="0" smtClean="0">
                <a:solidFill>
                  <a:srgbClr val="595959"/>
                </a:solidFill>
                <a:latin typeface="Segoe UI Semibold" panose="020B0702040204020203" pitchFamily="34" charset="0"/>
                <a:ea typeface="+mj-ea"/>
                <a:cs typeface="Segoe UI Semibold" panose="020B0702040204020203" pitchFamily="34" charset="0"/>
              </a:defRPr>
            </a:lvl1pPr>
            <a:lvl2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2pPr>
            <a:lvl3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3pPr>
            <a:lvl4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4pPr>
            <a:lvl5pPr marL="0" indent="0" algn="l" defTabSz="914400" rtl="0" eaLnBrk="1" latinLnBrk="0" hangingPunct="1">
              <a:lnSpc>
                <a:spcPct val="90000"/>
              </a:lnSpc>
              <a:spcBef>
                <a:spcPct val="0"/>
              </a:spcBef>
              <a:buNone/>
              <a:defRPr lang="en-IN" sz="1400" b="1" i="1" kern="1200" dirty="0">
                <a:solidFill>
                  <a:schemeClr val="bg1">
                    <a:lumMod val="50000"/>
                  </a:schemeClr>
                </a:solidFill>
                <a:latin typeface="+mj-lt"/>
                <a:ea typeface="+mj-ea"/>
                <a:cs typeface="+mj-cs"/>
              </a:defRPr>
            </a:lvl5pPr>
          </a:lstStyle>
          <a:p>
            <a:pPr lvl="0"/>
            <a:r>
              <a:rPr lang="en-US"/>
              <a:t>Click to edit Master text styles</a:t>
            </a:r>
          </a:p>
        </p:txBody>
      </p:sp>
      <p:sp>
        <p:nvSpPr>
          <p:cNvPr id="17" name="Text Placeholder 2">
            <a:extLst>
              <a:ext uri="{FF2B5EF4-FFF2-40B4-BE49-F238E27FC236}">
                <a16:creationId xmlns:a16="http://schemas.microsoft.com/office/drawing/2014/main" id="{DE9CA1BB-81C1-3DDE-F8A7-05DEAC433832}"/>
              </a:ext>
            </a:extLst>
          </p:cNvPr>
          <p:cNvSpPr>
            <a:spLocks noGrp="1"/>
          </p:cNvSpPr>
          <p:nvPr>
            <p:ph type="body" idx="1"/>
          </p:nvPr>
        </p:nvSpPr>
        <p:spPr>
          <a:xfrm>
            <a:off x="344487" y="896797"/>
            <a:ext cx="5157787"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19" name="Group 18">
            <a:extLst>
              <a:ext uri="{FF2B5EF4-FFF2-40B4-BE49-F238E27FC236}">
                <a16:creationId xmlns:a16="http://schemas.microsoft.com/office/drawing/2014/main" id="{1C437E69-259A-4D93-85B7-739A88FCFC39}"/>
              </a:ext>
            </a:extLst>
          </p:cNvPr>
          <p:cNvGrpSpPr/>
          <p:nvPr userDrawn="1"/>
        </p:nvGrpSpPr>
        <p:grpSpPr>
          <a:xfrm>
            <a:off x="344487" y="1214416"/>
            <a:ext cx="5561013" cy="55768"/>
            <a:chOff x="344487" y="1214416"/>
            <a:chExt cx="5561013" cy="55768"/>
          </a:xfrm>
        </p:grpSpPr>
        <p:cxnSp>
          <p:nvCxnSpPr>
            <p:cNvPr id="8" name="Straight Connector 7">
              <a:extLst>
                <a:ext uri="{FF2B5EF4-FFF2-40B4-BE49-F238E27FC236}">
                  <a16:creationId xmlns:a16="http://schemas.microsoft.com/office/drawing/2014/main" id="{CBC944B2-5B81-4284-24E4-CF9E3058C579}"/>
                </a:ext>
              </a:extLst>
            </p:cNvPr>
            <p:cNvCxnSpPr>
              <a:cxnSpLocks/>
            </p:cNvCxnSpPr>
            <p:nvPr/>
          </p:nvCxnSpPr>
          <p:spPr>
            <a:xfrm>
              <a:off x="398568" y="1242300"/>
              <a:ext cx="5506932"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CA5B0CB2-7B37-3A9F-911D-9B5245C564E4}"/>
                </a:ext>
              </a:extLst>
            </p:cNvPr>
            <p:cNvSpPr/>
            <p:nvPr/>
          </p:nvSpPr>
          <p:spPr>
            <a:xfrm>
              <a:off x="344487" y="1214416"/>
              <a:ext cx="545724" cy="55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prstClr val="white"/>
                </a:solidFill>
                <a:effectLst/>
                <a:uLnTx/>
                <a:uFillTx/>
                <a:latin typeface="Segoe UI"/>
                <a:ea typeface="+mn-ea"/>
                <a:cs typeface="+mn-cs"/>
              </a:endParaRPr>
            </a:p>
          </p:txBody>
        </p:sp>
      </p:grpSp>
      <p:sp>
        <p:nvSpPr>
          <p:cNvPr id="18" name="Text Placeholder 2">
            <a:extLst>
              <a:ext uri="{FF2B5EF4-FFF2-40B4-BE49-F238E27FC236}">
                <a16:creationId xmlns:a16="http://schemas.microsoft.com/office/drawing/2014/main" id="{CE4CC8C8-0E01-4E7E-59CB-54EBC3FCD14F}"/>
              </a:ext>
            </a:extLst>
          </p:cNvPr>
          <p:cNvSpPr>
            <a:spLocks noGrp="1"/>
          </p:cNvSpPr>
          <p:nvPr>
            <p:ph type="body" idx="12"/>
          </p:nvPr>
        </p:nvSpPr>
        <p:spPr>
          <a:xfrm>
            <a:off x="6288087" y="896797"/>
            <a:ext cx="5157787"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11" name="Group 10">
            <a:extLst>
              <a:ext uri="{FF2B5EF4-FFF2-40B4-BE49-F238E27FC236}">
                <a16:creationId xmlns:a16="http://schemas.microsoft.com/office/drawing/2014/main" id="{E12FE721-4FA0-4493-AE93-A96BE344DB84}"/>
              </a:ext>
            </a:extLst>
          </p:cNvPr>
          <p:cNvGrpSpPr/>
          <p:nvPr/>
        </p:nvGrpSpPr>
        <p:grpSpPr>
          <a:xfrm>
            <a:off x="6288087" y="1214416"/>
            <a:ext cx="5561013" cy="55768"/>
            <a:chOff x="671913" y="1348872"/>
            <a:chExt cx="4897195" cy="89815"/>
          </a:xfrm>
        </p:grpSpPr>
        <p:cxnSp>
          <p:nvCxnSpPr>
            <p:cNvPr id="13" name="Straight Connector 12">
              <a:extLst>
                <a:ext uri="{FF2B5EF4-FFF2-40B4-BE49-F238E27FC236}">
                  <a16:creationId xmlns:a16="http://schemas.microsoft.com/office/drawing/2014/main" id="{BE5167E5-F310-164C-669A-06765F060FF5}"/>
                </a:ext>
              </a:extLst>
            </p:cNvPr>
            <p:cNvCxnSpPr>
              <a:cxnSpLocks/>
            </p:cNvCxnSpPr>
            <p:nvPr/>
          </p:nvCxnSpPr>
          <p:spPr>
            <a:xfrm>
              <a:off x="719538" y="1393780"/>
              <a:ext cx="4849570"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DF8EAF54-BCC1-349D-7040-16DAD0F1F9BD}"/>
                </a:ext>
              </a:extLst>
            </p:cNvPr>
            <p:cNvSpPr/>
            <p:nvPr/>
          </p:nvSpPr>
          <p:spPr>
            <a:xfrm>
              <a:off x="671913" y="1348872"/>
              <a:ext cx="480581" cy="898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5" name="Text Placeholder 2">
            <a:extLst>
              <a:ext uri="{FF2B5EF4-FFF2-40B4-BE49-F238E27FC236}">
                <a16:creationId xmlns:a16="http://schemas.microsoft.com/office/drawing/2014/main" id="{B649D142-DF3F-46EA-7F65-9AB5205769D7}"/>
              </a:ext>
            </a:extLst>
          </p:cNvPr>
          <p:cNvSpPr>
            <a:spLocks noGrp="1"/>
          </p:cNvSpPr>
          <p:nvPr>
            <p:ph idx="15"/>
          </p:nvPr>
        </p:nvSpPr>
        <p:spPr>
          <a:xfrm>
            <a:off x="343500" y="1325880"/>
            <a:ext cx="5562000" cy="2286000"/>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3764688D-FB67-7AFC-446D-F869973432AB}"/>
              </a:ext>
            </a:extLst>
          </p:cNvPr>
          <p:cNvSpPr>
            <a:spLocks noGrp="1"/>
          </p:cNvSpPr>
          <p:nvPr>
            <p:ph idx="16"/>
          </p:nvPr>
        </p:nvSpPr>
        <p:spPr>
          <a:xfrm>
            <a:off x="6287100" y="1325880"/>
            <a:ext cx="5562000" cy="2286000"/>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5">
            <a:extLst>
              <a:ext uri="{FF2B5EF4-FFF2-40B4-BE49-F238E27FC236}">
                <a16:creationId xmlns:a16="http://schemas.microsoft.com/office/drawing/2014/main" id="{5331A6C0-771A-F12B-3912-709F82150FEF}"/>
              </a:ext>
            </a:extLst>
          </p:cNvPr>
          <p:cNvSpPr>
            <a:spLocks noGrp="1"/>
          </p:cNvSpPr>
          <p:nvPr>
            <p:ph type="body" sz="quarter" idx="11" hasCustomPrompt="1"/>
          </p:nvPr>
        </p:nvSpPr>
        <p:spPr>
          <a:xfrm>
            <a:off x="3319462" y="6637956"/>
            <a:ext cx="7318058" cy="157512"/>
          </a:xfrm>
        </p:spPr>
        <p:txBody>
          <a:bodyPr lIns="36000" anchor="ctr"/>
          <a:lstStyle>
            <a:lvl1pPr marL="0" indent="0">
              <a:buNone/>
              <a:defRPr sz="800">
                <a:solidFill>
                  <a:schemeClr val="bg1"/>
                </a:solidFill>
              </a:defRPr>
            </a:lvl1pPr>
          </a:lstStyle>
          <a:p>
            <a:pPr lvl="0"/>
            <a:r>
              <a:rPr lang="en-US"/>
              <a:t>Footnotes</a:t>
            </a:r>
            <a:endParaRPr lang="en-IN"/>
          </a:p>
        </p:txBody>
      </p:sp>
      <p:sp>
        <p:nvSpPr>
          <p:cNvPr id="4" name="Text Placeholder 2">
            <a:extLst>
              <a:ext uri="{FF2B5EF4-FFF2-40B4-BE49-F238E27FC236}">
                <a16:creationId xmlns:a16="http://schemas.microsoft.com/office/drawing/2014/main" id="{802CA6A0-9B1C-5252-3706-D6306E0CD393}"/>
              </a:ext>
            </a:extLst>
          </p:cNvPr>
          <p:cNvSpPr>
            <a:spLocks noGrp="1"/>
          </p:cNvSpPr>
          <p:nvPr>
            <p:ph type="body" idx="13"/>
          </p:nvPr>
        </p:nvSpPr>
        <p:spPr>
          <a:xfrm>
            <a:off x="344487" y="3800417"/>
            <a:ext cx="3370263"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23" name="Group 22">
            <a:extLst>
              <a:ext uri="{FF2B5EF4-FFF2-40B4-BE49-F238E27FC236}">
                <a16:creationId xmlns:a16="http://schemas.microsoft.com/office/drawing/2014/main" id="{FBE73058-963B-F33D-77FF-F29346E1AB0C}"/>
              </a:ext>
            </a:extLst>
          </p:cNvPr>
          <p:cNvGrpSpPr/>
          <p:nvPr userDrawn="1"/>
        </p:nvGrpSpPr>
        <p:grpSpPr>
          <a:xfrm>
            <a:off x="344486" y="4118036"/>
            <a:ext cx="3618001" cy="55768"/>
            <a:chOff x="344485" y="1214416"/>
            <a:chExt cx="5561015" cy="55768"/>
          </a:xfrm>
        </p:grpSpPr>
        <p:cxnSp>
          <p:nvCxnSpPr>
            <p:cNvPr id="24" name="Straight Connector 23">
              <a:extLst>
                <a:ext uri="{FF2B5EF4-FFF2-40B4-BE49-F238E27FC236}">
                  <a16:creationId xmlns:a16="http://schemas.microsoft.com/office/drawing/2014/main" id="{4BB284FB-23ED-A5B5-A31A-F3B68323E72A}"/>
                </a:ext>
              </a:extLst>
            </p:cNvPr>
            <p:cNvCxnSpPr>
              <a:cxnSpLocks/>
            </p:cNvCxnSpPr>
            <p:nvPr/>
          </p:nvCxnSpPr>
          <p:spPr>
            <a:xfrm>
              <a:off x="398568" y="1242300"/>
              <a:ext cx="5506932"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CD95A288-AD08-64F8-8FD5-96000C61BF56}"/>
                </a:ext>
              </a:extLst>
            </p:cNvPr>
            <p:cNvSpPr/>
            <p:nvPr/>
          </p:nvSpPr>
          <p:spPr>
            <a:xfrm>
              <a:off x="344485" y="1214416"/>
              <a:ext cx="841069" cy="55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prstClr val="white"/>
                </a:solidFill>
                <a:effectLst/>
                <a:uLnTx/>
                <a:uFillTx/>
                <a:latin typeface="Segoe UI"/>
                <a:ea typeface="+mn-ea"/>
                <a:cs typeface="+mn-cs"/>
              </a:endParaRPr>
            </a:p>
          </p:txBody>
        </p:sp>
      </p:grpSp>
      <p:sp>
        <p:nvSpPr>
          <p:cNvPr id="30" name="Text Placeholder 2">
            <a:extLst>
              <a:ext uri="{FF2B5EF4-FFF2-40B4-BE49-F238E27FC236}">
                <a16:creationId xmlns:a16="http://schemas.microsoft.com/office/drawing/2014/main" id="{D0592C29-F5C9-4D61-71F0-38BC8F265A48}"/>
              </a:ext>
            </a:extLst>
          </p:cNvPr>
          <p:cNvSpPr>
            <a:spLocks noGrp="1"/>
          </p:cNvSpPr>
          <p:nvPr>
            <p:ph type="body" idx="14"/>
          </p:nvPr>
        </p:nvSpPr>
        <p:spPr>
          <a:xfrm>
            <a:off x="4287300" y="3800417"/>
            <a:ext cx="3370263"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31" name="Group 30">
            <a:extLst>
              <a:ext uri="{FF2B5EF4-FFF2-40B4-BE49-F238E27FC236}">
                <a16:creationId xmlns:a16="http://schemas.microsoft.com/office/drawing/2014/main" id="{D1AE4677-5572-7A52-AC62-B71162059263}"/>
              </a:ext>
            </a:extLst>
          </p:cNvPr>
          <p:cNvGrpSpPr/>
          <p:nvPr userDrawn="1"/>
        </p:nvGrpSpPr>
        <p:grpSpPr>
          <a:xfrm>
            <a:off x="4287299" y="4118036"/>
            <a:ext cx="3618001" cy="55768"/>
            <a:chOff x="671912" y="1348872"/>
            <a:chExt cx="4897196" cy="89815"/>
          </a:xfrm>
        </p:grpSpPr>
        <p:cxnSp>
          <p:nvCxnSpPr>
            <p:cNvPr id="32" name="Straight Connector 31">
              <a:extLst>
                <a:ext uri="{FF2B5EF4-FFF2-40B4-BE49-F238E27FC236}">
                  <a16:creationId xmlns:a16="http://schemas.microsoft.com/office/drawing/2014/main" id="{432C657C-8F5A-9BBC-875E-047BECB3C13B}"/>
                </a:ext>
              </a:extLst>
            </p:cNvPr>
            <p:cNvCxnSpPr>
              <a:cxnSpLocks/>
            </p:cNvCxnSpPr>
            <p:nvPr/>
          </p:nvCxnSpPr>
          <p:spPr>
            <a:xfrm>
              <a:off x="719538" y="1393780"/>
              <a:ext cx="4849570"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4CCCCF51-7CC9-AAFC-7153-4B7B09593C31}"/>
                </a:ext>
              </a:extLst>
            </p:cNvPr>
            <p:cNvSpPr/>
            <p:nvPr/>
          </p:nvSpPr>
          <p:spPr>
            <a:xfrm>
              <a:off x="671912" y="1348872"/>
              <a:ext cx="740670" cy="898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prstClr val="white"/>
                </a:solidFill>
                <a:effectLst/>
                <a:uLnTx/>
                <a:uFillTx/>
                <a:latin typeface="Segoe UI"/>
                <a:ea typeface="+mn-ea"/>
                <a:cs typeface="+mn-cs"/>
              </a:endParaRPr>
            </a:p>
          </p:txBody>
        </p:sp>
      </p:grpSp>
      <p:sp>
        <p:nvSpPr>
          <p:cNvPr id="34" name="Text Placeholder 2">
            <a:extLst>
              <a:ext uri="{FF2B5EF4-FFF2-40B4-BE49-F238E27FC236}">
                <a16:creationId xmlns:a16="http://schemas.microsoft.com/office/drawing/2014/main" id="{5A1CD408-8560-3B13-2EC8-A2619EFDB259}"/>
              </a:ext>
            </a:extLst>
          </p:cNvPr>
          <p:cNvSpPr>
            <a:spLocks noGrp="1"/>
          </p:cNvSpPr>
          <p:nvPr>
            <p:ph idx="17"/>
          </p:nvPr>
        </p:nvSpPr>
        <p:spPr>
          <a:xfrm>
            <a:off x="343500" y="4229500"/>
            <a:ext cx="3618900" cy="2286000"/>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5" name="Text Placeholder 2">
            <a:extLst>
              <a:ext uri="{FF2B5EF4-FFF2-40B4-BE49-F238E27FC236}">
                <a16:creationId xmlns:a16="http://schemas.microsoft.com/office/drawing/2014/main" id="{05EBB6DC-4C1B-2E95-5010-CE8B23FD19D7}"/>
              </a:ext>
            </a:extLst>
          </p:cNvPr>
          <p:cNvSpPr>
            <a:spLocks noGrp="1"/>
          </p:cNvSpPr>
          <p:nvPr>
            <p:ph idx="18"/>
          </p:nvPr>
        </p:nvSpPr>
        <p:spPr>
          <a:xfrm>
            <a:off x="8230200" y="4229500"/>
            <a:ext cx="3618900" cy="2286000"/>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6" name="Text Placeholder 2">
            <a:extLst>
              <a:ext uri="{FF2B5EF4-FFF2-40B4-BE49-F238E27FC236}">
                <a16:creationId xmlns:a16="http://schemas.microsoft.com/office/drawing/2014/main" id="{86BA42FF-76AC-6C9E-2AB8-7450E54E9DB7}"/>
              </a:ext>
            </a:extLst>
          </p:cNvPr>
          <p:cNvSpPr>
            <a:spLocks noGrp="1"/>
          </p:cNvSpPr>
          <p:nvPr>
            <p:ph idx="20"/>
          </p:nvPr>
        </p:nvSpPr>
        <p:spPr>
          <a:xfrm>
            <a:off x="4286400" y="4229500"/>
            <a:ext cx="3618900" cy="2286000"/>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7" name="Text Placeholder 2">
            <a:extLst>
              <a:ext uri="{FF2B5EF4-FFF2-40B4-BE49-F238E27FC236}">
                <a16:creationId xmlns:a16="http://schemas.microsoft.com/office/drawing/2014/main" id="{24D02C34-9A09-2778-AB7D-537E0A99BB34}"/>
              </a:ext>
            </a:extLst>
          </p:cNvPr>
          <p:cNvSpPr>
            <a:spLocks noGrp="1"/>
          </p:cNvSpPr>
          <p:nvPr>
            <p:ph type="body" idx="22"/>
          </p:nvPr>
        </p:nvSpPr>
        <p:spPr>
          <a:xfrm>
            <a:off x="8230200" y="3800417"/>
            <a:ext cx="3370263"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38" name="Group 37">
            <a:extLst>
              <a:ext uri="{FF2B5EF4-FFF2-40B4-BE49-F238E27FC236}">
                <a16:creationId xmlns:a16="http://schemas.microsoft.com/office/drawing/2014/main" id="{A265DAFD-9030-75FC-9110-F80A22D09E92}"/>
              </a:ext>
            </a:extLst>
          </p:cNvPr>
          <p:cNvGrpSpPr/>
          <p:nvPr userDrawn="1"/>
        </p:nvGrpSpPr>
        <p:grpSpPr>
          <a:xfrm>
            <a:off x="8230199" y="4118036"/>
            <a:ext cx="3618001" cy="55768"/>
            <a:chOff x="671912" y="1348872"/>
            <a:chExt cx="4897196" cy="89815"/>
          </a:xfrm>
        </p:grpSpPr>
        <p:cxnSp>
          <p:nvCxnSpPr>
            <p:cNvPr id="39" name="Straight Connector 38">
              <a:extLst>
                <a:ext uri="{FF2B5EF4-FFF2-40B4-BE49-F238E27FC236}">
                  <a16:creationId xmlns:a16="http://schemas.microsoft.com/office/drawing/2014/main" id="{99F76A62-5721-392D-57B8-4F0A35F33984}"/>
                </a:ext>
              </a:extLst>
            </p:cNvPr>
            <p:cNvCxnSpPr>
              <a:cxnSpLocks/>
            </p:cNvCxnSpPr>
            <p:nvPr/>
          </p:nvCxnSpPr>
          <p:spPr>
            <a:xfrm>
              <a:off x="719538" y="1393780"/>
              <a:ext cx="4849570"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EE985E43-F051-A4FB-2659-1A276BF55D00}"/>
                </a:ext>
              </a:extLst>
            </p:cNvPr>
            <p:cNvSpPr/>
            <p:nvPr/>
          </p:nvSpPr>
          <p:spPr>
            <a:xfrm>
              <a:off x="671912" y="1348872"/>
              <a:ext cx="740670" cy="898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173161801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Five Header">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50D20B1-6B26-45B9-ACA1-0D8BC03871D8}"/>
              </a:ext>
            </a:extLst>
          </p:cNvPr>
          <p:cNvSpPr>
            <a:spLocks noGrp="1"/>
          </p:cNvSpPr>
          <p:nvPr>
            <p:ph type="title"/>
          </p:nvPr>
        </p:nvSpPr>
        <p:spPr>
          <a:xfrm>
            <a:off x="344487" y="88836"/>
            <a:ext cx="11504613" cy="408795"/>
          </a:xfrm>
        </p:spPr>
        <p:txBody>
          <a:bodyPr/>
          <a:lstStyle/>
          <a:p>
            <a:r>
              <a:rPr lang="en-US"/>
              <a:t>Click to edit Master title style</a:t>
            </a:r>
          </a:p>
        </p:txBody>
      </p:sp>
      <p:sp>
        <p:nvSpPr>
          <p:cNvPr id="6" name="Text Placeholder 7">
            <a:extLst>
              <a:ext uri="{FF2B5EF4-FFF2-40B4-BE49-F238E27FC236}">
                <a16:creationId xmlns:a16="http://schemas.microsoft.com/office/drawing/2014/main" id="{9B6ACBC5-8B35-4F11-B076-8EC2B9686C41}"/>
              </a:ext>
            </a:extLst>
          </p:cNvPr>
          <p:cNvSpPr>
            <a:spLocks noGrp="1"/>
          </p:cNvSpPr>
          <p:nvPr>
            <p:ph type="body" sz="quarter" idx="10"/>
          </p:nvPr>
        </p:nvSpPr>
        <p:spPr>
          <a:xfrm>
            <a:off x="344488" y="487848"/>
            <a:ext cx="11504612" cy="281861"/>
          </a:xfrm>
        </p:spPr>
        <p:txBody>
          <a:bodyPr anchor="ctr"/>
          <a:lstStyle>
            <a:lvl1pPr marL="0" indent="0" algn="l" defTabSz="914400" rtl="0" eaLnBrk="1" latinLnBrk="0" hangingPunct="1">
              <a:lnSpc>
                <a:spcPct val="90000"/>
              </a:lnSpc>
              <a:spcBef>
                <a:spcPct val="0"/>
              </a:spcBef>
              <a:buNone/>
              <a:defRPr lang="en-US" sz="1400" b="1" i="0" kern="1200" dirty="0" smtClean="0">
                <a:solidFill>
                  <a:srgbClr val="595959"/>
                </a:solidFill>
                <a:latin typeface="Segoe UI Semibold" panose="020B0702040204020203" pitchFamily="34" charset="0"/>
                <a:ea typeface="+mj-ea"/>
                <a:cs typeface="Segoe UI Semibold" panose="020B0702040204020203" pitchFamily="34" charset="0"/>
              </a:defRPr>
            </a:lvl1pPr>
            <a:lvl2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2pPr>
            <a:lvl3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3pPr>
            <a:lvl4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4pPr>
            <a:lvl5pPr marL="0" indent="0" algn="l" defTabSz="914400" rtl="0" eaLnBrk="1" latinLnBrk="0" hangingPunct="1">
              <a:lnSpc>
                <a:spcPct val="90000"/>
              </a:lnSpc>
              <a:spcBef>
                <a:spcPct val="0"/>
              </a:spcBef>
              <a:buNone/>
              <a:defRPr lang="en-IN" sz="1400" b="1" i="1" kern="1200" dirty="0">
                <a:solidFill>
                  <a:schemeClr val="bg1">
                    <a:lumMod val="50000"/>
                  </a:schemeClr>
                </a:solidFill>
                <a:latin typeface="+mj-lt"/>
                <a:ea typeface="+mj-ea"/>
                <a:cs typeface="+mj-cs"/>
              </a:defRPr>
            </a:lvl5pPr>
          </a:lstStyle>
          <a:p>
            <a:pPr lvl="0"/>
            <a:r>
              <a:rPr lang="en-US"/>
              <a:t>Click to edit Master text styles</a:t>
            </a:r>
          </a:p>
        </p:txBody>
      </p:sp>
      <p:sp>
        <p:nvSpPr>
          <p:cNvPr id="3" name="Text Placeholder 5">
            <a:extLst>
              <a:ext uri="{FF2B5EF4-FFF2-40B4-BE49-F238E27FC236}">
                <a16:creationId xmlns:a16="http://schemas.microsoft.com/office/drawing/2014/main" id="{5331A6C0-771A-F12B-3912-709F82150FEF}"/>
              </a:ext>
            </a:extLst>
          </p:cNvPr>
          <p:cNvSpPr>
            <a:spLocks noGrp="1"/>
          </p:cNvSpPr>
          <p:nvPr>
            <p:ph type="body" sz="quarter" idx="11" hasCustomPrompt="1"/>
          </p:nvPr>
        </p:nvSpPr>
        <p:spPr>
          <a:xfrm>
            <a:off x="3319462" y="6637956"/>
            <a:ext cx="7318058" cy="157512"/>
          </a:xfrm>
        </p:spPr>
        <p:txBody>
          <a:bodyPr lIns="36000" anchor="ctr"/>
          <a:lstStyle>
            <a:lvl1pPr marL="0" indent="0">
              <a:buNone/>
              <a:defRPr sz="800">
                <a:solidFill>
                  <a:schemeClr val="bg1"/>
                </a:solidFill>
              </a:defRPr>
            </a:lvl1pPr>
          </a:lstStyle>
          <a:p>
            <a:pPr lvl="0"/>
            <a:r>
              <a:rPr lang="en-US"/>
              <a:t>Footnotes</a:t>
            </a:r>
            <a:endParaRPr lang="en-IN"/>
          </a:p>
        </p:txBody>
      </p:sp>
      <p:sp>
        <p:nvSpPr>
          <p:cNvPr id="2" name="Text Placeholder 2">
            <a:extLst>
              <a:ext uri="{FF2B5EF4-FFF2-40B4-BE49-F238E27FC236}">
                <a16:creationId xmlns:a16="http://schemas.microsoft.com/office/drawing/2014/main" id="{AA90B863-4A4C-696B-A373-64BB87B93A34}"/>
              </a:ext>
            </a:extLst>
          </p:cNvPr>
          <p:cNvSpPr>
            <a:spLocks noGrp="1"/>
          </p:cNvSpPr>
          <p:nvPr>
            <p:ph type="body" idx="1"/>
          </p:nvPr>
        </p:nvSpPr>
        <p:spPr>
          <a:xfrm>
            <a:off x="592137" y="2102405"/>
            <a:ext cx="3370263"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7" name="Group 6">
            <a:extLst>
              <a:ext uri="{FF2B5EF4-FFF2-40B4-BE49-F238E27FC236}">
                <a16:creationId xmlns:a16="http://schemas.microsoft.com/office/drawing/2014/main" id="{B0F29BF2-C255-1C7D-FCA9-5F42AA7B8145}"/>
              </a:ext>
            </a:extLst>
          </p:cNvPr>
          <p:cNvGrpSpPr/>
          <p:nvPr userDrawn="1"/>
        </p:nvGrpSpPr>
        <p:grpSpPr>
          <a:xfrm>
            <a:off x="399467" y="1527166"/>
            <a:ext cx="3618001" cy="55768"/>
            <a:chOff x="344485" y="1214416"/>
            <a:chExt cx="5561015" cy="55768"/>
          </a:xfrm>
        </p:grpSpPr>
        <p:cxnSp>
          <p:nvCxnSpPr>
            <p:cNvPr id="10" name="Straight Connector 9">
              <a:extLst>
                <a:ext uri="{FF2B5EF4-FFF2-40B4-BE49-F238E27FC236}">
                  <a16:creationId xmlns:a16="http://schemas.microsoft.com/office/drawing/2014/main" id="{14B83ED3-2328-9ED5-4DB5-F6AD5E965550}"/>
                </a:ext>
              </a:extLst>
            </p:cNvPr>
            <p:cNvCxnSpPr>
              <a:cxnSpLocks/>
            </p:cNvCxnSpPr>
            <p:nvPr/>
          </p:nvCxnSpPr>
          <p:spPr>
            <a:xfrm>
              <a:off x="398568" y="1242300"/>
              <a:ext cx="5506932"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ABC47093-729B-845A-7BD5-F08544811E1E}"/>
                </a:ext>
              </a:extLst>
            </p:cNvPr>
            <p:cNvSpPr/>
            <p:nvPr/>
          </p:nvSpPr>
          <p:spPr>
            <a:xfrm>
              <a:off x="344485" y="1214416"/>
              <a:ext cx="841069" cy="55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prstClr val="white"/>
                </a:solidFill>
                <a:effectLst/>
                <a:uLnTx/>
                <a:uFillTx/>
                <a:latin typeface="Segoe UI"/>
                <a:ea typeface="+mn-ea"/>
                <a:cs typeface="+mn-cs"/>
              </a:endParaRPr>
            </a:p>
          </p:txBody>
        </p:sp>
      </p:grpSp>
      <p:sp>
        <p:nvSpPr>
          <p:cNvPr id="15" name="Text Placeholder 2">
            <a:extLst>
              <a:ext uri="{FF2B5EF4-FFF2-40B4-BE49-F238E27FC236}">
                <a16:creationId xmlns:a16="http://schemas.microsoft.com/office/drawing/2014/main" id="{F0A38175-5435-0C14-647D-58B41B5E05D3}"/>
              </a:ext>
            </a:extLst>
          </p:cNvPr>
          <p:cNvSpPr>
            <a:spLocks noGrp="1"/>
          </p:cNvSpPr>
          <p:nvPr>
            <p:ph type="body" idx="12"/>
          </p:nvPr>
        </p:nvSpPr>
        <p:spPr>
          <a:xfrm>
            <a:off x="4287300" y="896797"/>
            <a:ext cx="3370263"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16" name="Group 15">
            <a:extLst>
              <a:ext uri="{FF2B5EF4-FFF2-40B4-BE49-F238E27FC236}">
                <a16:creationId xmlns:a16="http://schemas.microsoft.com/office/drawing/2014/main" id="{934B66B6-E8B4-DC77-0491-A42F9135E4EE}"/>
              </a:ext>
            </a:extLst>
          </p:cNvPr>
          <p:cNvGrpSpPr/>
          <p:nvPr userDrawn="1"/>
        </p:nvGrpSpPr>
        <p:grpSpPr>
          <a:xfrm>
            <a:off x="4287299" y="1214416"/>
            <a:ext cx="3618001" cy="55768"/>
            <a:chOff x="671912" y="1348872"/>
            <a:chExt cx="4897196" cy="89815"/>
          </a:xfrm>
        </p:grpSpPr>
        <p:cxnSp>
          <p:nvCxnSpPr>
            <p:cNvPr id="20" name="Straight Connector 19">
              <a:extLst>
                <a:ext uri="{FF2B5EF4-FFF2-40B4-BE49-F238E27FC236}">
                  <a16:creationId xmlns:a16="http://schemas.microsoft.com/office/drawing/2014/main" id="{69B416AB-2840-67BF-FEC9-49B222049204}"/>
                </a:ext>
              </a:extLst>
            </p:cNvPr>
            <p:cNvCxnSpPr>
              <a:cxnSpLocks/>
            </p:cNvCxnSpPr>
            <p:nvPr/>
          </p:nvCxnSpPr>
          <p:spPr>
            <a:xfrm>
              <a:off x="719538" y="1393780"/>
              <a:ext cx="4849570"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B1D45236-31E1-007F-FECF-90CCF9830326}"/>
                </a:ext>
              </a:extLst>
            </p:cNvPr>
            <p:cNvSpPr/>
            <p:nvPr/>
          </p:nvSpPr>
          <p:spPr>
            <a:xfrm>
              <a:off x="671912" y="1348872"/>
              <a:ext cx="740670" cy="898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prstClr val="white"/>
                </a:solidFill>
                <a:effectLst/>
                <a:uLnTx/>
                <a:uFillTx/>
                <a:latin typeface="Segoe UI"/>
                <a:ea typeface="+mn-ea"/>
                <a:cs typeface="+mn-cs"/>
              </a:endParaRPr>
            </a:p>
          </p:txBody>
        </p:sp>
      </p:grpSp>
      <p:sp>
        <p:nvSpPr>
          <p:cNvPr id="22" name="Text Placeholder 2">
            <a:extLst>
              <a:ext uri="{FF2B5EF4-FFF2-40B4-BE49-F238E27FC236}">
                <a16:creationId xmlns:a16="http://schemas.microsoft.com/office/drawing/2014/main" id="{141B4B6C-5921-71D5-B86B-75B8A738D8A8}"/>
              </a:ext>
            </a:extLst>
          </p:cNvPr>
          <p:cNvSpPr>
            <a:spLocks noGrp="1"/>
          </p:cNvSpPr>
          <p:nvPr>
            <p:ph idx="15"/>
          </p:nvPr>
        </p:nvSpPr>
        <p:spPr>
          <a:xfrm>
            <a:off x="398568" y="1882272"/>
            <a:ext cx="3618900" cy="2286000"/>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 Placeholder 2">
            <a:extLst>
              <a:ext uri="{FF2B5EF4-FFF2-40B4-BE49-F238E27FC236}">
                <a16:creationId xmlns:a16="http://schemas.microsoft.com/office/drawing/2014/main" id="{56A892E6-32A3-91EA-AB10-8EE338D6C5E7}"/>
              </a:ext>
            </a:extLst>
          </p:cNvPr>
          <p:cNvSpPr>
            <a:spLocks noGrp="1"/>
          </p:cNvSpPr>
          <p:nvPr>
            <p:ph idx="16"/>
          </p:nvPr>
        </p:nvSpPr>
        <p:spPr>
          <a:xfrm>
            <a:off x="4287300" y="1325880"/>
            <a:ext cx="3618000" cy="2286000"/>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ext Placeholder 2">
            <a:extLst>
              <a:ext uri="{FF2B5EF4-FFF2-40B4-BE49-F238E27FC236}">
                <a16:creationId xmlns:a16="http://schemas.microsoft.com/office/drawing/2014/main" id="{516DEEAB-91EF-3400-F16D-F1E306BB24E6}"/>
              </a:ext>
            </a:extLst>
          </p:cNvPr>
          <p:cNvSpPr>
            <a:spLocks noGrp="1"/>
          </p:cNvSpPr>
          <p:nvPr>
            <p:ph idx="19"/>
          </p:nvPr>
        </p:nvSpPr>
        <p:spPr>
          <a:xfrm>
            <a:off x="8230200" y="1325880"/>
            <a:ext cx="3618900" cy="2286000"/>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1" name="Text Placeholder 2">
            <a:extLst>
              <a:ext uri="{FF2B5EF4-FFF2-40B4-BE49-F238E27FC236}">
                <a16:creationId xmlns:a16="http://schemas.microsoft.com/office/drawing/2014/main" id="{A069E711-0D3F-A9ED-09C1-2D73ABED8051}"/>
              </a:ext>
            </a:extLst>
          </p:cNvPr>
          <p:cNvSpPr>
            <a:spLocks noGrp="1"/>
          </p:cNvSpPr>
          <p:nvPr>
            <p:ph type="body" idx="21"/>
          </p:nvPr>
        </p:nvSpPr>
        <p:spPr>
          <a:xfrm>
            <a:off x="8230200" y="896797"/>
            <a:ext cx="3370263"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42" name="Group 41">
            <a:extLst>
              <a:ext uri="{FF2B5EF4-FFF2-40B4-BE49-F238E27FC236}">
                <a16:creationId xmlns:a16="http://schemas.microsoft.com/office/drawing/2014/main" id="{6465230D-8AA6-60E8-C703-0E06548C85D2}"/>
              </a:ext>
            </a:extLst>
          </p:cNvPr>
          <p:cNvGrpSpPr/>
          <p:nvPr userDrawn="1"/>
        </p:nvGrpSpPr>
        <p:grpSpPr>
          <a:xfrm>
            <a:off x="8230199" y="1214416"/>
            <a:ext cx="3618001" cy="55768"/>
            <a:chOff x="671912" y="1348872"/>
            <a:chExt cx="4897196" cy="89815"/>
          </a:xfrm>
        </p:grpSpPr>
        <p:cxnSp>
          <p:nvCxnSpPr>
            <p:cNvPr id="43" name="Straight Connector 42">
              <a:extLst>
                <a:ext uri="{FF2B5EF4-FFF2-40B4-BE49-F238E27FC236}">
                  <a16:creationId xmlns:a16="http://schemas.microsoft.com/office/drawing/2014/main" id="{F2CF203D-1C76-2918-010E-4831EB4D1DF1}"/>
                </a:ext>
              </a:extLst>
            </p:cNvPr>
            <p:cNvCxnSpPr>
              <a:cxnSpLocks/>
            </p:cNvCxnSpPr>
            <p:nvPr/>
          </p:nvCxnSpPr>
          <p:spPr>
            <a:xfrm>
              <a:off x="719538" y="1393780"/>
              <a:ext cx="4849570"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D387039B-1E68-6D95-DBE3-2ED004FFC1C4}"/>
                </a:ext>
              </a:extLst>
            </p:cNvPr>
            <p:cNvSpPr/>
            <p:nvPr/>
          </p:nvSpPr>
          <p:spPr>
            <a:xfrm>
              <a:off x="671912" y="1348872"/>
              <a:ext cx="740670" cy="898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prstClr val="white"/>
                </a:solidFill>
                <a:effectLst/>
                <a:uLnTx/>
                <a:uFillTx/>
                <a:latin typeface="Segoe UI"/>
                <a:ea typeface="+mn-ea"/>
                <a:cs typeface="+mn-cs"/>
              </a:endParaRPr>
            </a:p>
          </p:txBody>
        </p:sp>
      </p:grpSp>
      <p:sp>
        <p:nvSpPr>
          <p:cNvPr id="45" name="Text Placeholder 2">
            <a:extLst>
              <a:ext uri="{FF2B5EF4-FFF2-40B4-BE49-F238E27FC236}">
                <a16:creationId xmlns:a16="http://schemas.microsoft.com/office/drawing/2014/main" id="{3789D81B-B134-CCB1-DF03-35279C2285BF}"/>
              </a:ext>
            </a:extLst>
          </p:cNvPr>
          <p:cNvSpPr>
            <a:spLocks noGrp="1"/>
          </p:cNvSpPr>
          <p:nvPr>
            <p:ph type="body" idx="13"/>
          </p:nvPr>
        </p:nvSpPr>
        <p:spPr>
          <a:xfrm>
            <a:off x="344487" y="3800417"/>
            <a:ext cx="5157787"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46" name="Group 45">
            <a:extLst>
              <a:ext uri="{FF2B5EF4-FFF2-40B4-BE49-F238E27FC236}">
                <a16:creationId xmlns:a16="http://schemas.microsoft.com/office/drawing/2014/main" id="{07BFDC14-C459-D64B-0624-8CF3758FCBB3}"/>
              </a:ext>
            </a:extLst>
          </p:cNvPr>
          <p:cNvGrpSpPr/>
          <p:nvPr userDrawn="1"/>
        </p:nvGrpSpPr>
        <p:grpSpPr>
          <a:xfrm>
            <a:off x="344487" y="4118036"/>
            <a:ext cx="5561013" cy="55768"/>
            <a:chOff x="344487" y="1214416"/>
            <a:chExt cx="5561013" cy="55768"/>
          </a:xfrm>
        </p:grpSpPr>
        <p:cxnSp>
          <p:nvCxnSpPr>
            <p:cNvPr id="47" name="Straight Connector 46">
              <a:extLst>
                <a:ext uri="{FF2B5EF4-FFF2-40B4-BE49-F238E27FC236}">
                  <a16:creationId xmlns:a16="http://schemas.microsoft.com/office/drawing/2014/main" id="{73F0E958-3764-6F1B-1763-A4C97AB8B357}"/>
                </a:ext>
              </a:extLst>
            </p:cNvPr>
            <p:cNvCxnSpPr>
              <a:cxnSpLocks/>
            </p:cNvCxnSpPr>
            <p:nvPr/>
          </p:nvCxnSpPr>
          <p:spPr>
            <a:xfrm>
              <a:off x="398568" y="1242300"/>
              <a:ext cx="5506932"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F2230C0D-1396-86EF-5023-9C25310735BA}"/>
                </a:ext>
              </a:extLst>
            </p:cNvPr>
            <p:cNvSpPr/>
            <p:nvPr/>
          </p:nvSpPr>
          <p:spPr>
            <a:xfrm>
              <a:off x="344487" y="1214416"/>
              <a:ext cx="545724" cy="55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prstClr val="white"/>
                </a:solidFill>
                <a:effectLst/>
                <a:uLnTx/>
                <a:uFillTx/>
                <a:latin typeface="Segoe UI"/>
                <a:ea typeface="+mn-ea"/>
                <a:cs typeface="+mn-cs"/>
              </a:endParaRPr>
            </a:p>
          </p:txBody>
        </p:sp>
      </p:grpSp>
      <p:sp>
        <p:nvSpPr>
          <p:cNvPr id="49" name="Text Placeholder 2">
            <a:extLst>
              <a:ext uri="{FF2B5EF4-FFF2-40B4-BE49-F238E27FC236}">
                <a16:creationId xmlns:a16="http://schemas.microsoft.com/office/drawing/2014/main" id="{B03B7D74-71ED-7FC0-C1D8-3268D624795E}"/>
              </a:ext>
            </a:extLst>
          </p:cNvPr>
          <p:cNvSpPr>
            <a:spLocks noGrp="1"/>
          </p:cNvSpPr>
          <p:nvPr>
            <p:ph type="body" idx="14"/>
          </p:nvPr>
        </p:nvSpPr>
        <p:spPr>
          <a:xfrm>
            <a:off x="6288087" y="3800417"/>
            <a:ext cx="5157787"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50" name="Group 49">
            <a:extLst>
              <a:ext uri="{FF2B5EF4-FFF2-40B4-BE49-F238E27FC236}">
                <a16:creationId xmlns:a16="http://schemas.microsoft.com/office/drawing/2014/main" id="{AE0CC657-E526-AF39-197C-14B8D425686B}"/>
              </a:ext>
            </a:extLst>
          </p:cNvPr>
          <p:cNvGrpSpPr/>
          <p:nvPr userDrawn="1"/>
        </p:nvGrpSpPr>
        <p:grpSpPr>
          <a:xfrm>
            <a:off x="6288087" y="4118036"/>
            <a:ext cx="5561013" cy="55768"/>
            <a:chOff x="671913" y="1348872"/>
            <a:chExt cx="4897195" cy="89815"/>
          </a:xfrm>
        </p:grpSpPr>
        <p:cxnSp>
          <p:nvCxnSpPr>
            <p:cNvPr id="51" name="Straight Connector 50">
              <a:extLst>
                <a:ext uri="{FF2B5EF4-FFF2-40B4-BE49-F238E27FC236}">
                  <a16:creationId xmlns:a16="http://schemas.microsoft.com/office/drawing/2014/main" id="{B8277A75-0DB2-58C5-5D46-E5A6E81D3A4F}"/>
                </a:ext>
              </a:extLst>
            </p:cNvPr>
            <p:cNvCxnSpPr>
              <a:cxnSpLocks/>
            </p:cNvCxnSpPr>
            <p:nvPr/>
          </p:nvCxnSpPr>
          <p:spPr>
            <a:xfrm>
              <a:off x="719538" y="1393780"/>
              <a:ext cx="4849570"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FDCB8F7A-00C9-020D-B08A-0B7090EE6538}"/>
                </a:ext>
              </a:extLst>
            </p:cNvPr>
            <p:cNvSpPr/>
            <p:nvPr/>
          </p:nvSpPr>
          <p:spPr>
            <a:xfrm>
              <a:off x="671913" y="1348872"/>
              <a:ext cx="480581" cy="898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prstClr val="white"/>
                </a:solidFill>
                <a:effectLst/>
                <a:uLnTx/>
                <a:uFillTx/>
                <a:latin typeface="Segoe UI"/>
                <a:ea typeface="+mn-ea"/>
                <a:cs typeface="+mn-cs"/>
              </a:endParaRPr>
            </a:p>
          </p:txBody>
        </p:sp>
      </p:grpSp>
      <p:sp>
        <p:nvSpPr>
          <p:cNvPr id="53" name="Text Placeholder 2">
            <a:extLst>
              <a:ext uri="{FF2B5EF4-FFF2-40B4-BE49-F238E27FC236}">
                <a16:creationId xmlns:a16="http://schemas.microsoft.com/office/drawing/2014/main" id="{0240D1B5-7950-DC0C-1D00-665B2130067E}"/>
              </a:ext>
            </a:extLst>
          </p:cNvPr>
          <p:cNvSpPr>
            <a:spLocks noGrp="1"/>
          </p:cNvSpPr>
          <p:nvPr>
            <p:ph idx="17"/>
          </p:nvPr>
        </p:nvSpPr>
        <p:spPr>
          <a:xfrm>
            <a:off x="343500" y="4229500"/>
            <a:ext cx="5562000" cy="2286000"/>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4" name="Text Placeholder 2">
            <a:extLst>
              <a:ext uri="{FF2B5EF4-FFF2-40B4-BE49-F238E27FC236}">
                <a16:creationId xmlns:a16="http://schemas.microsoft.com/office/drawing/2014/main" id="{567B6B69-7286-0F90-B463-C53B9697CEBF}"/>
              </a:ext>
            </a:extLst>
          </p:cNvPr>
          <p:cNvSpPr>
            <a:spLocks noGrp="1"/>
          </p:cNvSpPr>
          <p:nvPr>
            <p:ph idx="18"/>
          </p:nvPr>
        </p:nvSpPr>
        <p:spPr>
          <a:xfrm>
            <a:off x="6287100" y="4229500"/>
            <a:ext cx="5562000" cy="2286000"/>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51793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50D20B1-6B26-45B9-ACA1-0D8BC03871D8}"/>
              </a:ext>
            </a:extLst>
          </p:cNvPr>
          <p:cNvSpPr>
            <a:spLocks noGrp="1"/>
          </p:cNvSpPr>
          <p:nvPr>
            <p:ph type="title"/>
          </p:nvPr>
        </p:nvSpPr>
        <p:spPr>
          <a:xfrm>
            <a:off x="344487" y="32354"/>
            <a:ext cx="11504613" cy="380885"/>
          </a:xfrm>
        </p:spPr>
        <p:txBody>
          <a:bodyPr/>
          <a:lstStyle/>
          <a:p>
            <a:r>
              <a:rPr lang="en-US"/>
              <a:t>Click to edit Master title style</a:t>
            </a:r>
          </a:p>
        </p:txBody>
      </p:sp>
      <p:sp>
        <p:nvSpPr>
          <p:cNvPr id="6" name="Text Placeholder 7">
            <a:extLst>
              <a:ext uri="{FF2B5EF4-FFF2-40B4-BE49-F238E27FC236}">
                <a16:creationId xmlns:a16="http://schemas.microsoft.com/office/drawing/2014/main" id="{9B6ACBC5-8B35-4F11-B076-8EC2B9686C41}"/>
              </a:ext>
            </a:extLst>
          </p:cNvPr>
          <p:cNvSpPr>
            <a:spLocks noGrp="1"/>
          </p:cNvSpPr>
          <p:nvPr>
            <p:ph type="body" sz="quarter" idx="10"/>
          </p:nvPr>
        </p:nvSpPr>
        <p:spPr>
          <a:xfrm>
            <a:off x="344488" y="471826"/>
            <a:ext cx="11504612" cy="281861"/>
          </a:xfrm>
        </p:spPr>
        <p:txBody>
          <a:bodyPr anchor="ctr"/>
          <a:lstStyle>
            <a:lvl1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1pPr>
            <a:lvl2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2pPr>
            <a:lvl3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3pPr>
            <a:lvl4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4pPr>
            <a:lvl5pPr marL="0" indent="0" algn="l" defTabSz="914400" rtl="0" eaLnBrk="1" latinLnBrk="0" hangingPunct="1">
              <a:lnSpc>
                <a:spcPct val="90000"/>
              </a:lnSpc>
              <a:spcBef>
                <a:spcPct val="0"/>
              </a:spcBef>
              <a:buNone/>
              <a:defRPr lang="en-IN" sz="1400" b="1" i="1" kern="1200" dirty="0">
                <a:solidFill>
                  <a:schemeClr val="bg1">
                    <a:lumMod val="50000"/>
                  </a:schemeClr>
                </a:solidFill>
                <a:latin typeface="+mj-lt"/>
                <a:ea typeface="+mj-ea"/>
                <a:cs typeface="+mj-cs"/>
              </a:defRPr>
            </a:lvl5pPr>
          </a:lstStyle>
          <a:p>
            <a:pPr lvl="0"/>
            <a:r>
              <a:rPr lang="en-US"/>
              <a:t>Click to edit Master text styles</a:t>
            </a:r>
          </a:p>
        </p:txBody>
      </p:sp>
    </p:spTree>
    <p:extLst>
      <p:ext uri="{BB962C8B-B14F-4D97-AF65-F5344CB8AC3E}">
        <p14:creationId xmlns:p14="http://schemas.microsoft.com/office/powerpoint/2010/main" val="20470621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ix Header">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50D20B1-6B26-45B9-ACA1-0D8BC03871D8}"/>
              </a:ext>
            </a:extLst>
          </p:cNvPr>
          <p:cNvSpPr>
            <a:spLocks noGrp="1"/>
          </p:cNvSpPr>
          <p:nvPr>
            <p:ph type="title"/>
          </p:nvPr>
        </p:nvSpPr>
        <p:spPr>
          <a:xfrm>
            <a:off x="344487" y="88836"/>
            <a:ext cx="11504613" cy="408795"/>
          </a:xfrm>
        </p:spPr>
        <p:txBody>
          <a:bodyPr/>
          <a:lstStyle/>
          <a:p>
            <a:r>
              <a:rPr lang="en-US"/>
              <a:t>Click to edit Master title style</a:t>
            </a:r>
          </a:p>
        </p:txBody>
      </p:sp>
      <p:sp>
        <p:nvSpPr>
          <p:cNvPr id="6" name="Text Placeholder 7">
            <a:extLst>
              <a:ext uri="{FF2B5EF4-FFF2-40B4-BE49-F238E27FC236}">
                <a16:creationId xmlns:a16="http://schemas.microsoft.com/office/drawing/2014/main" id="{9B6ACBC5-8B35-4F11-B076-8EC2B9686C41}"/>
              </a:ext>
            </a:extLst>
          </p:cNvPr>
          <p:cNvSpPr>
            <a:spLocks noGrp="1"/>
          </p:cNvSpPr>
          <p:nvPr>
            <p:ph type="body" sz="quarter" idx="10"/>
          </p:nvPr>
        </p:nvSpPr>
        <p:spPr>
          <a:xfrm>
            <a:off x="344488" y="487848"/>
            <a:ext cx="11504612" cy="281861"/>
          </a:xfrm>
        </p:spPr>
        <p:txBody>
          <a:bodyPr anchor="ctr"/>
          <a:lstStyle>
            <a:lvl1pPr marL="0" indent="0" algn="l" defTabSz="914400" rtl="0" eaLnBrk="1" latinLnBrk="0" hangingPunct="1">
              <a:lnSpc>
                <a:spcPct val="90000"/>
              </a:lnSpc>
              <a:spcBef>
                <a:spcPct val="0"/>
              </a:spcBef>
              <a:buNone/>
              <a:defRPr lang="en-US" sz="1400" b="1" i="0" kern="1200" dirty="0" smtClean="0">
                <a:solidFill>
                  <a:srgbClr val="595959"/>
                </a:solidFill>
                <a:latin typeface="Segoe UI Semibold" panose="020B0702040204020203" pitchFamily="34" charset="0"/>
                <a:ea typeface="+mj-ea"/>
                <a:cs typeface="Segoe UI Semibold" panose="020B0702040204020203" pitchFamily="34" charset="0"/>
              </a:defRPr>
            </a:lvl1pPr>
            <a:lvl2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2pPr>
            <a:lvl3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3pPr>
            <a:lvl4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4pPr>
            <a:lvl5pPr marL="0" indent="0" algn="l" defTabSz="914400" rtl="0" eaLnBrk="1" latinLnBrk="0" hangingPunct="1">
              <a:lnSpc>
                <a:spcPct val="90000"/>
              </a:lnSpc>
              <a:spcBef>
                <a:spcPct val="0"/>
              </a:spcBef>
              <a:buNone/>
              <a:defRPr lang="en-IN" sz="1400" b="1" i="1" kern="1200" dirty="0">
                <a:solidFill>
                  <a:schemeClr val="bg1">
                    <a:lumMod val="50000"/>
                  </a:schemeClr>
                </a:solidFill>
                <a:latin typeface="+mj-lt"/>
                <a:ea typeface="+mj-ea"/>
                <a:cs typeface="+mj-cs"/>
              </a:defRPr>
            </a:lvl5pPr>
          </a:lstStyle>
          <a:p>
            <a:pPr lvl="0"/>
            <a:r>
              <a:rPr lang="en-US"/>
              <a:t>Click to edit Master text styles</a:t>
            </a:r>
          </a:p>
        </p:txBody>
      </p:sp>
      <p:sp>
        <p:nvSpPr>
          <p:cNvPr id="2" name="Text Placeholder 5">
            <a:extLst>
              <a:ext uri="{FF2B5EF4-FFF2-40B4-BE49-F238E27FC236}">
                <a16:creationId xmlns:a16="http://schemas.microsoft.com/office/drawing/2014/main" id="{1AAF154C-D019-928E-124D-92A3C02B9976}"/>
              </a:ext>
            </a:extLst>
          </p:cNvPr>
          <p:cNvSpPr>
            <a:spLocks noGrp="1"/>
          </p:cNvSpPr>
          <p:nvPr>
            <p:ph type="body" sz="quarter" idx="11" hasCustomPrompt="1"/>
          </p:nvPr>
        </p:nvSpPr>
        <p:spPr>
          <a:xfrm>
            <a:off x="3319462" y="6637956"/>
            <a:ext cx="7318058" cy="157512"/>
          </a:xfrm>
        </p:spPr>
        <p:txBody>
          <a:bodyPr lIns="36000" anchor="ctr"/>
          <a:lstStyle>
            <a:lvl1pPr marL="0" indent="0">
              <a:buNone/>
              <a:defRPr sz="800">
                <a:solidFill>
                  <a:schemeClr val="bg1"/>
                </a:solidFill>
              </a:defRPr>
            </a:lvl1pPr>
          </a:lstStyle>
          <a:p>
            <a:pPr lvl="0"/>
            <a:r>
              <a:rPr lang="en-US"/>
              <a:t>Footnotes</a:t>
            </a:r>
            <a:endParaRPr lang="en-IN"/>
          </a:p>
        </p:txBody>
      </p:sp>
      <p:sp>
        <p:nvSpPr>
          <p:cNvPr id="17" name="Text Placeholder 2">
            <a:extLst>
              <a:ext uri="{FF2B5EF4-FFF2-40B4-BE49-F238E27FC236}">
                <a16:creationId xmlns:a16="http://schemas.microsoft.com/office/drawing/2014/main" id="{DE9CA1BB-81C1-3DDE-F8A7-05DEAC433832}"/>
              </a:ext>
            </a:extLst>
          </p:cNvPr>
          <p:cNvSpPr>
            <a:spLocks noGrp="1"/>
          </p:cNvSpPr>
          <p:nvPr>
            <p:ph type="body" idx="1"/>
          </p:nvPr>
        </p:nvSpPr>
        <p:spPr>
          <a:xfrm>
            <a:off x="344487" y="896797"/>
            <a:ext cx="3370263"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19" name="Group 18">
            <a:extLst>
              <a:ext uri="{FF2B5EF4-FFF2-40B4-BE49-F238E27FC236}">
                <a16:creationId xmlns:a16="http://schemas.microsoft.com/office/drawing/2014/main" id="{1C437E69-259A-4D93-85B7-739A88FCFC39}"/>
              </a:ext>
            </a:extLst>
          </p:cNvPr>
          <p:cNvGrpSpPr/>
          <p:nvPr userDrawn="1"/>
        </p:nvGrpSpPr>
        <p:grpSpPr>
          <a:xfrm>
            <a:off x="344486" y="1214416"/>
            <a:ext cx="3618001" cy="55768"/>
            <a:chOff x="344485" y="1214416"/>
            <a:chExt cx="5561015" cy="55768"/>
          </a:xfrm>
        </p:grpSpPr>
        <p:cxnSp>
          <p:nvCxnSpPr>
            <p:cNvPr id="8" name="Straight Connector 7">
              <a:extLst>
                <a:ext uri="{FF2B5EF4-FFF2-40B4-BE49-F238E27FC236}">
                  <a16:creationId xmlns:a16="http://schemas.microsoft.com/office/drawing/2014/main" id="{CBC944B2-5B81-4284-24E4-CF9E3058C579}"/>
                </a:ext>
              </a:extLst>
            </p:cNvPr>
            <p:cNvCxnSpPr>
              <a:cxnSpLocks/>
            </p:cNvCxnSpPr>
            <p:nvPr/>
          </p:nvCxnSpPr>
          <p:spPr>
            <a:xfrm>
              <a:off x="398568" y="1242300"/>
              <a:ext cx="5506932"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CA5B0CB2-7B37-3A9F-911D-9B5245C564E4}"/>
                </a:ext>
              </a:extLst>
            </p:cNvPr>
            <p:cNvSpPr/>
            <p:nvPr/>
          </p:nvSpPr>
          <p:spPr>
            <a:xfrm>
              <a:off x="344485" y="1214416"/>
              <a:ext cx="841069" cy="55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prstClr val="white"/>
                </a:solidFill>
                <a:effectLst/>
                <a:uLnTx/>
                <a:uFillTx/>
                <a:latin typeface="Segoe UI"/>
                <a:ea typeface="+mn-ea"/>
                <a:cs typeface="+mn-cs"/>
              </a:endParaRPr>
            </a:p>
          </p:txBody>
        </p:sp>
      </p:grpSp>
      <p:sp>
        <p:nvSpPr>
          <p:cNvPr id="18" name="Text Placeholder 2">
            <a:extLst>
              <a:ext uri="{FF2B5EF4-FFF2-40B4-BE49-F238E27FC236}">
                <a16:creationId xmlns:a16="http://schemas.microsoft.com/office/drawing/2014/main" id="{CE4CC8C8-0E01-4E7E-59CB-54EBC3FCD14F}"/>
              </a:ext>
            </a:extLst>
          </p:cNvPr>
          <p:cNvSpPr>
            <a:spLocks noGrp="1"/>
          </p:cNvSpPr>
          <p:nvPr>
            <p:ph type="body" idx="12"/>
          </p:nvPr>
        </p:nvSpPr>
        <p:spPr>
          <a:xfrm>
            <a:off x="4287300" y="896797"/>
            <a:ext cx="3370263"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11" name="Group 10">
            <a:extLst>
              <a:ext uri="{FF2B5EF4-FFF2-40B4-BE49-F238E27FC236}">
                <a16:creationId xmlns:a16="http://schemas.microsoft.com/office/drawing/2014/main" id="{E12FE721-4FA0-4493-AE93-A96BE344DB84}"/>
              </a:ext>
            </a:extLst>
          </p:cNvPr>
          <p:cNvGrpSpPr/>
          <p:nvPr/>
        </p:nvGrpSpPr>
        <p:grpSpPr>
          <a:xfrm>
            <a:off x="4287299" y="1214416"/>
            <a:ext cx="3618001" cy="55768"/>
            <a:chOff x="671912" y="1348872"/>
            <a:chExt cx="4897196" cy="89815"/>
          </a:xfrm>
        </p:grpSpPr>
        <p:cxnSp>
          <p:nvCxnSpPr>
            <p:cNvPr id="13" name="Straight Connector 12">
              <a:extLst>
                <a:ext uri="{FF2B5EF4-FFF2-40B4-BE49-F238E27FC236}">
                  <a16:creationId xmlns:a16="http://schemas.microsoft.com/office/drawing/2014/main" id="{BE5167E5-F310-164C-669A-06765F060FF5}"/>
                </a:ext>
              </a:extLst>
            </p:cNvPr>
            <p:cNvCxnSpPr>
              <a:cxnSpLocks/>
            </p:cNvCxnSpPr>
            <p:nvPr/>
          </p:nvCxnSpPr>
          <p:spPr>
            <a:xfrm>
              <a:off x="719538" y="1393780"/>
              <a:ext cx="4849570"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DF8EAF54-BCC1-349D-7040-16DAD0F1F9BD}"/>
                </a:ext>
              </a:extLst>
            </p:cNvPr>
            <p:cNvSpPr/>
            <p:nvPr/>
          </p:nvSpPr>
          <p:spPr>
            <a:xfrm>
              <a:off x="671912" y="1348872"/>
              <a:ext cx="740670" cy="898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prstClr val="white"/>
                </a:solidFill>
                <a:effectLst/>
                <a:uLnTx/>
                <a:uFillTx/>
                <a:latin typeface="Segoe UI"/>
                <a:ea typeface="+mn-ea"/>
                <a:cs typeface="+mn-cs"/>
              </a:endParaRPr>
            </a:p>
          </p:txBody>
        </p:sp>
      </p:grpSp>
      <p:sp>
        <p:nvSpPr>
          <p:cNvPr id="7" name="Text Placeholder 2">
            <a:extLst>
              <a:ext uri="{FF2B5EF4-FFF2-40B4-BE49-F238E27FC236}">
                <a16:creationId xmlns:a16="http://schemas.microsoft.com/office/drawing/2014/main" id="{8A0CA280-7199-E0B4-DCEC-E0B35AF66275}"/>
              </a:ext>
            </a:extLst>
          </p:cNvPr>
          <p:cNvSpPr>
            <a:spLocks noGrp="1"/>
          </p:cNvSpPr>
          <p:nvPr>
            <p:ph type="body" idx="13"/>
          </p:nvPr>
        </p:nvSpPr>
        <p:spPr>
          <a:xfrm>
            <a:off x="344487" y="3800417"/>
            <a:ext cx="3370263"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10" name="Group 9">
            <a:extLst>
              <a:ext uri="{FF2B5EF4-FFF2-40B4-BE49-F238E27FC236}">
                <a16:creationId xmlns:a16="http://schemas.microsoft.com/office/drawing/2014/main" id="{EBA14E75-9C64-2489-C60B-F72B47940F86}"/>
              </a:ext>
            </a:extLst>
          </p:cNvPr>
          <p:cNvGrpSpPr/>
          <p:nvPr userDrawn="1"/>
        </p:nvGrpSpPr>
        <p:grpSpPr>
          <a:xfrm>
            <a:off x="344486" y="4118036"/>
            <a:ext cx="3618001" cy="55768"/>
            <a:chOff x="344485" y="1214416"/>
            <a:chExt cx="5561015" cy="55768"/>
          </a:xfrm>
        </p:grpSpPr>
        <p:cxnSp>
          <p:nvCxnSpPr>
            <p:cNvPr id="12" name="Straight Connector 11">
              <a:extLst>
                <a:ext uri="{FF2B5EF4-FFF2-40B4-BE49-F238E27FC236}">
                  <a16:creationId xmlns:a16="http://schemas.microsoft.com/office/drawing/2014/main" id="{7002CF5F-A64F-6BF3-4035-5277E5E64224}"/>
                </a:ext>
              </a:extLst>
            </p:cNvPr>
            <p:cNvCxnSpPr>
              <a:cxnSpLocks/>
            </p:cNvCxnSpPr>
            <p:nvPr/>
          </p:nvCxnSpPr>
          <p:spPr>
            <a:xfrm>
              <a:off x="398568" y="1242300"/>
              <a:ext cx="5506932"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D4F36BCE-12B0-9512-5EB7-DD45DB107594}"/>
                </a:ext>
              </a:extLst>
            </p:cNvPr>
            <p:cNvSpPr/>
            <p:nvPr/>
          </p:nvSpPr>
          <p:spPr>
            <a:xfrm>
              <a:off x="344485" y="1214416"/>
              <a:ext cx="841069" cy="55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prstClr val="white"/>
                </a:solidFill>
                <a:effectLst/>
                <a:uLnTx/>
                <a:uFillTx/>
                <a:latin typeface="Segoe UI"/>
                <a:ea typeface="+mn-ea"/>
                <a:cs typeface="+mn-cs"/>
              </a:endParaRPr>
            </a:p>
          </p:txBody>
        </p:sp>
      </p:grpSp>
      <p:sp>
        <p:nvSpPr>
          <p:cNvPr id="16" name="Text Placeholder 2">
            <a:extLst>
              <a:ext uri="{FF2B5EF4-FFF2-40B4-BE49-F238E27FC236}">
                <a16:creationId xmlns:a16="http://schemas.microsoft.com/office/drawing/2014/main" id="{8E735704-3BE9-AACC-6906-FD5C2AE28FAE}"/>
              </a:ext>
            </a:extLst>
          </p:cNvPr>
          <p:cNvSpPr>
            <a:spLocks noGrp="1"/>
          </p:cNvSpPr>
          <p:nvPr>
            <p:ph type="body" idx="14"/>
          </p:nvPr>
        </p:nvSpPr>
        <p:spPr>
          <a:xfrm>
            <a:off x="4287300" y="3800417"/>
            <a:ext cx="3370263"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20" name="Group 19">
            <a:extLst>
              <a:ext uri="{FF2B5EF4-FFF2-40B4-BE49-F238E27FC236}">
                <a16:creationId xmlns:a16="http://schemas.microsoft.com/office/drawing/2014/main" id="{F604C4E9-A2F3-9795-488C-11DF6A5B07DC}"/>
              </a:ext>
            </a:extLst>
          </p:cNvPr>
          <p:cNvGrpSpPr/>
          <p:nvPr userDrawn="1"/>
        </p:nvGrpSpPr>
        <p:grpSpPr>
          <a:xfrm>
            <a:off x="4287299" y="4118036"/>
            <a:ext cx="3618001" cy="55768"/>
            <a:chOff x="671912" y="1348872"/>
            <a:chExt cx="4897196" cy="89815"/>
          </a:xfrm>
        </p:grpSpPr>
        <p:cxnSp>
          <p:nvCxnSpPr>
            <p:cNvPr id="21" name="Straight Connector 20">
              <a:extLst>
                <a:ext uri="{FF2B5EF4-FFF2-40B4-BE49-F238E27FC236}">
                  <a16:creationId xmlns:a16="http://schemas.microsoft.com/office/drawing/2014/main" id="{0AB343CC-86EF-AABA-5242-1DC3E262C31A}"/>
                </a:ext>
              </a:extLst>
            </p:cNvPr>
            <p:cNvCxnSpPr>
              <a:cxnSpLocks/>
            </p:cNvCxnSpPr>
            <p:nvPr/>
          </p:nvCxnSpPr>
          <p:spPr>
            <a:xfrm>
              <a:off x="719538" y="1393780"/>
              <a:ext cx="4849570"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BF2B6539-B769-607C-6721-39DED3D307DD}"/>
                </a:ext>
              </a:extLst>
            </p:cNvPr>
            <p:cNvSpPr/>
            <p:nvPr/>
          </p:nvSpPr>
          <p:spPr>
            <a:xfrm>
              <a:off x="671912" y="1348872"/>
              <a:ext cx="740670" cy="898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prstClr val="white"/>
                </a:solidFill>
                <a:effectLst/>
                <a:uLnTx/>
                <a:uFillTx/>
                <a:latin typeface="Segoe UI"/>
                <a:ea typeface="+mn-ea"/>
                <a:cs typeface="+mn-cs"/>
              </a:endParaRPr>
            </a:p>
          </p:txBody>
        </p:sp>
      </p:grpSp>
      <p:sp>
        <p:nvSpPr>
          <p:cNvPr id="25" name="Text Placeholder 2">
            <a:extLst>
              <a:ext uri="{FF2B5EF4-FFF2-40B4-BE49-F238E27FC236}">
                <a16:creationId xmlns:a16="http://schemas.microsoft.com/office/drawing/2014/main" id="{B649D142-DF3F-46EA-7F65-9AB5205769D7}"/>
              </a:ext>
            </a:extLst>
          </p:cNvPr>
          <p:cNvSpPr>
            <a:spLocks noGrp="1"/>
          </p:cNvSpPr>
          <p:nvPr>
            <p:ph idx="15"/>
          </p:nvPr>
        </p:nvSpPr>
        <p:spPr>
          <a:xfrm>
            <a:off x="343500" y="1325880"/>
            <a:ext cx="3618900" cy="2286000"/>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3764688D-FB67-7AFC-446D-F869973432AB}"/>
              </a:ext>
            </a:extLst>
          </p:cNvPr>
          <p:cNvSpPr>
            <a:spLocks noGrp="1"/>
          </p:cNvSpPr>
          <p:nvPr>
            <p:ph idx="16"/>
          </p:nvPr>
        </p:nvSpPr>
        <p:spPr>
          <a:xfrm>
            <a:off x="4287300" y="1325880"/>
            <a:ext cx="3618000" cy="2286000"/>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 Placeholder 2">
            <a:extLst>
              <a:ext uri="{FF2B5EF4-FFF2-40B4-BE49-F238E27FC236}">
                <a16:creationId xmlns:a16="http://schemas.microsoft.com/office/drawing/2014/main" id="{000EC6B4-8CBA-98FE-E605-7612ED3494CF}"/>
              </a:ext>
            </a:extLst>
          </p:cNvPr>
          <p:cNvSpPr>
            <a:spLocks noGrp="1"/>
          </p:cNvSpPr>
          <p:nvPr>
            <p:ph idx="17"/>
          </p:nvPr>
        </p:nvSpPr>
        <p:spPr>
          <a:xfrm>
            <a:off x="343500" y="4229500"/>
            <a:ext cx="3618900" cy="2286000"/>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ext Placeholder 2">
            <a:extLst>
              <a:ext uri="{FF2B5EF4-FFF2-40B4-BE49-F238E27FC236}">
                <a16:creationId xmlns:a16="http://schemas.microsoft.com/office/drawing/2014/main" id="{1C816339-DE76-873B-F192-13A6C88801E1}"/>
              </a:ext>
            </a:extLst>
          </p:cNvPr>
          <p:cNvSpPr>
            <a:spLocks noGrp="1"/>
          </p:cNvSpPr>
          <p:nvPr>
            <p:ph idx="18"/>
          </p:nvPr>
        </p:nvSpPr>
        <p:spPr>
          <a:xfrm>
            <a:off x="8230200" y="4229500"/>
            <a:ext cx="3618900" cy="2286000"/>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20D6939C-5DEC-2D11-AA0E-C305757D107E}"/>
              </a:ext>
            </a:extLst>
          </p:cNvPr>
          <p:cNvSpPr>
            <a:spLocks noGrp="1"/>
          </p:cNvSpPr>
          <p:nvPr>
            <p:ph idx="19"/>
          </p:nvPr>
        </p:nvSpPr>
        <p:spPr>
          <a:xfrm>
            <a:off x="8230200" y="1325880"/>
            <a:ext cx="3618900" cy="2286000"/>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69584A19-17EC-1D44-388A-7B73F2A40AD8}"/>
              </a:ext>
            </a:extLst>
          </p:cNvPr>
          <p:cNvSpPr>
            <a:spLocks noGrp="1"/>
          </p:cNvSpPr>
          <p:nvPr>
            <p:ph idx="20"/>
          </p:nvPr>
        </p:nvSpPr>
        <p:spPr>
          <a:xfrm>
            <a:off x="4286400" y="4229500"/>
            <a:ext cx="3618900" cy="2286000"/>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Text Placeholder 2">
            <a:extLst>
              <a:ext uri="{FF2B5EF4-FFF2-40B4-BE49-F238E27FC236}">
                <a16:creationId xmlns:a16="http://schemas.microsoft.com/office/drawing/2014/main" id="{702A8BC5-AA83-7195-747D-0A9E46C2B000}"/>
              </a:ext>
            </a:extLst>
          </p:cNvPr>
          <p:cNvSpPr>
            <a:spLocks noGrp="1"/>
          </p:cNvSpPr>
          <p:nvPr>
            <p:ph type="body" idx="21"/>
          </p:nvPr>
        </p:nvSpPr>
        <p:spPr>
          <a:xfrm>
            <a:off x="8230200" y="896797"/>
            <a:ext cx="3370263"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30" name="Group 29">
            <a:extLst>
              <a:ext uri="{FF2B5EF4-FFF2-40B4-BE49-F238E27FC236}">
                <a16:creationId xmlns:a16="http://schemas.microsoft.com/office/drawing/2014/main" id="{63E159CC-B1C4-FE46-4D0B-691DD4065477}"/>
              </a:ext>
            </a:extLst>
          </p:cNvPr>
          <p:cNvGrpSpPr/>
          <p:nvPr userDrawn="1"/>
        </p:nvGrpSpPr>
        <p:grpSpPr>
          <a:xfrm>
            <a:off x="8230199" y="1214416"/>
            <a:ext cx="3618001" cy="55768"/>
            <a:chOff x="671912" y="1348872"/>
            <a:chExt cx="4897196" cy="89815"/>
          </a:xfrm>
        </p:grpSpPr>
        <p:cxnSp>
          <p:nvCxnSpPr>
            <p:cNvPr id="31" name="Straight Connector 30">
              <a:extLst>
                <a:ext uri="{FF2B5EF4-FFF2-40B4-BE49-F238E27FC236}">
                  <a16:creationId xmlns:a16="http://schemas.microsoft.com/office/drawing/2014/main" id="{50477659-ED86-DCF4-C29E-348CC84BAF00}"/>
                </a:ext>
              </a:extLst>
            </p:cNvPr>
            <p:cNvCxnSpPr>
              <a:cxnSpLocks/>
            </p:cNvCxnSpPr>
            <p:nvPr/>
          </p:nvCxnSpPr>
          <p:spPr>
            <a:xfrm>
              <a:off x="719538" y="1393780"/>
              <a:ext cx="4849570"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03202133-62F1-5B1C-8121-F5BBEE137447}"/>
                </a:ext>
              </a:extLst>
            </p:cNvPr>
            <p:cNvSpPr/>
            <p:nvPr/>
          </p:nvSpPr>
          <p:spPr>
            <a:xfrm>
              <a:off x="671912" y="1348872"/>
              <a:ext cx="740670" cy="898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prstClr val="white"/>
                </a:solidFill>
                <a:effectLst/>
                <a:uLnTx/>
                <a:uFillTx/>
                <a:latin typeface="Segoe UI"/>
                <a:ea typeface="+mn-ea"/>
                <a:cs typeface="+mn-cs"/>
              </a:endParaRPr>
            </a:p>
          </p:txBody>
        </p:sp>
      </p:grpSp>
      <p:sp>
        <p:nvSpPr>
          <p:cNvPr id="33" name="Text Placeholder 2">
            <a:extLst>
              <a:ext uri="{FF2B5EF4-FFF2-40B4-BE49-F238E27FC236}">
                <a16:creationId xmlns:a16="http://schemas.microsoft.com/office/drawing/2014/main" id="{44FD581F-970E-FFDA-3D3A-640EEFCCFC5D}"/>
              </a:ext>
            </a:extLst>
          </p:cNvPr>
          <p:cNvSpPr>
            <a:spLocks noGrp="1"/>
          </p:cNvSpPr>
          <p:nvPr>
            <p:ph type="body" idx="22"/>
          </p:nvPr>
        </p:nvSpPr>
        <p:spPr>
          <a:xfrm>
            <a:off x="8230200" y="3800417"/>
            <a:ext cx="3370263"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34" name="Group 33">
            <a:extLst>
              <a:ext uri="{FF2B5EF4-FFF2-40B4-BE49-F238E27FC236}">
                <a16:creationId xmlns:a16="http://schemas.microsoft.com/office/drawing/2014/main" id="{A3B0AD3E-1645-AF2B-F7FC-71E8E6B6F558}"/>
              </a:ext>
            </a:extLst>
          </p:cNvPr>
          <p:cNvGrpSpPr/>
          <p:nvPr userDrawn="1"/>
        </p:nvGrpSpPr>
        <p:grpSpPr>
          <a:xfrm>
            <a:off x="8230199" y="4118036"/>
            <a:ext cx="3618001" cy="55768"/>
            <a:chOff x="671912" y="1348872"/>
            <a:chExt cx="4897196" cy="89815"/>
          </a:xfrm>
        </p:grpSpPr>
        <p:cxnSp>
          <p:nvCxnSpPr>
            <p:cNvPr id="35" name="Straight Connector 34">
              <a:extLst>
                <a:ext uri="{FF2B5EF4-FFF2-40B4-BE49-F238E27FC236}">
                  <a16:creationId xmlns:a16="http://schemas.microsoft.com/office/drawing/2014/main" id="{04016D8A-355E-052E-DBFC-0CF8DDB51D88}"/>
                </a:ext>
              </a:extLst>
            </p:cNvPr>
            <p:cNvCxnSpPr>
              <a:cxnSpLocks/>
            </p:cNvCxnSpPr>
            <p:nvPr/>
          </p:nvCxnSpPr>
          <p:spPr>
            <a:xfrm>
              <a:off x="719538" y="1393780"/>
              <a:ext cx="4849570"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D7D253B6-BC7A-524F-50FE-A0E226A6A3EB}"/>
                </a:ext>
              </a:extLst>
            </p:cNvPr>
            <p:cNvSpPr/>
            <p:nvPr/>
          </p:nvSpPr>
          <p:spPr>
            <a:xfrm>
              <a:off x="671912" y="1348872"/>
              <a:ext cx="740670" cy="898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193752061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sp>
        <p:nvSpPr>
          <p:cNvPr id="231" name="Rectangle 230">
            <a:extLst>
              <a:ext uri="{FF2B5EF4-FFF2-40B4-BE49-F238E27FC236}">
                <a16:creationId xmlns:a16="http://schemas.microsoft.com/office/drawing/2014/main" id="{E3E07557-3C3B-43A4-A269-12689DB40B0C}"/>
              </a:ext>
            </a:extLst>
          </p:cNvPr>
          <p:cNvSpPr/>
          <p:nvPr userDrawn="1"/>
        </p:nvSpPr>
        <p:spPr>
          <a:xfrm>
            <a:off x="287440" y="5641084"/>
            <a:ext cx="11617121" cy="1026416"/>
          </a:xfrm>
          <a:prstGeom prst="rect">
            <a:avLst/>
          </a:prstGeom>
        </p:spPr>
        <p:txBody>
          <a:bodyPr wrap="square" lIns="50695" tIns="50695" rIns="50695" bIns="50695">
            <a:spAutoFit/>
          </a:bodyPr>
          <a:lstStyle/>
          <a:p>
            <a:pPr algn="just">
              <a:lnSpc>
                <a:spcPct val="120000"/>
              </a:lnSpc>
              <a:spcBef>
                <a:spcPts val="100"/>
              </a:spcBef>
              <a:spcAft>
                <a:spcPts val="100"/>
              </a:spcAft>
            </a:pPr>
            <a:r>
              <a:rPr lang="en-US" sz="800" b="1">
                <a:latin typeface="+mj-lt"/>
                <a:cs typeface="Arial" pitchFamily="34" charset="0"/>
              </a:rPr>
              <a:t>Disclaimer:</a:t>
            </a:r>
          </a:p>
          <a:p>
            <a:pPr algn="just">
              <a:lnSpc>
                <a:spcPct val="120000"/>
              </a:lnSpc>
              <a:spcBef>
                <a:spcPts val="100"/>
              </a:spcBef>
              <a:spcAft>
                <a:spcPts val="100"/>
              </a:spcAft>
            </a:pPr>
            <a:r>
              <a:rPr lang="en-US" sz="800">
                <a:latin typeface="+mj-lt"/>
                <a:cs typeface="Arial" pitchFamily="34" charset="0"/>
              </a:rPr>
              <a:t>This presentation has been prepared by Equirus Capital Pvt. Ltd. (Equirus) for restricted distribution. No representation or warranty, e</a:t>
            </a:r>
            <a:r>
              <a:rPr lang="en-US" sz="800" b="1">
                <a:latin typeface="+mj-lt"/>
                <a:cs typeface="Arial" pitchFamily="34" charset="0"/>
              </a:rPr>
              <a:t>i</a:t>
            </a:r>
            <a:r>
              <a:rPr lang="en-US" sz="800">
                <a:latin typeface="+mj-lt"/>
                <a:cs typeface="Arial" pitchFamily="34" charset="0"/>
              </a:rPr>
              <a:t>ther expressed or implied, is made nor responsibility of any kind is accepted by Equirus Group company, its directors or employees either as to the accuracy or completeness of any information stated in this document. Neither Equirus nor any of its affiliates and/or their directors, officers, employees shall in any way be responsible or liable for any losses or damages whatsoever which any person may suffer or incur as a result of acting or otherwise relying upon anything stated or inferred in or omitted from this presentation.</a:t>
            </a:r>
          </a:p>
          <a:p>
            <a:pPr algn="just">
              <a:lnSpc>
                <a:spcPct val="120000"/>
              </a:lnSpc>
              <a:spcBef>
                <a:spcPts val="100"/>
              </a:spcBef>
              <a:spcAft>
                <a:spcPts val="100"/>
              </a:spcAft>
            </a:pPr>
            <a:r>
              <a:rPr lang="en-US" sz="800">
                <a:latin typeface="+mj-lt"/>
                <a:cs typeface="Arial" pitchFamily="34" charset="0"/>
              </a:rPr>
              <a:t>Opinions and projections found in this presentation reflect our opinion as of the presentation date and are subject to change without notice. This presentation is neither intended nor should be considered as an offer or solicitation, or as the basis for any contract, for purchase of any security, loan or other financial instrument. </a:t>
            </a:r>
          </a:p>
        </p:txBody>
      </p:sp>
      <p:sp>
        <p:nvSpPr>
          <p:cNvPr id="915" name="Rectangle 914">
            <a:extLst>
              <a:ext uri="{FF2B5EF4-FFF2-40B4-BE49-F238E27FC236}">
                <a16:creationId xmlns:a16="http://schemas.microsoft.com/office/drawing/2014/main" id="{B12CDB53-D1BF-426C-8EAE-0E589618A436}"/>
              </a:ext>
            </a:extLst>
          </p:cNvPr>
          <p:cNvSpPr/>
          <p:nvPr userDrawn="1"/>
        </p:nvSpPr>
        <p:spPr>
          <a:xfrm>
            <a:off x="4184650" y="564054"/>
            <a:ext cx="3822700" cy="477054"/>
          </a:xfrm>
          <a:prstGeom prst="rect">
            <a:avLst/>
          </a:prstGeom>
          <a:noFill/>
        </p:spPr>
        <p:txBody>
          <a:bodyPr wrap="square">
            <a:spAutoFit/>
          </a:bodyPr>
          <a:lstStyle/>
          <a:p>
            <a:pPr algn="ctr" defTabSz="1007521">
              <a:lnSpc>
                <a:spcPts val="1500"/>
              </a:lnSpc>
              <a:defRPr/>
            </a:pPr>
            <a:r>
              <a:rPr lang="en-US" sz="1100" b="1">
                <a:latin typeface="+mj-lt"/>
                <a:cs typeface="Arial" pitchFamily="34" charset="0"/>
              </a:rPr>
              <a:t>For any other queries write to us at </a:t>
            </a:r>
            <a:r>
              <a:rPr lang="en-US" sz="1100">
                <a:latin typeface="+mj-lt"/>
                <a:cs typeface="Arial" pitchFamily="34" charset="0"/>
              </a:rPr>
              <a:t> </a:t>
            </a:r>
          </a:p>
          <a:p>
            <a:pPr algn="ctr" defTabSz="1007521">
              <a:lnSpc>
                <a:spcPts val="1500"/>
              </a:lnSpc>
              <a:defRPr/>
            </a:pPr>
            <a:r>
              <a:rPr lang="en-US" sz="1100">
                <a:solidFill>
                  <a:schemeClr val="accent5"/>
                </a:solidFill>
                <a:latin typeface="+mj-lt"/>
                <a:cs typeface="Arial" pitchFamily="34" charset="0"/>
                <a:hlinkClick r:id="rId2"/>
              </a:rPr>
              <a:t>contact@equirus.com</a:t>
            </a:r>
            <a:r>
              <a:rPr lang="en-US" sz="1100">
                <a:solidFill>
                  <a:schemeClr val="accent5"/>
                </a:solidFill>
                <a:latin typeface="+mj-lt"/>
                <a:cs typeface="Arial" pitchFamily="34" charset="0"/>
              </a:rPr>
              <a:t> </a:t>
            </a:r>
          </a:p>
        </p:txBody>
      </p:sp>
      <p:grpSp>
        <p:nvGrpSpPr>
          <p:cNvPr id="4203" name="Group 4202">
            <a:extLst>
              <a:ext uri="{FF2B5EF4-FFF2-40B4-BE49-F238E27FC236}">
                <a16:creationId xmlns:a16="http://schemas.microsoft.com/office/drawing/2014/main" id="{AB1DF952-FCB6-2442-2943-BCC8F83791F4}"/>
              </a:ext>
            </a:extLst>
          </p:cNvPr>
          <p:cNvGrpSpPr/>
          <p:nvPr userDrawn="1"/>
        </p:nvGrpSpPr>
        <p:grpSpPr>
          <a:xfrm>
            <a:off x="6678382" y="274927"/>
            <a:ext cx="5439860" cy="5263358"/>
            <a:chOff x="6678382" y="274927"/>
            <a:chExt cx="5439860" cy="5263358"/>
          </a:xfrm>
        </p:grpSpPr>
        <p:grpSp>
          <p:nvGrpSpPr>
            <p:cNvPr id="4204" name="Group 4203">
              <a:extLst>
                <a:ext uri="{FF2B5EF4-FFF2-40B4-BE49-F238E27FC236}">
                  <a16:creationId xmlns:a16="http://schemas.microsoft.com/office/drawing/2014/main" id="{9C4E7995-27E6-59AC-0391-A27A011DE787}"/>
                </a:ext>
              </a:extLst>
            </p:cNvPr>
            <p:cNvGrpSpPr/>
            <p:nvPr userDrawn="1"/>
          </p:nvGrpSpPr>
          <p:grpSpPr>
            <a:xfrm>
              <a:off x="7154455" y="274927"/>
              <a:ext cx="4527005" cy="5171536"/>
              <a:chOff x="5120293" y="677331"/>
              <a:chExt cx="4848118" cy="5503339"/>
            </a:xfrm>
          </p:grpSpPr>
          <p:grpSp>
            <p:nvGrpSpPr>
              <p:cNvPr id="4222" name="Group 4221">
                <a:extLst>
                  <a:ext uri="{FF2B5EF4-FFF2-40B4-BE49-F238E27FC236}">
                    <a16:creationId xmlns:a16="http://schemas.microsoft.com/office/drawing/2014/main" id="{5A9CD411-9281-5417-9839-69870AFBF4E6}"/>
                  </a:ext>
                </a:extLst>
              </p:cNvPr>
              <p:cNvGrpSpPr>
                <a:grpSpLocks noChangeAspect="1"/>
              </p:cNvGrpSpPr>
              <p:nvPr/>
            </p:nvGrpSpPr>
            <p:grpSpPr>
              <a:xfrm>
                <a:off x="5120293" y="677331"/>
                <a:ext cx="4848118" cy="5503339"/>
                <a:chOff x="3034954" y="-42989"/>
                <a:chExt cx="6029325" cy="6844186"/>
              </a:xfrm>
              <a:solidFill>
                <a:sysClr val="window" lastClr="FFFFFF">
                  <a:lumMod val="85000"/>
                </a:sysClr>
              </a:solidFill>
            </p:grpSpPr>
            <p:sp>
              <p:nvSpPr>
                <p:cNvPr id="4237" name="Oval 4236">
                  <a:extLst>
                    <a:ext uri="{FF2B5EF4-FFF2-40B4-BE49-F238E27FC236}">
                      <a16:creationId xmlns:a16="http://schemas.microsoft.com/office/drawing/2014/main" id="{2D247D9F-13E0-34EF-184B-C0A131415942}"/>
                    </a:ext>
                  </a:extLst>
                </p:cNvPr>
                <p:cNvSpPr>
                  <a:spLocks noChangeAspect="1"/>
                </p:cNvSpPr>
                <p:nvPr/>
              </p:nvSpPr>
              <p:spPr>
                <a:xfrm>
                  <a:off x="4722130" y="-4206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38" name="Oval 4237">
                  <a:extLst>
                    <a:ext uri="{FF2B5EF4-FFF2-40B4-BE49-F238E27FC236}">
                      <a16:creationId xmlns:a16="http://schemas.microsoft.com/office/drawing/2014/main" id="{7805794C-D98A-51B7-E5DC-E42CD67269C0}"/>
                    </a:ext>
                  </a:extLst>
                </p:cNvPr>
                <p:cNvSpPr>
                  <a:spLocks noChangeAspect="1"/>
                </p:cNvSpPr>
                <p:nvPr/>
              </p:nvSpPr>
              <p:spPr>
                <a:xfrm>
                  <a:off x="4554216" y="-4298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39" name="Oval 4238">
                  <a:extLst>
                    <a:ext uri="{FF2B5EF4-FFF2-40B4-BE49-F238E27FC236}">
                      <a16:creationId xmlns:a16="http://schemas.microsoft.com/office/drawing/2014/main" id="{42251497-6912-7A06-B27C-FD28416799A1}"/>
                    </a:ext>
                  </a:extLst>
                </p:cNvPr>
                <p:cNvSpPr>
                  <a:spLocks noChangeAspect="1"/>
                </p:cNvSpPr>
                <p:nvPr/>
              </p:nvSpPr>
              <p:spPr>
                <a:xfrm>
                  <a:off x="4407672" y="-4263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40" name="Oval 4239">
                  <a:extLst>
                    <a:ext uri="{FF2B5EF4-FFF2-40B4-BE49-F238E27FC236}">
                      <a16:creationId xmlns:a16="http://schemas.microsoft.com/office/drawing/2014/main" id="{AE8AD149-2A4E-DAC4-9884-8ED39FBB4290}"/>
                    </a:ext>
                  </a:extLst>
                </p:cNvPr>
                <p:cNvSpPr>
                  <a:spLocks noChangeAspect="1"/>
                </p:cNvSpPr>
                <p:nvPr/>
              </p:nvSpPr>
              <p:spPr>
                <a:xfrm>
                  <a:off x="4256705" y="-4085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41" name="Oval 4240">
                  <a:extLst>
                    <a:ext uri="{FF2B5EF4-FFF2-40B4-BE49-F238E27FC236}">
                      <a16:creationId xmlns:a16="http://schemas.microsoft.com/office/drawing/2014/main" id="{94E93F5D-173E-19B6-E82D-0BE763D4FC69}"/>
                    </a:ext>
                  </a:extLst>
                </p:cNvPr>
                <p:cNvSpPr>
                  <a:spLocks noChangeAspect="1"/>
                </p:cNvSpPr>
                <p:nvPr/>
              </p:nvSpPr>
              <p:spPr>
                <a:xfrm>
                  <a:off x="4867596" y="12907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42" name="Oval 4241">
                  <a:extLst>
                    <a:ext uri="{FF2B5EF4-FFF2-40B4-BE49-F238E27FC236}">
                      <a16:creationId xmlns:a16="http://schemas.microsoft.com/office/drawing/2014/main" id="{C2AE29D6-AF70-A800-A71A-71454DFD8698}"/>
                    </a:ext>
                  </a:extLst>
                </p:cNvPr>
                <p:cNvSpPr>
                  <a:spLocks noChangeAspect="1"/>
                </p:cNvSpPr>
                <p:nvPr/>
              </p:nvSpPr>
              <p:spPr>
                <a:xfrm>
                  <a:off x="4722130" y="12493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43" name="Oval 4242">
                  <a:extLst>
                    <a:ext uri="{FF2B5EF4-FFF2-40B4-BE49-F238E27FC236}">
                      <a16:creationId xmlns:a16="http://schemas.microsoft.com/office/drawing/2014/main" id="{B5E9986F-9262-E113-FA33-D3CA08B12826}"/>
                    </a:ext>
                  </a:extLst>
                </p:cNvPr>
                <p:cNvSpPr>
                  <a:spLocks noChangeAspect="1"/>
                </p:cNvSpPr>
                <p:nvPr/>
              </p:nvSpPr>
              <p:spPr>
                <a:xfrm>
                  <a:off x="4557975" y="12493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44" name="Oval 4243">
                  <a:extLst>
                    <a:ext uri="{FF2B5EF4-FFF2-40B4-BE49-F238E27FC236}">
                      <a16:creationId xmlns:a16="http://schemas.microsoft.com/office/drawing/2014/main" id="{064393D9-499B-D212-E487-BBD73F402B20}"/>
                    </a:ext>
                  </a:extLst>
                </p:cNvPr>
                <p:cNvSpPr>
                  <a:spLocks noChangeAspect="1"/>
                </p:cNvSpPr>
                <p:nvPr/>
              </p:nvSpPr>
              <p:spPr>
                <a:xfrm>
                  <a:off x="4402155" y="12493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45" name="Oval 4244">
                  <a:extLst>
                    <a:ext uri="{FF2B5EF4-FFF2-40B4-BE49-F238E27FC236}">
                      <a16:creationId xmlns:a16="http://schemas.microsoft.com/office/drawing/2014/main" id="{27DA3745-7007-E6AC-098B-15312A3039C7}"/>
                    </a:ext>
                  </a:extLst>
                </p:cNvPr>
                <p:cNvSpPr>
                  <a:spLocks noChangeAspect="1"/>
                </p:cNvSpPr>
                <p:nvPr/>
              </p:nvSpPr>
              <p:spPr>
                <a:xfrm>
                  <a:off x="4256705" y="12907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46" name="Oval 4245">
                  <a:extLst>
                    <a:ext uri="{FF2B5EF4-FFF2-40B4-BE49-F238E27FC236}">
                      <a16:creationId xmlns:a16="http://schemas.microsoft.com/office/drawing/2014/main" id="{E3899108-A73B-7A3A-CF90-0BBF1A407C8B}"/>
                    </a:ext>
                  </a:extLst>
                </p:cNvPr>
                <p:cNvSpPr>
                  <a:spLocks noChangeAspect="1"/>
                </p:cNvSpPr>
                <p:nvPr/>
              </p:nvSpPr>
              <p:spPr>
                <a:xfrm>
                  <a:off x="4115329" y="11740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47" name="Oval 4246">
                  <a:extLst>
                    <a:ext uri="{FF2B5EF4-FFF2-40B4-BE49-F238E27FC236}">
                      <a16:creationId xmlns:a16="http://schemas.microsoft.com/office/drawing/2014/main" id="{7C0642A7-CCB5-0D6C-F4D1-41623A094E3F}"/>
                    </a:ext>
                  </a:extLst>
                </p:cNvPr>
                <p:cNvSpPr>
                  <a:spLocks noChangeAspect="1"/>
                </p:cNvSpPr>
                <p:nvPr/>
              </p:nvSpPr>
              <p:spPr>
                <a:xfrm>
                  <a:off x="5478453" y="27037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48" name="Oval 4247">
                  <a:extLst>
                    <a:ext uri="{FF2B5EF4-FFF2-40B4-BE49-F238E27FC236}">
                      <a16:creationId xmlns:a16="http://schemas.microsoft.com/office/drawing/2014/main" id="{E5C3F532-85A0-65F4-03C0-568F96ED787F}"/>
                    </a:ext>
                  </a:extLst>
                </p:cNvPr>
                <p:cNvSpPr>
                  <a:spLocks noChangeAspect="1"/>
                </p:cNvSpPr>
                <p:nvPr/>
              </p:nvSpPr>
              <p:spPr>
                <a:xfrm>
                  <a:off x="5013029" y="27435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49" name="Oval 4248">
                  <a:extLst>
                    <a:ext uri="{FF2B5EF4-FFF2-40B4-BE49-F238E27FC236}">
                      <a16:creationId xmlns:a16="http://schemas.microsoft.com/office/drawing/2014/main" id="{E00AA7E5-C8EB-B2E5-5E38-D1E254EBEE8B}"/>
                    </a:ext>
                  </a:extLst>
                </p:cNvPr>
                <p:cNvSpPr>
                  <a:spLocks noChangeAspect="1"/>
                </p:cNvSpPr>
                <p:nvPr/>
              </p:nvSpPr>
              <p:spPr>
                <a:xfrm>
                  <a:off x="4867596" y="27037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50" name="Oval 4249">
                  <a:extLst>
                    <a:ext uri="{FF2B5EF4-FFF2-40B4-BE49-F238E27FC236}">
                      <a16:creationId xmlns:a16="http://schemas.microsoft.com/office/drawing/2014/main" id="{FD08AE8C-B6FB-F4C5-9D11-869D17A2D437}"/>
                    </a:ext>
                  </a:extLst>
                </p:cNvPr>
                <p:cNvSpPr>
                  <a:spLocks noChangeAspect="1"/>
                </p:cNvSpPr>
                <p:nvPr/>
              </p:nvSpPr>
              <p:spPr>
                <a:xfrm>
                  <a:off x="4722130" y="27037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51" name="Oval 4250">
                  <a:extLst>
                    <a:ext uri="{FF2B5EF4-FFF2-40B4-BE49-F238E27FC236}">
                      <a16:creationId xmlns:a16="http://schemas.microsoft.com/office/drawing/2014/main" id="{21EB6D70-38F6-F951-CC20-4762AF2CEDC8}"/>
                    </a:ext>
                  </a:extLst>
                </p:cNvPr>
                <p:cNvSpPr>
                  <a:spLocks noChangeAspect="1"/>
                </p:cNvSpPr>
                <p:nvPr/>
              </p:nvSpPr>
              <p:spPr>
                <a:xfrm>
                  <a:off x="4557975" y="27037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52" name="Oval 4251">
                  <a:extLst>
                    <a:ext uri="{FF2B5EF4-FFF2-40B4-BE49-F238E27FC236}">
                      <a16:creationId xmlns:a16="http://schemas.microsoft.com/office/drawing/2014/main" id="{BDCC2200-3019-BB1B-D84C-AAC58841449B}"/>
                    </a:ext>
                  </a:extLst>
                </p:cNvPr>
                <p:cNvSpPr>
                  <a:spLocks noChangeAspect="1"/>
                </p:cNvSpPr>
                <p:nvPr/>
              </p:nvSpPr>
              <p:spPr>
                <a:xfrm>
                  <a:off x="4402155" y="27435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53" name="Oval 4252">
                  <a:extLst>
                    <a:ext uri="{FF2B5EF4-FFF2-40B4-BE49-F238E27FC236}">
                      <a16:creationId xmlns:a16="http://schemas.microsoft.com/office/drawing/2014/main" id="{484A6FA8-A50D-50FC-A12F-E915D8908109}"/>
                    </a:ext>
                  </a:extLst>
                </p:cNvPr>
                <p:cNvSpPr>
                  <a:spLocks noChangeAspect="1"/>
                </p:cNvSpPr>
                <p:nvPr/>
              </p:nvSpPr>
              <p:spPr>
                <a:xfrm>
                  <a:off x="5623919" y="27079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54" name="Oval 4253">
                  <a:extLst>
                    <a:ext uri="{FF2B5EF4-FFF2-40B4-BE49-F238E27FC236}">
                      <a16:creationId xmlns:a16="http://schemas.microsoft.com/office/drawing/2014/main" id="{2CE700A1-F949-105E-AA17-3C2D3FB9521B}"/>
                    </a:ext>
                  </a:extLst>
                </p:cNvPr>
                <p:cNvSpPr>
                  <a:spLocks noChangeAspect="1"/>
                </p:cNvSpPr>
                <p:nvPr/>
              </p:nvSpPr>
              <p:spPr>
                <a:xfrm>
                  <a:off x="5319104" y="27037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55" name="Oval 4254">
                  <a:extLst>
                    <a:ext uri="{FF2B5EF4-FFF2-40B4-BE49-F238E27FC236}">
                      <a16:creationId xmlns:a16="http://schemas.microsoft.com/office/drawing/2014/main" id="{727F28ED-83EF-7890-1E39-FA97D8600BFC}"/>
                    </a:ext>
                  </a:extLst>
                </p:cNvPr>
                <p:cNvSpPr>
                  <a:spLocks noChangeAspect="1"/>
                </p:cNvSpPr>
                <p:nvPr/>
              </p:nvSpPr>
              <p:spPr>
                <a:xfrm>
                  <a:off x="4256705" y="27079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56" name="Oval 4255">
                  <a:extLst>
                    <a:ext uri="{FF2B5EF4-FFF2-40B4-BE49-F238E27FC236}">
                      <a16:creationId xmlns:a16="http://schemas.microsoft.com/office/drawing/2014/main" id="{142D83E3-BF89-B62D-343C-C30965034B00}"/>
                    </a:ext>
                  </a:extLst>
                </p:cNvPr>
                <p:cNvSpPr>
                  <a:spLocks noChangeAspect="1"/>
                </p:cNvSpPr>
                <p:nvPr/>
              </p:nvSpPr>
              <p:spPr>
                <a:xfrm>
                  <a:off x="5478278" y="41582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57" name="Oval 4256">
                  <a:extLst>
                    <a:ext uri="{FF2B5EF4-FFF2-40B4-BE49-F238E27FC236}">
                      <a16:creationId xmlns:a16="http://schemas.microsoft.com/office/drawing/2014/main" id="{0EDDC78C-9F71-0BE0-0CD3-1FA4BC04504C}"/>
                    </a:ext>
                  </a:extLst>
                </p:cNvPr>
                <p:cNvSpPr>
                  <a:spLocks noChangeAspect="1"/>
                </p:cNvSpPr>
                <p:nvPr/>
              </p:nvSpPr>
              <p:spPr>
                <a:xfrm>
                  <a:off x="5333021" y="41582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58" name="Oval 4257">
                  <a:extLst>
                    <a:ext uri="{FF2B5EF4-FFF2-40B4-BE49-F238E27FC236}">
                      <a16:creationId xmlns:a16="http://schemas.microsoft.com/office/drawing/2014/main" id="{060BFE82-5FCC-5ABE-45BE-DE16B0A5C854}"/>
                    </a:ext>
                  </a:extLst>
                </p:cNvPr>
                <p:cNvSpPr>
                  <a:spLocks noChangeAspect="1"/>
                </p:cNvSpPr>
                <p:nvPr/>
              </p:nvSpPr>
              <p:spPr>
                <a:xfrm>
                  <a:off x="5164001" y="42279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59" name="Oval 4258">
                  <a:extLst>
                    <a:ext uri="{FF2B5EF4-FFF2-40B4-BE49-F238E27FC236}">
                      <a16:creationId xmlns:a16="http://schemas.microsoft.com/office/drawing/2014/main" id="{554C461A-2D2B-7D85-BCDE-CA2CC576E69F}"/>
                    </a:ext>
                  </a:extLst>
                </p:cNvPr>
                <p:cNvSpPr>
                  <a:spLocks noChangeAspect="1"/>
                </p:cNvSpPr>
                <p:nvPr/>
              </p:nvSpPr>
              <p:spPr>
                <a:xfrm>
                  <a:off x="5018557" y="42279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60" name="Oval 4259">
                  <a:extLst>
                    <a:ext uri="{FF2B5EF4-FFF2-40B4-BE49-F238E27FC236}">
                      <a16:creationId xmlns:a16="http://schemas.microsoft.com/office/drawing/2014/main" id="{D80B699C-BA60-4AA9-2C54-85BBC261B578}"/>
                    </a:ext>
                  </a:extLst>
                </p:cNvPr>
                <p:cNvSpPr>
                  <a:spLocks noChangeAspect="1"/>
                </p:cNvSpPr>
                <p:nvPr/>
              </p:nvSpPr>
              <p:spPr>
                <a:xfrm>
                  <a:off x="4867401" y="41582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61" name="Oval 4260">
                  <a:extLst>
                    <a:ext uri="{FF2B5EF4-FFF2-40B4-BE49-F238E27FC236}">
                      <a16:creationId xmlns:a16="http://schemas.microsoft.com/office/drawing/2014/main" id="{C691F2E8-C44E-EF64-646E-37BB730EDA72}"/>
                    </a:ext>
                  </a:extLst>
                </p:cNvPr>
                <p:cNvSpPr>
                  <a:spLocks noChangeAspect="1"/>
                </p:cNvSpPr>
                <p:nvPr/>
              </p:nvSpPr>
              <p:spPr>
                <a:xfrm>
                  <a:off x="4722130" y="41582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62" name="Oval 4261">
                  <a:extLst>
                    <a:ext uri="{FF2B5EF4-FFF2-40B4-BE49-F238E27FC236}">
                      <a16:creationId xmlns:a16="http://schemas.microsoft.com/office/drawing/2014/main" id="{A7C086A7-9D3D-85FA-6DBB-E73FE1B229D0}"/>
                    </a:ext>
                  </a:extLst>
                </p:cNvPr>
                <p:cNvSpPr>
                  <a:spLocks noChangeAspect="1"/>
                </p:cNvSpPr>
                <p:nvPr/>
              </p:nvSpPr>
              <p:spPr>
                <a:xfrm>
                  <a:off x="4553118" y="42279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63" name="Oval 4262">
                  <a:extLst>
                    <a:ext uri="{FF2B5EF4-FFF2-40B4-BE49-F238E27FC236}">
                      <a16:creationId xmlns:a16="http://schemas.microsoft.com/office/drawing/2014/main" id="{2432FC15-FFCE-07D9-C379-E6420283324B}"/>
                    </a:ext>
                  </a:extLst>
                </p:cNvPr>
                <p:cNvSpPr>
                  <a:spLocks noChangeAspect="1"/>
                </p:cNvSpPr>
                <p:nvPr/>
              </p:nvSpPr>
              <p:spPr>
                <a:xfrm>
                  <a:off x="4407672" y="42279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64" name="Oval 4263">
                  <a:extLst>
                    <a:ext uri="{FF2B5EF4-FFF2-40B4-BE49-F238E27FC236}">
                      <a16:creationId xmlns:a16="http://schemas.microsoft.com/office/drawing/2014/main" id="{4905F872-60DD-5F23-E199-107E610B6684}"/>
                    </a:ext>
                  </a:extLst>
                </p:cNvPr>
                <p:cNvSpPr>
                  <a:spLocks noChangeAspect="1"/>
                </p:cNvSpPr>
                <p:nvPr/>
              </p:nvSpPr>
              <p:spPr>
                <a:xfrm>
                  <a:off x="5482530" y="58283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65" name="Oval 4264">
                  <a:extLst>
                    <a:ext uri="{FF2B5EF4-FFF2-40B4-BE49-F238E27FC236}">
                      <a16:creationId xmlns:a16="http://schemas.microsoft.com/office/drawing/2014/main" id="{BFFC1FC5-8127-E715-8088-AB1C4C79D967}"/>
                    </a:ext>
                  </a:extLst>
                </p:cNvPr>
                <p:cNvSpPr>
                  <a:spLocks noChangeAspect="1"/>
                </p:cNvSpPr>
                <p:nvPr/>
              </p:nvSpPr>
              <p:spPr>
                <a:xfrm>
                  <a:off x="5337086" y="58283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66" name="Oval 4265">
                  <a:extLst>
                    <a:ext uri="{FF2B5EF4-FFF2-40B4-BE49-F238E27FC236}">
                      <a16:creationId xmlns:a16="http://schemas.microsoft.com/office/drawing/2014/main" id="{C1D1B408-1A0A-81F9-6B90-9BA0A52DDD2C}"/>
                    </a:ext>
                  </a:extLst>
                </p:cNvPr>
                <p:cNvSpPr>
                  <a:spLocks noChangeAspect="1"/>
                </p:cNvSpPr>
                <p:nvPr/>
              </p:nvSpPr>
              <p:spPr>
                <a:xfrm>
                  <a:off x="5164001" y="56823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67" name="Oval 4266">
                  <a:extLst>
                    <a:ext uri="{FF2B5EF4-FFF2-40B4-BE49-F238E27FC236}">
                      <a16:creationId xmlns:a16="http://schemas.microsoft.com/office/drawing/2014/main" id="{FEC0DC59-C228-0C6F-4F0B-A8E4337FD9FE}"/>
                    </a:ext>
                  </a:extLst>
                </p:cNvPr>
                <p:cNvSpPr>
                  <a:spLocks noChangeAspect="1"/>
                </p:cNvSpPr>
                <p:nvPr/>
              </p:nvSpPr>
              <p:spPr>
                <a:xfrm>
                  <a:off x="5015939" y="57581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68" name="Oval 4267">
                  <a:extLst>
                    <a:ext uri="{FF2B5EF4-FFF2-40B4-BE49-F238E27FC236}">
                      <a16:creationId xmlns:a16="http://schemas.microsoft.com/office/drawing/2014/main" id="{87DE1908-12BB-03EE-CBA8-4A9624B3EB0F}"/>
                    </a:ext>
                  </a:extLst>
                </p:cNvPr>
                <p:cNvSpPr>
                  <a:spLocks noChangeAspect="1"/>
                </p:cNvSpPr>
                <p:nvPr/>
              </p:nvSpPr>
              <p:spPr>
                <a:xfrm>
                  <a:off x="4871661" y="58283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69" name="Oval 4268">
                  <a:extLst>
                    <a:ext uri="{FF2B5EF4-FFF2-40B4-BE49-F238E27FC236}">
                      <a16:creationId xmlns:a16="http://schemas.microsoft.com/office/drawing/2014/main" id="{0415ACC6-6E64-6EA6-8D1C-7B1512110FDA}"/>
                    </a:ext>
                  </a:extLst>
                </p:cNvPr>
                <p:cNvSpPr>
                  <a:spLocks noChangeAspect="1"/>
                </p:cNvSpPr>
                <p:nvPr/>
              </p:nvSpPr>
              <p:spPr>
                <a:xfrm>
                  <a:off x="4726207" y="58283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70" name="Oval 4269">
                  <a:extLst>
                    <a:ext uri="{FF2B5EF4-FFF2-40B4-BE49-F238E27FC236}">
                      <a16:creationId xmlns:a16="http://schemas.microsoft.com/office/drawing/2014/main" id="{EDDC6CF1-2985-7800-11EF-D9B20A393131}"/>
                    </a:ext>
                  </a:extLst>
                </p:cNvPr>
                <p:cNvSpPr>
                  <a:spLocks noChangeAspect="1"/>
                </p:cNvSpPr>
                <p:nvPr/>
              </p:nvSpPr>
              <p:spPr>
                <a:xfrm>
                  <a:off x="4554216" y="56788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71" name="Oval 4270">
                  <a:extLst>
                    <a:ext uri="{FF2B5EF4-FFF2-40B4-BE49-F238E27FC236}">
                      <a16:creationId xmlns:a16="http://schemas.microsoft.com/office/drawing/2014/main" id="{50AE50B9-811F-0104-5708-019D44B86755}"/>
                    </a:ext>
                  </a:extLst>
                </p:cNvPr>
                <p:cNvSpPr>
                  <a:spLocks noChangeAspect="1"/>
                </p:cNvSpPr>
                <p:nvPr/>
              </p:nvSpPr>
              <p:spPr>
                <a:xfrm>
                  <a:off x="4407672" y="56823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72" name="Oval 4271">
                  <a:extLst>
                    <a:ext uri="{FF2B5EF4-FFF2-40B4-BE49-F238E27FC236}">
                      <a16:creationId xmlns:a16="http://schemas.microsoft.com/office/drawing/2014/main" id="{F862ECB6-6E8B-8B0C-888B-6FFC0D2749C3}"/>
                    </a:ext>
                  </a:extLst>
                </p:cNvPr>
                <p:cNvSpPr>
                  <a:spLocks noChangeAspect="1"/>
                </p:cNvSpPr>
                <p:nvPr/>
              </p:nvSpPr>
              <p:spPr>
                <a:xfrm>
                  <a:off x="4256705" y="57002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73" name="Oval 4272">
                  <a:extLst>
                    <a:ext uri="{FF2B5EF4-FFF2-40B4-BE49-F238E27FC236}">
                      <a16:creationId xmlns:a16="http://schemas.microsoft.com/office/drawing/2014/main" id="{F9EDA232-B973-D320-55E8-A0CE7352D463}"/>
                    </a:ext>
                  </a:extLst>
                </p:cNvPr>
                <p:cNvSpPr>
                  <a:spLocks noChangeAspect="1"/>
                </p:cNvSpPr>
                <p:nvPr/>
              </p:nvSpPr>
              <p:spPr>
                <a:xfrm>
                  <a:off x="5333021" y="73580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74" name="Oval 4273">
                  <a:extLst>
                    <a:ext uri="{FF2B5EF4-FFF2-40B4-BE49-F238E27FC236}">
                      <a16:creationId xmlns:a16="http://schemas.microsoft.com/office/drawing/2014/main" id="{D5013609-7817-FCC8-904E-EEEFDEE81B7F}"/>
                    </a:ext>
                  </a:extLst>
                </p:cNvPr>
                <p:cNvSpPr>
                  <a:spLocks noChangeAspect="1"/>
                </p:cNvSpPr>
                <p:nvPr/>
              </p:nvSpPr>
              <p:spPr>
                <a:xfrm>
                  <a:off x="5168854" y="73580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75" name="Oval 4274">
                  <a:extLst>
                    <a:ext uri="{FF2B5EF4-FFF2-40B4-BE49-F238E27FC236}">
                      <a16:creationId xmlns:a16="http://schemas.microsoft.com/office/drawing/2014/main" id="{B44C9BBA-3316-5B83-419A-B43E0C92D89D}"/>
                    </a:ext>
                  </a:extLst>
                </p:cNvPr>
                <p:cNvSpPr>
                  <a:spLocks noChangeAspect="1"/>
                </p:cNvSpPr>
                <p:nvPr/>
              </p:nvSpPr>
              <p:spPr>
                <a:xfrm>
                  <a:off x="5013029" y="73994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76" name="Oval 4275">
                  <a:extLst>
                    <a:ext uri="{FF2B5EF4-FFF2-40B4-BE49-F238E27FC236}">
                      <a16:creationId xmlns:a16="http://schemas.microsoft.com/office/drawing/2014/main" id="{2849EB5C-6480-6355-E2A8-05F72411EEF4}"/>
                    </a:ext>
                  </a:extLst>
                </p:cNvPr>
                <p:cNvSpPr>
                  <a:spLocks noChangeAspect="1"/>
                </p:cNvSpPr>
                <p:nvPr/>
              </p:nvSpPr>
              <p:spPr>
                <a:xfrm>
                  <a:off x="4867596" y="73580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77" name="Oval 4276">
                  <a:extLst>
                    <a:ext uri="{FF2B5EF4-FFF2-40B4-BE49-F238E27FC236}">
                      <a16:creationId xmlns:a16="http://schemas.microsoft.com/office/drawing/2014/main" id="{973B7E88-CE15-A24A-22B4-3F1C3F26DF18}"/>
                    </a:ext>
                  </a:extLst>
                </p:cNvPr>
                <p:cNvSpPr>
                  <a:spLocks noChangeAspect="1"/>
                </p:cNvSpPr>
                <p:nvPr/>
              </p:nvSpPr>
              <p:spPr>
                <a:xfrm>
                  <a:off x="4722130" y="73580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78" name="Oval 4277">
                  <a:extLst>
                    <a:ext uri="{FF2B5EF4-FFF2-40B4-BE49-F238E27FC236}">
                      <a16:creationId xmlns:a16="http://schemas.microsoft.com/office/drawing/2014/main" id="{A4481EAD-FE57-42B0-54C0-82497DCAD11A}"/>
                    </a:ext>
                  </a:extLst>
                </p:cNvPr>
                <p:cNvSpPr>
                  <a:spLocks noChangeAspect="1"/>
                </p:cNvSpPr>
                <p:nvPr/>
              </p:nvSpPr>
              <p:spPr>
                <a:xfrm>
                  <a:off x="4557975" y="73580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79" name="Oval 4278">
                  <a:extLst>
                    <a:ext uri="{FF2B5EF4-FFF2-40B4-BE49-F238E27FC236}">
                      <a16:creationId xmlns:a16="http://schemas.microsoft.com/office/drawing/2014/main" id="{2018B246-9D95-AA4F-C55E-B8CCA5EE5288}"/>
                    </a:ext>
                  </a:extLst>
                </p:cNvPr>
                <p:cNvSpPr>
                  <a:spLocks noChangeAspect="1"/>
                </p:cNvSpPr>
                <p:nvPr/>
              </p:nvSpPr>
              <p:spPr>
                <a:xfrm>
                  <a:off x="4402155" y="73580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80" name="Oval 4279">
                  <a:extLst>
                    <a:ext uri="{FF2B5EF4-FFF2-40B4-BE49-F238E27FC236}">
                      <a16:creationId xmlns:a16="http://schemas.microsoft.com/office/drawing/2014/main" id="{E66E931F-F67C-7CFF-83DF-F4BE7118D109}"/>
                    </a:ext>
                  </a:extLst>
                </p:cNvPr>
                <p:cNvSpPr>
                  <a:spLocks noChangeAspect="1"/>
                </p:cNvSpPr>
                <p:nvPr/>
              </p:nvSpPr>
              <p:spPr>
                <a:xfrm>
                  <a:off x="4256705" y="73994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81" name="Oval 4280">
                  <a:extLst>
                    <a:ext uri="{FF2B5EF4-FFF2-40B4-BE49-F238E27FC236}">
                      <a16:creationId xmlns:a16="http://schemas.microsoft.com/office/drawing/2014/main" id="{851F7CE4-73EA-7131-ACE3-7ACACF757CED}"/>
                    </a:ext>
                  </a:extLst>
                </p:cNvPr>
                <p:cNvSpPr>
                  <a:spLocks noChangeAspect="1"/>
                </p:cNvSpPr>
                <p:nvPr/>
              </p:nvSpPr>
              <p:spPr>
                <a:xfrm>
                  <a:off x="5478149" y="88125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82" name="Oval 4281">
                  <a:extLst>
                    <a:ext uri="{FF2B5EF4-FFF2-40B4-BE49-F238E27FC236}">
                      <a16:creationId xmlns:a16="http://schemas.microsoft.com/office/drawing/2014/main" id="{60894126-19F2-D93E-1B1E-64E6246F5C38}"/>
                    </a:ext>
                  </a:extLst>
                </p:cNvPr>
                <p:cNvSpPr>
                  <a:spLocks noChangeAspect="1"/>
                </p:cNvSpPr>
                <p:nvPr/>
              </p:nvSpPr>
              <p:spPr>
                <a:xfrm>
                  <a:off x="5332706" y="88125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83" name="Oval 4282">
                  <a:extLst>
                    <a:ext uri="{FF2B5EF4-FFF2-40B4-BE49-F238E27FC236}">
                      <a16:creationId xmlns:a16="http://schemas.microsoft.com/office/drawing/2014/main" id="{4CC4CE61-09C0-297A-7793-8F86E71476A7}"/>
                    </a:ext>
                  </a:extLst>
                </p:cNvPr>
                <p:cNvSpPr>
                  <a:spLocks noChangeAspect="1"/>
                </p:cNvSpPr>
                <p:nvPr/>
              </p:nvSpPr>
              <p:spPr>
                <a:xfrm>
                  <a:off x="5167225" y="88125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84" name="Oval 4283">
                  <a:extLst>
                    <a:ext uri="{FF2B5EF4-FFF2-40B4-BE49-F238E27FC236}">
                      <a16:creationId xmlns:a16="http://schemas.microsoft.com/office/drawing/2014/main" id="{B0D6542C-EF68-DA07-EB20-8488E0CAE7C5}"/>
                    </a:ext>
                  </a:extLst>
                </p:cNvPr>
                <p:cNvSpPr>
                  <a:spLocks noChangeAspect="1"/>
                </p:cNvSpPr>
                <p:nvPr/>
              </p:nvSpPr>
              <p:spPr>
                <a:xfrm>
                  <a:off x="5012002" y="88578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85" name="Oval 4284">
                  <a:extLst>
                    <a:ext uri="{FF2B5EF4-FFF2-40B4-BE49-F238E27FC236}">
                      <a16:creationId xmlns:a16="http://schemas.microsoft.com/office/drawing/2014/main" id="{19EF37C4-573A-3AFB-28E7-585D1CE85505}"/>
                    </a:ext>
                  </a:extLst>
                </p:cNvPr>
                <p:cNvSpPr>
                  <a:spLocks noChangeAspect="1"/>
                </p:cNvSpPr>
                <p:nvPr/>
              </p:nvSpPr>
              <p:spPr>
                <a:xfrm>
                  <a:off x="4867281" y="88125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86" name="Oval 4285">
                  <a:extLst>
                    <a:ext uri="{FF2B5EF4-FFF2-40B4-BE49-F238E27FC236}">
                      <a16:creationId xmlns:a16="http://schemas.microsoft.com/office/drawing/2014/main" id="{670B2786-D967-D193-A938-CC32A631E28D}"/>
                    </a:ext>
                  </a:extLst>
                </p:cNvPr>
                <p:cNvSpPr>
                  <a:spLocks noChangeAspect="1"/>
                </p:cNvSpPr>
                <p:nvPr/>
              </p:nvSpPr>
              <p:spPr>
                <a:xfrm>
                  <a:off x="4721826" y="88125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87" name="Oval 4286">
                  <a:extLst>
                    <a:ext uri="{FF2B5EF4-FFF2-40B4-BE49-F238E27FC236}">
                      <a16:creationId xmlns:a16="http://schemas.microsoft.com/office/drawing/2014/main" id="{D288ABDA-7408-85BA-21A2-90C273081749}"/>
                    </a:ext>
                  </a:extLst>
                </p:cNvPr>
                <p:cNvSpPr>
                  <a:spLocks noChangeAspect="1"/>
                </p:cNvSpPr>
                <p:nvPr/>
              </p:nvSpPr>
              <p:spPr>
                <a:xfrm>
                  <a:off x="4562231" y="88345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88" name="Oval 4287">
                  <a:extLst>
                    <a:ext uri="{FF2B5EF4-FFF2-40B4-BE49-F238E27FC236}">
                      <a16:creationId xmlns:a16="http://schemas.microsoft.com/office/drawing/2014/main" id="{29047AE5-E830-DA2B-A944-B826507C19DA}"/>
                    </a:ext>
                  </a:extLst>
                </p:cNvPr>
                <p:cNvSpPr>
                  <a:spLocks noChangeAspect="1"/>
                </p:cNvSpPr>
                <p:nvPr/>
              </p:nvSpPr>
              <p:spPr>
                <a:xfrm>
                  <a:off x="4407672" y="88822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89" name="Oval 4288">
                  <a:extLst>
                    <a:ext uri="{FF2B5EF4-FFF2-40B4-BE49-F238E27FC236}">
                      <a16:creationId xmlns:a16="http://schemas.microsoft.com/office/drawing/2014/main" id="{CD94AB9C-0B85-EBF5-D267-9CB50A81DE36}"/>
                    </a:ext>
                  </a:extLst>
                </p:cNvPr>
                <p:cNvSpPr>
                  <a:spLocks noChangeAspect="1"/>
                </p:cNvSpPr>
                <p:nvPr/>
              </p:nvSpPr>
              <p:spPr>
                <a:xfrm>
                  <a:off x="5478453" y="102670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90" name="Oval 4289">
                  <a:extLst>
                    <a:ext uri="{FF2B5EF4-FFF2-40B4-BE49-F238E27FC236}">
                      <a16:creationId xmlns:a16="http://schemas.microsoft.com/office/drawing/2014/main" id="{CDA34696-0A07-A1EA-3686-AE984C9469D4}"/>
                    </a:ext>
                  </a:extLst>
                </p:cNvPr>
                <p:cNvSpPr>
                  <a:spLocks noChangeAspect="1"/>
                </p:cNvSpPr>
                <p:nvPr/>
              </p:nvSpPr>
              <p:spPr>
                <a:xfrm>
                  <a:off x="5164001" y="103366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91" name="Oval 4290">
                  <a:extLst>
                    <a:ext uri="{FF2B5EF4-FFF2-40B4-BE49-F238E27FC236}">
                      <a16:creationId xmlns:a16="http://schemas.microsoft.com/office/drawing/2014/main" id="{A5708E9C-A538-27D6-E7ED-93674FAD4687}"/>
                    </a:ext>
                  </a:extLst>
                </p:cNvPr>
                <p:cNvSpPr>
                  <a:spLocks noChangeAspect="1"/>
                </p:cNvSpPr>
                <p:nvPr/>
              </p:nvSpPr>
              <p:spPr>
                <a:xfrm>
                  <a:off x="5018557" y="103366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92" name="Oval 4291">
                  <a:extLst>
                    <a:ext uri="{FF2B5EF4-FFF2-40B4-BE49-F238E27FC236}">
                      <a16:creationId xmlns:a16="http://schemas.microsoft.com/office/drawing/2014/main" id="{2AF28395-AB94-2826-AAC0-92186DEE92EA}"/>
                    </a:ext>
                  </a:extLst>
                </p:cNvPr>
                <p:cNvSpPr>
                  <a:spLocks noChangeAspect="1"/>
                </p:cNvSpPr>
                <p:nvPr/>
              </p:nvSpPr>
              <p:spPr>
                <a:xfrm>
                  <a:off x="4871575" y="103423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93" name="Oval 4292">
                  <a:extLst>
                    <a:ext uri="{FF2B5EF4-FFF2-40B4-BE49-F238E27FC236}">
                      <a16:creationId xmlns:a16="http://schemas.microsoft.com/office/drawing/2014/main" id="{104CEF16-1410-FBA8-9B9C-E9F642E46101}"/>
                    </a:ext>
                  </a:extLst>
                </p:cNvPr>
                <p:cNvSpPr>
                  <a:spLocks noChangeAspect="1"/>
                </p:cNvSpPr>
                <p:nvPr/>
              </p:nvSpPr>
              <p:spPr>
                <a:xfrm>
                  <a:off x="4722130" y="102670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94" name="Oval 4293">
                  <a:extLst>
                    <a:ext uri="{FF2B5EF4-FFF2-40B4-BE49-F238E27FC236}">
                      <a16:creationId xmlns:a16="http://schemas.microsoft.com/office/drawing/2014/main" id="{01BDA8EA-BF0F-FDFA-5BDE-482BAFA0480E}"/>
                    </a:ext>
                  </a:extLst>
                </p:cNvPr>
                <p:cNvSpPr>
                  <a:spLocks noChangeAspect="1"/>
                </p:cNvSpPr>
                <p:nvPr/>
              </p:nvSpPr>
              <p:spPr>
                <a:xfrm>
                  <a:off x="5166618" y="118475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95" name="Oval 4294">
                  <a:extLst>
                    <a:ext uri="{FF2B5EF4-FFF2-40B4-BE49-F238E27FC236}">
                      <a16:creationId xmlns:a16="http://schemas.microsoft.com/office/drawing/2014/main" id="{1E019464-94AF-C722-CDB8-857D4073BE19}"/>
                    </a:ext>
                  </a:extLst>
                </p:cNvPr>
                <p:cNvSpPr>
                  <a:spLocks noChangeAspect="1"/>
                </p:cNvSpPr>
                <p:nvPr/>
              </p:nvSpPr>
              <p:spPr>
                <a:xfrm>
                  <a:off x="5013029" y="118475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96" name="Oval 4295">
                  <a:extLst>
                    <a:ext uri="{FF2B5EF4-FFF2-40B4-BE49-F238E27FC236}">
                      <a16:creationId xmlns:a16="http://schemas.microsoft.com/office/drawing/2014/main" id="{E59436AA-F399-0956-F0E6-8A08D409CE2A}"/>
                    </a:ext>
                  </a:extLst>
                </p:cNvPr>
                <p:cNvSpPr>
                  <a:spLocks noChangeAspect="1"/>
                </p:cNvSpPr>
                <p:nvPr/>
              </p:nvSpPr>
              <p:spPr>
                <a:xfrm>
                  <a:off x="4871661" y="119370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97" name="Oval 4296">
                  <a:extLst>
                    <a:ext uri="{FF2B5EF4-FFF2-40B4-BE49-F238E27FC236}">
                      <a16:creationId xmlns:a16="http://schemas.microsoft.com/office/drawing/2014/main" id="{35896FA7-FA99-9D19-FA77-FA5183CBD151}"/>
                    </a:ext>
                  </a:extLst>
                </p:cNvPr>
                <p:cNvSpPr>
                  <a:spLocks noChangeAspect="1"/>
                </p:cNvSpPr>
                <p:nvPr/>
              </p:nvSpPr>
              <p:spPr>
                <a:xfrm>
                  <a:off x="4726207" y="119370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98" name="Oval 4297">
                  <a:extLst>
                    <a:ext uri="{FF2B5EF4-FFF2-40B4-BE49-F238E27FC236}">
                      <a16:creationId xmlns:a16="http://schemas.microsoft.com/office/drawing/2014/main" id="{285B770C-F1AA-B4A0-A45A-D27B538738C4}"/>
                    </a:ext>
                  </a:extLst>
                </p:cNvPr>
                <p:cNvSpPr>
                  <a:spLocks noChangeAspect="1"/>
                </p:cNvSpPr>
                <p:nvPr/>
              </p:nvSpPr>
              <p:spPr>
                <a:xfrm>
                  <a:off x="4554780" y="117953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99" name="Oval 4298">
                  <a:extLst>
                    <a:ext uri="{FF2B5EF4-FFF2-40B4-BE49-F238E27FC236}">
                      <a16:creationId xmlns:a16="http://schemas.microsoft.com/office/drawing/2014/main" id="{B53C830B-C545-CFB3-7942-6EA7B0CA5C0C}"/>
                    </a:ext>
                  </a:extLst>
                </p:cNvPr>
                <p:cNvSpPr>
                  <a:spLocks noChangeAspect="1"/>
                </p:cNvSpPr>
                <p:nvPr/>
              </p:nvSpPr>
              <p:spPr>
                <a:xfrm>
                  <a:off x="5333021" y="134667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00" name="Oval 4299">
                  <a:extLst>
                    <a:ext uri="{FF2B5EF4-FFF2-40B4-BE49-F238E27FC236}">
                      <a16:creationId xmlns:a16="http://schemas.microsoft.com/office/drawing/2014/main" id="{40723F18-EE61-6020-8753-E335CC85FD1D}"/>
                    </a:ext>
                  </a:extLst>
                </p:cNvPr>
                <p:cNvSpPr>
                  <a:spLocks noChangeAspect="1"/>
                </p:cNvSpPr>
                <p:nvPr/>
              </p:nvSpPr>
              <p:spPr>
                <a:xfrm>
                  <a:off x="5164318" y="135193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01" name="Oval 4300">
                  <a:extLst>
                    <a:ext uri="{FF2B5EF4-FFF2-40B4-BE49-F238E27FC236}">
                      <a16:creationId xmlns:a16="http://schemas.microsoft.com/office/drawing/2014/main" id="{DD1DA018-4C3E-CCA6-5557-25DBB65D3B1C}"/>
                    </a:ext>
                  </a:extLst>
                </p:cNvPr>
                <p:cNvSpPr>
                  <a:spLocks noChangeAspect="1"/>
                </p:cNvSpPr>
                <p:nvPr/>
              </p:nvSpPr>
              <p:spPr>
                <a:xfrm>
                  <a:off x="5013029" y="135081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02" name="Oval 4301">
                  <a:extLst>
                    <a:ext uri="{FF2B5EF4-FFF2-40B4-BE49-F238E27FC236}">
                      <a16:creationId xmlns:a16="http://schemas.microsoft.com/office/drawing/2014/main" id="{CA7B9921-DACF-3AE6-8365-B6341A4EA2F2}"/>
                    </a:ext>
                  </a:extLst>
                </p:cNvPr>
                <p:cNvSpPr>
                  <a:spLocks noChangeAspect="1"/>
                </p:cNvSpPr>
                <p:nvPr/>
              </p:nvSpPr>
              <p:spPr>
                <a:xfrm>
                  <a:off x="4867596" y="134667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03" name="Oval 4302">
                  <a:extLst>
                    <a:ext uri="{FF2B5EF4-FFF2-40B4-BE49-F238E27FC236}">
                      <a16:creationId xmlns:a16="http://schemas.microsoft.com/office/drawing/2014/main" id="{9B351AEF-014B-F18B-BC50-C8791664F41F}"/>
                    </a:ext>
                  </a:extLst>
                </p:cNvPr>
                <p:cNvSpPr>
                  <a:spLocks noChangeAspect="1"/>
                </p:cNvSpPr>
                <p:nvPr/>
              </p:nvSpPr>
              <p:spPr>
                <a:xfrm>
                  <a:off x="4722130" y="134667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04" name="Oval 4303">
                  <a:extLst>
                    <a:ext uri="{FF2B5EF4-FFF2-40B4-BE49-F238E27FC236}">
                      <a16:creationId xmlns:a16="http://schemas.microsoft.com/office/drawing/2014/main" id="{DDDEB684-2CDD-AFAF-36E7-FF5B6AAEE397}"/>
                    </a:ext>
                  </a:extLst>
                </p:cNvPr>
                <p:cNvSpPr>
                  <a:spLocks noChangeAspect="1"/>
                </p:cNvSpPr>
                <p:nvPr/>
              </p:nvSpPr>
              <p:spPr>
                <a:xfrm>
                  <a:off x="4557975" y="134667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05" name="Oval 4304">
                  <a:extLst>
                    <a:ext uri="{FF2B5EF4-FFF2-40B4-BE49-F238E27FC236}">
                      <a16:creationId xmlns:a16="http://schemas.microsoft.com/office/drawing/2014/main" id="{E4A6BCD5-922F-BAE8-786E-8372301703D0}"/>
                    </a:ext>
                  </a:extLst>
                </p:cNvPr>
                <p:cNvSpPr>
                  <a:spLocks noChangeAspect="1"/>
                </p:cNvSpPr>
                <p:nvPr/>
              </p:nvSpPr>
              <p:spPr>
                <a:xfrm>
                  <a:off x="4402155" y="134667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06" name="Oval 4305">
                  <a:extLst>
                    <a:ext uri="{FF2B5EF4-FFF2-40B4-BE49-F238E27FC236}">
                      <a16:creationId xmlns:a16="http://schemas.microsoft.com/office/drawing/2014/main" id="{45337CC1-818E-1D41-2092-671527C14D04}"/>
                    </a:ext>
                  </a:extLst>
                </p:cNvPr>
                <p:cNvSpPr>
                  <a:spLocks noChangeAspect="1"/>
                </p:cNvSpPr>
                <p:nvPr/>
              </p:nvSpPr>
              <p:spPr>
                <a:xfrm>
                  <a:off x="5622884" y="149664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07" name="Oval 4306">
                  <a:extLst>
                    <a:ext uri="{FF2B5EF4-FFF2-40B4-BE49-F238E27FC236}">
                      <a16:creationId xmlns:a16="http://schemas.microsoft.com/office/drawing/2014/main" id="{CB64FFB0-C854-924B-59AA-1BB331FAF141}"/>
                    </a:ext>
                  </a:extLst>
                </p:cNvPr>
                <p:cNvSpPr>
                  <a:spLocks noChangeAspect="1"/>
                </p:cNvSpPr>
                <p:nvPr/>
              </p:nvSpPr>
              <p:spPr>
                <a:xfrm>
                  <a:off x="5478149" y="149214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08" name="Oval 4307">
                  <a:extLst>
                    <a:ext uri="{FF2B5EF4-FFF2-40B4-BE49-F238E27FC236}">
                      <a16:creationId xmlns:a16="http://schemas.microsoft.com/office/drawing/2014/main" id="{2274B5E9-9D1D-9666-58C6-C113642D3E7C}"/>
                    </a:ext>
                  </a:extLst>
                </p:cNvPr>
                <p:cNvSpPr>
                  <a:spLocks noChangeAspect="1"/>
                </p:cNvSpPr>
                <p:nvPr/>
              </p:nvSpPr>
              <p:spPr>
                <a:xfrm>
                  <a:off x="5332706" y="149214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09" name="Oval 4308">
                  <a:extLst>
                    <a:ext uri="{FF2B5EF4-FFF2-40B4-BE49-F238E27FC236}">
                      <a16:creationId xmlns:a16="http://schemas.microsoft.com/office/drawing/2014/main" id="{1E4232A1-CADE-43F6-FD89-FF7AB4B86455}"/>
                    </a:ext>
                  </a:extLst>
                </p:cNvPr>
                <p:cNvSpPr>
                  <a:spLocks noChangeAspect="1"/>
                </p:cNvSpPr>
                <p:nvPr/>
              </p:nvSpPr>
              <p:spPr>
                <a:xfrm>
                  <a:off x="5164001" y="149909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10" name="Oval 4309">
                  <a:extLst>
                    <a:ext uri="{FF2B5EF4-FFF2-40B4-BE49-F238E27FC236}">
                      <a16:creationId xmlns:a16="http://schemas.microsoft.com/office/drawing/2014/main" id="{596EED22-5A71-4583-014C-720E9FB093D2}"/>
                    </a:ext>
                  </a:extLst>
                </p:cNvPr>
                <p:cNvSpPr>
                  <a:spLocks noChangeAspect="1"/>
                </p:cNvSpPr>
                <p:nvPr/>
              </p:nvSpPr>
              <p:spPr>
                <a:xfrm>
                  <a:off x="5012002" y="149664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11" name="Oval 4310">
                  <a:extLst>
                    <a:ext uri="{FF2B5EF4-FFF2-40B4-BE49-F238E27FC236}">
                      <a16:creationId xmlns:a16="http://schemas.microsoft.com/office/drawing/2014/main" id="{086E2589-D148-5AB4-91F0-848F456391C0}"/>
                    </a:ext>
                  </a:extLst>
                </p:cNvPr>
                <p:cNvSpPr>
                  <a:spLocks noChangeAspect="1"/>
                </p:cNvSpPr>
                <p:nvPr/>
              </p:nvSpPr>
              <p:spPr>
                <a:xfrm>
                  <a:off x="4867281" y="1492145"/>
                  <a:ext cx="95108"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12" name="Oval 4311">
                  <a:extLst>
                    <a:ext uri="{FF2B5EF4-FFF2-40B4-BE49-F238E27FC236}">
                      <a16:creationId xmlns:a16="http://schemas.microsoft.com/office/drawing/2014/main" id="{639817B3-22F4-E239-8016-9EB44B3DA549}"/>
                    </a:ext>
                  </a:extLst>
                </p:cNvPr>
                <p:cNvSpPr>
                  <a:spLocks noChangeAspect="1"/>
                </p:cNvSpPr>
                <p:nvPr/>
              </p:nvSpPr>
              <p:spPr>
                <a:xfrm>
                  <a:off x="4721826" y="149214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13" name="Oval 4312">
                  <a:extLst>
                    <a:ext uri="{FF2B5EF4-FFF2-40B4-BE49-F238E27FC236}">
                      <a16:creationId xmlns:a16="http://schemas.microsoft.com/office/drawing/2014/main" id="{636C40DC-7D59-CA6B-E18E-E65D60324A6D}"/>
                    </a:ext>
                  </a:extLst>
                </p:cNvPr>
                <p:cNvSpPr>
                  <a:spLocks noChangeAspect="1"/>
                </p:cNvSpPr>
                <p:nvPr/>
              </p:nvSpPr>
              <p:spPr>
                <a:xfrm>
                  <a:off x="4554224" y="149214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14" name="Oval 4313">
                  <a:extLst>
                    <a:ext uri="{FF2B5EF4-FFF2-40B4-BE49-F238E27FC236}">
                      <a16:creationId xmlns:a16="http://schemas.microsoft.com/office/drawing/2014/main" id="{1314D110-D8A6-8F51-3FE7-6070810B0B01}"/>
                    </a:ext>
                  </a:extLst>
                </p:cNvPr>
                <p:cNvSpPr>
                  <a:spLocks noChangeAspect="1"/>
                </p:cNvSpPr>
                <p:nvPr/>
              </p:nvSpPr>
              <p:spPr>
                <a:xfrm>
                  <a:off x="4407672" y="149909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15" name="Oval 4314">
                  <a:extLst>
                    <a:ext uri="{FF2B5EF4-FFF2-40B4-BE49-F238E27FC236}">
                      <a16:creationId xmlns:a16="http://schemas.microsoft.com/office/drawing/2014/main" id="{3EBE0B0A-F964-4105-8E28-6BA35F83A7A6}"/>
                    </a:ext>
                  </a:extLst>
                </p:cNvPr>
                <p:cNvSpPr>
                  <a:spLocks noChangeAspect="1"/>
                </p:cNvSpPr>
                <p:nvPr/>
              </p:nvSpPr>
              <p:spPr>
                <a:xfrm>
                  <a:off x="8823739" y="163757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16" name="Oval 4315">
                  <a:extLst>
                    <a:ext uri="{FF2B5EF4-FFF2-40B4-BE49-F238E27FC236}">
                      <a16:creationId xmlns:a16="http://schemas.microsoft.com/office/drawing/2014/main" id="{99511CC0-FBE5-B09E-EEDE-BA4F7C1FE9DF}"/>
                    </a:ext>
                  </a:extLst>
                </p:cNvPr>
                <p:cNvSpPr>
                  <a:spLocks noChangeAspect="1"/>
                </p:cNvSpPr>
                <p:nvPr/>
              </p:nvSpPr>
              <p:spPr>
                <a:xfrm>
                  <a:off x="8678306" y="164512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17" name="Oval 4316">
                  <a:extLst>
                    <a:ext uri="{FF2B5EF4-FFF2-40B4-BE49-F238E27FC236}">
                      <a16:creationId xmlns:a16="http://schemas.microsoft.com/office/drawing/2014/main" id="{8A9E62E0-3C78-FD93-07C4-1956A93C3F8B}"/>
                    </a:ext>
                  </a:extLst>
                </p:cNvPr>
                <p:cNvSpPr>
                  <a:spLocks noChangeAspect="1"/>
                </p:cNvSpPr>
                <p:nvPr/>
              </p:nvSpPr>
              <p:spPr>
                <a:xfrm>
                  <a:off x="8509275" y="164454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18" name="Oval 4317">
                  <a:extLst>
                    <a:ext uri="{FF2B5EF4-FFF2-40B4-BE49-F238E27FC236}">
                      <a16:creationId xmlns:a16="http://schemas.microsoft.com/office/drawing/2014/main" id="{A3C09240-9F55-D8FA-D0A5-1CCF1B5F62E8}"/>
                    </a:ext>
                  </a:extLst>
                </p:cNvPr>
                <p:cNvSpPr>
                  <a:spLocks noChangeAspect="1"/>
                </p:cNvSpPr>
                <p:nvPr/>
              </p:nvSpPr>
              <p:spPr>
                <a:xfrm>
                  <a:off x="5626811" y="165298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19" name="Oval 4318">
                  <a:extLst>
                    <a:ext uri="{FF2B5EF4-FFF2-40B4-BE49-F238E27FC236}">
                      <a16:creationId xmlns:a16="http://schemas.microsoft.com/office/drawing/2014/main" id="{205064F5-F3C4-733C-EB2B-3C78FA6FEA59}"/>
                    </a:ext>
                  </a:extLst>
                </p:cNvPr>
                <p:cNvSpPr>
                  <a:spLocks noChangeAspect="1"/>
                </p:cNvSpPr>
                <p:nvPr/>
              </p:nvSpPr>
              <p:spPr>
                <a:xfrm>
                  <a:off x="5478453" y="163757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20" name="Oval 4319">
                  <a:extLst>
                    <a:ext uri="{FF2B5EF4-FFF2-40B4-BE49-F238E27FC236}">
                      <a16:creationId xmlns:a16="http://schemas.microsoft.com/office/drawing/2014/main" id="{B1111ADE-9353-C11C-6908-717A98846E0A}"/>
                    </a:ext>
                  </a:extLst>
                </p:cNvPr>
                <p:cNvSpPr>
                  <a:spLocks noChangeAspect="1"/>
                </p:cNvSpPr>
                <p:nvPr/>
              </p:nvSpPr>
              <p:spPr>
                <a:xfrm>
                  <a:off x="5333021" y="164512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21" name="Oval 4320">
                  <a:extLst>
                    <a:ext uri="{FF2B5EF4-FFF2-40B4-BE49-F238E27FC236}">
                      <a16:creationId xmlns:a16="http://schemas.microsoft.com/office/drawing/2014/main" id="{46ED73D7-9BD9-6F97-7131-BC5B6C44FD24}"/>
                    </a:ext>
                  </a:extLst>
                </p:cNvPr>
                <p:cNvSpPr>
                  <a:spLocks noChangeAspect="1"/>
                </p:cNvSpPr>
                <p:nvPr/>
              </p:nvSpPr>
              <p:spPr>
                <a:xfrm>
                  <a:off x="5164001" y="164454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22" name="Oval 4321">
                  <a:extLst>
                    <a:ext uri="{FF2B5EF4-FFF2-40B4-BE49-F238E27FC236}">
                      <a16:creationId xmlns:a16="http://schemas.microsoft.com/office/drawing/2014/main" id="{AFC2CCEC-8957-E4D4-CDFA-F56C6A0FCA99}"/>
                    </a:ext>
                  </a:extLst>
                </p:cNvPr>
                <p:cNvSpPr>
                  <a:spLocks noChangeAspect="1"/>
                </p:cNvSpPr>
                <p:nvPr/>
              </p:nvSpPr>
              <p:spPr>
                <a:xfrm>
                  <a:off x="5018557" y="164454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23" name="Oval 4322">
                  <a:extLst>
                    <a:ext uri="{FF2B5EF4-FFF2-40B4-BE49-F238E27FC236}">
                      <a16:creationId xmlns:a16="http://schemas.microsoft.com/office/drawing/2014/main" id="{FB3CC9BD-4F46-5F1F-E1F8-DFADE936A252}"/>
                    </a:ext>
                  </a:extLst>
                </p:cNvPr>
                <p:cNvSpPr>
                  <a:spLocks noChangeAspect="1"/>
                </p:cNvSpPr>
                <p:nvPr/>
              </p:nvSpPr>
              <p:spPr>
                <a:xfrm>
                  <a:off x="4871575" y="164512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24" name="Oval 4323">
                  <a:extLst>
                    <a:ext uri="{FF2B5EF4-FFF2-40B4-BE49-F238E27FC236}">
                      <a16:creationId xmlns:a16="http://schemas.microsoft.com/office/drawing/2014/main" id="{8D9DE076-9138-46E1-9898-794DE61D604F}"/>
                    </a:ext>
                  </a:extLst>
                </p:cNvPr>
                <p:cNvSpPr>
                  <a:spLocks noChangeAspect="1"/>
                </p:cNvSpPr>
                <p:nvPr/>
              </p:nvSpPr>
              <p:spPr>
                <a:xfrm>
                  <a:off x="4722130" y="164512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25" name="Oval 4324">
                  <a:extLst>
                    <a:ext uri="{FF2B5EF4-FFF2-40B4-BE49-F238E27FC236}">
                      <a16:creationId xmlns:a16="http://schemas.microsoft.com/office/drawing/2014/main" id="{67E56926-BF88-38BA-9069-0F94D5A3D97B}"/>
                    </a:ext>
                  </a:extLst>
                </p:cNvPr>
                <p:cNvSpPr>
                  <a:spLocks noChangeAspect="1"/>
                </p:cNvSpPr>
                <p:nvPr/>
              </p:nvSpPr>
              <p:spPr>
                <a:xfrm>
                  <a:off x="4553118" y="164454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26" name="Oval 4325">
                  <a:extLst>
                    <a:ext uri="{FF2B5EF4-FFF2-40B4-BE49-F238E27FC236}">
                      <a16:creationId xmlns:a16="http://schemas.microsoft.com/office/drawing/2014/main" id="{D9241215-375A-0989-D700-824876A48C65}"/>
                    </a:ext>
                  </a:extLst>
                </p:cNvPr>
                <p:cNvSpPr>
                  <a:spLocks noChangeAspect="1"/>
                </p:cNvSpPr>
                <p:nvPr/>
              </p:nvSpPr>
              <p:spPr>
                <a:xfrm>
                  <a:off x="4407672" y="164454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27" name="Oval 4326">
                  <a:extLst>
                    <a:ext uri="{FF2B5EF4-FFF2-40B4-BE49-F238E27FC236}">
                      <a16:creationId xmlns:a16="http://schemas.microsoft.com/office/drawing/2014/main" id="{2128EEF3-062B-7DE5-C598-57E4C68062AC}"/>
                    </a:ext>
                  </a:extLst>
                </p:cNvPr>
                <p:cNvSpPr>
                  <a:spLocks noChangeAspect="1"/>
                </p:cNvSpPr>
                <p:nvPr/>
              </p:nvSpPr>
              <p:spPr>
                <a:xfrm>
                  <a:off x="4260685" y="164512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28" name="Oval 4327">
                  <a:extLst>
                    <a:ext uri="{FF2B5EF4-FFF2-40B4-BE49-F238E27FC236}">
                      <a16:creationId xmlns:a16="http://schemas.microsoft.com/office/drawing/2014/main" id="{FA232EAD-AE8A-D7EB-9A4E-34192F1DD944}"/>
                    </a:ext>
                  </a:extLst>
                </p:cNvPr>
                <p:cNvSpPr>
                  <a:spLocks noChangeAspect="1"/>
                </p:cNvSpPr>
                <p:nvPr/>
              </p:nvSpPr>
              <p:spPr>
                <a:xfrm>
                  <a:off x="8969172" y="179629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29" name="Oval 4328">
                  <a:extLst>
                    <a:ext uri="{FF2B5EF4-FFF2-40B4-BE49-F238E27FC236}">
                      <a16:creationId xmlns:a16="http://schemas.microsoft.com/office/drawing/2014/main" id="{108EB00A-1F2E-7874-E1A9-3C2E26C26798}"/>
                    </a:ext>
                  </a:extLst>
                </p:cNvPr>
                <p:cNvSpPr>
                  <a:spLocks noChangeAspect="1"/>
                </p:cNvSpPr>
                <p:nvPr/>
              </p:nvSpPr>
              <p:spPr>
                <a:xfrm>
                  <a:off x="8823739" y="181210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30" name="Oval 4329">
                  <a:extLst>
                    <a:ext uri="{FF2B5EF4-FFF2-40B4-BE49-F238E27FC236}">
                      <a16:creationId xmlns:a16="http://schemas.microsoft.com/office/drawing/2014/main" id="{0DB3C9A2-88A0-9206-6CFD-5D26D69DA000}"/>
                    </a:ext>
                  </a:extLst>
                </p:cNvPr>
                <p:cNvSpPr>
                  <a:spLocks noChangeAspect="1"/>
                </p:cNvSpPr>
                <p:nvPr/>
              </p:nvSpPr>
              <p:spPr>
                <a:xfrm>
                  <a:off x="8659573" y="181210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31" name="Oval 4330">
                  <a:extLst>
                    <a:ext uri="{FF2B5EF4-FFF2-40B4-BE49-F238E27FC236}">
                      <a16:creationId xmlns:a16="http://schemas.microsoft.com/office/drawing/2014/main" id="{FFC1E0E4-538A-10B5-57CE-CB02BE47D6C0}"/>
                    </a:ext>
                  </a:extLst>
                </p:cNvPr>
                <p:cNvSpPr>
                  <a:spLocks noChangeAspect="1"/>
                </p:cNvSpPr>
                <p:nvPr/>
              </p:nvSpPr>
              <p:spPr>
                <a:xfrm>
                  <a:off x="8503874" y="181210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32" name="Oval 4331">
                  <a:extLst>
                    <a:ext uri="{FF2B5EF4-FFF2-40B4-BE49-F238E27FC236}">
                      <a16:creationId xmlns:a16="http://schemas.microsoft.com/office/drawing/2014/main" id="{BA2B2FDD-57CA-CD5D-13B0-DFF10C81830C}"/>
                    </a:ext>
                  </a:extLst>
                </p:cNvPr>
                <p:cNvSpPr>
                  <a:spLocks noChangeAspect="1"/>
                </p:cNvSpPr>
                <p:nvPr/>
              </p:nvSpPr>
              <p:spPr>
                <a:xfrm>
                  <a:off x="8358314" y="181210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33" name="Oval 4332">
                  <a:extLst>
                    <a:ext uri="{FF2B5EF4-FFF2-40B4-BE49-F238E27FC236}">
                      <a16:creationId xmlns:a16="http://schemas.microsoft.com/office/drawing/2014/main" id="{E12B426D-921C-4CCF-AFD7-3EF47383D364}"/>
                    </a:ext>
                  </a:extLst>
                </p:cNvPr>
                <p:cNvSpPr>
                  <a:spLocks noChangeAspect="1"/>
                </p:cNvSpPr>
                <p:nvPr/>
              </p:nvSpPr>
              <p:spPr>
                <a:xfrm>
                  <a:off x="5478453" y="181210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34" name="Oval 4333">
                  <a:extLst>
                    <a:ext uri="{FF2B5EF4-FFF2-40B4-BE49-F238E27FC236}">
                      <a16:creationId xmlns:a16="http://schemas.microsoft.com/office/drawing/2014/main" id="{DC1DA010-3AB0-867F-F4E3-4C399F15734C}"/>
                    </a:ext>
                  </a:extLst>
                </p:cNvPr>
                <p:cNvSpPr>
                  <a:spLocks noChangeAspect="1"/>
                </p:cNvSpPr>
                <p:nvPr/>
              </p:nvSpPr>
              <p:spPr>
                <a:xfrm>
                  <a:off x="5333021" y="181210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35" name="Oval 4334">
                  <a:extLst>
                    <a:ext uri="{FF2B5EF4-FFF2-40B4-BE49-F238E27FC236}">
                      <a16:creationId xmlns:a16="http://schemas.microsoft.com/office/drawing/2014/main" id="{A6E355C5-DDC9-834B-92A2-4B6727F4B192}"/>
                    </a:ext>
                  </a:extLst>
                </p:cNvPr>
                <p:cNvSpPr>
                  <a:spLocks noChangeAspect="1"/>
                </p:cNvSpPr>
                <p:nvPr/>
              </p:nvSpPr>
              <p:spPr>
                <a:xfrm>
                  <a:off x="5158589" y="181210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36" name="Oval 4335">
                  <a:extLst>
                    <a:ext uri="{FF2B5EF4-FFF2-40B4-BE49-F238E27FC236}">
                      <a16:creationId xmlns:a16="http://schemas.microsoft.com/office/drawing/2014/main" id="{ECE7E55C-44B0-E376-8A77-F4A3822F461F}"/>
                    </a:ext>
                  </a:extLst>
                </p:cNvPr>
                <p:cNvSpPr>
                  <a:spLocks noChangeAspect="1"/>
                </p:cNvSpPr>
                <p:nvPr/>
              </p:nvSpPr>
              <p:spPr>
                <a:xfrm>
                  <a:off x="5013029" y="181210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37" name="Oval 4336">
                  <a:extLst>
                    <a:ext uri="{FF2B5EF4-FFF2-40B4-BE49-F238E27FC236}">
                      <a16:creationId xmlns:a16="http://schemas.microsoft.com/office/drawing/2014/main" id="{589FE590-CC09-F32F-8F5E-D46EEC8AD20E}"/>
                    </a:ext>
                  </a:extLst>
                </p:cNvPr>
                <p:cNvSpPr>
                  <a:spLocks noChangeAspect="1"/>
                </p:cNvSpPr>
                <p:nvPr/>
              </p:nvSpPr>
              <p:spPr>
                <a:xfrm>
                  <a:off x="4867596" y="181210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38" name="Oval 4337">
                  <a:extLst>
                    <a:ext uri="{FF2B5EF4-FFF2-40B4-BE49-F238E27FC236}">
                      <a16:creationId xmlns:a16="http://schemas.microsoft.com/office/drawing/2014/main" id="{E5400275-DDAC-2D5F-A0B0-643BDA4D8E41}"/>
                    </a:ext>
                  </a:extLst>
                </p:cNvPr>
                <p:cNvSpPr>
                  <a:spLocks noChangeAspect="1"/>
                </p:cNvSpPr>
                <p:nvPr/>
              </p:nvSpPr>
              <p:spPr>
                <a:xfrm>
                  <a:off x="4722130" y="181210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39" name="Oval 4338">
                  <a:extLst>
                    <a:ext uri="{FF2B5EF4-FFF2-40B4-BE49-F238E27FC236}">
                      <a16:creationId xmlns:a16="http://schemas.microsoft.com/office/drawing/2014/main" id="{1D8B83DA-7061-1727-7CB8-E9088183BB24}"/>
                    </a:ext>
                  </a:extLst>
                </p:cNvPr>
                <p:cNvSpPr>
                  <a:spLocks noChangeAspect="1"/>
                </p:cNvSpPr>
                <p:nvPr/>
              </p:nvSpPr>
              <p:spPr>
                <a:xfrm>
                  <a:off x="4557975" y="181210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40" name="Oval 4339">
                  <a:extLst>
                    <a:ext uri="{FF2B5EF4-FFF2-40B4-BE49-F238E27FC236}">
                      <a16:creationId xmlns:a16="http://schemas.microsoft.com/office/drawing/2014/main" id="{AB98D379-AE7D-1B15-662B-162E38833F02}"/>
                    </a:ext>
                  </a:extLst>
                </p:cNvPr>
                <p:cNvSpPr>
                  <a:spLocks noChangeAspect="1"/>
                </p:cNvSpPr>
                <p:nvPr/>
              </p:nvSpPr>
              <p:spPr>
                <a:xfrm>
                  <a:off x="4402155" y="181210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41" name="Oval 4340">
                  <a:extLst>
                    <a:ext uri="{FF2B5EF4-FFF2-40B4-BE49-F238E27FC236}">
                      <a16:creationId xmlns:a16="http://schemas.microsoft.com/office/drawing/2014/main" id="{92284DD1-7CE4-359E-3DB4-E3901D691875}"/>
                    </a:ext>
                  </a:extLst>
                </p:cNvPr>
                <p:cNvSpPr>
                  <a:spLocks noChangeAspect="1"/>
                </p:cNvSpPr>
                <p:nvPr/>
              </p:nvSpPr>
              <p:spPr>
                <a:xfrm>
                  <a:off x="4256705" y="181625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42" name="Oval 4341">
                  <a:extLst>
                    <a:ext uri="{FF2B5EF4-FFF2-40B4-BE49-F238E27FC236}">
                      <a16:creationId xmlns:a16="http://schemas.microsoft.com/office/drawing/2014/main" id="{9B75D418-D0D1-0F6D-87C4-0B14A893545E}"/>
                    </a:ext>
                  </a:extLst>
                </p:cNvPr>
                <p:cNvSpPr>
                  <a:spLocks noChangeAspect="1"/>
                </p:cNvSpPr>
                <p:nvPr/>
              </p:nvSpPr>
              <p:spPr>
                <a:xfrm>
                  <a:off x="4115329" y="180458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43" name="Oval 4342">
                  <a:extLst>
                    <a:ext uri="{FF2B5EF4-FFF2-40B4-BE49-F238E27FC236}">
                      <a16:creationId xmlns:a16="http://schemas.microsoft.com/office/drawing/2014/main" id="{C87B1250-9367-664E-F082-AF17B15FED74}"/>
                    </a:ext>
                  </a:extLst>
                </p:cNvPr>
                <p:cNvSpPr>
                  <a:spLocks noChangeAspect="1"/>
                </p:cNvSpPr>
                <p:nvPr/>
              </p:nvSpPr>
              <p:spPr>
                <a:xfrm>
                  <a:off x="8969172" y="196168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44" name="Oval 4343">
                  <a:extLst>
                    <a:ext uri="{FF2B5EF4-FFF2-40B4-BE49-F238E27FC236}">
                      <a16:creationId xmlns:a16="http://schemas.microsoft.com/office/drawing/2014/main" id="{E378E10E-2471-BCA1-44D4-44393166A273}"/>
                    </a:ext>
                  </a:extLst>
                </p:cNvPr>
                <p:cNvSpPr>
                  <a:spLocks noChangeAspect="1"/>
                </p:cNvSpPr>
                <p:nvPr/>
              </p:nvSpPr>
              <p:spPr>
                <a:xfrm>
                  <a:off x="8678306" y="195756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45" name="Oval 4344">
                  <a:extLst>
                    <a:ext uri="{FF2B5EF4-FFF2-40B4-BE49-F238E27FC236}">
                      <a16:creationId xmlns:a16="http://schemas.microsoft.com/office/drawing/2014/main" id="{66066087-BCE6-0289-3814-7C00CA33441F}"/>
                    </a:ext>
                  </a:extLst>
                </p:cNvPr>
                <p:cNvSpPr>
                  <a:spLocks noChangeAspect="1"/>
                </p:cNvSpPr>
                <p:nvPr/>
              </p:nvSpPr>
              <p:spPr>
                <a:xfrm>
                  <a:off x="8509603" y="196281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46" name="Oval 4345">
                  <a:extLst>
                    <a:ext uri="{FF2B5EF4-FFF2-40B4-BE49-F238E27FC236}">
                      <a16:creationId xmlns:a16="http://schemas.microsoft.com/office/drawing/2014/main" id="{36E3138F-6B09-1CFA-66AF-42BB614A52A7}"/>
                    </a:ext>
                  </a:extLst>
                </p:cNvPr>
                <p:cNvSpPr>
                  <a:spLocks noChangeAspect="1"/>
                </p:cNvSpPr>
                <p:nvPr/>
              </p:nvSpPr>
              <p:spPr>
                <a:xfrm>
                  <a:off x="8358314" y="196152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47" name="Oval 4346">
                  <a:extLst>
                    <a:ext uri="{FF2B5EF4-FFF2-40B4-BE49-F238E27FC236}">
                      <a16:creationId xmlns:a16="http://schemas.microsoft.com/office/drawing/2014/main" id="{3DE55FF5-6A75-2C9F-C0B8-08E4990C81F2}"/>
                    </a:ext>
                  </a:extLst>
                </p:cNvPr>
                <p:cNvSpPr>
                  <a:spLocks noChangeAspect="1"/>
                </p:cNvSpPr>
                <p:nvPr/>
              </p:nvSpPr>
              <p:spPr>
                <a:xfrm>
                  <a:off x="8212848" y="195756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48" name="Oval 4347">
                  <a:extLst>
                    <a:ext uri="{FF2B5EF4-FFF2-40B4-BE49-F238E27FC236}">
                      <a16:creationId xmlns:a16="http://schemas.microsoft.com/office/drawing/2014/main" id="{FCCC6DBD-FB56-E7F4-FD08-CC4E3E3633E9}"/>
                    </a:ext>
                  </a:extLst>
                </p:cNvPr>
                <p:cNvSpPr>
                  <a:spLocks noChangeAspect="1"/>
                </p:cNvSpPr>
                <p:nvPr/>
              </p:nvSpPr>
              <p:spPr>
                <a:xfrm>
                  <a:off x="7898714" y="196282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49" name="Oval 4348">
                  <a:extLst>
                    <a:ext uri="{FF2B5EF4-FFF2-40B4-BE49-F238E27FC236}">
                      <a16:creationId xmlns:a16="http://schemas.microsoft.com/office/drawing/2014/main" id="{686F1D7C-6E8D-3EAE-4D8F-F9F58E6784B5}"/>
                    </a:ext>
                  </a:extLst>
                </p:cNvPr>
                <p:cNvSpPr>
                  <a:spLocks noChangeAspect="1"/>
                </p:cNvSpPr>
                <p:nvPr/>
              </p:nvSpPr>
              <p:spPr>
                <a:xfrm>
                  <a:off x="5623919" y="196168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50" name="Oval 4349">
                  <a:extLst>
                    <a:ext uri="{FF2B5EF4-FFF2-40B4-BE49-F238E27FC236}">
                      <a16:creationId xmlns:a16="http://schemas.microsoft.com/office/drawing/2014/main" id="{9103A47F-F62F-D9AA-5E03-EF1D07C664BF}"/>
                    </a:ext>
                  </a:extLst>
                </p:cNvPr>
                <p:cNvSpPr>
                  <a:spLocks noChangeAspect="1"/>
                </p:cNvSpPr>
                <p:nvPr/>
              </p:nvSpPr>
              <p:spPr>
                <a:xfrm>
                  <a:off x="5478453" y="195756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51" name="Oval 4350">
                  <a:extLst>
                    <a:ext uri="{FF2B5EF4-FFF2-40B4-BE49-F238E27FC236}">
                      <a16:creationId xmlns:a16="http://schemas.microsoft.com/office/drawing/2014/main" id="{6FE67A22-C172-BAC6-1B4F-928A7FD88330}"/>
                    </a:ext>
                  </a:extLst>
                </p:cNvPr>
                <p:cNvSpPr>
                  <a:spLocks noChangeAspect="1"/>
                </p:cNvSpPr>
                <p:nvPr/>
              </p:nvSpPr>
              <p:spPr>
                <a:xfrm>
                  <a:off x="5333021" y="195756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52" name="Oval 4351">
                  <a:extLst>
                    <a:ext uri="{FF2B5EF4-FFF2-40B4-BE49-F238E27FC236}">
                      <a16:creationId xmlns:a16="http://schemas.microsoft.com/office/drawing/2014/main" id="{AC3E2F5B-49FA-48DE-8C8C-9D6465117EEA}"/>
                    </a:ext>
                  </a:extLst>
                </p:cNvPr>
                <p:cNvSpPr>
                  <a:spLocks noChangeAspect="1"/>
                </p:cNvSpPr>
                <p:nvPr/>
              </p:nvSpPr>
              <p:spPr>
                <a:xfrm>
                  <a:off x="5164318" y="196282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53" name="Oval 4352">
                  <a:extLst>
                    <a:ext uri="{FF2B5EF4-FFF2-40B4-BE49-F238E27FC236}">
                      <a16:creationId xmlns:a16="http://schemas.microsoft.com/office/drawing/2014/main" id="{FA43C8FB-F42B-FECC-EE4C-AFE6B0D4AE31}"/>
                    </a:ext>
                  </a:extLst>
                </p:cNvPr>
                <p:cNvSpPr>
                  <a:spLocks noChangeAspect="1"/>
                </p:cNvSpPr>
                <p:nvPr/>
              </p:nvSpPr>
              <p:spPr>
                <a:xfrm>
                  <a:off x="4867596" y="195756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54" name="Oval 4353">
                  <a:extLst>
                    <a:ext uri="{FF2B5EF4-FFF2-40B4-BE49-F238E27FC236}">
                      <a16:creationId xmlns:a16="http://schemas.microsoft.com/office/drawing/2014/main" id="{8CAFDCAD-06FA-3EE2-7825-A3580EECE239}"/>
                    </a:ext>
                  </a:extLst>
                </p:cNvPr>
                <p:cNvSpPr>
                  <a:spLocks noChangeAspect="1"/>
                </p:cNvSpPr>
                <p:nvPr/>
              </p:nvSpPr>
              <p:spPr>
                <a:xfrm>
                  <a:off x="4722130" y="195756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55" name="Oval 4354">
                  <a:extLst>
                    <a:ext uri="{FF2B5EF4-FFF2-40B4-BE49-F238E27FC236}">
                      <a16:creationId xmlns:a16="http://schemas.microsoft.com/office/drawing/2014/main" id="{FA28A627-F5BE-FB3D-D6B6-DEA8EEE441B2}"/>
                    </a:ext>
                  </a:extLst>
                </p:cNvPr>
                <p:cNvSpPr>
                  <a:spLocks noChangeAspect="1"/>
                </p:cNvSpPr>
                <p:nvPr/>
              </p:nvSpPr>
              <p:spPr>
                <a:xfrm>
                  <a:off x="4557975" y="195756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56" name="Oval 4355">
                  <a:extLst>
                    <a:ext uri="{FF2B5EF4-FFF2-40B4-BE49-F238E27FC236}">
                      <a16:creationId xmlns:a16="http://schemas.microsoft.com/office/drawing/2014/main" id="{1E89FDA3-D9D0-5DCD-6BC9-22FDC2A2A51B}"/>
                    </a:ext>
                  </a:extLst>
                </p:cNvPr>
                <p:cNvSpPr>
                  <a:spLocks noChangeAspect="1"/>
                </p:cNvSpPr>
                <p:nvPr/>
              </p:nvSpPr>
              <p:spPr>
                <a:xfrm>
                  <a:off x="4402155" y="196154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57" name="Oval 4356">
                  <a:extLst>
                    <a:ext uri="{FF2B5EF4-FFF2-40B4-BE49-F238E27FC236}">
                      <a16:creationId xmlns:a16="http://schemas.microsoft.com/office/drawing/2014/main" id="{232BD996-FA1A-1606-39CF-016AEFDA300F}"/>
                    </a:ext>
                  </a:extLst>
                </p:cNvPr>
                <p:cNvSpPr>
                  <a:spLocks noChangeAspect="1"/>
                </p:cNvSpPr>
                <p:nvPr/>
              </p:nvSpPr>
              <p:spPr>
                <a:xfrm>
                  <a:off x="4256705" y="195756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58" name="Oval 4357">
                  <a:extLst>
                    <a:ext uri="{FF2B5EF4-FFF2-40B4-BE49-F238E27FC236}">
                      <a16:creationId xmlns:a16="http://schemas.microsoft.com/office/drawing/2014/main" id="{30C59806-CB91-66C5-FCC2-80D19A7D3814}"/>
                    </a:ext>
                  </a:extLst>
                </p:cNvPr>
                <p:cNvSpPr>
                  <a:spLocks noChangeAspect="1"/>
                </p:cNvSpPr>
                <p:nvPr/>
              </p:nvSpPr>
              <p:spPr>
                <a:xfrm>
                  <a:off x="4111259" y="195756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59" name="Oval 4358">
                  <a:extLst>
                    <a:ext uri="{FF2B5EF4-FFF2-40B4-BE49-F238E27FC236}">
                      <a16:creationId xmlns:a16="http://schemas.microsoft.com/office/drawing/2014/main" id="{7D455857-699F-2060-B627-FA2EE01E8AAE}"/>
                    </a:ext>
                  </a:extLst>
                </p:cNvPr>
                <p:cNvSpPr>
                  <a:spLocks noChangeAspect="1"/>
                </p:cNvSpPr>
                <p:nvPr/>
              </p:nvSpPr>
              <p:spPr>
                <a:xfrm>
                  <a:off x="8823433" y="195756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60" name="Oval 4359">
                  <a:extLst>
                    <a:ext uri="{FF2B5EF4-FFF2-40B4-BE49-F238E27FC236}">
                      <a16:creationId xmlns:a16="http://schemas.microsoft.com/office/drawing/2014/main" id="{88BBF837-35F8-AB2B-D303-A4A00661A8CC}"/>
                    </a:ext>
                  </a:extLst>
                </p:cNvPr>
                <p:cNvSpPr>
                  <a:spLocks noChangeAspect="1"/>
                </p:cNvSpPr>
                <p:nvPr/>
              </p:nvSpPr>
              <p:spPr>
                <a:xfrm>
                  <a:off x="8968160" y="210753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61" name="Oval 4360">
                  <a:extLst>
                    <a:ext uri="{FF2B5EF4-FFF2-40B4-BE49-F238E27FC236}">
                      <a16:creationId xmlns:a16="http://schemas.microsoft.com/office/drawing/2014/main" id="{BD2F57BE-BAE1-2656-3E27-10C5541D7FDF}"/>
                    </a:ext>
                  </a:extLst>
                </p:cNvPr>
                <p:cNvSpPr>
                  <a:spLocks noChangeAspect="1"/>
                </p:cNvSpPr>
                <p:nvPr/>
              </p:nvSpPr>
              <p:spPr>
                <a:xfrm>
                  <a:off x="8663834" y="210520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62" name="Oval 4361">
                  <a:extLst>
                    <a:ext uri="{FF2B5EF4-FFF2-40B4-BE49-F238E27FC236}">
                      <a16:creationId xmlns:a16="http://schemas.microsoft.com/office/drawing/2014/main" id="{5295CD4D-7E8B-17C7-89BF-4089DDB12658}"/>
                    </a:ext>
                  </a:extLst>
                </p:cNvPr>
                <p:cNvSpPr>
                  <a:spLocks noChangeAspect="1"/>
                </p:cNvSpPr>
                <p:nvPr/>
              </p:nvSpPr>
              <p:spPr>
                <a:xfrm>
                  <a:off x="8509275" y="210998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63" name="Oval 4362">
                  <a:extLst>
                    <a:ext uri="{FF2B5EF4-FFF2-40B4-BE49-F238E27FC236}">
                      <a16:creationId xmlns:a16="http://schemas.microsoft.com/office/drawing/2014/main" id="{2ACA10A7-693F-BE29-09C2-524C0B49EE2C}"/>
                    </a:ext>
                  </a:extLst>
                </p:cNvPr>
                <p:cNvSpPr>
                  <a:spLocks noChangeAspect="1"/>
                </p:cNvSpPr>
                <p:nvPr/>
              </p:nvSpPr>
              <p:spPr>
                <a:xfrm>
                  <a:off x="8363821" y="210998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64" name="Oval 4363">
                  <a:extLst>
                    <a:ext uri="{FF2B5EF4-FFF2-40B4-BE49-F238E27FC236}">
                      <a16:creationId xmlns:a16="http://schemas.microsoft.com/office/drawing/2014/main" id="{053804D7-460A-CCDC-6DBD-A825FE850CBF}"/>
                    </a:ext>
                  </a:extLst>
                </p:cNvPr>
                <p:cNvSpPr>
                  <a:spLocks noChangeAspect="1"/>
                </p:cNvSpPr>
                <p:nvPr/>
              </p:nvSpPr>
              <p:spPr>
                <a:xfrm>
                  <a:off x="8212672" y="210300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65" name="Oval 4364">
                  <a:extLst>
                    <a:ext uri="{FF2B5EF4-FFF2-40B4-BE49-F238E27FC236}">
                      <a16:creationId xmlns:a16="http://schemas.microsoft.com/office/drawing/2014/main" id="{908483FE-A811-411C-C5DC-C3B3AB0D1FEF}"/>
                    </a:ext>
                  </a:extLst>
                </p:cNvPr>
                <p:cNvSpPr>
                  <a:spLocks noChangeAspect="1"/>
                </p:cNvSpPr>
                <p:nvPr/>
              </p:nvSpPr>
              <p:spPr>
                <a:xfrm>
                  <a:off x="8067416" y="210300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66" name="Oval 4365">
                  <a:extLst>
                    <a:ext uri="{FF2B5EF4-FFF2-40B4-BE49-F238E27FC236}">
                      <a16:creationId xmlns:a16="http://schemas.microsoft.com/office/drawing/2014/main" id="{5623F169-34F8-1928-3363-F48FCF505B12}"/>
                    </a:ext>
                  </a:extLst>
                </p:cNvPr>
                <p:cNvSpPr>
                  <a:spLocks noChangeAspect="1"/>
                </p:cNvSpPr>
                <p:nvPr/>
              </p:nvSpPr>
              <p:spPr>
                <a:xfrm>
                  <a:off x="7288626" y="210300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67" name="Oval 4366">
                  <a:extLst>
                    <a:ext uri="{FF2B5EF4-FFF2-40B4-BE49-F238E27FC236}">
                      <a16:creationId xmlns:a16="http://schemas.microsoft.com/office/drawing/2014/main" id="{B77D3FAD-C15A-4000-9441-57742E93384E}"/>
                    </a:ext>
                  </a:extLst>
                </p:cNvPr>
                <p:cNvSpPr>
                  <a:spLocks noChangeAspect="1"/>
                </p:cNvSpPr>
                <p:nvPr/>
              </p:nvSpPr>
              <p:spPr>
                <a:xfrm>
                  <a:off x="5929995" y="210998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68" name="Oval 4367">
                  <a:extLst>
                    <a:ext uri="{FF2B5EF4-FFF2-40B4-BE49-F238E27FC236}">
                      <a16:creationId xmlns:a16="http://schemas.microsoft.com/office/drawing/2014/main" id="{6FCD683E-4305-C2D4-6E33-867B678CBEF1}"/>
                    </a:ext>
                  </a:extLst>
                </p:cNvPr>
                <p:cNvSpPr>
                  <a:spLocks noChangeAspect="1"/>
                </p:cNvSpPr>
                <p:nvPr/>
              </p:nvSpPr>
              <p:spPr>
                <a:xfrm>
                  <a:off x="5774880" y="210998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69" name="Oval 4368">
                  <a:extLst>
                    <a:ext uri="{FF2B5EF4-FFF2-40B4-BE49-F238E27FC236}">
                      <a16:creationId xmlns:a16="http://schemas.microsoft.com/office/drawing/2014/main" id="{68372F24-CBDD-7E16-C004-D0FBECBEDE8D}"/>
                    </a:ext>
                  </a:extLst>
                </p:cNvPr>
                <p:cNvSpPr>
                  <a:spLocks noChangeAspect="1"/>
                </p:cNvSpPr>
                <p:nvPr/>
              </p:nvSpPr>
              <p:spPr>
                <a:xfrm>
                  <a:off x="5626187" y="210520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70" name="Oval 4369">
                  <a:extLst>
                    <a:ext uri="{FF2B5EF4-FFF2-40B4-BE49-F238E27FC236}">
                      <a16:creationId xmlns:a16="http://schemas.microsoft.com/office/drawing/2014/main" id="{F0894BDD-F47D-7F53-8705-B61FF0AE30C0}"/>
                    </a:ext>
                  </a:extLst>
                </p:cNvPr>
                <p:cNvSpPr>
                  <a:spLocks noChangeAspect="1"/>
                </p:cNvSpPr>
                <p:nvPr/>
              </p:nvSpPr>
              <p:spPr>
                <a:xfrm>
                  <a:off x="5478278" y="210300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71" name="Oval 4370">
                  <a:extLst>
                    <a:ext uri="{FF2B5EF4-FFF2-40B4-BE49-F238E27FC236}">
                      <a16:creationId xmlns:a16="http://schemas.microsoft.com/office/drawing/2014/main" id="{757ED77F-7145-0EAA-08B4-BD84795D1ACF}"/>
                    </a:ext>
                  </a:extLst>
                </p:cNvPr>
                <p:cNvSpPr>
                  <a:spLocks noChangeAspect="1"/>
                </p:cNvSpPr>
                <p:nvPr/>
              </p:nvSpPr>
              <p:spPr>
                <a:xfrm>
                  <a:off x="5333021" y="210300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72" name="Oval 4371">
                  <a:extLst>
                    <a:ext uri="{FF2B5EF4-FFF2-40B4-BE49-F238E27FC236}">
                      <a16:creationId xmlns:a16="http://schemas.microsoft.com/office/drawing/2014/main" id="{C0EDF8DE-AB2F-4AA4-DDE1-1F12630823CC}"/>
                    </a:ext>
                  </a:extLst>
                </p:cNvPr>
                <p:cNvSpPr>
                  <a:spLocks noChangeAspect="1"/>
                </p:cNvSpPr>
                <p:nvPr/>
              </p:nvSpPr>
              <p:spPr>
                <a:xfrm>
                  <a:off x="5164001" y="210998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73" name="Oval 4372">
                  <a:extLst>
                    <a:ext uri="{FF2B5EF4-FFF2-40B4-BE49-F238E27FC236}">
                      <a16:creationId xmlns:a16="http://schemas.microsoft.com/office/drawing/2014/main" id="{440566A9-83E6-D518-2C68-FD296BDED2BB}"/>
                    </a:ext>
                  </a:extLst>
                </p:cNvPr>
                <p:cNvSpPr>
                  <a:spLocks noChangeAspect="1"/>
                </p:cNvSpPr>
                <p:nvPr/>
              </p:nvSpPr>
              <p:spPr>
                <a:xfrm>
                  <a:off x="5018557" y="210998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74" name="Oval 4373">
                  <a:extLst>
                    <a:ext uri="{FF2B5EF4-FFF2-40B4-BE49-F238E27FC236}">
                      <a16:creationId xmlns:a16="http://schemas.microsoft.com/office/drawing/2014/main" id="{7FCA0637-325E-A2FA-495E-9078EA4F9EAE}"/>
                    </a:ext>
                  </a:extLst>
                </p:cNvPr>
                <p:cNvSpPr>
                  <a:spLocks noChangeAspect="1"/>
                </p:cNvSpPr>
                <p:nvPr/>
              </p:nvSpPr>
              <p:spPr>
                <a:xfrm>
                  <a:off x="4867401" y="210300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75" name="Oval 4374">
                  <a:extLst>
                    <a:ext uri="{FF2B5EF4-FFF2-40B4-BE49-F238E27FC236}">
                      <a16:creationId xmlns:a16="http://schemas.microsoft.com/office/drawing/2014/main" id="{7352123E-D422-9ACD-F129-42498076DC0F}"/>
                    </a:ext>
                  </a:extLst>
                </p:cNvPr>
                <p:cNvSpPr>
                  <a:spLocks noChangeAspect="1"/>
                </p:cNvSpPr>
                <p:nvPr/>
              </p:nvSpPr>
              <p:spPr>
                <a:xfrm>
                  <a:off x="4722130" y="210300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76" name="Oval 4375">
                  <a:extLst>
                    <a:ext uri="{FF2B5EF4-FFF2-40B4-BE49-F238E27FC236}">
                      <a16:creationId xmlns:a16="http://schemas.microsoft.com/office/drawing/2014/main" id="{A2439843-1554-C110-CAB5-23888CDEA4CA}"/>
                    </a:ext>
                  </a:extLst>
                </p:cNvPr>
                <p:cNvSpPr>
                  <a:spLocks noChangeAspect="1"/>
                </p:cNvSpPr>
                <p:nvPr/>
              </p:nvSpPr>
              <p:spPr>
                <a:xfrm>
                  <a:off x="4554224" y="210300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77" name="Oval 4376">
                  <a:extLst>
                    <a:ext uri="{FF2B5EF4-FFF2-40B4-BE49-F238E27FC236}">
                      <a16:creationId xmlns:a16="http://schemas.microsoft.com/office/drawing/2014/main" id="{6307835B-ABD8-5AE6-1E46-EA83DA9904BA}"/>
                    </a:ext>
                  </a:extLst>
                </p:cNvPr>
                <p:cNvSpPr>
                  <a:spLocks noChangeAspect="1"/>
                </p:cNvSpPr>
                <p:nvPr/>
              </p:nvSpPr>
              <p:spPr>
                <a:xfrm>
                  <a:off x="4407672" y="210998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78" name="Oval 4377">
                  <a:extLst>
                    <a:ext uri="{FF2B5EF4-FFF2-40B4-BE49-F238E27FC236}">
                      <a16:creationId xmlns:a16="http://schemas.microsoft.com/office/drawing/2014/main" id="{7F6EE7BB-A1E9-11D4-9D66-80CA440D1A04}"/>
                    </a:ext>
                  </a:extLst>
                </p:cNvPr>
                <p:cNvSpPr>
                  <a:spLocks noChangeAspect="1"/>
                </p:cNvSpPr>
                <p:nvPr/>
              </p:nvSpPr>
              <p:spPr>
                <a:xfrm>
                  <a:off x="4258989" y="210520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79" name="Oval 4378">
                  <a:extLst>
                    <a:ext uri="{FF2B5EF4-FFF2-40B4-BE49-F238E27FC236}">
                      <a16:creationId xmlns:a16="http://schemas.microsoft.com/office/drawing/2014/main" id="{30945DD2-20BF-0902-0F2B-9CBF1488504C}"/>
                    </a:ext>
                  </a:extLst>
                </p:cNvPr>
                <p:cNvSpPr>
                  <a:spLocks noChangeAspect="1"/>
                </p:cNvSpPr>
                <p:nvPr/>
              </p:nvSpPr>
              <p:spPr>
                <a:xfrm>
                  <a:off x="4110951" y="210300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80" name="Oval 4379">
                  <a:extLst>
                    <a:ext uri="{FF2B5EF4-FFF2-40B4-BE49-F238E27FC236}">
                      <a16:creationId xmlns:a16="http://schemas.microsoft.com/office/drawing/2014/main" id="{D5A94283-E49D-758C-E8C5-51211D5CE255}"/>
                    </a:ext>
                  </a:extLst>
                </p:cNvPr>
                <p:cNvSpPr>
                  <a:spLocks noChangeAspect="1"/>
                </p:cNvSpPr>
                <p:nvPr/>
              </p:nvSpPr>
              <p:spPr>
                <a:xfrm>
                  <a:off x="3951355" y="210520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81" name="Oval 4380">
                  <a:extLst>
                    <a:ext uri="{FF2B5EF4-FFF2-40B4-BE49-F238E27FC236}">
                      <a16:creationId xmlns:a16="http://schemas.microsoft.com/office/drawing/2014/main" id="{52283AAB-76A4-960C-AE8B-2CDF26B40001}"/>
                    </a:ext>
                  </a:extLst>
                </p:cNvPr>
                <p:cNvSpPr>
                  <a:spLocks noChangeAspect="1"/>
                </p:cNvSpPr>
                <p:nvPr/>
              </p:nvSpPr>
              <p:spPr>
                <a:xfrm>
                  <a:off x="3796796" y="210998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82" name="Oval 4381">
                  <a:extLst>
                    <a:ext uri="{FF2B5EF4-FFF2-40B4-BE49-F238E27FC236}">
                      <a16:creationId xmlns:a16="http://schemas.microsoft.com/office/drawing/2014/main" id="{94778C23-8BD9-6238-827F-CD7ABF52DB90}"/>
                    </a:ext>
                  </a:extLst>
                </p:cNvPr>
                <p:cNvSpPr>
                  <a:spLocks noChangeAspect="1"/>
                </p:cNvSpPr>
                <p:nvPr/>
              </p:nvSpPr>
              <p:spPr>
                <a:xfrm>
                  <a:off x="3500196" y="210300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83" name="Oval 4382">
                  <a:extLst>
                    <a:ext uri="{FF2B5EF4-FFF2-40B4-BE49-F238E27FC236}">
                      <a16:creationId xmlns:a16="http://schemas.microsoft.com/office/drawing/2014/main" id="{4B532C85-1098-63A1-A630-CB539B286673}"/>
                    </a:ext>
                  </a:extLst>
                </p:cNvPr>
                <p:cNvSpPr>
                  <a:spLocks noChangeAspect="1"/>
                </p:cNvSpPr>
                <p:nvPr/>
              </p:nvSpPr>
              <p:spPr>
                <a:xfrm>
                  <a:off x="8661806" y="225659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84" name="Oval 4383">
                  <a:extLst>
                    <a:ext uri="{FF2B5EF4-FFF2-40B4-BE49-F238E27FC236}">
                      <a16:creationId xmlns:a16="http://schemas.microsoft.com/office/drawing/2014/main" id="{BDFC3284-8681-297B-41C7-A2A179F29473}"/>
                    </a:ext>
                  </a:extLst>
                </p:cNvPr>
                <p:cNvSpPr>
                  <a:spLocks noChangeAspect="1"/>
                </p:cNvSpPr>
                <p:nvPr/>
              </p:nvSpPr>
              <p:spPr>
                <a:xfrm>
                  <a:off x="8509275" y="225541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85" name="Oval 4384">
                  <a:extLst>
                    <a:ext uri="{FF2B5EF4-FFF2-40B4-BE49-F238E27FC236}">
                      <a16:creationId xmlns:a16="http://schemas.microsoft.com/office/drawing/2014/main" id="{0C361E09-DA81-87CF-7C2C-B8A5D449FADB}"/>
                    </a:ext>
                  </a:extLst>
                </p:cNvPr>
                <p:cNvSpPr>
                  <a:spLocks noChangeAspect="1"/>
                </p:cNvSpPr>
                <p:nvPr/>
              </p:nvSpPr>
              <p:spPr>
                <a:xfrm>
                  <a:off x="8363821" y="225541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86" name="Oval 4385">
                  <a:extLst>
                    <a:ext uri="{FF2B5EF4-FFF2-40B4-BE49-F238E27FC236}">
                      <a16:creationId xmlns:a16="http://schemas.microsoft.com/office/drawing/2014/main" id="{DE8AFC1F-FE9E-4136-76CA-F7DF929CFAB5}"/>
                    </a:ext>
                  </a:extLst>
                </p:cNvPr>
                <p:cNvSpPr>
                  <a:spLocks noChangeAspect="1"/>
                </p:cNvSpPr>
                <p:nvPr/>
              </p:nvSpPr>
              <p:spPr>
                <a:xfrm>
                  <a:off x="8216925" y="227001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87" name="Oval 4386">
                  <a:extLst>
                    <a:ext uri="{FF2B5EF4-FFF2-40B4-BE49-F238E27FC236}">
                      <a16:creationId xmlns:a16="http://schemas.microsoft.com/office/drawing/2014/main" id="{E4C3B530-2233-0B3C-9E91-92ABF904E442}"/>
                    </a:ext>
                  </a:extLst>
                </p:cNvPr>
                <p:cNvSpPr>
                  <a:spLocks noChangeAspect="1"/>
                </p:cNvSpPr>
                <p:nvPr/>
              </p:nvSpPr>
              <p:spPr>
                <a:xfrm>
                  <a:off x="8067416" y="225598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88" name="Oval 4387">
                  <a:extLst>
                    <a:ext uri="{FF2B5EF4-FFF2-40B4-BE49-F238E27FC236}">
                      <a16:creationId xmlns:a16="http://schemas.microsoft.com/office/drawing/2014/main" id="{3366298F-5DC4-1CD9-3606-667A8A3D674A}"/>
                    </a:ext>
                  </a:extLst>
                </p:cNvPr>
                <p:cNvSpPr>
                  <a:spLocks noChangeAspect="1"/>
                </p:cNvSpPr>
                <p:nvPr/>
              </p:nvSpPr>
              <p:spPr>
                <a:xfrm>
                  <a:off x="7898396" y="225541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89" name="Oval 4388">
                  <a:extLst>
                    <a:ext uri="{FF2B5EF4-FFF2-40B4-BE49-F238E27FC236}">
                      <a16:creationId xmlns:a16="http://schemas.microsoft.com/office/drawing/2014/main" id="{F4E51AD7-EF5D-89EF-617E-B1794EADE334}"/>
                    </a:ext>
                  </a:extLst>
                </p:cNvPr>
                <p:cNvSpPr>
                  <a:spLocks noChangeAspect="1"/>
                </p:cNvSpPr>
                <p:nvPr/>
              </p:nvSpPr>
              <p:spPr>
                <a:xfrm>
                  <a:off x="7752952" y="225541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90" name="Oval 4389">
                  <a:extLst>
                    <a:ext uri="{FF2B5EF4-FFF2-40B4-BE49-F238E27FC236}">
                      <a16:creationId xmlns:a16="http://schemas.microsoft.com/office/drawing/2014/main" id="{4588AD0D-6C51-39F9-7E87-89693F78F640}"/>
                    </a:ext>
                  </a:extLst>
                </p:cNvPr>
                <p:cNvSpPr>
                  <a:spLocks noChangeAspect="1"/>
                </p:cNvSpPr>
                <p:nvPr/>
              </p:nvSpPr>
              <p:spPr>
                <a:xfrm>
                  <a:off x="7289184" y="225584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91" name="Oval 4390">
                  <a:extLst>
                    <a:ext uri="{FF2B5EF4-FFF2-40B4-BE49-F238E27FC236}">
                      <a16:creationId xmlns:a16="http://schemas.microsoft.com/office/drawing/2014/main" id="{E0EF14EB-71EC-9D0F-95D7-C8A57CF55CEC}"/>
                    </a:ext>
                  </a:extLst>
                </p:cNvPr>
                <p:cNvSpPr>
                  <a:spLocks noChangeAspect="1"/>
                </p:cNvSpPr>
                <p:nvPr/>
              </p:nvSpPr>
              <p:spPr>
                <a:xfrm>
                  <a:off x="6531204" y="225541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92" name="Oval 4391">
                  <a:extLst>
                    <a:ext uri="{FF2B5EF4-FFF2-40B4-BE49-F238E27FC236}">
                      <a16:creationId xmlns:a16="http://schemas.microsoft.com/office/drawing/2014/main" id="{9632F2CB-F3D1-A65D-F225-DE6126484CC6}"/>
                    </a:ext>
                  </a:extLst>
                </p:cNvPr>
                <p:cNvSpPr>
                  <a:spLocks noChangeAspect="1"/>
                </p:cNvSpPr>
                <p:nvPr/>
              </p:nvSpPr>
              <p:spPr>
                <a:xfrm>
                  <a:off x="6385750" y="225541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93" name="Oval 4392">
                  <a:extLst>
                    <a:ext uri="{FF2B5EF4-FFF2-40B4-BE49-F238E27FC236}">
                      <a16:creationId xmlns:a16="http://schemas.microsoft.com/office/drawing/2014/main" id="{4AAEC395-0730-38B6-D1DD-459E093FE123}"/>
                    </a:ext>
                  </a:extLst>
                </p:cNvPr>
                <p:cNvSpPr>
                  <a:spLocks noChangeAspect="1"/>
                </p:cNvSpPr>
                <p:nvPr/>
              </p:nvSpPr>
              <p:spPr>
                <a:xfrm>
                  <a:off x="6238757" y="225598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94" name="Oval 4393">
                  <a:extLst>
                    <a:ext uri="{FF2B5EF4-FFF2-40B4-BE49-F238E27FC236}">
                      <a16:creationId xmlns:a16="http://schemas.microsoft.com/office/drawing/2014/main" id="{B0503A92-E7D6-E224-6567-B992718850D1}"/>
                    </a:ext>
                  </a:extLst>
                </p:cNvPr>
                <p:cNvSpPr>
                  <a:spLocks noChangeAspect="1"/>
                </p:cNvSpPr>
                <p:nvPr/>
              </p:nvSpPr>
              <p:spPr>
                <a:xfrm>
                  <a:off x="6089344" y="225598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95" name="Oval 4394">
                  <a:extLst>
                    <a:ext uri="{FF2B5EF4-FFF2-40B4-BE49-F238E27FC236}">
                      <a16:creationId xmlns:a16="http://schemas.microsoft.com/office/drawing/2014/main" id="{1AD04AA3-5546-229E-3828-D7896FC63C0B}"/>
                    </a:ext>
                  </a:extLst>
                </p:cNvPr>
                <p:cNvSpPr>
                  <a:spLocks noChangeAspect="1"/>
                </p:cNvSpPr>
                <p:nvPr/>
              </p:nvSpPr>
              <p:spPr>
                <a:xfrm>
                  <a:off x="5929995" y="225584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96" name="Oval 4395">
                  <a:extLst>
                    <a:ext uri="{FF2B5EF4-FFF2-40B4-BE49-F238E27FC236}">
                      <a16:creationId xmlns:a16="http://schemas.microsoft.com/office/drawing/2014/main" id="{AB24570F-908D-B1FF-D0BA-44FEE7D1BB20}"/>
                    </a:ext>
                  </a:extLst>
                </p:cNvPr>
                <p:cNvSpPr>
                  <a:spLocks noChangeAspect="1"/>
                </p:cNvSpPr>
                <p:nvPr/>
              </p:nvSpPr>
              <p:spPr>
                <a:xfrm>
                  <a:off x="5774880" y="225541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97" name="Oval 4396">
                  <a:extLst>
                    <a:ext uri="{FF2B5EF4-FFF2-40B4-BE49-F238E27FC236}">
                      <a16:creationId xmlns:a16="http://schemas.microsoft.com/office/drawing/2014/main" id="{A551C0B9-80CF-4481-C725-8A8F8B7C20C6}"/>
                    </a:ext>
                  </a:extLst>
                </p:cNvPr>
                <p:cNvSpPr>
                  <a:spLocks noChangeAspect="1"/>
                </p:cNvSpPr>
                <p:nvPr/>
              </p:nvSpPr>
              <p:spPr>
                <a:xfrm>
                  <a:off x="5626811" y="226385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98" name="Oval 4397">
                  <a:extLst>
                    <a:ext uri="{FF2B5EF4-FFF2-40B4-BE49-F238E27FC236}">
                      <a16:creationId xmlns:a16="http://schemas.microsoft.com/office/drawing/2014/main" id="{DDB8A9E7-2845-BFC5-9BB4-7C619D862D60}"/>
                    </a:ext>
                  </a:extLst>
                </p:cNvPr>
                <p:cNvSpPr>
                  <a:spLocks noChangeAspect="1"/>
                </p:cNvSpPr>
                <p:nvPr/>
              </p:nvSpPr>
              <p:spPr>
                <a:xfrm>
                  <a:off x="5482530" y="227001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99" name="Oval 4398">
                  <a:extLst>
                    <a:ext uri="{FF2B5EF4-FFF2-40B4-BE49-F238E27FC236}">
                      <a16:creationId xmlns:a16="http://schemas.microsoft.com/office/drawing/2014/main" id="{BA3811D6-F405-9ED0-5545-3B196A5902E8}"/>
                    </a:ext>
                  </a:extLst>
                </p:cNvPr>
                <p:cNvSpPr>
                  <a:spLocks noChangeAspect="1"/>
                </p:cNvSpPr>
                <p:nvPr/>
              </p:nvSpPr>
              <p:spPr>
                <a:xfrm>
                  <a:off x="5333021" y="225598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00" name="Oval 4399">
                  <a:extLst>
                    <a:ext uri="{FF2B5EF4-FFF2-40B4-BE49-F238E27FC236}">
                      <a16:creationId xmlns:a16="http://schemas.microsoft.com/office/drawing/2014/main" id="{D1DA4D00-2194-AB31-B1EB-60E68F855207}"/>
                    </a:ext>
                  </a:extLst>
                </p:cNvPr>
                <p:cNvSpPr>
                  <a:spLocks noChangeAspect="1"/>
                </p:cNvSpPr>
                <p:nvPr/>
              </p:nvSpPr>
              <p:spPr>
                <a:xfrm>
                  <a:off x="5164001" y="225541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01" name="Oval 4400">
                  <a:extLst>
                    <a:ext uri="{FF2B5EF4-FFF2-40B4-BE49-F238E27FC236}">
                      <a16:creationId xmlns:a16="http://schemas.microsoft.com/office/drawing/2014/main" id="{63EAF207-0F64-7F3D-6FE1-592424249468}"/>
                    </a:ext>
                  </a:extLst>
                </p:cNvPr>
                <p:cNvSpPr>
                  <a:spLocks noChangeAspect="1"/>
                </p:cNvSpPr>
                <p:nvPr/>
              </p:nvSpPr>
              <p:spPr>
                <a:xfrm>
                  <a:off x="5018557" y="225541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02" name="Oval 4401">
                  <a:extLst>
                    <a:ext uri="{FF2B5EF4-FFF2-40B4-BE49-F238E27FC236}">
                      <a16:creationId xmlns:a16="http://schemas.microsoft.com/office/drawing/2014/main" id="{C1669B27-D23D-9337-B6CD-AC76E206EEFB}"/>
                    </a:ext>
                  </a:extLst>
                </p:cNvPr>
                <p:cNvSpPr>
                  <a:spLocks noChangeAspect="1"/>
                </p:cNvSpPr>
                <p:nvPr/>
              </p:nvSpPr>
              <p:spPr>
                <a:xfrm>
                  <a:off x="4871575" y="225598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03" name="Oval 4402">
                  <a:extLst>
                    <a:ext uri="{FF2B5EF4-FFF2-40B4-BE49-F238E27FC236}">
                      <a16:creationId xmlns:a16="http://schemas.microsoft.com/office/drawing/2014/main" id="{963993BA-3EB9-C1FB-434B-2C925E2B625A}"/>
                    </a:ext>
                  </a:extLst>
                </p:cNvPr>
                <p:cNvSpPr>
                  <a:spLocks noChangeAspect="1"/>
                </p:cNvSpPr>
                <p:nvPr/>
              </p:nvSpPr>
              <p:spPr>
                <a:xfrm>
                  <a:off x="4722130" y="225598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04" name="Oval 4403">
                  <a:extLst>
                    <a:ext uri="{FF2B5EF4-FFF2-40B4-BE49-F238E27FC236}">
                      <a16:creationId xmlns:a16="http://schemas.microsoft.com/office/drawing/2014/main" id="{BE0273BE-DDF4-82C1-17EE-918EBAC7B62D}"/>
                    </a:ext>
                  </a:extLst>
                </p:cNvPr>
                <p:cNvSpPr>
                  <a:spLocks noChangeAspect="1"/>
                </p:cNvSpPr>
                <p:nvPr/>
              </p:nvSpPr>
              <p:spPr>
                <a:xfrm>
                  <a:off x="4553118" y="225541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05" name="Oval 4404">
                  <a:extLst>
                    <a:ext uri="{FF2B5EF4-FFF2-40B4-BE49-F238E27FC236}">
                      <a16:creationId xmlns:a16="http://schemas.microsoft.com/office/drawing/2014/main" id="{A8465BF9-7D62-47E2-E597-890E29418960}"/>
                    </a:ext>
                  </a:extLst>
                </p:cNvPr>
                <p:cNvSpPr>
                  <a:spLocks noChangeAspect="1"/>
                </p:cNvSpPr>
                <p:nvPr/>
              </p:nvSpPr>
              <p:spPr>
                <a:xfrm>
                  <a:off x="4407672" y="225541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06" name="Oval 4405">
                  <a:extLst>
                    <a:ext uri="{FF2B5EF4-FFF2-40B4-BE49-F238E27FC236}">
                      <a16:creationId xmlns:a16="http://schemas.microsoft.com/office/drawing/2014/main" id="{BB7C7B5C-7F85-313E-6D4D-86043B00D4BE}"/>
                    </a:ext>
                  </a:extLst>
                </p:cNvPr>
                <p:cNvSpPr>
                  <a:spLocks noChangeAspect="1"/>
                </p:cNvSpPr>
                <p:nvPr/>
              </p:nvSpPr>
              <p:spPr>
                <a:xfrm>
                  <a:off x="4260685" y="225598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07" name="Oval 4406">
                  <a:extLst>
                    <a:ext uri="{FF2B5EF4-FFF2-40B4-BE49-F238E27FC236}">
                      <a16:creationId xmlns:a16="http://schemas.microsoft.com/office/drawing/2014/main" id="{EB5B64C8-4DDA-4FAE-4572-72ACF56F58F9}"/>
                    </a:ext>
                  </a:extLst>
                </p:cNvPr>
                <p:cNvSpPr>
                  <a:spLocks noChangeAspect="1"/>
                </p:cNvSpPr>
                <p:nvPr/>
              </p:nvSpPr>
              <p:spPr>
                <a:xfrm>
                  <a:off x="4115329" y="227001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08" name="Oval 4407">
                  <a:extLst>
                    <a:ext uri="{FF2B5EF4-FFF2-40B4-BE49-F238E27FC236}">
                      <a16:creationId xmlns:a16="http://schemas.microsoft.com/office/drawing/2014/main" id="{45FA834D-559C-7CF0-B548-322C0F46D531}"/>
                    </a:ext>
                  </a:extLst>
                </p:cNvPr>
                <p:cNvSpPr>
                  <a:spLocks noChangeAspect="1"/>
                </p:cNvSpPr>
                <p:nvPr/>
              </p:nvSpPr>
              <p:spPr>
                <a:xfrm>
                  <a:off x="3965813" y="225598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09" name="Oval 4408">
                  <a:extLst>
                    <a:ext uri="{FF2B5EF4-FFF2-40B4-BE49-F238E27FC236}">
                      <a16:creationId xmlns:a16="http://schemas.microsoft.com/office/drawing/2014/main" id="{73506E40-0859-9DE8-E32B-07F26AAC86F5}"/>
                    </a:ext>
                  </a:extLst>
                </p:cNvPr>
                <p:cNvSpPr>
                  <a:spLocks noChangeAspect="1"/>
                </p:cNvSpPr>
                <p:nvPr/>
              </p:nvSpPr>
              <p:spPr>
                <a:xfrm>
                  <a:off x="3796796" y="225541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10" name="Oval 4409">
                  <a:extLst>
                    <a:ext uri="{FF2B5EF4-FFF2-40B4-BE49-F238E27FC236}">
                      <a16:creationId xmlns:a16="http://schemas.microsoft.com/office/drawing/2014/main" id="{A8282BC2-7050-0560-3876-A30F980A1678}"/>
                    </a:ext>
                  </a:extLst>
                </p:cNvPr>
                <p:cNvSpPr>
                  <a:spLocks noChangeAspect="1"/>
                </p:cNvSpPr>
                <p:nvPr/>
              </p:nvSpPr>
              <p:spPr>
                <a:xfrm>
                  <a:off x="3651349" y="225541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11" name="Oval 4410">
                  <a:extLst>
                    <a:ext uri="{FF2B5EF4-FFF2-40B4-BE49-F238E27FC236}">
                      <a16:creationId xmlns:a16="http://schemas.microsoft.com/office/drawing/2014/main" id="{4DD17138-F0F1-1397-71B9-2071E398BBB5}"/>
                    </a:ext>
                  </a:extLst>
                </p:cNvPr>
                <p:cNvSpPr>
                  <a:spLocks noChangeAspect="1"/>
                </p:cNvSpPr>
                <p:nvPr/>
              </p:nvSpPr>
              <p:spPr>
                <a:xfrm>
                  <a:off x="3504361" y="225598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12" name="Oval 4411">
                  <a:extLst>
                    <a:ext uri="{FF2B5EF4-FFF2-40B4-BE49-F238E27FC236}">
                      <a16:creationId xmlns:a16="http://schemas.microsoft.com/office/drawing/2014/main" id="{A95FDECF-6792-5D74-4F87-E1BEE2F95F20}"/>
                    </a:ext>
                  </a:extLst>
                </p:cNvPr>
                <p:cNvSpPr>
                  <a:spLocks noChangeAspect="1"/>
                </p:cNvSpPr>
                <p:nvPr/>
              </p:nvSpPr>
              <p:spPr>
                <a:xfrm>
                  <a:off x="3354936" y="225598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13" name="Oval 4412">
                  <a:extLst>
                    <a:ext uri="{FF2B5EF4-FFF2-40B4-BE49-F238E27FC236}">
                      <a16:creationId xmlns:a16="http://schemas.microsoft.com/office/drawing/2014/main" id="{C13607C8-2A0C-2B2B-7F37-9A7B305E87E2}"/>
                    </a:ext>
                  </a:extLst>
                </p:cNvPr>
                <p:cNvSpPr>
                  <a:spLocks noChangeAspect="1"/>
                </p:cNvSpPr>
                <p:nvPr/>
              </p:nvSpPr>
              <p:spPr>
                <a:xfrm>
                  <a:off x="8503874"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14" name="Oval 4413">
                  <a:extLst>
                    <a:ext uri="{FF2B5EF4-FFF2-40B4-BE49-F238E27FC236}">
                      <a16:creationId xmlns:a16="http://schemas.microsoft.com/office/drawing/2014/main" id="{423D6ECF-EDA2-5808-9193-5BECAA7A3456}"/>
                    </a:ext>
                  </a:extLst>
                </p:cNvPr>
                <p:cNvSpPr>
                  <a:spLocks noChangeAspect="1"/>
                </p:cNvSpPr>
                <p:nvPr/>
              </p:nvSpPr>
              <p:spPr>
                <a:xfrm>
                  <a:off x="8358314" y="242713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15" name="Oval 4414">
                  <a:extLst>
                    <a:ext uri="{FF2B5EF4-FFF2-40B4-BE49-F238E27FC236}">
                      <a16:creationId xmlns:a16="http://schemas.microsoft.com/office/drawing/2014/main" id="{E911B614-36ED-D367-7049-F31A12A1B186}"/>
                    </a:ext>
                  </a:extLst>
                </p:cNvPr>
                <p:cNvSpPr>
                  <a:spLocks noChangeAspect="1"/>
                </p:cNvSpPr>
                <p:nvPr/>
              </p:nvSpPr>
              <p:spPr>
                <a:xfrm>
                  <a:off x="8212848"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16" name="Oval 4415">
                  <a:extLst>
                    <a:ext uri="{FF2B5EF4-FFF2-40B4-BE49-F238E27FC236}">
                      <a16:creationId xmlns:a16="http://schemas.microsoft.com/office/drawing/2014/main" id="{0FAE7A1B-4D02-6389-109C-F2D8DD150CA5}"/>
                    </a:ext>
                  </a:extLst>
                </p:cNvPr>
                <p:cNvSpPr>
                  <a:spLocks noChangeAspect="1"/>
                </p:cNvSpPr>
                <p:nvPr/>
              </p:nvSpPr>
              <p:spPr>
                <a:xfrm>
                  <a:off x="8044023" y="2399605"/>
                  <a:ext cx="141895" cy="141884"/>
                </a:xfrm>
                <a:prstGeom prst="ellipse">
                  <a:avLst/>
                </a:prstGeom>
                <a:solidFill>
                  <a:srgbClr val="385723"/>
                </a:solidFill>
                <a:ln w="10484" cap="flat">
                  <a:solidFill>
                    <a:sysClr val="window" lastClr="FFFFFF"/>
                  </a:solidFill>
                  <a:prstDash val="solid"/>
                  <a:miter/>
                </a:ln>
                <a:effectLst>
                  <a:outerShdw blurRad="38100" algn="c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4417" name="Oval 4416">
                  <a:extLst>
                    <a:ext uri="{FF2B5EF4-FFF2-40B4-BE49-F238E27FC236}">
                      <a16:creationId xmlns:a16="http://schemas.microsoft.com/office/drawing/2014/main" id="{2D5F31EA-7027-8DFB-B4A2-2C6C9D038372}"/>
                    </a:ext>
                  </a:extLst>
                </p:cNvPr>
                <p:cNvSpPr>
                  <a:spLocks noChangeAspect="1"/>
                </p:cNvSpPr>
                <p:nvPr/>
              </p:nvSpPr>
              <p:spPr>
                <a:xfrm>
                  <a:off x="7903249"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18" name="Oval 4417">
                  <a:extLst>
                    <a:ext uri="{FF2B5EF4-FFF2-40B4-BE49-F238E27FC236}">
                      <a16:creationId xmlns:a16="http://schemas.microsoft.com/office/drawing/2014/main" id="{5D3ED5F1-E484-CDA3-E839-90CFA5E82924}"/>
                    </a:ext>
                  </a:extLst>
                </p:cNvPr>
                <p:cNvSpPr>
                  <a:spLocks noChangeAspect="1"/>
                </p:cNvSpPr>
                <p:nvPr/>
              </p:nvSpPr>
              <p:spPr>
                <a:xfrm>
                  <a:off x="7747424"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19" name="Oval 4418">
                  <a:extLst>
                    <a:ext uri="{FF2B5EF4-FFF2-40B4-BE49-F238E27FC236}">
                      <a16:creationId xmlns:a16="http://schemas.microsoft.com/office/drawing/2014/main" id="{0B89E93E-0681-7528-E420-42889BCF983B}"/>
                    </a:ext>
                  </a:extLst>
                </p:cNvPr>
                <p:cNvSpPr>
                  <a:spLocks noChangeAspect="1"/>
                </p:cNvSpPr>
                <p:nvPr/>
              </p:nvSpPr>
              <p:spPr>
                <a:xfrm>
                  <a:off x="7606056" y="241547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20" name="Oval 4419">
                  <a:extLst>
                    <a:ext uri="{FF2B5EF4-FFF2-40B4-BE49-F238E27FC236}">
                      <a16:creationId xmlns:a16="http://schemas.microsoft.com/office/drawing/2014/main" id="{91787456-1B37-6DFB-57CB-043B2326791C}"/>
                    </a:ext>
                  </a:extLst>
                </p:cNvPr>
                <p:cNvSpPr>
                  <a:spLocks noChangeAspect="1"/>
                </p:cNvSpPr>
                <p:nvPr/>
              </p:nvSpPr>
              <p:spPr>
                <a:xfrm>
                  <a:off x="7460602" y="241547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21" name="Oval 4420">
                  <a:extLst>
                    <a:ext uri="{FF2B5EF4-FFF2-40B4-BE49-F238E27FC236}">
                      <a16:creationId xmlns:a16="http://schemas.microsoft.com/office/drawing/2014/main" id="{A09532D9-6EA2-F831-34E2-E2249F34ADA8}"/>
                    </a:ext>
                  </a:extLst>
                </p:cNvPr>
                <p:cNvSpPr>
                  <a:spLocks noChangeAspect="1"/>
                </p:cNvSpPr>
                <p:nvPr/>
              </p:nvSpPr>
              <p:spPr>
                <a:xfrm>
                  <a:off x="7292378"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22" name="Oval 4421">
                  <a:extLst>
                    <a:ext uri="{FF2B5EF4-FFF2-40B4-BE49-F238E27FC236}">
                      <a16:creationId xmlns:a16="http://schemas.microsoft.com/office/drawing/2014/main" id="{9328B11E-2DD9-5817-0F62-00E82DE8AC6D}"/>
                    </a:ext>
                  </a:extLst>
                </p:cNvPr>
                <p:cNvSpPr>
                  <a:spLocks noChangeAspect="1"/>
                </p:cNvSpPr>
                <p:nvPr/>
              </p:nvSpPr>
              <p:spPr>
                <a:xfrm>
                  <a:off x="7136566"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23" name="Oval 4422">
                  <a:extLst>
                    <a:ext uri="{FF2B5EF4-FFF2-40B4-BE49-F238E27FC236}">
                      <a16:creationId xmlns:a16="http://schemas.microsoft.com/office/drawing/2014/main" id="{CE416B11-5B57-4D99-2AE1-F624AA867172}"/>
                    </a:ext>
                  </a:extLst>
                </p:cNvPr>
                <p:cNvSpPr>
                  <a:spLocks noChangeAspect="1"/>
                </p:cNvSpPr>
                <p:nvPr/>
              </p:nvSpPr>
              <p:spPr>
                <a:xfrm>
                  <a:off x="6849733" y="241547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24" name="Oval 4423">
                  <a:extLst>
                    <a:ext uri="{FF2B5EF4-FFF2-40B4-BE49-F238E27FC236}">
                      <a16:creationId xmlns:a16="http://schemas.microsoft.com/office/drawing/2014/main" id="{AFD8454C-5329-B507-74AA-BDEFC52B49B1}"/>
                    </a:ext>
                  </a:extLst>
                </p:cNvPr>
                <p:cNvSpPr>
                  <a:spLocks noChangeAspect="1"/>
                </p:cNvSpPr>
                <p:nvPr/>
              </p:nvSpPr>
              <p:spPr>
                <a:xfrm>
                  <a:off x="6704278" y="241547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25" name="Oval 4424">
                  <a:extLst>
                    <a:ext uri="{FF2B5EF4-FFF2-40B4-BE49-F238E27FC236}">
                      <a16:creationId xmlns:a16="http://schemas.microsoft.com/office/drawing/2014/main" id="{1A7FC45D-2ABC-7204-2295-17445EE4F200}"/>
                    </a:ext>
                  </a:extLst>
                </p:cNvPr>
                <p:cNvSpPr>
                  <a:spLocks noChangeAspect="1"/>
                </p:cNvSpPr>
                <p:nvPr/>
              </p:nvSpPr>
              <p:spPr>
                <a:xfrm>
                  <a:off x="6525803"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26" name="Oval 4425">
                  <a:extLst>
                    <a:ext uri="{FF2B5EF4-FFF2-40B4-BE49-F238E27FC236}">
                      <a16:creationId xmlns:a16="http://schemas.microsoft.com/office/drawing/2014/main" id="{2EFA3656-AFE1-A737-5C13-AA06935588A3}"/>
                    </a:ext>
                  </a:extLst>
                </p:cNvPr>
                <p:cNvSpPr>
                  <a:spLocks noChangeAspect="1"/>
                </p:cNvSpPr>
                <p:nvPr/>
              </p:nvSpPr>
              <p:spPr>
                <a:xfrm>
                  <a:off x="6380243"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27" name="Oval 4426">
                  <a:extLst>
                    <a:ext uri="{FF2B5EF4-FFF2-40B4-BE49-F238E27FC236}">
                      <a16:creationId xmlns:a16="http://schemas.microsoft.com/office/drawing/2014/main" id="{98F0B1C5-562E-FAB8-7285-DD47204B1954}"/>
                    </a:ext>
                  </a:extLst>
                </p:cNvPr>
                <p:cNvSpPr>
                  <a:spLocks noChangeAspect="1"/>
                </p:cNvSpPr>
                <p:nvPr/>
              </p:nvSpPr>
              <p:spPr>
                <a:xfrm>
                  <a:off x="6234777"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28" name="Oval 4427">
                  <a:extLst>
                    <a:ext uri="{FF2B5EF4-FFF2-40B4-BE49-F238E27FC236}">
                      <a16:creationId xmlns:a16="http://schemas.microsoft.com/office/drawing/2014/main" id="{755F0DC1-B63D-9876-EBB0-C4AFF030591E}"/>
                    </a:ext>
                  </a:extLst>
                </p:cNvPr>
                <p:cNvSpPr>
                  <a:spLocks noChangeAspect="1"/>
                </p:cNvSpPr>
                <p:nvPr/>
              </p:nvSpPr>
              <p:spPr>
                <a:xfrm>
                  <a:off x="6089344"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29" name="Oval 4428">
                  <a:extLst>
                    <a:ext uri="{FF2B5EF4-FFF2-40B4-BE49-F238E27FC236}">
                      <a16:creationId xmlns:a16="http://schemas.microsoft.com/office/drawing/2014/main" id="{665E0CD7-6772-B1C2-CAD6-E91F61B5812F}"/>
                    </a:ext>
                  </a:extLst>
                </p:cNvPr>
                <p:cNvSpPr>
                  <a:spLocks noChangeAspect="1"/>
                </p:cNvSpPr>
                <p:nvPr/>
              </p:nvSpPr>
              <p:spPr>
                <a:xfrm>
                  <a:off x="5929995"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30" name="Oval 4429">
                  <a:extLst>
                    <a:ext uri="{FF2B5EF4-FFF2-40B4-BE49-F238E27FC236}">
                      <a16:creationId xmlns:a16="http://schemas.microsoft.com/office/drawing/2014/main" id="{5F55A07E-D27F-B03D-B45C-1EDBEAFF9832}"/>
                    </a:ext>
                  </a:extLst>
                </p:cNvPr>
                <p:cNvSpPr>
                  <a:spLocks noChangeAspect="1"/>
                </p:cNvSpPr>
                <p:nvPr/>
              </p:nvSpPr>
              <p:spPr>
                <a:xfrm>
                  <a:off x="5769352"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31" name="Oval 4430">
                  <a:extLst>
                    <a:ext uri="{FF2B5EF4-FFF2-40B4-BE49-F238E27FC236}">
                      <a16:creationId xmlns:a16="http://schemas.microsoft.com/office/drawing/2014/main" id="{995E750A-A837-3D4B-A8E0-D4DB1D1B04D1}"/>
                    </a:ext>
                  </a:extLst>
                </p:cNvPr>
                <p:cNvSpPr>
                  <a:spLocks noChangeAspect="1"/>
                </p:cNvSpPr>
                <p:nvPr/>
              </p:nvSpPr>
              <p:spPr>
                <a:xfrm>
                  <a:off x="5623919" y="242713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32" name="Oval 4431">
                  <a:extLst>
                    <a:ext uri="{FF2B5EF4-FFF2-40B4-BE49-F238E27FC236}">
                      <a16:creationId xmlns:a16="http://schemas.microsoft.com/office/drawing/2014/main" id="{E6450FDC-1DD4-4647-9B05-07525889D710}"/>
                    </a:ext>
                  </a:extLst>
                </p:cNvPr>
                <p:cNvSpPr>
                  <a:spLocks noChangeAspect="1"/>
                </p:cNvSpPr>
                <p:nvPr/>
              </p:nvSpPr>
              <p:spPr>
                <a:xfrm>
                  <a:off x="5478453"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33" name="Oval 4432">
                  <a:extLst>
                    <a:ext uri="{FF2B5EF4-FFF2-40B4-BE49-F238E27FC236}">
                      <a16:creationId xmlns:a16="http://schemas.microsoft.com/office/drawing/2014/main" id="{6B3D6A87-0A31-8F63-C88C-4AACB985F4C3}"/>
                    </a:ext>
                  </a:extLst>
                </p:cNvPr>
                <p:cNvSpPr>
                  <a:spLocks noChangeAspect="1"/>
                </p:cNvSpPr>
                <p:nvPr/>
              </p:nvSpPr>
              <p:spPr>
                <a:xfrm>
                  <a:off x="5333021"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34" name="Oval 4433">
                  <a:extLst>
                    <a:ext uri="{FF2B5EF4-FFF2-40B4-BE49-F238E27FC236}">
                      <a16:creationId xmlns:a16="http://schemas.microsoft.com/office/drawing/2014/main" id="{79736AE5-C3DC-716E-DE95-E28B1DEB5859}"/>
                    </a:ext>
                  </a:extLst>
                </p:cNvPr>
                <p:cNvSpPr>
                  <a:spLocks noChangeAspect="1"/>
                </p:cNvSpPr>
                <p:nvPr/>
              </p:nvSpPr>
              <p:spPr>
                <a:xfrm>
                  <a:off x="5158589"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35" name="Oval 4434">
                  <a:extLst>
                    <a:ext uri="{FF2B5EF4-FFF2-40B4-BE49-F238E27FC236}">
                      <a16:creationId xmlns:a16="http://schemas.microsoft.com/office/drawing/2014/main" id="{05E21575-B14E-1884-F554-D9F2B9C7115A}"/>
                    </a:ext>
                  </a:extLst>
                </p:cNvPr>
                <p:cNvSpPr>
                  <a:spLocks noChangeAspect="1"/>
                </p:cNvSpPr>
                <p:nvPr/>
              </p:nvSpPr>
              <p:spPr>
                <a:xfrm>
                  <a:off x="5013029" y="242713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36" name="Oval 4435">
                  <a:extLst>
                    <a:ext uri="{FF2B5EF4-FFF2-40B4-BE49-F238E27FC236}">
                      <a16:creationId xmlns:a16="http://schemas.microsoft.com/office/drawing/2014/main" id="{118C8B5D-B3B3-0AF2-FD4E-EA262AEB2D4F}"/>
                    </a:ext>
                  </a:extLst>
                </p:cNvPr>
                <p:cNvSpPr>
                  <a:spLocks noChangeAspect="1"/>
                </p:cNvSpPr>
                <p:nvPr/>
              </p:nvSpPr>
              <p:spPr>
                <a:xfrm>
                  <a:off x="4867596"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37" name="Oval 4436">
                  <a:extLst>
                    <a:ext uri="{FF2B5EF4-FFF2-40B4-BE49-F238E27FC236}">
                      <a16:creationId xmlns:a16="http://schemas.microsoft.com/office/drawing/2014/main" id="{9B5C8E92-14C6-4713-4C42-D90007E90882}"/>
                    </a:ext>
                  </a:extLst>
                </p:cNvPr>
                <p:cNvSpPr>
                  <a:spLocks noChangeAspect="1"/>
                </p:cNvSpPr>
                <p:nvPr/>
              </p:nvSpPr>
              <p:spPr>
                <a:xfrm>
                  <a:off x="4722130"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38" name="Oval 4437">
                  <a:extLst>
                    <a:ext uri="{FF2B5EF4-FFF2-40B4-BE49-F238E27FC236}">
                      <a16:creationId xmlns:a16="http://schemas.microsoft.com/office/drawing/2014/main" id="{8ECC278C-92A1-9DF9-2375-2F7033514676}"/>
                    </a:ext>
                  </a:extLst>
                </p:cNvPr>
                <p:cNvSpPr>
                  <a:spLocks noChangeAspect="1"/>
                </p:cNvSpPr>
                <p:nvPr/>
              </p:nvSpPr>
              <p:spPr>
                <a:xfrm>
                  <a:off x="4557975"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39" name="Oval 4438">
                  <a:extLst>
                    <a:ext uri="{FF2B5EF4-FFF2-40B4-BE49-F238E27FC236}">
                      <a16:creationId xmlns:a16="http://schemas.microsoft.com/office/drawing/2014/main" id="{9028B581-3DB6-AF3E-892F-B78664680C15}"/>
                    </a:ext>
                  </a:extLst>
                </p:cNvPr>
                <p:cNvSpPr>
                  <a:spLocks noChangeAspect="1"/>
                </p:cNvSpPr>
                <p:nvPr/>
              </p:nvSpPr>
              <p:spPr>
                <a:xfrm>
                  <a:off x="4402155"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40" name="Oval 4439">
                  <a:extLst>
                    <a:ext uri="{FF2B5EF4-FFF2-40B4-BE49-F238E27FC236}">
                      <a16:creationId xmlns:a16="http://schemas.microsoft.com/office/drawing/2014/main" id="{3E37CB9B-F925-07CF-E44E-A91E6F2BADD9}"/>
                    </a:ext>
                  </a:extLst>
                </p:cNvPr>
                <p:cNvSpPr>
                  <a:spLocks noChangeAspect="1"/>
                </p:cNvSpPr>
                <p:nvPr/>
              </p:nvSpPr>
              <p:spPr>
                <a:xfrm>
                  <a:off x="4256705"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41" name="Oval 4440">
                  <a:extLst>
                    <a:ext uri="{FF2B5EF4-FFF2-40B4-BE49-F238E27FC236}">
                      <a16:creationId xmlns:a16="http://schemas.microsoft.com/office/drawing/2014/main" id="{739E0B05-CF53-0B95-514C-BC1B33ABE8D8}"/>
                    </a:ext>
                  </a:extLst>
                </p:cNvPr>
                <p:cNvSpPr>
                  <a:spLocks noChangeAspect="1"/>
                </p:cNvSpPr>
                <p:nvPr/>
              </p:nvSpPr>
              <p:spPr>
                <a:xfrm>
                  <a:off x="4111259"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42" name="Oval 4441">
                  <a:extLst>
                    <a:ext uri="{FF2B5EF4-FFF2-40B4-BE49-F238E27FC236}">
                      <a16:creationId xmlns:a16="http://schemas.microsoft.com/office/drawing/2014/main" id="{FEDBA18B-8035-6270-DB90-F4A23D948AF2}"/>
                    </a:ext>
                  </a:extLst>
                </p:cNvPr>
                <p:cNvSpPr>
                  <a:spLocks noChangeAspect="1"/>
                </p:cNvSpPr>
                <p:nvPr/>
              </p:nvSpPr>
              <p:spPr>
                <a:xfrm>
                  <a:off x="3965813"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43" name="Oval 4442">
                  <a:extLst>
                    <a:ext uri="{FF2B5EF4-FFF2-40B4-BE49-F238E27FC236}">
                      <a16:creationId xmlns:a16="http://schemas.microsoft.com/office/drawing/2014/main" id="{FC230BEA-9789-D037-41AB-888C40A4792A}"/>
                    </a:ext>
                  </a:extLst>
                </p:cNvPr>
                <p:cNvSpPr>
                  <a:spLocks noChangeAspect="1"/>
                </p:cNvSpPr>
                <p:nvPr/>
              </p:nvSpPr>
              <p:spPr>
                <a:xfrm>
                  <a:off x="3791277"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44" name="Oval 4443">
                  <a:extLst>
                    <a:ext uri="{FF2B5EF4-FFF2-40B4-BE49-F238E27FC236}">
                      <a16:creationId xmlns:a16="http://schemas.microsoft.com/office/drawing/2014/main" id="{9CB24ECB-3D58-7056-D73C-9CBF1BFA0859}"/>
                    </a:ext>
                  </a:extLst>
                </p:cNvPr>
                <p:cNvSpPr>
                  <a:spLocks noChangeAspect="1"/>
                </p:cNvSpPr>
                <p:nvPr/>
              </p:nvSpPr>
              <p:spPr>
                <a:xfrm>
                  <a:off x="3645831" y="242713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45" name="Oval 4444">
                  <a:extLst>
                    <a:ext uri="{FF2B5EF4-FFF2-40B4-BE49-F238E27FC236}">
                      <a16:creationId xmlns:a16="http://schemas.microsoft.com/office/drawing/2014/main" id="{7448C06B-D664-FA89-A874-487C439AE13D}"/>
                    </a:ext>
                  </a:extLst>
                </p:cNvPr>
                <p:cNvSpPr>
                  <a:spLocks noChangeAspect="1"/>
                </p:cNvSpPr>
                <p:nvPr/>
              </p:nvSpPr>
              <p:spPr>
                <a:xfrm>
                  <a:off x="3500382"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46" name="Oval 4445">
                  <a:extLst>
                    <a:ext uri="{FF2B5EF4-FFF2-40B4-BE49-F238E27FC236}">
                      <a16:creationId xmlns:a16="http://schemas.microsoft.com/office/drawing/2014/main" id="{851AF581-3369-5907-060F-80C981A99D0C}"/>
                    </a:ext>
                  </a:extLst>
                </p:cNvPr>
                <p:cNvSpPr>
                  <a:spLocks noChangeAspect="1"/>
                </p:cNvSpPr>
                <p:nvPr/>
              </p:nvSpPr>
              <p:spPr>
                <a:xfrm>
                  <a:off x="8509603" y="257368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47" name="Oval 4446">
                  <a:extLst>
                    <a:ext uri="{FF2B5EF4-FFF2-40B4-BE49-F238E27FC236}">
                      <a16:creationId xmlns:a16="http://schemas.microsoft.com/office/drawing/2014/main" id="{2BBB1CC3-81E0-543D-7E81-2227D0557CAD}"/>
                    </a:ext>
                  </a:extLst>
                </p:cNvPr>
                <p:cNvSpPr>
                  <a:spLocks noChangeAspect="1"/>
                </p:cNvSpPr>
                <p:nvPr/>
              </p:nvSpPr>
              <p:spPr>
                <a:xfrm>
                  <a:off x="8358314" y="257256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48" name="Oval 4447">
                  <a:extLst>
                    <a:ext uri="{FF2B5EF4-FFF2-40B4-BE49-F238E27FC236}">
                      <a16:creationId xmlns:a16="http://schemas.microsoft.com/office/drawing/2014/main" id="{2C61DB2C-EBE2-CAEA-ACF7-50DE19DE6B2A}"/>
                    </a:ext>
                  </a:extLst>
                </p:cNvPr>
                <p:cNvSpPr>
                  <a:spLocks noChangeAspect="1"/>
                </p:cNvSpPr>
                <p:nvPr/>
              </p:nvSpPr>
              <p:spPr>
                <a:xfrm>
                  <a:off x="7747424" y="257240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49" name="Oval 4448">
                  <a:extLst>
                    <a:ext uri="{FF2B5EF4-FFF2-40B4-BE49-F238E27FC236}">
                      <a16:creationId xmlns:a16="http://schemas.microsoft.com/office/drawing/2014/main" id="{44918557-9E76-E999-3DB0-7E651CB89584}"/>
                    </a:ext>
                  </a:extLst>
                </p:cNvPr>
                <p:cNvSpPr>
                  <a:spLocks noChangeAspect="1"/>
                </p:cNvSpPr>
                <p:nvPr/>
              </p:nvSpPr>
              <p:spPr>
                <a:xfrm>
                  <a:off x="7292378" y="256842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50" name="Oval 4449">
                  <a:extLst>
                    <a:ext uri="{FF2B5EF4-FFF2-40B4-BE49-F238E27FC236}">
                      <a16:creationId xmlns:a16="http://schemas.microsoft.com/office/drawing/2014/main" id="{F1083DBE-D0D1-BBAA-477C-0654052BD9B5}"/>
                    </a:ext>
                  </a:extLst>
                </p:cNvPr>
                <p:cNvSpPr>
                  <a:spLocks noChangeAspect="1"/>
                </p:cNvSpPr>
                <p:nvPr/>
              </p:nvSpPr>
              <p:spPr>
                <a:xfrm>
                  <a:off x="7142391" y="257368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51" name="Oval 4450">
                  <a:extLst>
                    <a:ext uri="{FF2B5EF4-FFF2-40B4-BE49-F238E27FC236}">
                      <a16:creationId xmlns:a16="http://schemas.microsoft.com/office/drawing/2014/main" id="{F85A8695-B47B-9785-861B-5DA642A781B8}"/>
                    </a:ext>
                  </a:extLst>
                </p:cNvPr>
                <p:cNvSpPr>
                  <a:spLocks noChangeAspect="1"/>
                </p:cNvSpPr>
                <p:nvPr/>
              </p:nvSpPr>
              <p:spPr>
                <a:xfrm>
                  <a:off x="6991100" y="257256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52" name="Oval 4451">
                  <a:extLst>
                    <a:ext uri="{FF2B5EF4-FFF2-40B4-BE49-F238E27FC236}">
                      <a16:creationId xmlns:a16="http://schemas.microsoft.com/office/drawing/2014/main" id="{7E4FE940-B15A-F7E9-C2D1-C6AB3264B0C5}"/>
                    </a:ext>
                  </a:extLst>
                </p:cNvPr>
                <p:cNvSpPr>
                  <a:spLocks noChangeAspect="1"/>
                </p:cNvSpPr>
                <p:nvPr/>
              </p:nvSpPr>
              <p:spPr>
                <a:xfrm>
                  <a:off x="6845668" y="256842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53" name="Oval 4452">
                  <a:extLst>
                    <a:ext uri="{FF2B5EF4-FFF2-40B4-BE49-F238E27FC236}">
                      <a16:creationId xmlns:a16="http://schemas.microsoft.com/office/drawing/2014/main" id="{9FB04DB6-5001-B58A-CF68-326271F43577}"/>
                    </a:ext>
                  </a:extLst>
                </p:cNvPr>
                <p:cNvSpPr>
                  <a:spLocks noChangeAspect="1"/>
                </p:cNvSpPr>
                <p:nvPr/>
              </p:nvSpPr>
              <p:spPr>
                <a:xfrm>
                  <a:off x="6681501" y="256842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54" name="Oval 4453">
                  <a:extLst>
                    <a:ext uri="{FF2B5EF4-FFF2-40B4-BE49-F238E27FC236}">
                      <a16:creationId xmlns:a16="http://schemas.microsoft.com/office/drawing/2014/main" id="{EA7A24C3-C99B-71D1-F3AE-46440BC70674}"/>
                    </a:ext>
                  </a:extLst>
                </p:cNvPr>
                <p:cNvSpPr>
                  <a:spLocks noChangeAspect="1"/>
                </p:cNvSpPr>
                <p:nvPr/>
              </p:nvSpPr>
              <p:spPr>
                <a:xfrm>
                  <a:off x="6531510" y="257368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55" name="Oval 4454">
                  <a:extLst>
                    <a:ext uri="{FF2B5EF4-FFF2-40B4-BE49-F238E27FC236}">
                      <a16:creationId xmlns:a16="http://schemas.microsoft.com/office/drawing/2014/main" id="{A0AB4264-5C7D-D824-190D-726D812313A9}"/>
                    </a:ext>
                  </a:extLst>
                </p:cNvPr>
                <p:cNvSpPr>
                  <a:spLocks noChangeAspect="1"/>
                </p:cNvSpPr>
                <p:nvPr/>
              </p:nvSpPr>
              <p:spPr>
                <a:xfrm>
                  <a:off x="6380243" y="257240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56" name="Oval 4455">
                  <a:extLst>
                    <a:ext uri="{FF2B5EF4-FFF2-40B4-BE49-F238E27FC236}">
                      <a16:creationId xmlns:a16="http://schemas.microsoft.com/office/drawing/2014/main" id="{305C37D9-36C2-E506-8926-BE1EDEB3FE75}"/>
                    </a:ext>
                  </a:extLst>
                </p:cNvPr>
                <p:cNvSpPr>
                  <a:spLocks noChangeAspect="1"/>
                </p:cNvSpPr>
                <p:nvPr/>
              </p:nvSpPr>
              <p:spPr>
                <a:xfrm>
                  <a:off x="6234777" y="256842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57" name="Oval 4456">
                  <a:extLst>
                    <a:ext uri="{FF2B5EF4-FFF2-40B4-BE49-F238E27FC236}">
                      <a16:creationId xmlns:a16="http://schemas.microsoft.com/office/drawing/2014/main" id="{DC874B91-CCCA-9B7A-93E6-BFEFE12A992F}"/>
                    </a:ext>
                  </a:extLst>
                </p:cNvPr>
                <p:cNvSpPr>
                  <a:spLocks noChangeAspect="1"/>
                </p:cNvSpPr>
                <p:nvPr/>
              </p:nvSpPr>
              <p:spPr>
                <a:xfrm>
                  <a:off x="6089344" y="256842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58" name="Oval 4457">
                  <a:extLst>
                    <a:ext uri="{FF2B5EF4-FFF2-40B4-BE49-F238E27FC236}">
                      <a16:creationId xmlns:a16="http://schemas.microsoft.com/office/drawing/2014/main" id="{6AB04473-A3AF-EBB1-522E-A6B55AD79510}"/>
                    </a:ext>
                  </a:extLst>
                </p:cNvPr>
                <p:cNvSpPr>
                  <a:spLocks noChangeAspect="1"/>
                </p:cNvSpPr>
                <p:nvPr/>
              </p:nvSpPr>
              <p:spPr>
                <a:xfrm>
                  <a:off x="5929995" y="256842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59" name="Oval 4458">
                  <a:extLst>
                    <a:ext uri="{FF2B5EF4-FFF2-40B4-BE49-F238E27FC236}">
                      <a16:creationId xmlns:a16="http://schemas.microsoft.com/office/drawing/2014/main" id="{0C7A2FB1-6CBD-0F48-2F9E-7D02E1564AC4}"/>
                    </a:ext>
                  </a:extLst>
                </p:cNvPr>
                <p:cNvSpPr>
                  <a:spLocks noChangeAspect="1"/>
                </p:cNvSpPr>
                <p:nvPr/>
              </p:nvSpPr>
              <p:spPr>
                <a:xfrm>
                  <a:off x="5769352" y="256842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60" name="Oval 4459">
                  <a:extLst>
                    <a:ext uri="{FF2B5EF4-FFF2-40B4-BE49-F238E27FC236}">
                      <a16:creationId xmlns:a16="http://schemas.microsoft.com/office/drawing/2014/main" id="{CC2B5564-EBD4-CD94-703B-887E43E2ABEA}"/>
                    </a:ext>
                  </a:extLst>
                </p:cNvPr>
                <p:cNvSpPr>
                  <a:spLocks noChangeAspect="1"/>
                </p:cNvSpPr>
                <p:nvPr/>
              </p:nvSpPr>
              <p:spPr>
                <a:xfrm>
                  <a:off x="5333021" y="256842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61" name="Oval 4460">
                  <a:extLst>
                    <a:ext uri="{FF2B5EF4-FFF2-40B4-BE49-F238E27FC236}">
                      <a16:creationId xmlns:a16="http://schemas.microsoft.com/office/drawing/2014/main" id="{2D11678A-DE88-ABF0-E5F5-C1A830F7F51B}"/>
                    </a:ext>
                  </a:extLst>
                </p:cNvPr>
                <p:cNvSpPr>
                  <a:spLocks noChangeAspect="1"/>
                </p:cNvSpPr>
                <p:nvPr/>
              </p:nvSpPr>
              <p:spPr>
                <a:xfrm>
                  <a:off x="5164318" y="257368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62" name="Oval 4461">
                  <a:extLst>
                    <a:ext uri="{FF2B5EF4-FFF2-40B4-BE49-F238E27FC236}">
                      <a16:creationId xmlns:a16="http://schemas.microsoft.com/office/drawing/2014/main" id="{305CAF61-0F59-3BE7-F299-6ED8DA2B8C8A}"/>
                    </a:ext>
                  </a:extLst>
                </p:cNvPr>
                <p:cNvSpPr>
                  <a:spLocks noChangeAspect="1"/>
                </p:cNvSpPr>
                <p:nvPr/>
              </p:nvSpPr>
              <p:spPr>
                <a:xfrm>
                  <a:off x="5013029" y="257240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63" name="Oval 4462">
                  <a:extLst>
                    <a:ext uri="{FF2B5EF4-FFF2-40B4-BE49-F238E27FC236}">
                      <a16:creationId xmlns:a16="http://schemas.microsoft.com/office/drawing/2014/main" id="{1F99A13C-9FA6-E8F5-7E85-BEC9FD8CF361}"/>
                    </a:ext>
                  </a:extLst>
                </p:cNvPr>
                <p:cNvSpPr>
                  <a:spLocks noChangeAspect="1"/>
                </p:cNvSpPr>
                <p:nvPr/>
              </p:nvSpPr>
              <p:spPr>
                <a:xfrm>
                  <a:off x="4722130" y="256842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64" name="Oval 4463">
                  <a:extLst>
                    <a:ext uri="{FF2B5EF4-FFF2-40B4-BE49-F238E27FC236}">
                      <a16:creationId xmlns:a16="http://schemas.microsoft.com/office/drawing/2014/main" id="{7F5B09FC-61D0-7EAD-BAB6-7119CBA114C7}"/>
                    </a:ext>
                  </a:extLst>
                </p:cNvPr>
                <p:cNvSpPr>
                  <a:spLocks noChangeAspect="1"/>
                </p:cNvSpPr>
                <p:nvPr/>
              </p:nvSpPr>
              <p:spPr>
                <a:xfrm>
                  <a:off x="4557975" y="256842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65" name="Oval 4464">
                  <a:extLst>
                    <a:ext uri="{FF2B5EF4-FFF2-40B4-BE49-F238E27FC236}">
                      <a16:creationId xmlns:a16="http://schemas.microsoft.com/office/drawing/2014/main" id="{24F72ED6-5182-FE29-8C96-A0E194082D93}"/>
                    </a:ext>
                  </a:extLst>
                </p:cNvPr>
                <p:cNvSpPr>
                  <a:spLocks noChangeAspect="1"/>
                </p:cNvSpPr>
                <p:nvPr/>
              </p:nvSpPr>
              <p:spPr>
                <a:xfrm>
                  <a:off x="4402155" y="257240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66" name="Oval 4465">
                  <a:extLst>
                    <a:ext uri="{FF2B5EF4-FFF2-40B4-BE49-F238E27FC236}">
                      <a16:creationId xmlns:a16="http://schemas.microsoft.com/office/drawing/2014/main" id="{6052DE41-E6E4-3FC8-7680-AC587184D64F}"/>
                    </a:ext>
                  </a:extLst>
                </p:cNvPr>
                <p:cNvSpPr>
                  <a:spLocks noChangeAspect="1"/>
                </p:cNvSpPr>
                <p:nvPr/>
              </p:nvSpPr>
              <p:spPr>
                <a:xfrm>
                  <a:off x="4256705" y="256842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67" name="Oval 4466">
                  <a:extLst>
                    <a:ext uri="{FF2B5EF4-FFF2-40B4-BE49-F238E27FC236}">
                      <a16:creationId xmlns:a16="http://schemas.microsoft.com/office/drawing/2014/main" id="{38575EE4-4B72-B45D-4A38-620E0E96E2F2}"/>
                    </a:ext>
                  </a:extLst>
                </p:cNvPr>
                <p:cNvSpPr>
                  <a:spLocks noChangeAspect="1"/>
                </p:cNvSpPr>
                <p:nvPr/>
              </p:nvSpPr>
              <p:spPr>
                <a:xfrm>
                  <a:off x="4111259" y="256842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68" name="Oval 4467">
                  <a:extLst>
                    <a:ext uri="{FF2B5EF4-FFF2-40B4-BE49-F238E27FC236}">
                      <a16:creationId xmlns:a16="http://schemas.microsoft.com/office/drawing/2014/main" id="{A4318EE3-BEDA-ADA8-90AB-1972E884961F}"/>
                    </a:ext>
                  </a:extLst>
                </p:cNvPr>
                <p:cNvSpPr>
                  <a:spLocks noChangeAspect="1"/>
                </p:cNvSpPr>
                <p:nvPr/>
              </p:nvSpPr>
              <p:spPr>
                <a:xfrm>
                  <a:off x="3947098" y="256842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69" name="Oval 4468">
                  <a:extLst>
                    <a:ext uri="{FF2B5EF4-FFF2-40B4-BE49-F238E27FC236}">
                      <a16:creationId xmlns:a16="http://schemas.microsoft.com/office/drawing/2014/main" id="{4199DB10-57C3-1FA1-69F9-7279C3E0343A}"/>
                    </a:ext>
                  </a:extLst>
                </p:cNvPr>
                <p:cNvSpPr>
                  <a:spLocks noChangeAspect="1"/>
                </p:cNvSpPr>
                <p:nvPr/>
              </p:nvSpPr>
              <p:spPr>
                <a:xfrm>
                  <a:off x="3797115" y="257368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70" name="Oval 4469">
                  <a:extLst>
                    <a:ext uri="{FF2B5EF4-FFF2-40B4-BE49-F238E27FC236}">
                      <a16:creationId xmlns:a16="http://schemas.microsoft.com/office/drawing/2014/main" id="{554C2975-66AA-2656-48EE-0E0AA172C9A7}"/>
                    </a:ext>
                  </a:extLst>
                </p:cNvPr>
                <p:cNvSpPr>
                  <a:spLocks noChangeAspect="1"/>
                </p:cNvSpPr>
                <p:nvPr/>
              </p:nvSpPr>
              <p:spPr>
                <a:xfrm>
                  <a:off x="3645831" y="257258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71" name="Oval 4470">
                  <a:extLst>
                    <a:ext uri="{FF2B5EF4-FFF2-40B4-BE49-F238E27FC236}">
                      <a16:creationId xmlns:a16="http://schemas.microsoft.com/office/drawing/2014/main" id="{F57118FA-D053-4F1F-9A84-82FC5D94D7DE}"/>
                    </a:ext>
                  </a:extLst>
                </p:cNvPr>
                <p:cNvSpPr>
                  <a:spLocks noChangeAspect="1"/>
                </p:cNvSpPr>
                <p:nvPr/>
              </p:nvSpPr>
              <p:spPr>
                <a:xfrm>
                  <a:off x="8212544" y="256842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72" name="Oval 4471">
                  <a:extLst>
                    <a:ext uri="{FF2B5EF4-FFF2-40B4-BE49-F238E27FC236}">
                      <a16:creationId xmlns:a16="http://schemas.microsoft.com/office/drawing/2014/main" id="{88283F2A-658B-99AC-9F95-65D60852B91F}"/>
                    </a:ext>
                  </a:extLst>
                </p:cNvPr>
                <p:cNvSpPr>
                  <a:spLocks noChangeAspect="1"/>
                </p:cNvSpPr>
                <p:nvPr/>
              </p:nvSpPr>
              <p:spPr>
                <a:xfrm>
                  <a:off x="8067109" y="256842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73" name="Oval 4472">
                  <a:extLst>
                    <a:ext uri="{FF2B5EF4-FFF2-40B4-BE49-F238E27FC236}">
                      <a16:creationId xmlns:a16="http://schemas.microsoft.com/office/drawing/2014/main" id="{046D1B45-3694-8D1D-1F67-F13CCCB370E4}"/>
                    </a:ext>
                  </a:extLst>
                </p:cNvPr>
                <p:cNvSpPr>
                  <a:spLocks noChangeAspect="1"/>
                </p:cNvSpPr>
                <p:nvPr/>
              </p:nvSpPr>
              <p:spPr>
                <a:xfrm>
                  <a:off x="7901620" y="256842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74" name="Oval 4473">
                  <a:extLst>
                    <a:ext uri="{FF2B5EF4-FFF2-40B4-BE49-F238E27FC236}">
                      <a16:creationId xmlns:a16="http://schemas.microsoft.com/office/drawing/2014/main" id="{5524D58E-1216-6871-2061-549B63D33E6E}"/>
                    </a:ext>
                  </a:extLst>
                </p:cNvPr>
                <p:cNvSpPr>
                  <a:spLocks noChangeAspect="1"/>
                </p:cNvSpPr>
                <p:nvPr/>
              </p:nvSpPr>
              <p:spPr>
                <a:xfrm>
                  <a:off x="5623919" y="256886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75" name="Oval 4474">
                  <a:extLst>
                    <a:ext uri="{FF2B5EF4-FFF2-40B4-BE49-F238E27FC236}">
                      <a16:creationId xmlns:a16="http://schemas.microsoft.com/office/drawing/2014/main" id="{50C42901-1482-92B2-9CA1-B9431F6CD14B}"/>
                    </a:ext>
                  </a:extLst>
                </p:cNvPr>
                <p:cNvSpPr>
                  <a:spLocks noChangeAspect="1"/>
                </p:cNvSpPr>
                <p:nvPr/>
              </p:nvSpPr>
              <p:spPr>
                <a:xfrm>
                  <a:off x="5478149" y="256842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76" name="Oval 4475">
                  <a:extLst>
                    <a:ext uri="{FF2B5EF4-FFF2-40B4-BE49-F238E27FC236}">
                      <a16:creationId xmlns:a16="http://schemas.microsoft.com/office/drawing/2014/main" id="{A0B6F0BA-0845-C0C8-9D7F-BCDF600443FE}"/>
                    </a:ext>
                  </a:extLst>
                </p:cNvPr>
                <p:cNvSpPr>
                  <a:spLocks noChangeAspect="1"/>
                </p:cNvSpPr>
                <p:nvPr/>
              </p:nvSpPr>
              <p:spPr>
                <a:xfrm>
                  <a:off x="4867281" y="256842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77" name="Oval 4476">
                  <a:extLst>
                    <a:ext uri="{FF2B5EF4-FFF2-40B4-BE49-F238E27FC236}">
                      <a16:creationId xmlns:a16="http://schemas.microsoft.com/office/drawing/2014/main" id="{8834FDD4-0E54-48BE-3F0A-C0B2BB042CA4}"/>
                    </a:ext>
                  </a:extLst>
                </p:cNvPr>
                <p:cNvSpPr>
                  <a:spLocks noChangeAspect="1"/>
                </p:cNvSpPr>
                <p:nvPr/>
              </p:nvSpPr>
              <p:spPr>
                <a:xfrm>
                  <a:off x="3500074" y="256842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78" name="Oval 4477">
                  <a:extLst>
                    <a:ext uri="{FF2B5EF4-FFF2-40B4-BE49-F238E27FC236}">
                      <a16:creationId xmlns:a16="http://schemas.microsoft.com/office/drawing/2014/main" id="{77BCE127-3CA6-0C30-1816-44E566338175}"/>
                    </a:ext>
                  </a:extLst>
                </p:cNvPr>
                <p:cNvSpPr>
                  <a:spLocks noChangeAspect="1"/>
                </p:cNvSpPr>
                <p:nvPr/>
              </p:nvSpPr>
              <p:spPr>
                <a:xfrm>
                  <a:off x="8509275" y="272083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79" name="Oval 4478">
                  <a:extLst>
                    <a:ext uri="{FF2B5EF4-FFF2-40B4-BE49-F238E27FC236}">
                      <a16:creationId xmlns:a16="http://schemas.microsoft.com/office/drawing/2014/main" id="{4BE5E947-DC12-6FBB-384A-6380432AFC07}"/>
                    </a:ext>
                  </a:extLst>
                </p:cNvPr>
                <p:cNvSpPr>
                  <a:spLocks noChangeAspect="1"/>
                </p:cNvSpPr>
                <p:nvPr/>
              </p:nvSpPr>
              <p:spPr>
                <a:xfrm>
                  <a:off x="8363821" y="272083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80" name="Oval 4479">
                  <a:extLst>
                    <a:ext uri="{FF2B5EF4-FFF2-40B4-BE49-F238E27FC236}">
                      <a16:creationId xmlns:a16="http://schemas.microsoft.com/office/drawing/2014/main" id="{ECBE5EB0-094F-9735-4865-67350E6CBDCD}"/>
                    </a:ext>
                  </a:extLst>
                </p:cNvPr>
                <p:cNvSpPr>
                  <a:spLocks noChangeAspect="1"/>
                </p:cNvSpPr>
                <p:nvPr/>
              </p:nvSpPr>
              <p:spPr>
                <a:xfrm>
                  <a:off x="8212672" y="271389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81" name="Oval 4480">
                  <a:extLst>
                    <a:ext uri="{FF2B5EF4-FFF2-40B4-BE49-F238E27FC236}">
                      <a16:creationId xmlns:a16="http://schemas.microsoft.com/office/drawing/2014/main" id="{D3E49766-6612-926C-618A-FF55021FFDB8}"/>
                    </a:ext>
                  </a:extLst>
                </p:cNvPr>
                <p:cNvSpPr>
                  <a:spLocks noChangeAspect="1"/>
                </p:cNvSpPr>
                <p:nvPr/>
              </p:nvSpPr>
              <p:spPr>
                <a:xfrm>
                  <a:off x="7456525" y="271389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82" name="Oval 4481">
                  <a:extLst>
                    <a:ext uri="{FF2B5EF4-FFF2-40B4-BE49-F238E27FC236}">
                      <a16:creationId xmlns:a16="http://schemas.microsoft.com/office/drawing/2014/main" id="{9B72E275-EA06-9547-3C35-D9E8543EAF9C}"/>
                    </a:ext>
                  </a:extLst>
                </p:cNvPr>
                <p:cNvSpPr>
                  <a:spLocks noChangeAspect="1"/>
                </p:cNvSpPr>
                <p:nvPr/>
              </p:nvSpPr>
              <p:spPr>
                <a:xfrm>
                  <a:off x="7311092" y="271972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83" name="Oval 4482">
                  <a:extLst>
                    <a:ext uri="{FF2B5EF4-FFF2-40B4-BE49-F238E27FC236}">
                      <a16:creationId xmlns:a16="http://schemas.microsoft.com/office/drawing/2014/main" id="{DC620079-EBCC-3136-C432-221A077AF22C}"/>
                    </a:ext>
                  </a:extLst>
                </p:cNvPr>
                <p:cNvSpPr>
                  <a:spLocks noChangeAspect="1"/>
                </p:cNvSpPr>
                <p:nvPr/>
              </p:nvSpPr>
              <p:spPr>
                <a:xfrm>
                  <a:off x="7142073" y="272083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84" name="Oval 4483">
                  <a:extLst>
                    <a:ext uri="{FF2B5EF4-FFF2-40B4-BE49-F238E27FC236}">
                      <a16:creationId xmlns:a16="http://schemas.microsoft.com/office/drawing/2014/main" id="{E661F12B-D338-E534-381F-FB763C2666CD}"/>
                    </a:ext>
                  </a:extLst>
                </p:cNvPr>
                <p:cNvSpPr>
                  <a:spLocks noChangeAspect="1"/>
                </p:cNvSpPr>
                <p:nvPr/>
              </p:nvSpPr>
              <p:spPr>
                <a:xfrm>
                  <a:off x="6996628" y="272083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85" name="Oval 4484">
                  <a:extLst>
                    <a:ext uri="{FF2B5EF4-FFF2-40B4-BE49-F238E27FC236}">
                      <a16:creationId xmlns:a16="http://schemas.microsoft.com/office/drawing/2014/main" id="{1DC8785E-EEE8-F78A-8FF2-65F6BB688D0A}"/>
                    </a:ext>
                  </a:extLst>
                </p:cNvPr>
                <p:cNvSpPr>
                  <a:spLocks noChangeAspect="1"/>
                </p:cNvSpPr>
                <p:nvPr/>
              </p:nvSpPr>
              <p:spPr>
                <a:xfrm>
                  <a:off x="6845668" y="271389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86" name="Oval 4485">
                  <a:extLst>
                    <a:ext uri="{FF2B5EF4-FFF2-40B4-BE49-F238E27FC236}">
                      <a16:creationId xmlns:a16="http://schemas.microsoft.com/office/drawing/2014/main" id="{A94D6293-CAAB-9D8C-7783-8ACD5A1E11CC}"/>
                    </a:ext>
                  </a:extLst>
                </p:cNvPr>
                <p:cNvSpPr>
                  <a:spLocks noChangeAspect="1"/>
                </p:cNvSpPr>
                <p:nvPr/>
              </p:nvSpPr>
              <p:spPr>
                <a:xfrm>
                  <a:off x="6700201" y="271389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87" name="Oval 4486">
                  <a:extLst>
                    <a:ext uri="{FF2B5EF4-FFF2-40B4-BE49-F238E27FC236}">
                      <a16:creationId xmlns:a16="http://schemas.microsoft.com/office/drawing/2014/main" id="{8EC03B3A-37B1-F88B-1C3C-FCAD42F90CA5}"/>
                    </a:ext>
                  </a:extLst>
                </p:cNvPr>
                <p:cNvSpPr>
                  <a:spLocks noChangeAspect="1"/>
                </p:cNvSpPr>
                <p:nvPr/>
              </p:nvSpPr>
              <p:spPr>
                <a:xfrm>
                  <a:off x="6531204" y="272085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88" name="Oval 4487">
                  <a:extLst>
                    <a:ext uri="{FF2B5EF4-FFF2-40B4-BE49-F238E27FC236}">
                      <a16:creationId xmlns:a16="http://schemas.microsoft.com/office/drawing/2014/main" id="{92D914E7-B675-4C0F-1DF2-80E56539DF4A}"/>
                    </a:ext>
                  </a:extLst>
                </p:cNvPr>
                <p:cNvSpPr>
                  <a:spLocks noChangeAspect="1"/>
                </p:cNvSpPr>
                <p:nvPr/>
              </p:nvSpPr>
              <p:spPr>
                <a:xfrm>
                  <a:off x="6385750" y="272085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89" name="Oval 4488">
                  <a:extLst>
                    <a:ext uri="{FF2B5EF4-FFF2-40B4-BE49-F238E27FC236}">
                      <a16:creationId xmlns:a16="http://schemas.microsoft.com/office/drawing/2014/main" id="{C9848262-E35C-5A1C-67BB-8B9C5390F7CE}"/>
                    </a:ext>
                  </a:extLst>
                </p:cNvPr>
                <p:cNvSpPr>
                  <a:spLocks noChangeAspect="1"/>
                </p:cNvSpPr>
                <p:nvPr/>
              </p:nvSpPr>
              <p:spPr>
                <a:xfrm>
                  <a:off x="6234601" y="271389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90" name="Oval 4489">
                  <a:extLst>
                    <a:ext uri="{FF2B5EF4-FFF2-40B4-BE49-F238E27FC236}">
                      <a16:creationId xmlns:a16="http://schemas.microsoft.com/office/drawing/2014/main" id="{61BE78CF-B417-49E7-38E5-A9A82A9C6A0B}"/>
                    </a:ext>
                  </a:extLst>
                </p:cNvPr>
                <p:cNvSpPr>
                  <a:spLocks noChangeAspect="1"/>
                </p:cNvSpPr>
                <p:nvPr/>
              </p:nvSpPr>
              <p:spPr>
                <a:xfrm>
                  <a:off x="6089344" y="271389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91" name="Oval 4490">
                  <a:extLst>
                    <a:ext uri="{FF2B5EF4-FFF2-40B4-BE49-F238E27FC236}">
                      <a16:creationId xmlns:a16="http://schemas.microsoft.com/office/drawing/2014/main" id="{BE4C0440-2484-0C92-C0BE-9A46AE81A46D}"/>
                    </a:ext>
                  </a:extLst>
                </p:cNvPr>
                <p:cNvSpPr>
                  <a:spLocks noChangeAspect="1"/>
                </p:cNvSpPr>
                <p:nvPr/>
              </p:nvSpPr>
              <p:spPr>
                <a:xfrm>
                  <a:off x="5929995" y="272085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92" name="Oval 4491">
                  <a:extLst>
                    <a:ext uri="{FF2B5EF4-FFF2-40B4-BE49-F238E27FC236}">
                      <a16:creationId xmlns:a16="http://schemas.microsoft.com/office/drawing/2014/main" id="{965BA58B-5A5F-2A70-88F9-4D80BFC2E964}"/>
                    </a:ext>
                  </a:extLst>
                </p:cNvPr>
                <p:cNvSpPr>
                  <a:spLocks noChangeAspect="1"/>
                </p:cNvSpPr>
                <p:nvPr/>
              </p:nvSpPr>
              <p:spPr>
                <a:xfrm>
                  <a:off x="5774880" y="272085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93" name="Oval 4492">
                  <a:extLst>
                    <a:ext uri="{FF2B5EF4-FFF2-40B4-BE49-F238E27FC236}">
                      <a16:creationId xmlns:a16="http://schemas.microsoft.com/office/drawing/2014/main" id="{121E91A1-5A1B-DDBF-2744-C73B9ADFB683}"/>
                    </a:ext>
                  </a:extLst>
                </p:cNvPr>
                <p:cNvSpPr>
                  <a:spLocks noChangeAspect="1"/>
                </p:cNvSpPr>
                <p:nvPr/>
              </p:nvSpPr>
              <p:spPr>
                <a:xfrm>
                  <a:off x="5626187" y="271609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94" name="Oval 4493">
                  <a:extLst>
                    <a:ext uri="{FF2B5EF4-FFF2-40B4-BE49-F238E27FC236}">
                      <a16:creationId xmlns:a16="http://schemas.microsoft.com/office/drawing/2014/main" id="{6579D50F-A676-BA6E-A5A6-C769E5C64A68}"/>
                    </a:ext>
                  </a:extLst>
                </p:cNvPr>
                <p:cNvSpPr>
                  <a:spLocks noChangeAspect="1"/>
                </p:cNvSpPr>
                <p:nvPr/>
              </p:nvSpPr>
              <p:spPr>
                <a:xfrm>
                  <a:off x="5478453" y="271389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95" name="Oval 4494">
                  <a:extLst>
                    <a:ext uri="{FF2B5EF4-FFF2-40B4-BE49-F238E27FC236}">
                      <a16:creationId xmlns:a16="http://schemas.microsoft.com/office/drawing/2014/main" id="{0EC73839-754E-10D5-862F-FB3BA0FF9D50}"/>
                    </a:ext>
                  </a:extLst>
                </p:cNvPr>
                <p:cNvSpPr>
                  <a:spLocks noChangeAspect="1"/>
                </p:cNvSpPr>
                <p:nvPr/>
              </p:nvSpPr>
              <p:spPr>
                <a:xfrm>
                  <a:off x="5333021" y="271389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96" name="Oval 4495">
                  <a:extLst>
                    <a:ext uri="{FF2B5EF4-FFF2-40B4-BE49-F238E27FC236}">
                      <a16:creationId xmlns:a16="http://schemas.microsoft.com/office/drawing/2014/main" id="{73967E89-0B31-98A7-AC20-3B92B3F4EE36}"/>
                    </a:ext>
                  </a:extLst>
                </p:cNvPr>
                <p:cNvSpPr>
                  <a:spLocks noChangeAspect="1"/>
                </p:cNvSpPr>
                <p:nvPr/>
              </p:nvSpPr>
              <p:spPr>
                <a:xfrm>
                  <a:off x="5164001" y="272085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97" name="Oval 4496">
                  <a:extLst>
                    <a:ext uri="{FF2B5EF4-FFF2-40B4-BE49-F238E27FC236}">
                      <a16:creationId xmlns:a16="http://schemas.microsoft.com/office/drawing/2014/main" id="{6FB222B5-18D8-D391-53B3-09860938009F}"/>
                    </a:ext>
                  </a:extLst>
                </p:cNvPr>
                <p:cNvSpPr>
                  <a:spLocks noChangeAspect="1"/>
                </p:cNvSpPr>
                <p:nvPr/>
              </p:nvSpPr>
              <p:spPr>
                <a:xfrm>
                  <a:off x="5018557" y="272085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98" name="Oval 4497">
                  <a:extLst>
                    <a:ext uri="{FF2B5EF4-FFF2-40B4-BE49-F238E27FC236}">
                      <a16:creationId xmlns:a16="http://schemas.microsoft.com/office/drawing/2014/main" id="{4EC142A7-77C0-90BB-4BB3-3E460F542129}"/>
                    </a:ext>
                  </a:extLst>
                </p:cNvPr>
                <p:cNvSpPr>
                  <a:spLocks noChangeAspect="1"/>
                </p:cNvSpPr>
                <p:nvPr/>
              </p:nvSpPr>
              <p:spPr>
                <a:xfrm>
                  <a:off x="4867401" y="271389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99" name="Oval 4498">
                  <a:extLst>
                    <a:ext uri="{FF2B5EF4-FFF2-40B4-BE49-F238E27FC236}">
                      <a16:creationId xmlns:a16="http://schemas.microsoft.com/office/drawing/2014/main" id="{CB5BCF83-4909-AAAD-FBE8-F03C9D66747A}"/>
                    </a:ext>
                  </a:extLst>
                </p:cNvPr>
                <p:cNvSpPr>
                  <a:spLocks noChangeAspect="1"/>
                </p:cNvSpPr>
                <p:nvPr/>
              </p:nvSpPr>
              <p:spPr>
                <a:xfrm>
                  <a:off x="4722130" y="271389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00" name="Oval 4499">
                  <a:extLst>
                    <a:ext uri="{FF2B5EF4-FFF2-40B4-BE49-F238E27FC236}">
                      <a16:creationId xmlns:a16="http://schemas.microsoft.com/office/drawing/2014/main" id="{10984E1B-D2AD-BA42-3F7F-E8A7588E1AE9}"/>
                    </a:ext>
                  </a:extLst>
                </p:cNvPr>
                <p:cNvSpPr>
                  <a:spLocks noChangeAspect="1"/>
                </p:cNvSpPr>
                <p:nvPr/>
              </p:nvSpPr>
              <p:spPr>
                <a:xfrm>
                  <a:off x="4553118" y="272085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01" name="Oval 4500">
                  <a:extLst>
                    <a:ext uri="{FF2B5EF4-FFF2-40B4-BE49-F238E27FC236}">
                      <a16:creationId xmlns:a16="http://schemas.microsoft.com/office/drawing/2014/main" id="{6B5B0015-0590-D007-6CD8-D5A337AE8F54}"/>
                    </a:ext>
                  </a:extLst>
                </p:cNvPr>
                <p:cNvSpPr>
                  <a:spLocks noChangeAspect="1"/>
                </p:cNvSpPr>
                <p:nvPr/>
              </p:nvSpPr>
              <p:spPr>
                <a:xfrm>
                  <a:off x="4407672" y="272085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02" name="Oval 4501">
                  <a:extLst>
                    <a:ext uri="{FF2B5EF4-FFF2-40B4-BE49-F238E27FC236}">
                      <a16:creationId xmlns:a16="http://schemas.microsoft.com/office/drawing/2014/main" id="{B796D25C-D0E0-4B65-DC62-46EE5C4D41AF}"/>
                    </a:ext>
                  </a:extLst>
                </p:cNvPr>
                <p:cNvSpPr>
                  <a:spLocks noChangeAspect="1"/>
                </p:cNvSpPr>
                <p:nvPr/>
              </p:nvSpPr>
              <p:spPr>
                <a:xfrm>
                  <a:off x="4256521" y="271389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03" name="Oval 4502">
                  <a:extLst>
                    <a:ext uri="{FF2B5EF4-FFF2-40B4-BE49-F238E27FC236}">
                      <a16:creationId xmlns:a16="http://schemas.microsoft.com/office/drawing/2014/main" id="{779569EB-E574-F7D2-709E-C132867B4378}"/>
                    </a:ext>
                  </a:extLst>
                </p:cNvPr>
                <p:cNvSpPr>
                  <a:spLocks noChangeAspect="1"/>
                </p:cNvSpPr>
                <p:nvPr/>
              </p:nvSpPr>
              <p:spPr>
                <a:xfrm>
                  <a:off x="4111259" y="271389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04" name="Oval 4503">
                  <a:extLst>
                    <a:ext uri="{FF2B5EF4-FFF2-40B4-BE49-F238E27FC236}">
                      <a16:creationId xmlns:a16="http://schemas.microsoft.com/office/drawing/2014/main" id="{A2BF7AD5-7F25-E7D2-E942-964E2782C4DD}"/>
                    </a:ext>
                  </a:extLst>
                </p:cNvPr>
                <p:cNvSpPr>
                  <a:spLocks noChangeAspect="1"/>
                </p:cNvSpPr>
                <p:nvPr/>
              </p:nvSpPr>
              <p:spPr>
                <a:xfrm>
                  <a:off x="3965813" y="271389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05" name="Oval 4504">
                  <a:extLst>
                    <a:ext uri="{FF2B5EF4-FFF2-40B4-BE49-F238E27FC236}">
                      <a16:creationId xmlns:a16="http://schemas.microsoft.com/office/drawing/2014/main" id="{981B3964-7214-3E48-5BE7-5C687E457D51}"/>
                    </a:ext>
                  </a:extLst>
                </p:cNvPr>
                <p:cNvSpPr>
                  <a:spLocks noChangeAspect="1"/>
                </p:cNvSpPr>
                <p:nvPr/>
              </p:nvSpPr>
              <p:spPr>
                <a:xfrm>
                  <a:off x="3796796" y="272085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06" name="Oval 4505">
                  <a:extLst>
                    <a:ext uri="{FF2B5EF4-FFF2-40B4-BE49-F238E27FC236}">
                      <a16:creationId xmlns:a16="http://schemas.microsoft.com/office/drawing/2014/main" id="{A22CACAB-7ABA-7D75-956D-9B8EB97CB455}"/>
                    </a:ext>
                  </a:extLst>
                </p:cNvPr>
                <p:cNvSpPr>
                  <a:spLocks noChangeAspect="1"/>
                </p:cNvSpPr>
                <p:nvPr/>
              </p:nvSpPr>
              <p:spPr>
                <a:xfrm>
                  <a:off x="3651349" y="272085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07" name="Oval 4506">
                  <a:extLst>
                    <a:ext uri="{FF2B5EF4-FFF2-40B4-BE49-F238E27FC236}">
                      <a16:creationId xmlns:a16="http://schemas.microsoft.com/office/drawing/2014/main" id="{372812A3-C44A-D088-BE93-F620FDB3C233}"/>
                    </a:ext>
                  </a:extLst>
                </p:cNvPr>
                <p:cNvSpPr>
                  <a:spLocks noChangeAspect="1"/>
                </p:cNvSpPr>
                <p:nvPr/>
              </p:nvSpPr>
              <p:spPr>
                <a:xfrm>
                  <a:off x="8358314" y="287194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08" name="Oval 4507">
                  <a:extLst>
                    <a:ext uri="{FF2B5EF4-FFF2-40B4-BE49-F238E27FC236}">
                      <a16:creationId xmlns:a16="http://schemas.microsoft.com/office/drawing/2014/main" id="{92F56C81-766B-9391-ED73-AFA6445D2EEB}"/>
                    </a:ext>
                  </a:extLst>
                </p:cNvPr>
                <p:cNvSpPr>
                  <a:spLocks noChangeAspect="1"/>
                </p:cNvSpPr>
                <p:nvPr/>
              </p:nvSpPr>
              <p:spPr>
                <a:xfrm>
                  <a:off x="8216925" y="288089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09" name="Oval 4508">
                  <a:extLst>
                    <a:ext uri="{FF2B5EF4-FFF2-40B4-BE49-F238E27FC236}">
                      <a16:creationId xmlns:a16="http://schemas.microsoft.com/office/drawing/2014/main" id="{9B085019-B954-1242-A425-8FFB17999082}"/>
                    </a:ext>
                  </a:extLst>
                </p:cNvPr>
                <p:cNvSpPr>
                  <a:spLocks noChangeAspect="1"/>
                </p:cNvSpPr>
                <p:nvPr/>
              </p:nvSpPr>
              <p:spPr>
                <a:xfrm>
                  <a:off x="8071492" y="288089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10" name="Oval 4509">
                  <a:extLst>
                    <a:ext uri="{FF2B5EF4-FFF2-40B4-BE49-F238E27FC236}">
                      <a16:creationId xmlns:a16="http://schemas.microsoft.com/office/drawing/2014/main" id="{16388619-A05F-C597-26CB-38251774E5F8}"/>
                    </a:ext>
                  </a:extLst>
                </p:cNvPr>
                <p:cNvSpPr>
                  <a:spLocks noChangeAspect="1"/>
                </p:cNvSpPr>
                <p:nvPr/>
              </p:nvSpPr>
              <p:spPr>
                <a:xfrm>
                  <a:off x="7900050" y="286672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11" name="Oval 4510">
                  <a:extLst>
                    <a:ext uri="{FF2B5EF4-FFF2-40B4-BE49-F238E27FC236}">
                      <a16:creationId xmlns:a16="http://schemas.microsoft.com/office/drawing/2014/main" id="{39CC60AB-74E1-7833-EB6F-919B98EE5A53}"/>
                    </a:ext>
                  </a:extLst>
                </p:cNvPr>
                <p:cNvSpPr>
                  <a:spLocks noChangeAspect="1"/>
                </p:cNvSpPr>
                <p:nvPr/>
              </p:nvSpPr>
              <p:spPr>
                <a:xfrm>
                  <a:off x="7142073" y="286630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12" name="Oval 4511">
                  <a:extLst>
                    <a:ext uri="{FF2B5EF4-FFF2-40B4-BE49-F238E27FC236}">
                      <a16:creationId xmlns:a16="http://schemas.microsoft.com/office/drawing/2014/main" id="{533906D7-EBB9-3891-C9D7-33ED999F7886}"/>
                    </a:ext>
                  </a:extLst>
                </p:cNvPr>
                <p:cNvSpPr>
                  <a:spLocks noChangeAspect="1"/>
                </p:cNvSpPr>
                <p:nvPr/>
              </p:nvSpPr>
              <p:spPr>
                <a:xfrm>
                  <a:off x="6991100" y="286808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13" name="Oval 4512">
                  <a:extLst>
                    <a:ext uri="{FF2B5EF4-FFF2-40B4-BE49-F238E27FC236}">
                      <a16:creationId xmlns:a16="http://schemas.microsoft.com/office/drawing/2014/main" id="{5F659C6D-BE21-CA54-0FBC-9DC661FBA504}"/>
                    </a:ext>
                  </a:extLst>
                </p:cNvPr>
                <p:cNvSpPr>
                  <a:spLocks noChangeAspect="1"/>
                </p:cNvSpPr>
                <p:nvPr/>
              </p:nvSpPr>
              <p:spPr>
                <a:xfrm>
                  <a:off x="6849733" y="288089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14" name="Oval 4513">
                  <a:extLst>
                    <a:ext uri="{FF2B5EF4-FFF2-40B4-BE49-F238E27FC236}">
                      <a16:creationId xmlns:a16="http://schemas.microsoft.com/office/drawing/2014/main" id="{76EF7693-0E3C-221A-1CD3-B7158023EAFB}"/>
                    </a:ext>
                  </a:extLst>
                </p:cNvPr>
                <p:cNvSpPr>
                  <a:spLocks noChangeAspect="1"/>
                </p:cNvSpPr>
                <p:nvPr/>
              </p:nvSpPr>
              <p:spPr>
                <a:xfrm>
                  <a:off x="6704278" y="288089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15" name="Oval 4514">
                  <a:extLst>
                    <a:ext uri="{FF2B5EF4-FFF2-40B4-BE49-F238E27FC236}">
                      <a16:creationId xmlns:a16="http://schemas.microsoft.com/office/drawing/2014/main" id="{BD3915B8-C6D3-A2A4-A36B-6CA4A5A7232F}"/>
                    </a:ext>
                  </a:extLst>
                </p:cNvPr>
                <p:cNvSpPr>
                  <a:spLocks noChangeAspect="1"/>
                </p:cNvSpPr>
                <p:nvPr/>
              </p:nvSpPr>
              <p:spPr>
                <a:xfrm>
                  <a:off x="6532861" y="286672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16" name="Oval 4515">
                  <a:extLst>
                    <a:ext uri="{FF2B5EF4-FFF2-40B4-BE49-F238E27FC236}">
                      <a16:creationId xmlns:a16="http://schemas.microsoft.com/office/drawing/2014/main" id="{0D812516-0EB7-D1B6-D9E2-CC742E0EF101}"/>
                    </a:ext>
                  </a:extLst>
                </p:cNvPr>
                <p:cNvSpPr>
                  <a:spLocks noChangeAspect="1"/>
                </p:cNvSpPr>
                <p:nvPr/>
              </p:nvSpPr>
              <p:spPr>
                <a:xfrm>
                  <a:off x="6385750" y="286630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17" name="Oval 4516">
                  <a:extLst>
                    <a:ext uri="{FF2B5EF4-FFF2-40B4-BE49-F238E27FC236}">
                      <a16:creationId xmlns:a16="http://schemas.microsoft.com/office/drawing/2014/main" id="{B9BB97D8-5B6B-B36C-39F9-41965C98E490}"/>
                    </a:ext>
                  </a:extLst>
                </p:cNvPr>
                <p:cNvSpPr>
                  <a:spLocks noChangeAspect="1"/>
                </p:cNvSpPr>
                <p:nvPr/>
              </p:nvSpPr>
              <p:spPr>
                <a:xfrm>
                  <a:off x="6238854" y="288089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18" name="Oval 4517">
                  <a:extLst>
                    <a:ext uri="{FF2B5EF4-FFF2-40B4-BE49-F238E27FC236}">
                      <a16:creationId xmlns:a16="http://schemas.microsoft.com/office/drawing/2014/main" id="{58099479-C203-A743-21C0-B4D67A52B374}"/>
                    </a:ext>
                  </a:extLst>
                </p:cNvPr>
                <p:cNvSpPr>
                  <a:spLocks noChangeAspect="1"/>
                </p:cNvSpPr>
                <p:nvPr/>
              </p:nvSpPr>
              <p:spPr>
                <a:xfrm>
                  <a:off x="6093409" y="288089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19" name="Oval 4518">
                  <a:extLst>
                    <a:ext uri="{FF2B5EF4-FFF2-40B4-BE49-F238E27FC236}">
                      <a16:creationId xmlns:a16="http://schemas.microsoft.com/office/drawing/2014/main" id="{CB700F00-5CF8-612D-904D-023DF984D2C6}"/>
                    </a:ext>
                  </a:extLst>
                </p:cNvPr>
                <p:cNvSpPr>
                  <a:spLocks noChangeAspect="1"/>
                </p:cNvSpPr>
                <p:nvPr/>
              </p:nvSpPr>
              <p:spPr>
                <a:xfrm>
                  <a:off x="5929995" y="286746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20" name="Oval 4519">
                  <a:extLst>
                    <a:ext uri="{FF2B5EF4-FFF2-40B4-BE49-F238E27FC236}">
                      <a16:creationId xmlns:a16="http://schemas.microsoft.com/office/drawing/2014/main" id="{D5CA8883-8055-CE77-8A63-3FEE55FF90A7}"/>
                    </a:ext>
                  </a:extLst>
                </p:cNvPr>
                <p:cNvSpPr>
                  <a:spLocks noChangeAspect="1"/>
                </p:cNvSpPr>
                <p:nvPr/>
              </p:nvSpPr>
              <p:spPr>
                <a:xfrm>
                  <a:off x="5774880" y="286630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21" name="Oval 4520">
                  <a:extLst>
                    <a:ext uri="{FF2B5EF4-FFF2-40B4-BE49-F238E27FC236}">
                      <a16:creationId xmlns:a16="http://schemas.microsoft.com/office/drawing/2014/main" id="{98A2CFED-7D5A-762E-9136-232F8CEB883A}"/>
                    </a:ext>
                  </a:extLst>
                </p:cNvPr>
                <p:cNvSpPr>
                  <a:spLocks noChangeAspect="1"/>
                </p:cNvSpPr>
                <p:nvPr/>
              </p:nvSpPr>
              <p:spPr>
                <a:xfrm>
                  <a:off x="5623919" y="287194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22" name="Oval 4521">
                  <a:extLst>
                    <a:ext uri="{FF2B5EF4-FFF2-40B4-BE49-F238E27FC236}">
                      <a16:creationId xmlns:a16="http://schemas.microsoft.com/office/drawing/2014/main" id="{E7E275FC-75AD-C10C-AAE8-ABD9CDDBE88D}"/>
                    </a:ext>
                  </a:extLst>
                </p:cNvPr>
                <p:cNvSpPr>
                  <a:spLocks noChangeAspect="1"/>
                </p:cNvSpPr>
                <p:nvPr/>
              </p:nvSpPr>
              <p:spPr>
                <a:xfrm>
                  <a:off x="5482530" y="288089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23" name="Oval 4522">
                  <a:extLst>
                    <a:ext uri="{FF2B5EF4-FFF2-40B4-BE49-F238E27FC236}">
                      <a16:creationId xmlns:a16="http://schemas.microsoft.com/office/drawing/2014/main" id="{153587C9-0FD5-364A-63C6-B5D99FE34E04}"/>
                    </a:ext>
                  </a:extLst>
                </p:cNvPr>
                <p:cNvSpPr>
                  <a:spLocks noChangeAspect="1"/>
                </p:cNvSpPr>
                <p:nvPr/>
              </p:nvSpPr>
              <p:spPr>
                <a:xfrm>
                  <a:off x="5333021" y="286686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24" name="Oval 4523">
                  <a:extLst>
                    <a:ext uri="{FF2B5EF4-FFF2-40B4-BE49-F238E27FC236}">
                      <a16:creationId xmlns:a16="http://schemas.microsoft.com/office/drawing/2014/main" id="{8936F06C-FE3D-6E8D-BD43-EB31CC102FF9}"/>
                    </a:ext>
                  </a:extLst>
                </p:cNvPr>
                <p:cNvSpPr>
                  <a:spLocks noChangeAspect="1"/>
                </p:cNvSpPr>
                <p:nvPr/>
              </p:nvSpPr>
              <p:spPr>
                <a:xfrm>
                  <a:off x="5164001" y="286630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25" name="Oval 4524">
                  <a:extLst>
                    <a:ext uri="{FF2B5EF4-FFF2-40B4-BE49-F238E27FC236}">
                      <a16:creationId xmlns:a16="http://schemas.microsoft.com/office/drawing/2014/main" id="{736043E9-EAF3-CEED-26A1-82753E8C315D}"/>
                    </a:ext>
                  </a:extLst>
                </p:cNvPr>
                <p:cNvSpPr>
                  <a:spLocks noChangeAspect="1"/>
                </p:cNvSpPr>
                <p:nvPr/>
              </p:nvSpPr>
              <p:spPr>
                <a:xfrm>
                  <a:off x="5015939" y="287388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26" name="Oval 4525">
                  <a:extLst>
                    <a:ext uri="{FF2B5EF4-FFF2-40B4-BE49-F238E27FC236}">
                      <a16:creationId xmlns:a16="http://schemas.microsoft.com/office/drawing/2014/main" id="{CEF0C669-E14A-4D52-7161-F27D59A8ADE7}"/>
                    </a:ext>
                  </a:extLst>
                </p:cNvPr>
                <p:cNvSpPr>
                  <a:spLocks noChangeAspect="1"/>
                </p:cNvSpPr>
                <p:nvPr/>
              </p:nvSpPr>
              <p:spPr>
                <a:xfrm>
                  <a:off x="4871661" y="288089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27" name="Oval 4526">
                  <a:extLst>
                    <a:ext uri="{FF2B5EF4-FFF2-40B4-BE49-F238E27FC236}">
                      <a16:creationId xmlns:a16="http://schemas.microsoft.com/office/drawing/2014/main" id="{799149C0-453F-91B5-5ED3-DE17D550A82B}"/>
                    </a:ext>
                  </a:extLst>
                </p:cNvPr>
                <p:cNvSpPr>
                  <a:spLocks noChangeAspect="1"/>
                </p:cNvSpPr>
                <p:nvPr/>
              </p:nvSpPr>
              <p:spPr>
                <a:xfrm>
                  <a:off x="4726207" y="288089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28" name="Oval 4527">
                  <a:extLst>
                    <a:ext uri="{FF2B5EF4-FFF2-40B4-BE49-F238E27FC236}">
                      <a16:creationId xmlns:a16="http://schemas.microsoft.com/office/drawing/2014/main" id="{796EF69F-4618-3B64-BE4B-8C5B1A9719F6}"/>
                    </a:ext>
                  </a:extLst>
                </p:cNvPr>
                <p:cNvSpPr>
                  <a:spLocks noChangeAspect="1"/>
                </p:cNvSpPr>
                <p:nvPr/>
              </p:nvSpPr>
              <p:spPr>
                <a:xfrm>
                  <a:off x="4560207" y="286746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29" name="Oval 4528">
                  <a:extLst>
                    <a:ext uri="{FF2B5EF4-FFF2-40B4-BE49-F238E27FC236}">
                      <a16:creationId xmlns:a16="http://schemas.microsoft.com/office/drawing/2014/main" id="{9165B746-7A3B-CEA1-1A2A-F4EE298E3431}"/>
                    </a:ext>
                  </a:extLst>
                </p:cNvPr>
                <p:cNvSpPr>
                  <a:spLocks noChangeAspect="1"/>
                </p:cNvSpPr>
                <p:nvPr/>
              </p:nvSpPr>
              <p:spPr>
                <a:xfrm>
                  <a:off x="4407672" y="286630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30" name="Oval 4529">
                  <a:extLst>
                    <a:ext uri="{FF2B5EF4-FFF2-40B4-BE49-F238E27FC236}">
                      <a16:creationId xmlns:a16="http://schemas.microsoft.com/office/drawing/2014/main" id="{07B93B88-8030-5945-2430-DA2DABF14454}"/>
                    </a:ext>
                  </a:extLst>
                </p:cNvPr>
                <p:cNvSpPr>
                  <a:spLocks noChangeAspect="1"/>
                </p:cNvSpPr>
                <p:nvPr/>
              </p:nvSpPr>
              <p:spPr>
                <a:xfrm>
                  <a:off x="4256705" y="286808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31" name="Oval 4530">
                  <a:extLst>
                    <a:ext uri="{FF2B5EF4-FFF2-40B4-BE49-F238E27FC236}">
                      <a16:creationId xmlns:a16="http://schemas.microsoft.com/office/drawing/2014/main" id="{32884F13-5977-3991-A84D-5C2229CFB18B}"/>
                    </a:ext>
                  </a:extLst>
                </p:cNvPr>
                <p:cNvSpPr>
                  <a:spLocks noChangeAspect="1"/>
                </p:cNvSpPr>
                <p:nvPr/>
              </p:nvSpPr>
              <p:spPr>
                <a:xfrm>
                  <a:off x="4115329" y="288089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32" name="Oval 4531">
                  <a:extLst>
                    <a:ext uri="{FF2B5EF4-FFF2-40B4-BE49-F238E27FC236}">
                      <a16:creationId xmlns:a16="http://schemas.microsoft.com/office/drawing/2014/main" id="{FE37CCA0-D509-AE94-F12A-EADEA6D16053}"/>
                    </a:ext>
                  </a:extLst>
                </p:cNvPr>
                <p:cNvSpPr>
                  <a:spLocks noChangeAspect="1"/>
                </p:cNvSpPr>
                <p:nvPr/>
              </p:nvSpPr>
              <p:spPr>
                <a:xfrm>
                  <a:off x="3969883" y="288089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33" name="Oval 4532">
                  <a:extLst>
                    <a:ext uri="{FF2B5EF4-FFF2-40B4-BE49-F238E27FC236}">
                      <a16:creationId xmlns:a16="http://schemas.microsoft.com/office/drawing/2014/main" id="{0C9CB068-9C73-DF28-F89D-9734377D1064}"/>
                    </a:ext>
                  </a:extLst>
                </p:cNvPr>
                <p:cNvSpPr>
                  <a:spLocks noChangeAspect="1"/>
                </p:cNvSpPr>
                <p:nvPr/>
              </p:nvSpPr>
              <p:spPr>
                <a:xfrm>
                  <a:off x="3796796" y="286630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34" name="Oval 4533">
                  <a:extLst>
                    <a:ext uri="{FF2B5EF4-FFF2-40B4-BE49-F238E27FC236}">
                      <a16:creationId xmlns:a16="http://schemas.microsoft.com/office/drawing/2014/main" id="{53219430-13B4-1417-FFEB-3D72E0109F3C}"/>
                    </a:ext>
                  </a:extLst>
                </p:cNvPr>
                <p:cNvSpPr>
                  <a:spLocks noChangeAspect="1"/>
                </p:cNvSpPr>
                <p:nvPr/>
              </p:nvSpPr>
              <p:spPr>
                <a:xfrm>
                  <a:off x="3648737" y="287388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35" name="Oval 4534">
                  <a:extLst>
                    <a:ext uri="{FF2B5EF4-FFF2-40B4-BE49-F238E27FC236}">
                      <a16:creationId xmlns:a16="http://schemas.microsoft.com/office/drawing/2014/main" id="{FDA28306-5467-3F93-9C2A-6A52F77402CC}"/>
                    </a:ext>
                  </a:extLst>
                </p:cNvPr>
                <p:cNvSpPr>
                  <a:spLocks noChangeAspect="1"/>
                </p:cNvSpPr>
                <p:nvPr/>
              </p:nvSpPr>
              <p:spPr>
                <a:xfrm>
                  <a:off x="8358314" y="303800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36" name="Oval 4535">
                  <a:extLst>
                    <a:ext uri="{FF2B5EF4-FFF2-40B4-BE49-F238E27FC236}">
                      <a16:creationId xmlns:a16="http://schemas.microsoft.com/office/drawing/2014/main" id="{1FE08C1C-BADF-AA09-349A-5F3982B20EDA}"/>
                    </a:ext>
                  </a:extLst>
                </p:cNvPr>
                <p:cNvSpPr>
                  <a:spLocks noChangeAspect="1"/>
                </p:cNvSpPr>
                <p:nvPr/>
              </p:nvSpPr>
              <p:spPr>
                <a:xfrm>
                  <a:off x="8212848"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37" name="Oval 4536">
                  <a:extLst>
                    <a:ext uri="{FF2B5EF4-FFF2-40B4-BE49-F238E27FC236}">
                      <a16:creationId xmlns:a16="http://schemas.microsoft.com/office/drawing/2014/main" id="{ECB3AB8F-CF33-D449-946D-47A1CEC6232C}"/>
                    </a:ext>
                  </a:extLst>
                </p:cNvPr>
                <p:cNvSpPr>
                  <a:spLocks noChangeAspect="1"/>
                </p:cNvSpPr>
                <p:nvPr/>
              </p:nvSpPr>
              <p:spPr>
                <a:xfrm>
                  <a:off x="7903249"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38" name="Oval 4537">
                  <a:extLst>
                    <a:ext uri="{FF2B5EF4-FFF2-40B4-BE49-F238E27FC236}">
                      <a16:creationId xmlns:a16="http://schemas.microsoft.com/office/drawing/2014/main" id="{20BAEA50-38A5-C79F-B4F4-583D2F5B95D7}"/>
                    </a:ext>
                  </a:extLst>
                </p:cNvPr>
                <p:cNvSpPr>
                  <a:spLocks noChangeAspect="1"/>
                </p:cNvSpPr>
                <p:nvPr/>
              </p:nvSpPr>
              <p:spPr>
                <a:xfrm>
                  <a:off x="7292378"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39" name="Oval 4538">
                  <a:extLst>
                    <a:ext uri="{FF2B5EF4-FFF2-40B4-BE49-F238E27FC236}">
                      <a16:creationId xmlns:a16="http://schemas.microsoft.com/office/drawing/2014/main" id="{EB3F62B4-E6AA-364F-7F4F-2170FAD6E0A0}"/>
                    </a:ext>
                  </a:extLst>
                </p:cNvPr>
                <p:cNvSpPr>
                  <a:spLocks noChangeAspect="1"/>
                </p:cNvSpPr>
                <p:nvPr/>
              </p:nvSpPr>
              <p:spPr>
                <a:xfrm>
                  <a:off x="7136566"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40" name="Oval 4539">
                  <a:extLst>
                    <a:ext uri="{FF2B5EF4-FFF2-40B4-BE49-F238E27FC236}">
                      <a16:creationId xmlns:a16="http://schemas.microsoft.com/office/drawing/2014/main" id="{46B9F2A9-DC4E-967B-A968-546A72EBF482}"/>
                    </a:ext>
                  </a:extLst>
                </p:cNvPr>
                <p:cNvSpPr>
                  <a:spLocks noChangeAspect="1"/>
                </p:cNvSpPr>
                <p:nvPr/>
              </p:nvSpPr>
              <p:spPr>
                <a:xfrm>
                  <a:off x="6991100" y="303800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41" name="Oval 4540">
                  <a:extLst>
                    <a:ext uri="{FF2B5EF4-FFF2-40B4-BE49-F238E27FC236}">
                      <a16:creationId xmlns:a16="http://schemas.microsoft.com/office/drawing/2014/main" id="{1A115E77-5AF6-72FC-A4C2-C72EFA30F8CE}"/>
                    </a:ext>
                  </a:extLst>
                </p:cNvPr>
                <p:cNvSpPr>
                  <a:spLocks noChangeAspect="1"/>
                </p:cNvSpPr>
                <p:nvPr/>
              </p:nvSpPr>
              <p:spPr>
                <a:xfrm>
                  <a:off x="6845668"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42" name="Oval 4541">
                  <a:extLst>
                    <a:ext uri="{FF2B5EF4-FFF2-40B4-BE49-F238E27FC236}">
                      <a16:creationId xmlns:a16="http://schemas.microsoft.com/office/drawing/2014/main" id="{89EF660E-E2D3-982C-5C0A-EC3FA38CBCD2}"/>
                    </a:ext>
                  </a:extLst>
                </p:cNvPr>
                <p:cNvSpPr>
                  <a:spLocks noChangeAspect="1"/>
                </p:cNvSpPr>
                <p:nvPr/>
              </p:nvSpPr>
              <p:spPr>
                <a:xfrm>
                  <a:off x="6700201"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43" name="Oval 4542">
                  <a:extLst>
                    <a:ext uri="{FF2B5EF4-FFF2-40B4-BE49-F238E27FC236}">
                      <a16:creationId xmlns:a16="http://schemas.microsoft.com/office/drawing/2014/main" id="{2B9E79BF-F501-8204-2762-32B81B8FE582}"/>
                    </a:ext>
                  </a:extLst>
                </p:cNvPr>
                <p:cNvSpPr>
                  <a:spLocks noChangeAspect="1"/>
                </p:cNvSpPr>
                <p:nvPr/>
              </p:nvSpPr>
              <p:spPr>
                <a:xfrm>
                  <a:off x="6536054"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44" name="Oval 4543">
                  <a:extLst>
                    <a:ext uri="{FF2B5EF4-FFF2-40B4-BE49-F238E27FC236}">
                      <a16:creationId xmlns:a16="http://schemas.microsoft.com/office/drawing/2014/main" id="{392AA646-28E0-7B54-37B8-9F344D110E2A}"/>
                    </a:ext>
                  </a:extLst>
                </p:cNvPr>
                <p:cNvSpPr>
                  <a:spLocks noChangeAspect="1"/>
                </p:cNvSpPr>
                <p:nvPr/>
              </p:nvSpPr>
              <p:spPr>
                <a:xfrm>
                  <a:off x="6380243" y="303800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45" name="Oval 4544">
                  <a:extLst>
                    <a:ext uri="{FF2B5EF4-FFF2-40B4-BE49-F238E27FC236}">
                      <a16:creationId xmlns:a16="http://schemas.microsoft.com/office/drawing/2014/main" id="{DC6A08E8-748E-7DAC-6597-5D9F6CBE5FDC}"/>
                    </a:ext>
                  </a:extLst>
                </p:cNvPr>
                <p:cNvSpPr>
                  <a:spLocks noChangeAspect="1"/>
                </p:cNvSpPr>
                <p:nvPr/>
              </p:nvSpPr>
              <p:spPr>
                <a:xfrm>
                  <a:off x="6234777"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46" name="Oval 4545">
                  <a:extLst>
                    <a:ext uri="{FF2B5EF4-FFF2-40B4-BE49-F238E27FC236}">
                      <a16:creationId xmlns:a16="http://schemas.microsoft.com/office/drawing/2014/main" id="{EDA3867F-DDF9-8B0A-9684-F05CBDFFAB7F}"/>
                    </a:ext>
                  </a:extLst>
                </p:cNvPr>
                <p:cNvSpPr>
                  <a:spLocks noChangeAspect="1"/>
                </p:cNvSpPr>
                <p:nvPr/>
              </p:nvSpPr>
              <p:spPr>
                <a:xfrm>
                  <a:off x="6089344"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47" name="Oval 4546">
                  <a:extLst>
                    <a:ext uri="{FF2B5EF4-FFF2-40B4-BE49-F238E27FC236}">
                      <a16:creationId xmlns:a16="http://schemas.microsoft.com/office/drawing/2014/main" id="{4876B57F-D756-892F-9081-C90F517D10A9}"/>
                    </a:ext>
                  </a:extLst>
                </p:cNvPr>
                <p:cNvSpPr>
                  <a:spLocks noChangeAspect="1"/>
                </p:cNvSpPr>
                <p:nvPr/>
              </p:nvSpPr>
              <p:spPr>
                <a:xfrm>
                  <a:off x="5929995"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48" name="Oval 4547">
                  <a:extLst>
                    <a:ext uri="{FF2B5EF4-FFF2-40B4-BE49-F238E27FC236}">
                      <a16:creationId xmlns:a16="http://schemas.microsoft.com/office/drawing/2014/main" id="{39F2A96A-A7C0-9B8F-1CD8-58225B8E121B}"/>
                    </a:ext>
                  </a:extLst>
                </p:cNvPr>
                <p:cNvSpPr>
                  <a:spLocks noChangeAspect="1"/>
                </p:cNvSpPr>
                <p:nvPr/>
              </p:nvSpPr>
              <p:spPr>
                <a:xfrm>
                  <a:off x="5769352"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49" name="Oval 4548">
                  <a:extLst>
                    <a:ext uri="{FF2B5EF4-FFF2-40B4-BE49-F238E27FC236}">
                      <a16:creationId xmlns:a16="http://schemas.microsoft.com/office/drawing/2014/main" id="{BB8CAA25-3E45-B049-606E-2208DF8DD054}"/>
                    </a:ext>
                  </a:extLst>
                </p:cNvPr>
                <p:cNvSpPr>
                  <a:spLocks noChangeAspect="1"/>
                </p:cNvSpPr>
                <p:nvPr/>
              </p:nvSpPr>
              <p:spPr>
                <a:xfrm>
                  <a:off x="5623919" y="303800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50" name="Oval 4549">
                  <a:extLst>
                    <a:ext uri="{FF2B5EF4-FFF2-40B4-BE49-F238E27FC236}">
                      <a16:creationId xmlns:a16="http://schemas.microsoft.com/office/drawing/2014/main" id="{91FAB6D7-8301-4346-9B1F-0A7B2BCB39B5}"/>
                    </a:ext>
                  </a:extLst>
                </p:cNvPr>
                <p:cNvSpPr>
                  <a:spLocks noChangeAspect="1"/>
                </p:cNvSpPr>
                <p:nvPr/>
              </p:nvSpPr>
              <p:spPr>
                <a:xfrm>
                  <a:off x="5478453"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51" name="Oval 4550">
                  <a:extLst>
                    <a:ext uri="{FF2B5EF4-FFF2-40B4-BE49-F238E27FC236}">
                      <a16:creationId xmlns:a16="http://schemas.microsoft.com/office/drawing/2014/main" id="{0ACD3B30-ADCF-ACEE-A378-7530D8864B5B}"/>
                    </a:ext>
                  </a:extLst>
                </p:cNvPr>
                <p:cNvSpPr>
                  <a:spLocks noChangeAspect="1"/>
                </p:cNvSpPr>
                <p:nvPr/>
              </p:nvSpPr>
              <p:spPr>
                <a:xfrm>
                  <a:off x="5333021"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52" name="Oval 4551">
                  <a:extLst>
                    <a:ext uri="{FF2B5EF4-FFF2-40B4-BE49-F238E27FC236}">
                      <a16:creationId xmlns:a16="http://schemas.microsoft.com/office/drawing/2014/main" id="{D2186084-9E3D-3B66-ACF6-8293CF91B01F}"/>
                    </a:ext>
                  </a:extLst>
                </p:cNvPr>
                <p:cNvSpPr>
                  <a:spLocks noChangeAspect="1"/>
                </p:cNvSpPr>
                <p:nvPr/>
              </p:nvSpPr>
              <p:spPr>
                <a:xfrm>
                  <a:off x="5158461"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53" name="Oval 4552">
                  <a:extLst>
                    <a:ext uri="{FF2B5EF4-FFF2-40B4-BE49-F238E27FC236}">
                      <a16:creationId xmlns:a16="http://schemas.microsoft.com/office/drawing/2014/main" id="{2C54A393-BA24-BE3D-607A-59C3C1733448}"/>
                    </a:ext>
                  </a:extLst>
                </p:cNvPr>
                <p:cNvSpPr>
                  <a:spLocks noChangeAspect="1"/>
                </p:cNvSpPr>
                <p:nvPr/>
              </p:nvSpPr>
              <p:spPr>
                <a:xfrm>
                  <a:off x="5013029" y="303800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54" name="Oval 4553">
                  <a:extLst>
                    <a:ext uri="{FF2B5EF4-FFF2-40B4-BE49-F238E27FC236}">
                      <a16:creationId xmlns:a16="http://schemas.microsoft.com/office/drawing/2014/main" id="{0A09D5B2-7DCB-22E7-AD16-4900AF495F96}"/>
                    </a:ext>
                  </a:extLst>
                </p:cNvPr>
                <p:cNvSpPr>
                  <a:spLocks noChangeAspect="1"/>
                </p:cNvSpPr>
                <p:nvPr/>
              </p:nvSpPr>
              <p:spPr>
                <a:xfrm>
                  <a:off x="4867596"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55" name="Oval 4554">
                  <a:extLst>
                    <a:ext uri="{FF2B5EF4-FFF2-40B4-BE49-F238E27FC236}">
                      <a16:creationId xmlns:a16="http://schemas.microsoft.com/office/drawing/2014/main" id="{C519EC8E-EC19-B7BD-3001-EF1359813DD2}"/>
                    </a:ext>
                  </a:extLst>
                </p:cNvPr>
                <p:cNvSpPr>
                  <a:spLocks noChangeAspect="1"/>
                </p:cNvSpPr>
                <p:nvPr/>
              </p:nvSpPr>
              <p:spPr>
                <a:xfrm>
                  <a:off x="4722130"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56" name="Oval 4555">
                  <a:extLst>
                    <a:ext uri="{FF2B5EF4-FFF2-40B4-BE49-F238E27FC236}">
                      <a16:creationId xmlns:a16="http://schemas.microsoft.com/office/drawing/2014/main" id="{CA628FD9-6924-8A12-2EE9-AF4C163BF47A}"/>
                    </a:ext>
                  </a:extLst>
                </p:cNvPr>
                <p:cNvSpPr>
                  <a:spLocks noChangeAspect="1"/>
                </p:cNvSpPr>
                <p:nvPr/>
              </p:nvSpPr>
              <p:spPr>
                <a:xfrm>
                  <a:off x="4557975"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57" name="Oval 4556">
                  <a:extLst>
                    <a:ext uri="{FF2B5EF4-FFF2-40B4-BE49-F238E27FC236}">
                      <a16:creationId xmlns:a16="http://schemas.microsoft.com/office/drawing/2014/main" id="{40278108-3DD5-0889-BB11-D29A80E6ED5C}"/>
                    </a:ext>
                  </a:extLst>
                </p:cNvPr>
                <p:cNvSpPr>
                  <a:spLocks noChangeAspect="1"/>
                </p:cNvSpPr>
                <p:nvPr/>
              </p:nvSpPr>
              <p:spPr>
                <a:xfrm>
                  <a:off x="4402155"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58" name="Oval 4557">
                  <a:extLst>
                    <a:ext uri="{FF2B5EF4-FFF2-40B4-BE49-F238E27FC236}">
                      <a16:creationId xmlns:a16="http://schemas.microsoft.com/office/drawing/2014/main" id="{EA124F12-ACCD-FCC6-0490-3A9BC3A9218E}"/>
                    </a:ext>
                  </a:extLst>
                </p:cNvPr>
                <p:cNvSpPr>
                  <a:spLocks noChangeAspect="1"/>
                </p:cNvSpPr>
                <p:nvPr/>
              </p:nvSpPr>
              <p:spPr>
                <a:xfrm>
                  <a:off x="4256705" y="303800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59" name="Oval 4558">
                  <a:extLst>
                    <a:ext uri="{FF2B5EF4-FFF2-40B4-BE49-F238E27FC236}">
                      <a16:creationId xmlns:a16="http://schemas.microsoft.com/office/drawing/2014/main" id="{FA10515F-520D-1C5F-CD9C-CADAC027040B}"/>
                    </a:ext>
                  </a:extLst>
                </p:cNvPr>
                <p:cNvSpPr>
                  <a:spLocks noChangeAspect="1"/>
                </p:cNvSpPr>
                <p:nvPr/>
              </p:nvSpPr>
              <p:spPr>
                <a:xfrm>
                  <a:off x="4111259"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60" name="Oval 4559">
                  <a:extLst>
                    <a:ext uri="{FF2B5EF4-FFF2-40B4-BE49-F238E27FC236}">
                      <a16:creationId xmlns:a16="http://schemas.microsoft.com/office/drawing/2014/main" id="{EA11D02B-4E02-93AA-5650-DA6A5B7FAE02}"/>
                    </a:ext>
                  </a:extLst>
                </p:cNvPr>
                <p:cNvSpPr>
                  <a:spLocks noChangeAspect="1"/>
                </p:cNvSpPr>
                <p:nvPr/>
              </p:nvSpPr>
              <p:spPr>
                <a:xfrm>
                  <a:off x="3965813"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61" name="Oval 4560">
                  <a:extLst>
                    <a:ext uri="{FF2B5EF4-FFF2-40B4-BE49-F238E27FC236}">
                      <a16:creationId xmlns:a16="http://schemas.microsoft.com/office/drawing/2014/main" id="{C4E85977-20B7-5756-925B-554F167E541F}"/>
                    </a:ext>
                  </a:extLst>
                </p:cNvPr>
                <p:cNvSpPr>
                  <a:spLocks noChangeAspect="1"/>
                </p:cNvSpPr>
                <p:nvPr/>
              </p:nvSpPr>
              <p:spPr>
                <a:xfrm>
                  <a:off x="3791277"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62" name="Oval 4561">
                  <a:extLst>
                    <a:ext uri="{FF2B5EF4-FFF2-40B4-BE49-F238E27FC236}">
                      <a16:creationId xmlns:a16="http://schemas.microsoft.com/office/drawing/2014/main" id="{4B781049-2455-FB56-A970-94249E9779D6}"/>
                    </a:ext>
                  </a:extLst>
                </p:cNvPr>
                <p:cNvSpPr>
                  <a:spLocks noChangeAspect="1"/>
                </p:cNvSpPr>
                <p:nvPr/>
              </p:nvSpPr>
              <p:spPr>
                <a:xfrm>
                  <a:off x="3645831" y="303800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63" name="Oval 4562">
                  <a:extLst>
                    <a:ext uri="{FF2B5EF4-FFF2-40B4-BE49-F238E27FC236}">
                      <a16:creationId xmlns:a16="http://schemas.microsoft.com/office/drawing/2014/main" id="{18543B25-3F0E-AEF3-FBA3-224A7E3A4F93}"/>
                    </a:ext>
                  </a:extLst>
                </p:cNvPr>
                <p:cNvSpPr>
                  <a:spLocks noChangeAspect="1"/>
                </p:cNvSpPr>
                <p:nvPr/>
              </p:nvSpPr>
              <p:spPr>
                <a:xfrm>
                  <a:off x="3500382"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64" name="Oval 4563">
                  <a:extLst>
                    <a:ext uri="{FF2B5EF4-FFF2-40B4-BE49-F238E27FC236}">
                      <a16:creationId xmlns:a16="http://schemas.microsoft.com/office/drawing/2014/main" id="{7E331FC5-F888-147B-8E8D-9C915AAF74BF}"/>
                    </a:ext>
                  </a:extLst>
                </p:cNvPr>
                <p:cNvSpPr>
                  <a:spLocks noChangeAspect="1"/>
                </p:cNvSpPr>
                <p:nvPr/>
              </p:nvSpPr>
              <p:spPr>
                <a:xfrm>
                  <a:off x="3354936"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65" name="Oval 4564">
                  <a:extLst>
                    <a:ext uri="{FF2B5EF4-FFF2-40B4-BE49-F238E27FC236}">
                      <a16:creationId xmlns:a16="http://schemas.microsoft.com/office/drawing/2014/main" id="{E025E5D9-CE41-8809-C6F1-5DE27D412C3B}"/>
                    </a:ext>
                  </a:extLst>
                </p:cNvPr>
                <p:cNvSpPr>
                  <a:spLocks noChangeAspect="1"/>
                </p:cNvSpPr>
                <p:nvPr/>
              </p:nvSpPr>
              <p:spPr>
                <a:xfrm>
                  <a:off x="3190774"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66" name="Oval 4565">
                  <a:extLst>
                    <a:ext uri="{FF2B5EF4-FFF2-40B4-BE49-F238E27FC236}">
                      <a16:creationId xmlns:a16="http://schemas.microsoft.com/office/drawing/2014/main" id="{06940E50-620E-63C3-CF46-9211CD978CB8}"/>
                    </a:ext>
                  </a:extLst>
                </p:cNvPr>
                <p:cNvSpPr>
                  <a:spLocks noChangeAspect="1"/>
                </p:cNvSpPr>
                <p:nvPr/>
              </p:nvSpPr>
              <p:spPr>
                <a:xfrm>
                  <a:off x="3034954"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67" name="Oval 4566">
                  <a:extLst>
                    <a:ext uri="{FF2B5EF4-FFF2-40B4-BE49-F238E27FC236}">
                      <a16:creationId xmlns:a16="http://schemas.microsoft.com/office/drawing/2014/main" id="{A3EF7BE4-5261-2E7C-5F00-AA58E7BAC69F}"/>
                    </a:ext>
                  </a:extLst>
                </p:cNvPr>
                <p:cNvSpPr>
                  <a:spLocks noChangeAspect="1"/>
                </p:cNvSpPr>
                <p:nvPr/>
              </p:nvSpPr>
              <p:spPr>
                <a:xfrm>
                  <a:off x="7142398" y="319384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68" name="Oval 4567">
                  <a:extLst>
                    <a:ext uri="{FF2B5EF4-FFF2-40B4-BE49-F238E27FC236}">
                      <a16:creationId xmlns:a16="http://schemas.microsoft.com/office/drawing/2014/main" id="{22B63D7B-60E4-8EC8-B7AE-0D539201A91F}"/>
                    </a:ext>
                  </a:extLst>
                </p:cNvPr>
                <p:cNvSpPr>
                  <a:spLocks noChangeAspect="1"/>
                </p:cNvSpPr>
                <p:nvPr/>
              </p:nvSpPr>
              <p:spPr>
                <a:xfrm>
                  <a:off x="6700201" y="317931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69" name="Oval 4568">
                  <a:extLst>
                    <a:ext uri="{FF2B5EF4-FFF2-40B4-BE49-F238E27FC236}">
                      <a16:creationId xmlns:a16="http://schemas.microsoft.com/office/drawing/2014/main" id="{22C20B6F-D18F-442F-5ED1-F99B2DF1BA1F}"/>
                    </a:ext>
                  </a:extLst>
                </p:cNvPr>
                <p:cNvSpPr>
                  <a:spLocks noChangeAspect="1"/>
                </p:cNvSpPr>
                <p:nvPr/>
              </p:nvSpPr>
              <p:spPr>
                <a:xfrm>
                  <a:off x="6531510" y="318457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70" name="Oval 4569">
                  <a:extLst>
                    <a:ext uri="{FF2B5EF4-FFF2-40B4-BE49-F238E27FC236}">
                      <a16:creationId xmlns:a16="http://schemas.microsoft.com/office/drawing/2014/main" id="{F9589FEA-4A1F-CC20-F854-F285ECBFC954}"/>
                    </a:ext>
                  </a:extLst>
                </p:cNvPr>
                <p:cNvSpPr>
                  <a:spLocks noChangeAspect="1"/>
                </p:cNvSpPr>
                <p:nvPr/>
              </p:nvSpPr>
              <p:spPr>
                <a:xfrm>
                  <a:off x="5775206" y="319384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71" name="Oval 4570">
                  <a:extLst>
                    <a:ext uri="{FF2B5EF4-FFF2-40B4-BE49-F238E27FC236}">
                      <a16:creationId xmlns:a16="http://schemas.microsoft.com/office/drawing/2014/main" id="{30FD9377-AC5B-32B3-9CA7-E08D3B340682}"/>
                    </a:ext>
                  </a:extLst>
                </p:cNvPr>
                <p:cNvSpPr>
                  <a:spLocks noChangeAspect="1"/>
                </p:cNvSpPr>
                <p:nvPr/>
              </p:nvSpPr>
              <p:spPr>
                <a:xfrm>
                  <a:off x="4408000" y="319384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72" name="Oval 4571">
                  <a:extLst>
                    <a:ext uri="{FF2B5EF4-FFF2-40B4-BE49-F238E27FC236}">
                      <a16:creationId xmlns:a16="http://schemas.microsoft.com/office/drawing/2014/main" id="{457036D7-3325-09AE-28B4-1570DA7CF905}"/>
                    </a:ext>
                  </a:extLst>
                </p:cNvPr>
                <p:cNvSpPr>
                  <a:spLocks noChangeAspect="1"/>
                </p:cNvSpPr>
                <p:nvPr/>
              </p:nvSpPr>
              <p:spPr>
                <a:xfrm>
                  <a:off x="4111259" y="317931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73" name="Oval 4572">
                  <a:extLst>
                    <a:ext uri="{FF2B5EF4-FFF2-40B4-BE49-F238E27FC236}">
                      <a16:creationId xmlns:a16="http://schemas.microsoft.com/office/drawing/2014/main" id="{43C3E815-D4C6-119B-0A3C-A0F999ABB9F3}"/>
                    </a:ext>
                  </a:extLst>
                </p:cNvPr>
                <p:cNvSpPr>
                  <a:spLocks noChangeAspect="1"/>
                </p:cNvSpPr>
                <p:nvPr/>
              </p:nvSpPr>
              <p:spPr>
                <a:xfrm>
                  <a:off x="3797123" y="319384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74" name="Oval 4573">
                  <a:extLst>
                    <a:ext uri="{FF2B5EF4-FFF2-40B4-BE49-F238E27FC236}">
                      <a16:creationId xmlns:a16="http://schemas.microsoft.com/office/drawing/2014/main" id="{689F6301-E818-D6AA-7C23-705452A55587}"/>
                    </a:ext>
                  </a:extLst>
                </p:cNvPr>
                <p:cNvSpPr>
                  <a:spLocks noChangeAspect="1"/>
                </p:cNvSpPr>
                <p:nvPr/>
              </p:nvSpPr>
              <p:spPr>
                <a:xfrm>
                  <a:off x="3645831" y="318329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75" name="Oval 4574">
                  <a:extLst>
                    <a:ext uri="{FF2B5EF4-FFF2-40B4-BE49-F238E27FC236}">
                      <a16:creationId xmlns:a16="http://schemas.microsoft.com/office/drawing/2014/main" id="{89626037-7875-E708-AB87-D7479DF56DD4}"/>
                    </a:ext>
                  </a:extLst>
                </p:cNvPr>
                <p:cNvSpPr>
                  <a:spLocks noChangeAspect="1"/>
                </p:cNvSpPr>
                <p:nvPr/>
              </p:nvSpPr>
              <p:spPr>
                <a:xfrm>
                  <a:off x="8212544" y="317931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76" name="Oval 4575">
                  <a:extLst>
                    <a:ext uri="{FF2B5EF4-FFF2-40B4-BE49-F238E27FC236}">
                      <a16:creationId xmlns:a16="http://schemas.microsoft.com/office/drawing/2014/main" id="{0196C224-1554-7B58-C3E8-08065A79F2D9}"/>
                    </a:ext>
                  </a:extLst>
                </p:cNvPr>
                <p:cNvSpPr>
                  <a:spLocks noChangeAspect="1"/>
                </p:cNvSpPr>
                <p:nvPr/>
              </p:nvSpPr>
              <p:spPr>
                <a:xfrm>
                  <a:off x="7899512" y="317931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77" name="Oval 4576">
                  <a:extLst>
                    <a:ext uri="{FF2B5EF4-FFF2-40B4-BE49-F238E27FC236}">
                      <a16:creationId xmlns:a16="http://schemas.microsoft.com/office/drawing/2014/main" id="{89E23ECC-8B7F-87D9-15DB-5866EC732720}"/>
                    </a:ext>
                  </a:extLst>
                </p:cNvPr>
                <p:cNvSpPr>
                  <a:spLocks noChangeAspect="1"/>
                </p:cNvSpPr>
                <p:nvPr/>
              </p:nvSpPr>
              <p:spPr>
                <a:xfrm>
                  <a:off x="7456221" y="317931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78" name="Oval 4577">
                  <a:extLst>
                    <a:ext uri="{FF2B5EF4-FFF2-40B4-BE49-F238E27FC236}">
                      <a16:creationId xmlns:a16="http://schemas.microsoft.com/office/drawing/2014/main" id="{AF9465B8-C10C-F0AC-CCE1-008C4B4A3223}"/>
                    </a:ext>
                  </a:extLst>
                </p:cNvPr>
                <p:cNvSpPr>
                  <a:spLocks noChangeAspect="1"/>
                </p:cNvSpPr>
                <p:nvPr/>
              </p:nvSpPr>
              <p:spPr>
                <a:xfrm>
                  <a:off x="7297191" y="317931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79" name="Oval 4578">
                  <a:extLst>
                    <a:ext uri="{FF2B5EF4-FFF2-40B4-BE49-F238E27FC236}">
                      <a16:creationId xmlns:a16="http://schemas.microsoft.com/office/drawing/2014/main" id="{733BF259-96C9-F01D-AE71-01DDA99775F7}"/>
                    </a:ext>
                  </a:extLst>
                </p:cNvPr>
                <p:cNvSpPr>
                  <a:spLocks noChangeAspect="1"/>
                </p:cNvSpPr>
                <p:nvPr/>
              </p:nvSpPr>
              <p:spPr>
                <a:xfrm>
                  <a:off x="6991100" y="317973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80" name="Oval 4579">
                  <a:extLst>
                    <a:ext uri="{FF2B5EF4-FFF2-40B4-BE49-F238E27FC236}">
                      <a16:creationId xmlns:a16="http://schemas.microsoft.com/office/drawing/2014/main" id="{8C9C784D-D17B-6647-2923-E1528185DF8E}"/>
                    </a:ext>
                  </a:extLst>
                </p:cNvPr>
                <p:cNvSpPr>
                  <a:spLocks noChangeAspect="1"/>
                </p:cNvSpPr>
                <p:nvPr/>
              </p:nvSpPr>
              <p:spPr>
                <a:xfrm>
                  <a:off x="6845353" y="317931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81" name="Oval 4580">
                  <a:extLst>
                    <a:ext uri="{FF2B5EF4-FFF2-40B4-BE49-F238E27FC236}">
                      <a16:creationId xmlns:a16="http://schemas.microsoft.com/office/drawing/2014/main" id="{E19F9562-1F0B-6E9E-A587-BB9FCAA9C5A4}"/>
                    </a:ext>
                  </a:extLst>
                </p:cNvPr>
                <p:cNvSpPr>
                  <a:spLocks noChangeAspect="1"/>
                </p:cNvSpPr>
                <p:nvPr/>
              </p:nvSpPr>
              <p:spPr>
                <a:xfrm>
                  <a:off x="6382441" y="318158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82" name="Oval 4581">
                  <a:extLst>
                    <a:ext uri="{FF2B5EF4-FFF2-40B4-BE49-F238E27FC236}">
                      <a16:creationId xmlns:a16="http://schemas.microsoft.com/office/drawing/2014/main" id="{BBD2E419-3512-45B5-9FA1-5BE27F29218C}"/>
                    </a:ext>
                  </a:extLst>
                </p:cNvPr>
                <p:cNvSpPr>
                  <a:spLocks noChangeAspect="1"/>
                </p:cNvSpPr>
                <p:nvPr/>
              </p:nvSpPr>
              <p:spPr>
                <a:xfrm>
                  <a:off x="6234472" y="317931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83" name="Oval 4582">
                  <a:extLst>
                    <a:ext uri="{FF2B5EF4-FFF2-40B4-BE49-F238E27FC236}">
                      <a16:creationId xmlns:a16="http://schemas.microsoft.com/office/drawing/2014/main" id="{B1CDE491-47B7-42F3-3F3B-57ACA05E9EA4}"/>
                    </a:ext>
                  </a:extLst>
                </p:cNvPr>
                <p:cNvSpPr>
                  <a:spLocks noChangeAspect="1"/>
                </p:cNvSpPr>
                <p:nvPr/>
              </p:nvSpPr>
              <p:spPr>
                <a:xfrm>
                  <a:off x="6089029" y="317931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84" name="Oval 4583">
                  <a:extLst>
                    <a:ext uri="{FF2B5EF4-FFF2-40B4-BE49-F238E27FC236}">
                      <a16:creationId xmlns:a16="http://schemas.microsoft.com/office/drawing/2014/main" id="{E37232A6-7745-52B1-51CF-B9D3CD280336}"/>
                    </a:ext>
                  </a:extLst>
                </p:cNvPr>
                <p:cNvSpPr>
                  <a:spLocks noChangeAspect="1"/>
                </p:cNvSpPr>
                <p:nvPr/>
              </p:nvSpPr>
              <p:spPr>
                <a:xfrm>
                  <a:off x="5932113" y="317931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85" name="Oval 4584">
                  <a:extLst>
                    <a:ext uri="{FF2B5EF4-FFF2-40B4-BE49-F238E27FC236}">
                      <a16:creationId xmlns:a16="http://schemas.microsoft.com/office/drawing/2014/main" id="{8D1E9C44-6591-BCE9-0BDB-02C15AB42219}"/>
                    </a:ext>
                  </a:extLst>
                </p:cNvPr>
                <p:cNvSpPr>
                  <a:spLocks noChangeAspect="1"/>
                </p:cNvSpPr>
                <p:nvPr/>
              </p:nvSpPr>
              <p:spPr>
                <a:xfrm>
                  <a:off x="5623919" y="317973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86" name="Oval 4585">
                  <a:extLst>
                    <a:ext uri="{FF2B5EF4-FFF2-40B4-BE49-F238E27FC236}">
                      <a16:creationId xmlns:a16="http://schemas.microsoft.com/office/drawing/2014/main" id="{DF7B0C6D-EFC2-05B0-E432-6B51A10F6950}"/>
                    </a:ext>
                  </a:extLst>
                </p:cNvPr>
                <p:cNvSpPr>
                  <a:spLocks noChangeAspect="1"/>
                </p:cNvSpPr>
                <p:nvPr/>
              </p:nvSpPr>
              <p:spPr>
                <a:xfrm>
                  <a:off x="5478149" y="317931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87" name="Oval 4586">
                  <a:extLst>
                    <a:ext uri="{FF2B5EF4-FFF2-40B4-BE49-F238E27FC236}">
                      <a16:creationId xmlns:a16="http://schemas.microsoft.com/office/drawing/2014/main" id="{A14C83B6-74E2-A20E-5307-339B7166547E}"/>
                    </a:ext>
                  </a:extLst>
                </p:cNvPr>
                <p:cNvSpPr>
                  <a:spLocks noChangeAspect="1"/>
                </p:cNvSpPr>
                <p:nvPr/>
              </p:nvSpPr>
              <p:spPr>
                <a:xfrm>
                  <a:off x="5332706" y="317931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88" name="Oval 4587">
                  <a:extLst>
                    <a:ext uri="{FF2B5EF4-FFF2-40B4-BE49-F238E27FC236}">
                      <a16:creationId xmlns:a16="http://schemas.microsoft.com/office/drawing/2014/main" id="{B5F437F0-1C51-4E60-9089-A14ECD0B7402}"/>
                    </a:ext>
                  </a:extLst>
                </p:cNvPr>
                <p:cNvSpPr>
                  <a:spLocks noChangeAspect="1"/>
                </p:cNvSpPr>
                <p:nvPr/>
              </p:nvSpPr>
              <p:spPr>
                <a:xfrm>
                  <a:off x="5167225" y="317931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89" name="Oval 4588">
                  <a:extLst>
                    <a:ext uri="{FF2B5EF4-FFF2-40B4-BE49-F238E27FC236}">
                      <a16:creationId xmlns:a16="http://schemas.microsoft.com/office/drawing/2014/main" id="{5AFE29D4-62BE-F945-7E29-D2117ED2B7C8}"/>
                    </a:ext>
                  </a:extLst>
                </p:cNvPr>
                <p:cNvSpPr>
                  <a:spLocks noChangeAspect="1"/>
                </p:cNvSpPr>
                <p:nvPr/>
              </p:nvSpPr>
              <p:spPr>
                <a:xfrm>
                  <a:off x="5015227" y="318158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90" name="Oval 4589">
                  <a:extLst>
                    <a:ext uri="{FF2B5EF4-FFF2-40B4-BE49-F238E27FC236}">
                      <a16:creationId xmlns:a16="http://schemas.microsoft.com/office/drawing/2014/main" id="{7AAC7704-06B6-0B5A-0B6A-321156BC8B1F}"/>
                    </a:ext>
                  </a:extLst>
                </p:cNvPr>
                <p:cNvSpPr>
                  <a:spLocks noChangeAspect="1"/>
                </p:cNvSpPr>
                <p:nvPr/>
              </p:nvSpPr>
              <p:spPr>
                <a:xfrm>
                  <a:off x="4867281" y="317931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91" name="Oval 4590">
                  <a:extLst>
                    <a:ext uri="{FF2B5EF4-FFF2-40B4-BE49-F238E27FC236}">
                      <a16:creationId xmlns:a16="http://schemas.microsoft.com/office/drawing/2014/main" id="{4B647766-7856-2FFA-BF8A-2E15CACD1442}"/>
                    </a:ext>
                  </a:extLst>
                </p:cNvPr>
                <p:cNvSpPr>
                  <a:spLocks noChangeAspect="1"/>
                </p:cNvSpPr>
                <p:nvPr/>
              </p:nvSpPr>
              <p:spPr>
                <a:xfrm>
                  <a:off x="4721826" y="317931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92" name="Oval 4591">
                  <a:extLst>
                    <a:ext uri="{FF2B5EF4-FFF2-40B4-BE49-F238E27FC236}">
                      <a16:creationId xmlns:a16="http://schemas.microsoft.com/office/drawing/2014/main" id="{22F3D541-0A05-E0E4-1E94-5D8064DEAD50}"/>
                    </a:ext>
                  </a:extLst>
                </p:cNvPr>
                <p:cNvSpPr>
                  <a:spLocks noChangeAspect="1"/>
                </p:cNvSpPr>
                <p:nvPr/>
              </p:nvSpPr>
              <p:spPr>
                <a:xfrm>
                  <a:off x="4556349" y="317931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93" name="Oval 4592">
                  <a:extLst>
                    <a:ext uri="{FF2B5EF4-FFF2-40B4-BE49-F238E27FC236}">
                      <a16:creationId xmlns:a16="http://schemas.microsoft.com/office/drawing/2014/main" id="{B396BE02-E058-F2DE-ED0A-3298ABBA23A9}"/>
                    </a:ext>
                  </a:extLst>
                </p:cNvPr>
                <p:cNvSpPr>
                  <a:spLocks noChangeAspect="1"/>
                </p:cNvSpPr>
                <p:nvPr/>
              </p:nvSpPr>
              <p:spPr>
                <a:xfrm>
                  <a:off x="4256705" y="317973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94" name="Oval 4593">
                  <a:extLst>
                    <a:ext uri="{FF2B5EF4-FFF2-40B4-BE49-F238E27FC236}">
                      <a16:creationId xmlns:a16="http://schemas.microsoft.com/office/drawing/2014/main" id="{F73C8CC5-E406-0370-0409-C55BDFAE094B}"/>
                    </a:ext>
                  </a:extLst>
                </p:cNvPr>
                <p:cNvSpPr>
                  <a:spLocks noChangeAspect="1"/>
                </p:cNvSpPr>
                <p:nvPr/>
              </p:nvSpPr>
              <p:spPr>
                <a:xfrm>
                  <a:off x="3951912" y="317931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95" name="Oval 4594">
                  <a:extLst>
                    <a:ext uri="{FF2B5EF4-FFF2-40B4-BE49-F238E27FC236}">
                      <a16:creationId xmlns:a16="http://schemas.microsoft.com/office/drawing/2014/main" id="{70378EA6-926E-5583-C7E5-98F659AB7E3B}"/>
                    </a:ext>
                  </a:extLst>
                </p:cNvPr>
                <p:cNvSpPr>
                  <a:spLocks noChangeAspect="1"/>
                </p:cNvSpPr>
                <p:nvPr/>
              </p:nvSpPr>
              <p:spPr>
                <a:xfrm>
                  <a:off x="3500074" y="317931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96" name="Oval 4595">
                  <a:extLst>
                    <a:ext uri="{FF2B5EF4-FFF2-40B4-BE49-F238E27FC236}">
                      <a16:creationId xmlns:a16="http://schemas.microsoft.com/office/drawing/2014/main" id="{CB8D2BDF-59CF-E76B-3BFA-B283FE249BB4}"/>
                    </a:ext>
                  </a:extLst>
                </p:cNvPr>
                <p:cNvSpPr>
                  <a:spLocks noChangeAspect="1"/>
                </p:cNvSpPr>
                <p:nvPr/>
              </p:nvSpPr>
              <p:spPr>
                <a:xfrm>
                  <a:off x="3354627" y="317931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97" name="Oval 4596">
                  <a:extLst>
                    <a:ext uri="{FF2B5EF4-FFF2-40B4-BE49-F238E27FC236}">
                      <a16:creationId xmlns:a16="http://schemas.microsoft.com/office/drawing/2014/main" id="{2AE9546F-FFA5-05F9-EA69-79CF1E775469}"/>
                    </a:ext>
                  </a:extLst>
                </p:cNvPr>
                <p:cNvSpPr>
                  <a:spLocks noChangeAspect="1"/>
                </p:cNvSpPr>
                <p:nvPr/>
              </p:nvSpPr>
              <p:spPr>
                <a:xfrm>
                  <a:off x="3189152" y="317931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98" name="Oval 4597">
                  <a:extLst>
                    <a:ext uri="{FF2B5EF4-FFF2-40B4-BE49-F238E27FC236}">
                      <a16:creationId xmlns:a16="http://schemas.microsoft.com/office/drawing/2014/main" id="{40A09B37-2906-20E8-14A6-80868D3AE5E5}"/>
                    </a:ext>
                  </a:extLst>
                </p:cNvPr>
                <p:cNvSpPr>
                  <a:spLocks noChangeAspect="1"/>
                </p:cNvSpPr>
                <p:nvPr/>
              </p:nvSpPr>
              <p:spPr>
                <a:xfrm>
                  <a:off x="3040471" y="318628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99" name="Oval 4598">
                  <a:extLst>
                    <a:ext uri="{FF2B5EF4-FFF2-40B4-BE49-F238E27FC236}">
                      <a16:creationId xmlns:a16="http://schemas.microsoft.com/office/drawing/2014/main" id="{23EAFB73-094D-6B36-09A0-D54471F48861}"/>
                    </a:ext>
                  </a:extLst>
                </p:cNvPr>
                <p:cNvSpPr>
                  <a:spLocks noChangeAspect="1"/>
                </p:cNvSpPr>
                <p:nvPr/>
              </p:nvSpPr>
              <p:spPr>
                <a:xfrm>
                  <a:off x="8212672" y="332475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00" name="Oval 4599">
                  <a:extLst>
                    <a:ext uri="{FF2B5EF4-FFF2-40B4-BE49-F238E27FC236}">
                      <a16:creationId xmlns:a16="http://schemas.microsoft.com/office/drawing/2014/main" id="{FC6D9C63-DC5F-9147-10E3-C2536BC16F28}"/>
                    </a:ext>
                  </a:extLst>
                </p:cNvPr>
                <p:cNvSpPr>
                  <a:spLocks noChangeAspect="1"/>
                </p:cNvSpPr>
                <p:nvPr/>
              </p:nvSpPr>
              <p:spPr>
                <a:xfrm>
                  <a:off x="7287527" y="333173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01" name="Oval 4600">
                  <a:extLst>
                    <a:ext uri="{FF2B5EF4-FFF2-40B4-BE49-F238E27FC236}">
                      <a16:creationId xmlns:a16="http://schemas.microsoft.com/office/drawing/2014/main" id="{F13B5970-B6E0-7A8E-D30F-EF43FBA8ECA6}"/>
                    </a:ext>
                  </a:extLst>
                </p:cNvPr>
                <p:cNvSpPr>
                  <a:spLocks noChangeAspect="1"/>
                </p:cNvSpPr>
                <p:nvPr/>
              </p:nvSpPr>
              <p:spPr>
                <a:xfrm>
                  <a:off x="7142073" y="333173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02" name="Oval 4601">
                  <a:extLst>
                    <a:ext uri="{FF2B5EF4-FFF2-40B4-BE49-F238E27FC236}">
                      <a16:creationId xmlns:a16="http://schemas.microsoft.com/office/drawing/2014/main" id="{E6E8DD0A-7D62-2E68-74E4-BA08C80D13B7}"/>
                    </a:ext>
                  </a:extLst>
                </p:cNvPr>
                <p:cNvSpPr>
                  <a:spLocks noChangeAspect="1"/>
                </p:cNvSpPr>
                <p:nvPr/>
              </p:nvSpPr>
              <p:spPr>
                <a:xfrm>
                  <a:off x="6996628" y="333173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03" name="Oval 4602">
                  <a:extLst>
                    <a:ext uri="{FF2B5EF4-FFF2-40B4-BE49-F238E27FC236}">
                      <a16:creationId xmlns:a16="http://schemas.microsoft.com/office/drawing/2014/main" id="{75804993-205B-BADE-9074-A50FEDD2F868}"/>
                    </a:ext>
                  </a:extLst>
                </p:cNvPr>
                <p:cNvSpPr>
                  <a:spLocks noChangeAspect="1"/>
                </p:cNvSpPr>
                <p:nvPr/>
              </p:nvSpPr>
              <p:spPr>
                <a:xfrm>
                  <a:off x="6845668" y="332475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04" name="Oval 4603">
                  <a:extLst>
                    <a:ext uri="{FF2B5EF4-FFF2-40B4-BE49-F238E27FC236}">
                      <a16:creationId xmlns:a16="http://schemas.microsoft.com/office/drawing/2014/main" id="{DC835D3F-132F-F000-BE6F-8B6D8F15F7D0}"/>
                    </a:ext>
                  </a:extLst>
                </p:cNvPr>
                <p:cNvSpPr>
                  <a:spLocks noChangeAspect="1"/>
                </p:cNvSpPr>
                <p:nvPr/>
              </p:nvSpPr>
              <p:spPr>
                <a:xfrm>
                  <a:off x="6700201" y="332475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05" name="Oval 4604">
                  <a:extLst>
                    <a:ext uri="{FF2B5EF4-FFF2-40B4-BE49-F238E27FC236}">
                      <a16:creationId xmlns:a16="http://schemas.microsoft.com/office/drawing/2014/main" id="{23D7B2B5-EC81-E859-F394-6071B262BD77}"/>
                    </a:ext>
                  </a:extLst>
                </p:cNvPr>
                <p:cNvSpPr>
                  <a:spLocks noChangeAspect="1"/>
                </p:cNvSpPr>
                <p:nvPr/>
              </p:nvSpPr>
              <p:spPr>
                <a:xfrm>
                  <a:off x="6531204" y="333173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06" name="Oval 4605">
                  <a:extLst>
                    <a:ext uri="{FF2B5EF4-FFF2-40B4-BE49-F238E27FC236}">
                      <a16:creationId xmlns:a16="http://schemas.microsoft.com/office/drawing/2014/main" id="{60075C71-B4D7-5A54-7887-6F82480837A1}"/>
                    </a:ext>
                  </a:extLst>
                </p:cNvPr>
                <p:cNvSpPr>
                  <a:spLocks noChangeAspect="1"/>
                </p:cNvSpPr>
                <p:nvPr/>
              </p:nvSpPr>
              <p:spPr>
                <a:xfrm>
                  <a:off x="6385750" y="333173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07" name="Oval 4606">
                  <a:extLst>
                    <a:ext uri="{FF2B5EF4-FFF2-40B4-BE49-F238E27FC236}">
                      <a16:creationId xmlns:a16="http://schemas.microsoft.com/office/drawing/2014/main" id="{D5FCCD92-9883-32B3-1B83-501909B267C1}"/>
                    </a:ext>
                  </a:extLst>
                </p:cNvPr>
                <p:cNvSpPr>
                  <a:spLocks noChangeAspect="1"/>
                </p:cNvSpPr>
                <p:nvPr/>
              </p:nvSpPr>
              <p:spPr>
                <a:xfrm>
                  <a:off x="6234601" y="332475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08" name="Oval 4607">
                  <a:extLst>
                    <a:ext uri="{FF2B5EF4-FFF2-40B4-BE49-F238E27FC236}">
                      <a16:creationId xmlns:a16="http://schemas.microsoft.com/office/drawing/2014/main" id="{823B7760-3B55-D41A-0F12-30D8C8B4529F}"/>
                    </a:ext>
                  </a:extLst>
                </p:cNvPr>
                <p:cNvSpPr>
                  <a:spLocks noChangeAspect="1"/>
                </p:cNvSpPr>
                <p:nvPr/>
              </p:nvSpPr>
              <p:spPr>
                <a:xfrm>
                  <a:off x="6089344" y="332475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09" name="Oval 4608">
                  <a:extLst>
                    <a:ext uri="{FF2B5EF4-FFF2-40B4-BE49-F238E27FC236}">
                      <a16:creationId xmlns:a16="http://schemas.microsoft.com/office/drawing/2014/main" id="{6018CC48-59ED-603E-2D92-8653889B3F41}"/>
                    </a:ext>
                  </a:extLst>
                </p:cNvPr>
                <p:cNvSpPr>
                  <a:spLocks noChangeAspect="1"/>
                </p:cNvSpPr>
                <p:nvPr/>
              </p:nvSpPr>
              <p:spPr>
                <a:xfrm>
                  <a:off x="5932113" y="333173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10" name="Oval 4609">
                  <a:extLst>
                    <a:ext uri="{FF2B5EF4-FFF2-40B4-BE49-F238E27FC236}">
                      <a16:creationId xmlns:a16="http://schemas.microsoft.com/office/drawing/2014/main" id="{6EE77866-3F9C-E964-54AB-E67FB49CB410}"/>
                    </a:ext>
                  </a:extLst>
                </p:cNvPr>
                <p:cNvSpPr>
                  <a:spLocks noChangeAspect="1"/>
                </p:cNvSpPr>
                <p:nvPr/>
              </p:nvSpPr>
              <p:spPr>
                <a:xfrm>
                  <a:off x="5774880" y="333173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11" name="Oval 4610">
                  <a:extLst>
                    <a:ext uri="{FF2B5EF4-FFF2-40B4-BE49-F238E27FC236}">
                      <a16:creationId xmlns:a16="http://schemas.microsoft.com/office/drawing/2014/main" id="{10B05939-C1BA-E014-F28C-DC3A563F828C}"/>
                    </a:ext>
                  </a:extLst>
                </p:cNvPr>
                <p:cNvSpPr>
                  <a:spLocks noChangeAspect="1"/>
                </p:cNvSpPr>
                <p:nvPr/>
              </p:nvSpPr>
              <p:spPr>
                <a:xfrm>
                  <a:off x="5622884" y="332928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12" name="Oval 4611">
                  <a:extLst>
                    <a:ext uri="{FF2B5EF4-FFF2-40B4-BE49-F238E27FC236}">
                      <a16:creationId xmlns:a16="http://schemas.microsoft.com/office/drawing/2014/main" id="{DB55FA12-D248-45B1-1C83-167C413ED03B}"/>
                    </a:ext>
                  </a:extLst>
                </p:cNvPr>
                <p:cNvSpPr>
                  <a:spLocks noChangeAspect="1"/>
                </p:cNvSpPr>
                <p:nvPr/>
              </p:nvSpPr>
              <p:spPr>
                <a:xfrm>
                  <a:off x="5478453" y="332475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13" name="Oval 4612">
                  <a:extLst>
                    <a:ext uri="{FF2B5EF4-FFF2-40B4-BE49-F238E27FC236}">
                      <a16:creationId xmlns:a16="http://schemas.microsoft.com/office/drawing/2014/main" id="{9A3565CB-35FA-5EBF-4597-4CCB435D29D0}"/>
                    </a:ext>
                  </a:extLst>
                </p:cNvPr>
                <p:cNvSpPr>
                  <a:spLocks noChangeAspect="1"/>
                </p:cNvSpPr>
                <p:nvPr/>
              </p:nvSpPr>
              <p:spPr>
                <a:xfrm>
                  <a:off x="5333021" y="333060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14" name="Oval 4613">
                  <a:extLst>
                    <a:ext uri="{FF2B5EF4-FFF2-40B4-BE49-F238E27FC236}">
                      <a16:creationId xmlns:a16="http://schemas.microsoft.com/office/drawing/2014/main" id="{CFC43DAD-8272-D246-A155-DB328F9538AD}"/>
                    </a:ext>
                  </a:extLst>
                </p:cNvPr>
                <p:cNvSpPr>
                  <a:spLocks noChangeAspect="1"/>
                </p:cNvSpPr>
                <p:nvPr/>
              </p:nvSpPr>
              <p:spPr>
                <a:xfrm>
                  <a:off x="5164001" y="333173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15" name="Oval 4614">
                  <a:extLst>
                    <a:ext uri="{FF2B5EF4-FFF2-40B4-BE49-F238E27FC236}">
                      <a16:creationId xmlns:a16="http://schemas.microsoft.com/office/drawing/2014/main" id="{71F13BD6-5E90-E1D0-4C1E-8FE9DA207473}"/>
                    </a:ext>
                  </a:extLst>
                </p:cNvPr>
                <p:cNvSpPr>
                  <a:spLocks noChangeAspect="1"/>
                </p:cNvSpPr>
                <p:nvPr/>
              </p:nvSpPr>
              <p:spPr>
                <a:xfrm>
                  <a:off x="5018557" y="333173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16" name="Oval 4615">
                  <a:extLst>
                    <a:ext uri="{FF2B5EF4-FFF2-40B4-BE49-F238E27FC236}">
                      <a16:creationId xmlns:a16="http://schemas.microsoft.com/office/drawing/2014/main" id="{4AB2E563-44B1-630B-582E-1CA892EE063C}"/>
                    </a:ext>
                  </a:extLst>
                </p:cNvPr>
                <p:cNvSpPr>
                  <a:spLocks noChangeAspect="1"/>
                </p:cNvSpPr>
                <p:nvPr/>
              </p:nvSpPr>
              <p:spPr>
                <a:xfrm>
                  <a:off x="4867401" y="332475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17" name="Oval 4616">
                  <a:extLst>
                    <a:ext uri="{FF2B5EF4-FFF2-40B4-BE49-F238E27FC236}">
                      <a16:creationId xmlns:a16="http://schemas.microsoft.com/office/drawing/2014/main" id="{6CA92CC2-6B3C-D6C2-F5C2-062F75356BCA}"/>
                    </a:ext>
                  </a:extLst>
                </p:cNvPr>
                <p:cNvSpPr>
                  <a:spLocks noChangeAspect="1"/>
                </p:cNvSpPr>
                <p:nvPr/>
              </p:nvSpPr>
              <p:spPr>
                <a:xfrm>
                  <a:off x="4722130" y="332475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18" name="Oval 4617">
                  <a:extLst>
                    <a:ext uri="{FF2B5EF4-FFF2-40B4-BE49-F238E27FC236}">
                      <a16:creationId xmlns:a16="http://schemas.microsoft.com/office/drawing/2014/main" id="{2365F38A-E5D4-4DF1-3C52-9AD90722C820}"/>
                    </a:ext>
                  </a:extLst>
                </p:cNvPr>
                <p:cNvSpPr>
                  <a:spLocks noChangeAspect="1"/>
                </p:cNvSpPr>
                <p:nvPr/>
              </p:nvSpPr>
              <p:spPr>
                <a:xfrm>
                  <a:off x="4553118" y="333173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19" name="Oval 4618">
                  <a:extLst>
                    <a:ext uri="{FF2B5EF4-FFF2-40B4-BE49-F238E27FC236}">
                      <a16:creationId xmlns:a16="http://schemas.microsoft.com/office/drawing/2014/main" id="{9E0BDD70-EFA3-1344-6CB3-6131BC96D287}"/>
                    </a:ext>
                  </a:extLst>
                </p:cNvPr>
                <p:cNvSpPr>
                  <a:spLocks noChangeAspect="1"/>
                </p:cNvSpPr>
                <p:nvPr/>
              </p:nvSpPr>
              <p:spPr>
                <a:xfrm>
                  <a:off x="4407672" y="333173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20" name="Oval 4619">
                  <a:extLst>
                    <a:ext uri="{FF2B5EF4-FFF2-40B4-BE49-F238E27FC236}">
                      <a16:creationId xmlns:a16="http://schemas.microsoft.com/office/drawing/2014/main" id="{1D9236B5-41F3-587F-E7FC-C324A6DADF15}"/>
                    </a:ext>
                  </a:extLst>
                </p:cNvPr>
                <p:cNvSpPr>
                  <a:spLocks noChangeAspect="1"/>
                </p:cNvSpPr>
                <p:nvPr/>
              </p:nvSpPr>
              <p:spPr>
                <a:xfrm>
                  <a:off x="4263884" y="332475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21" name="Oval 4620">
                  <a:extLst>
                    <a:ext uri="{FF2B5EF4-FFF2-40B4-BE49-F238E27FC236}">
                      <a16:creationId xmlns:a16="http://schemas.microsoft.com/office/drawing/2014/main" id="{6A197D32-0D5A-311E-63BB-094E6532D52F}"/>
                    </a:ext>
                  </a:extLst>
                </p:cNvPr>
                <p:cNvSpPr>
                  <a:spLocks noChangeAspect="1"/>
                </p:cNvSpPr>
                <p:nvPr/>
              </p:nvSpPr>
              <p:spPr>
                <a:xfrm>
                  <a:off x="4111259" y="332475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22" name="Oval 4621">
                  <a:extLst>
                    <a:ext uri="{FF2B5EF4-FFF2-40B4-BE49-F238E27FC236}">
                      <a16:creationId xmlns:a16="http://schemas.microsoft.com/office/drawing/2014/main" id="{36D93CC4-1CA7-1666-4A8E-8161831C6C35}"/>
                    </a:ext>
                  </a:extLst>
                </p:cNvPr>
                <p:cNvSpPr>
                  <a:spLocks noChangeAspect="1"/>
                </p:cNvSpPr>
                <p:nvPr/>
              </p:nvSpPr>
              <p:spPr>
                <a:xfrm>
                  <a:off x="3796796" y="333173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23" name="Oval 4622">
                  <a:extLst>
                    <a:ext uri="{FF2B5EF4-FFF2-40B4-BE49-F238E27FC236}">
                      <a16:creationId xmlns:a16="http://schemas.microsoft.com/office/drawing/2014/main" id="{F9B9AC35-CDA4-F3F3-4075-C792CB1737EB}"/>
                    </a:ext>
                  </a:extLst>
                </p:cNvPr>
                <p:cNvSpPr>
                  <a:spLocks noChangeAspect="1"/>
                </p:cNvSpPr>
                <p:nvPr/>
              </p:nvSpPr>
              <p:spPr>
                <a:xfrm>
                  <a:off x="3651349" y="333173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24" name="Oval 4623">
                  <a:extLst>
                    <a:ext uri="{FF2B5EF4-FFF2-40B4-BE49-F238E27FC236}">
                      <a16:creationId xmlns:a16="http://schemas.microsoft.com/office/drawing/2014/main" id="{B5A0C5C4-273F-2F5F-1F9C-A169FF015724}"/>
                    </a:ext>
                  </a:extLst>
                </p:cNvPr>
                <p:cNvSpPr>
                  <a:spLocks noChangeAspect="1"/>
                </p:cNvSpPr>
                <p:nvPr/>
              </p:nvSpPr>
              <p:spPr>
                <a:xfrm>
                  <a:off x="3500382" y="332475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25" name="Oval 4624">
                  <a:extLst>
                    <a:ext uri="{FF2B5EF4-FFF2-40B4-BE49-F238E27FC236}">
                      <a16:creationId xmlns:a16="http://schemas.microsoft.com/office/drawing/2014/main" id="{C39BC477-16C1-DBBF-DFAC-51CF730BB261}"/>
                    </a:ext>
                  </a:extLst>
                </p:cNvPr>
                <p:cNvSpPr>
                  <a:spLocks noChangeAspect="1"/>
                </p:cNvSpPr>
                <p:nvPr/>
              </p:nvSpPr>
              <p:spPr>
                <a:xfrm>
                  <a:off x="3354936" y="332475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26" name="Oval 4625">
                  <a:extLst>
                    <a:ext uri="{FF2B5EF4-FFF2-40B4-BE49-F238E27FC236}">
                      <a16:creationId xmlns:a16="http://schemas.microsoft.com/office/drawing/2014/main" id="{36FC46BC-C516-B8B8-2C4A-CCF686B9C7C8}"/>
                    </a:ext>
                  </a:extLst>
                </p:cNvPr>
                <p:cNvSpPr>
                  <a:spLocks noChangeAspect="1"/>
                </p:cNvSpPr>
                <p:nvPr/>
              </p:nvSpPr>
              <p:spPr>
                <a:xfrm>
                  <a:off x="3185918" y="333173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27" name="Oval 4626">
                  <a:extLst>
                    <a:ext uri="{FF2B5EF4-FFF2-40B4-BE49-F238E27FC236}">
                      <a16:creationId xmlns:a16="http://schemas.microsoft.com/office/drawing/2014/main" id="{AB06922A-03D0-C674-51C4-40A5DABDEFC7}"/>
                    </a:ext>
                  </a:extLst>
                </p:cNvPr>
                <p:cNvSpPr>
                  <a:spLocks noChangeAspect="1"/>
                </p:cNvSpPr>
                <p:nvPr/>
              </p:nvSpPr>
              <p:spPr>
                <a:xfrm>
                  <a:off x="7460602" y="349177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28" name="Oval 4627">
                  <a:extLst>
                    <a:ext uri="{FF2B5EF4-FFF2-40B4-BE49-F238E27FC236}">
                      <a16:creationId xmlns:a16="http://schemas.microsoft.com/office/drawing/2014/main" id="{01E1B4F5-5371-097F-EC40-5EB4EA29E9A2}"/>
                    </a:ext>
                  </a:extLst>
                </p:cNvPr>
                <p:cNvSpPr>
                  <a:spLocks noChangeAspect="1"/>
                </p:cNvSpPr>
                <p:nvPr/>
              </p:nvSpPr>
              <p:spPr>
                <a:xfrm>
                  <a:off x="7295277" y="348374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29" name="Oval 4628">
                  <a:extLst>
                    <a:ext uri="{FF2B5EF4-FFF2-40B4-BE49-F238E27FC236}">
                      <a16:creationId xmlns:a16="http://schemas.microsoft.com/office/drawing/2014/main" id="{3113BA87-D40F-AC64-5163-6E8192DCAD4B}"/>
                    </a:ext>
                  </a:extLst>
                </p:cNvPr>
                <p:cNvSpPr>
                  <a:spLocks noChangeAspect="1"/>
                </p:cNvSpPr>
                <p:nvPr/>
              </p:nvSpPr>
              <p:spPr>
                <a:xfrm>
                  <a:off x="7144093" y="34864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30" name="Oval 4629">
                  <a:extLst>
                    <a:ext uri="{FF2B5EF4-FFF2-40B4-BE49-F238E27FC236}">
                      <a16:creationId xmlns:a16="http://schemas.microsoft.com/office/drawing/2014/main" id="{93755C7B-A9BF-D24B-2CD4-DB248ACAEF4B}"/>
                    </a:ext>
                  </a:extLst>
                </p:cNvPr>
                <p:cNvSpPr>
                  <a:spLocks noChangeAspect="1"/>
                </p:cNvSpPr>
                <p:nvPr/>
              </p:nvSpPr>
              <p:spPr>
                <a:xfrm>
                  <a:off x="6991100" y="348347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31" name="Oval 4630">
                  <a:extLst>
                    <a:ext uri="{FF2B5EF4-FFF2-40B4-BE49-F238E27FC236}">
                      <a16:creationId xmlns:a16="http://schemas.microsoft.com/office/drawing/2014/main" id="{2DB19F4E-EAC9-0431-D1D3-E8DE5D2AC829}"/>
                    </a:ext>
                  </a:extLst>
                </p:cNvPr>
                <p:cNvSpPr>
                  <a:spLocks noChangeAspect="1"/>
                </p:cNvSpPr>
                <p:nvPr/>
              </p:nvSpPr>
              <p:spPr>
                <a:xfrm>
                  <a:off x="6849733" y="349177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32" name="Oval 4631">
                  <a:extLst>
                    <a:ext uri="{FF2B5EF4-FFF2-40B4-BE49-F238E27FC236}">
                      <a16:creationId xmlns:a16="http://schemas.microsoft.com/office/drawing/2014/main" id="{939E47DD-792C-E8A8-4DD0-0EDDD4FB5947}"/>
                    </a:ext>
                  </a:extLst>
                </p:cNvPr>
                <p:cNvSpPr>
                  <a:spLocks noChangeAspect="1"/>
                </p:cNvSpPr>
                <p:nvPr/>
              </p:nvSpPr>
              <p:spPr>
                <a:xfrm>
                  <a:off x="6704278" y="349177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33" name="Oval 4632">
                  <a:extLst>
                    <a:ext uri="{FF2B5EF4-FFF2-40B4-BE49-F238E27FC236}">
                      <a16:creationId xmlns:a16="http://schemas.microsoft.com/office/drawing/2014/main" id="{D68F0718-293A-7979-6D44-314E8DC8DF26}"/>
                    </a:ext>
                  </a:extLst>
                </p:cNvPr>
                <p:cNvSpPr>
                  <a:spLocks noChangeAspect="1"/>
                </p:cNvSpPr>
                <p:nvPr/>
              </p:nvSpPr>
              <p:spPr>
                <a:xfrm>
                  <a:off x="6533811" y="348280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34" name="Oval 4633">
                  <a:extLst>
                    <a:ext uri="{FF2B5EF4-FFF2-40B4-BE49-F238E27FC236}">
                      <a16:creationId xmlns:a16="http://schemas.microsoft.com/office/drawing/2014/main" id="{A93E7678-0AD7-FA46-5A16-E58A5D03E4B1}"/>
                    </a:ext>
                  </a:extLst>
                </p:cNvPr>
                <p:cNvSpPr>
                  <a:spLocks noChangeAspect="1"/>
                </p:cNvSpPr>
                <p:nvPr/>
              </p:nvSpPr>
              <p:spPr>
                <a:xfrm>
                  <a:off x="6380243" y="348280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35" name="Oval 4634">
                  <a:extLst>
                    <a:ext uri="{FF2B5EF4-FFF2-40B4-BE49-F238E27FC236}">
                      <a16:creationId xmlns:a16="http://schemas.microsoft.com/office/drawing/2014/main" id="{4E581196-CE29-A681-F8E9-5932A058541C}"/>
                    </a:ext>
                  </a:extLst>
                </p:cNvPr>
                <p:cNvSpPr>
                  <a:spLocks noChangeAspect="1"/>
                </p:cNvSpPr>
                <p:nvPr/>
              </p:nvSpPr>
              <p:spPr>
                <a:xfrm>
                  <a:off x="6238854" y="349177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36" name="Oval 4635">
                  <a:extLst>
                    <a:ext uri="{FF2B5EF4-FFF2-40B4-BE49-F238E27FC236}">
                      <a16:creationId xmlns:a16="http://schemas.microsoft.com/office/drawing/2014/main" id="{F099A4D7-AC70-1620-2A09-A257B810EB04}"/>
                    </a:ext>
                  </a:extLst>
                </p:cNvPr>
                <p:cNvSpPr>
                  <a:spLocks noChangeAspect="1"/>
                </p:cNvSpPr>
                <p:nvPr/>
              </p:nvSpPr>
              <p:spPr>
                <a:xfrm>
                  <a:off x="6093409" y="349177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37" name="Oval 4636">
                  <a:extLst>
                    <a:ext uri="{FF2B5EF4-FFF2-40B4-BE49-F238E27FC236}">
                      <a16:creationId xmlns:a16="http://schemas.microsoft.com/office/drawing/2014/main" id="{A1B80276-15DA-218A-3F05-C85D5D91FB5E}"/>
                    </a:ext>
                  </a:extLst>
                </p:cNvPr>
                <p:cNvSpPr>
                  <a:spLocks noChangeAspect="1"/>
                </p:cNvSpPr>
                <p:nvPr/>
              </p:nvSpPr>
              <p:spPr>
                <a:xfrm>
                  <a:off x="5932113" y="348374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38" name="Oval 4637">
                  <a:extLst>
                    <a:ext uri="{FF2B5EF4-FFF2-40B4-BE49-F238E27FC236}">
                      <a16:creationId xmlns:a16="http://schemas.microsoft.com/office/drawing/2014/main" id="{7AFD5635-1425-11D3-795A-F2353C6627FE}"/>
                    </a:ext>
                  </a:extLst>
                </p:cNvPr>
                <p:cNvSpPr>
                  <a:spLocks noChangeAspect="1"/>
                </p:cNvSpPr>
                <p:nvPr/>
              </p:nvSpPr>
              <p:spPr>
                <a:xfrm>
                  <a:off x="5774880" y="347717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39" name="Oval 4638">
                  <a:extLst>
                    <a:ext uri="{FF2B5EF4-FFF2-40B4-BE49-F238E27FC236}">
                      <a16:creationId xmlns:a16="http://schemas.microsoft.com/office/drawing/2014/main" id="{9DAE8E0D-F703-F6DC-558D-8312E44044F1}"/>
                    </a:ext>
                  </a:extLst>
                </p:cNvPr>
                <p:cNvSpPr>
                  <a:spLocks noChangeAspect="1"/>
                </p:cNvSpPr>
                <p:nvPr/>
              </p:nvSpPr>
              <p:spPr>
                <a:xfrm>
                  <a:off x="5623919" y="348347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40" name="Oval 4639">
                  <a:extLst>
                    <a:ext uri="{FF2B5EF4-FFF2-40B4-BE49-F238E27FC236}">
                      <a16:creationId xmlns:a16="http://schemas.microsoft.com/office/drawing/2014/main" id="{402D90F3-76FF-322D-1FA0-AF08EB864061}"/>
                    </a:ext>
                  </a:extLst>
                </p:cNvPr>
                <p:cNvSpPr>
                  <a:spLocks noChangeAspect="1"/>
                </p:cNvSpPr>
                <p:nvPr/>
              </p:nvSpPr>
              <p:spPr>
                <a:xfrm>
                  <a:off x="5482530" y="349177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41" name="Oval 4640">
                  <a:extLst>
                    <a:ext uri="{FF2B5EF4-FFF2-40B4-BE49-F238E27FC236}">
                      <a16:creationId xmlns:a16="http://schemas.microsoft.com/office/drawing/2014/main" id="{3033005C-0A1C-5A4D-3098-0BF3BAC125A1}"/>
                    </a:ext>
                  </a:extLst>
                </p:cNvPr>
                <p:cNvSpPr>
                  <a:spLocks noChangeAspect="1"/>
                </p:cNvSpPr>
                <p:nvPr/>
              </p:nvSpPr>
              <p:spPr>
                <a:xfrm>
                  <a:off x="5337086" y="349177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42" name="Oval 4641">
                  <a:extLst>
                    <a:ext uri="{FF2B5EF4-FFF2-40B4-BE49-F238E27FC236}">
                      <a16:creationId xmlns:a16="http://schemas.microsoft.com/office/drawing/2014/main" id="{CEB69C52-E24A-1F29-2787-D3D01161FEF9}"/>
                    </a:ext>
                  </a:extLst>
                </p:cNvPr>
                <p:cNvSpPr>
                  <a:spLocks noChangeAspect="1"/>
                </p:cNvSpPr>
                <p:nvPr/>
              </p:nvSpPr>
              <p:spPr>
                <a:xfrm>
                  <a:off x="5166618" y="348280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43" name="Oval 4642">
                  <a:extLst>
                    <a:ext uri="{FF2B5EF4-FFF2-40B4-BE49-F238E27FC236}">
                      <a16:creationId xmlns:a16="http://schemas.microsoft.com/office/drawing/2014/main" id="{94BC6A41-2944-9A6C-0137-45C4CCAC8F80}"/>
                    </a:ext>
                  </a:extLst>
                </p:cNvPr>
                <p:cNvSpPr>
                  <a:spLocks noChangeAspect="1"/>
                </p:cNvSpPr>
                <p:nvPr/>
              </p:nvSpPr>
              <p:spPr>
                <a:xfrm>
                  <a:off x="5013029" y="348280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44" name="Oval 4643">
                  <a:extLst>
                    <a:ext uri="{FF2B5EF4-FFF2-40B4-BE49-F238E27FC236}">
                      <a16:creationId xmlns:a16="http://schemas.microsoft.com/office/drawing/2014/main" id="{69D7FA07-14CD-6082-4C06-0217AD46E174}"/>
                    </a:ext>
                  </a:extLst>
                </p:cNvPr>
                <p:cNvSpPr>
                  <a:spLocks noChangeAspect="1"/>
                </p:cNvSpPr>
                <p:nvPr/>
              </p:nvSpPr>
              <p:spPr>
                <a:xfrm>
                  <a:off x="4871661" y="349177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45" name="Oval 4644">
                  <a:extLst>
                    <a:ext uri="{FF2B5EF4-FFF2-40B4-BE49-F238E27FC236}">
                      <a16:creationId xmlns:a16="http://schemas.microsoft.com/office/drawing/2014/main" id="{8D3DDB88-DA00-8972-22E5-B988C214FB67}"/>
                    </a:ext>
                  </a:extLst>
                </p:cNvPr>
                <p:cNvSpPr>
                  <a:spLocks noChangeAspect="1"/>
                </p:cNvSpPr>
                <p:nvPr/>
              </p:nvSpPr>
              <p:spPr>
                <a:xfrm>
                  <a:off x="4726207" y="349177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46" name="Oval 4645">
                  <a:extLst>
                    <a:ext uri="{FF2B5EF4-FFF2-40B4-BE49-F238E27FC236}">
                      <a16:creationId xmlns:a16="http://schemas.microsoft.com/office/drawing/2014/main" id="{C23DF34B-ECA8-DFB9-FDD7-9EF849E7C990}"/>
                    </a:ext>
                  </a:extLst>
                </p:cNvPr>
                <p:cNvSpPr>
                  <a:spLocks noChangeAspect="1"/>
                </p:cNvSpPr>
                <p:nvPr/>
              </p:nvSpPr>
              <p:spPr>
                <a:xfrm>
                  <a:off x="4560862" y="348374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47" name="Oval 4646">
                  <a:extLst>
                    <a:ext uri="{FF2B5EF4-FFF2-40B4-BE49-F238E27FC236}">
                      <a16:creationId xmlns:a16="http://schemas.microsoft.com/office/drawing/2014/main" id="{FE1B6792-BA46-04D6-47D7-47326038C460}"/>
                    </a:ext>
                  </a:extLst>
                </p:cNvPr>
                <p:cNvSpPr>
                  <a:spLocks noChangeAspect="1"/>
                </p:cNvSpPr>
                <p:nvPr/>
              </p:nvSpPr>
              <p:spPr>
                <a:xfrm>
                  <a:off x="4402155" y="348280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48" name="Oval 4647">
                  <a:extLst>
                    <a:ext uri="{FF2B5EF4-FFF2-40B4-BE49-F238E27FC236}">
                      <a16:creationId xmlns:a16="http://schemas.microsoft.com/office/drawing/2014/main" id="{36B8F31A-1B84-D122-0C25-7F65E5674307}"/>
                    </a:ext>
                  </a:extLst>
                </p:cNvPr>
                <p:cNvSpPr>
                  <a:spLocks noChangeAspect="1"/>
                </p:cNvSpPr>
                <p:nvPr/>
              </p:nvSpPr>
              <p:spPr>
                <a:xfrm>
                  <a:off x="4256705" y="348347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49" name="Oval 4648">
                  <a:extLst>
                    <a:ext uri="{FF2B5EF4-FFF2-40B4-BE49-F238E27FC236}">
                      <a16:creationId xmlns:a16="http://schemas.microsoft.com/office/drawing/2014/main" id="{3453436B-EC5A-4741-E6EF-611908BA6181}"/>
                    </a:ext>
                  </a:extLst>
                </p:cNvPr>
                <p:cNvSpPr>
                  <a:spLocks noChangeAspect="1"/>
                </p:cNvSpPr>
                <p:nvPr/>
              </p:nvSpPr>
              <p:spPr>
                <a:xfrm>
                  <a:off x="4115329" y="349177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50" name="Oval 4649">
                  <a:extLst>
                    <a:ext uri="{FF2B5EF4-FFF2-40B4-BE49-F238E27FC236}">
                      <a16:creationId xmlns:a16="http://schemas.microsoft.com/office/drawing/2014/main" id="{7E619F81-E5E4-17A1-9B61-40E145A89656}"/>
                    </a:ext>
                  </a:extLst>
                </p:cNvPr>
                <p:cNvSpPr>
                  <a:spLocks noChangeAspect="1"/>
                </p:cNvSpPr>
                <p:nvPr/>
              </p:nvSpPr>
              <p:spPr>
                <a:xfrm>
                  <a:off x="3796796" y="347717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51" name="Oval 4650">
                  <a:extLst>
                    <a:ext uri="{FF2B5EF4-FFF2-40B4-BE49-F238E27FC236}">
                      <a16:creationId xmlns:a16="http://schemas.microsoft.com/office/drawing/2014/main" id="{CC08B61E-4B11-8F95-657B-2C67265803B5}"/>
                    </a:ext>
                  </a:extLst>
                </p:cNvPr>
                <p:cNvSpPr>
                  <a:spLocks noChangeAspect="1"/>
                </p:cNvSpPr>
                <p:nvPr/>
              </p:nvSpPr>
              <p:spPr>
                <a:xfrm>
                  <a:off x="3645831" y="348280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52" name="Oval 4651">
                  <a:extLst>
                    <a:ext uri="{FF2B5EF4-FFF2-40B4-BE49-F238E27FC236}">
                      <a16:creationId xmlns:a16="http://schemas.microsoft.com/office/drawing/2014/main" id="{0CFBD004-9BF7-D56C-9FF5-670CB332E346}"/>
                    </a:ext>
                  </a:extLst>
                </p:cNvPr>
                <p:cNvSpPr>
                  <a:spLocks noChangeAspect="1"/>
                </p:cNvSpPr>
                <p:nvPr/>
              </p:nvSpPr>
              <p:spPr>
                <a:xfrm>
                  <a:off x="3504452" y="349177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53" name="Oval 4652">
                  <a:extLst>
                    <a:ext uri="{FF2B5EF4-FFF2-40B4-BE49-F238E27FC236}">
                      <a16:creationId xmlns:a16="http://schemas.microsoft.com/office/drawing/2014/main" id="{A6978F61-ECD2-C5CF-F0E7-A2BA2680163E}"/>
                    </a:ext>
                  </a:extLst>
                </p:cNvPr>
                <p:cNvSpPr>
                  <a:spLocks noChangeAspect="1"/>
                </p:cNvSpPr>
                <p:nvPr/>
              </p:nvSpPr>
              <p:spPr>
                <a:xfrm>
                  <a:off x="3359006" y="349177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54" name="Oval 4653">
                  <a:extLst>
                    <a:ext uri="{FF2B5EF4-FFF2-40B4-BE49-F238E27FC236}">
                      <a16:creationId xmlns:a16="http://schemas.microsoft.com/office/drawing/2014/main" id="{790B778C-0D0B-9C00-9207-00CF5C8395FE}"/>
                    </a:ext>
                  </a:extLst>
                </p:cNvPr>
                <p:cNvSpPr>
                  <a:spLocks noChangeAspect="1"/>
                </p:cNvSpPr>
                <p:nvPr/>
              </p:nvSpPr>
              <p:spPr>
                <a:xfrm>
                  <a:off x="3188538" y="348280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55" name="Oval 4654">
                  <a:extLst>
                    <a:ext uri="{FF2B5EF4-FFF2-40B4-BE49-F238E27FC236}">
                      <a16:creationId xmlns:a16="http://schemas.microsoft.com/office/drawing/2014/main" id="{56F7D0DC-AD9D-F069-7F30-8F4CF971E315}"/>
                    </a:ext>
                  </a:extLst>
                </p:cNvPr>
                <p:cNvSpPr>
                  <a:spLocks noChangeAspect="1"/>
                </p:cNvSpPr>
                <p:nvPr/>
              </p:nvSpPr>
              <p:spPr>
                <a:xfrm>
                  <a:off x="6991100" y="364888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56" name="Oval 4655">
                  <a:extLst>
                    <a:ext uri="{FF2B5EF4-FFF2-40B4-BE49-F238E27FC236}">
                      <a16:creationId xmlns:a16="http://schemas.microsoft.com/office/drawing/2014/main" id="{1A932B46-1ABB-D177-76C2-D8AE640E0FE6}"/>
                    </a:ext>
                  </a:extLst>
                </p:cNvPr>
                <p:cNvSpPr>
                  <a:spLocks noChangeAspect="1"/>
                </p:cNvSpPr>
                <p:nvPr/>
              </p:nvSpPr>
              <p:spPr>
                <a:xfrm>
                  <a:off x="6845668" y="364474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57" name="Oval 4656">
                  <a:extLst>
                    <a:ext uri="{FF2B5EF4-FFF2-40B4-BE49-F238E27FC236}">
                      <a16:creationId xmlns:a16="http://schemas.microsoft.com/office/drawing/2014/main" id="{66513B44-3CFA-0175-F5D9-5C1DE5C2B5F6}"/>
                    </a:ext>
                  </a:extLst>
                </p:cNvPr>
                <p:cNvSpPr>
                  <a:spLocks noChangeAspect="1"/>
                </p:cNvSpPr>
                <p:nvPr/>
              </p:nvSpPr>
              <p:spPr>
                <a:xfrm>
                  <a:off x="6700201" y="364474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58" name="Oval 4657">
                  <a:extLst>
                    <a:ext uri="{FF2B5EF4-FFF2-40B4-BE49-F238E27FC236}">
                      <a16:creationId xmlns:a16="http://schemas.microsoft.com/office/drawing/2014/main" id="{8BD16371-7D93-AEC9-C342-3736525EF6E6}"/>
                    </a:ext>
                  </a:extLst>
                </p:cNvPr>
                <p:cNvSpPr>
                  <a:spLocks noChangeAspect="1"/>
                </p:cNvSpPr>
                <p:nvPr/>
              </p:nvSpPr>
              <p:spPr>
                <a:xfrm>
                  <a:off x="6536054" y="364474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59" name="Oval 4658">
                  <a:extLst>
                    <a:ext uri="{FF2B5EF4-FFF2-40B4-BE49-F238E27FC236}">
                      <a16:creationId xmlns:a16="http://schemas.microsoft.com/office/drawing/2014/main" id="{BD45DEDB-4763-266C-85C6-2990ED3FD4E1}"/>
                    </a:ext>
                  </a:extLst>
                </p:cNvPr>
                <p:cNvSpPr>
                  <a:spLocks noChangeAspect="1"/>
                </p:cNvSpPr>
                <p:nvPr/>
              </p:nvSpPr>
              <p:spPr>
                <a:xfrm>
                  <a:off x="6380243" y="364872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60" name="Oval 4659">
                  <a:extLst>
                    <a:ext uri="{FF2B5EF4-FFF2-40B4-BE49-F238E27FC236}">
                      <a16:creationId xmlns:a16="http://schemas.microsoft.com/office/drawing/2014/main" id="{E85694DF-0897-C17D-D066-11E5BB9A3D51}"/>
                    </a:ext>
                  </a:extLst>
                </p:cNvPr>
                <p:cNvSpPr>
                  <a:spLocks noChangeAspect="1"/>
                </p:cNvSpPr>
                <p:nvPr/>
              </p:nvSpPr>
              <p:spPr>
                <a:xfrm>
                  <a:off x="6234777" y="364474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61" name="Oval 4660">
                  <a:extLst>
                    <a:ext uri="{FF2B5EF4-FFF2-40B4-BE49-F238E27FC236}">
                      <a16:creationId xmlns:a16="http://schemas.microsoft.com/office/drawing/2014/main" id="{FAC1A0C5-05D4-17F7-53AA-88CA803D948B}"/>
                    </a:ext>
                  </a:extLst>
                </p:cNvPr>
                <p:cNvSpPr>
                  <a:spLocks noChangeAspect="1"/>
                </p:cNvSpPr>
                <p:nvPr/>
              </p:nvSpPr>
              <p:spPr>
                <a:xfrm>
                  <a:off x="6089344" y="364474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62" name="Oval 4661">
                  <a:extLst>
                    <a:ext uri="{FF2B5EF4-FFF2-40B4-BE49-F238E27FC236}">
                      <a16:creationId xmlns:a16="http://schemas.microsoft.com/office/drawing/2014/main" id="{54BD7A83-3DF5-5D89-5D48-5471BFDE11FB}"/>
                    </a:ext>
                  </a:extLst>
                </p:cNvPr>
                <p:cNvSpPr>
                  <a:spLocks noChangeAspect="1"/>
                </p:cNvSpPr>
                <p:nvPr/>
              </p:nvSpPr>
              <p:spPr>
                <a:xfrm>
                  <a:off x="5929348" y="364474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63" name="Oval 4662">
                  <a:extLst>
                    <a:ext uri="{FF2B5EF4-FFF2-40B4-BE49-F238E27FC236}">
                      <a16:creationId xmlns:a16="http://schemas.microsoft.com/office/drawing/2014/main" id="{1F045FBA-3F72-94B8-F530-581F1076A214}"/>
                    </a:ext>
                  </a:extLst>
                </p:cNvPr>
                <p:cNvSpPr>
                  <a:spLocks noChangeAspect="1"/>
                </p:cNvSpPr>
                <p:nvPr/>
              </p:nvSpPr>
              <p:spPr>
                <a:xfrm>
                  <a:off x="5769352" y="364474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64" name="Oval 4663">
                  <a:extLst>
                    <a:ext uri="{FF2B5EF4-FFF2-40B4-BE49-F238E27FC236}">
                      <a16:creationId xmlns:a16="http://schemas.microsoft.com/office/drawing/2014/main" id="{18961FB6-316E-E63A-9DBC-EC5312873A7F}"/>
                    </a:ext>
                  </a:extLst>
                </p:cNvPr>
                <p:cNvSpPr>
                  <a:spLocks noChangeAspect="1"/>
                </p:cNvSpPr>
                <p:nvPr/>
              </p:nvSpPr>
              <p:spPr>
                <a:xfrm>
                  <a:off x="5623919" y="364888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65" name="Oval 4664">
                  <a:extLst>
                    <a:ext uri="{FF2B5EF4-FFF2-40B4-BE49-F238E27FC236}">
                      <a16:creationId xmlns:a16="http://schemas.microsoft.com/office/drawing/2014/main" id="{90D644B4-50C8-E5E4-206C-94099E70FFE2}"/>
                    </a:ext>
                  </a:extLst>
                </p:cNvPr>
                <p:cNvSpPr>
                  <a:spLocks noChangeAspect="1"/>
                </p:cNvSpPr>
                <p:nvPr/>
              </p:nvSpPr>
              <p:spPr>
                <a:xfrm>
                  <a:off x="5478453" y="364474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66" name="Oval 4665">
                  <a:extLst>
                    <a:ext uri="{FF2B5EF4-FFF2-40B4-BE49-F238E27FC236}">
                      <a16:creationId xmlns:a16="http://schemas.microsoft.com/office/drawing/2014/main" id="{1C158FF3-AF63-58A1-6523-F0E4A383EBFD}"/>
                    </a:ext>
                  </a:extLst>
                </p:cNvPr>
                <p:cNvSpPr>
                  <a:spLocks noChangeAspect="1"/>
                </p:cNvSpPr>
                <p:nvPr/>
              </p:nvSpPr>
              <p:spPr>
                <a:xfrm>
                  <a:off x="5333021" y="364474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67" name="Oval 4666">
                  <a:extLst>
                    <a:ext uri="{FF2B5EF4-FFF2-40B4-BE49-F238E27FC236}">
                      <a16:creationId xmlns:a16="http://schemas.microsoft.com/office/drawing/2014/main" id="{02CC11B2-2E54-D082-E2A7-C0889DD0B255}"/>
                    </a:ext>
                  </a:extLst>
                </p:cNvPr>
                <p:cNvSpPr>
                  <a:spLocks noChangeAspect="1"/>
                </p:cNvSpPr>
                <p:nvPr/>
              </p:nvSpPr>
              <p:spPr>
                <a:xfrm>
                  <a:off x="5164318" y="365000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68" name="Oval 4667">
                  <a:extLst>
                    <a:ext uri="{FF2B5EF4-FFF2-40B4-BE49-F238E27FC236}">
                      <a16:creationId xmlns:a16="http://schemas.microsoft.com/office/drawing/2014/main" id="{00C8DF58-BDA5-34AD-76A0-97A2D59E19B3}"/>
                    </a:ext>
                  </a:extLst>
                </p:cNvPr>
                <p:cNvSpPr>
                  <a:spLocks noChangeAspect="1"/>
                </p:cNvSpPr>
                <p:nvPr/>
              </p:nvSpPr>
              <p:spPr>
                <a:xfrm>
                  <a:off x="5013029" y="364888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69" name="Oval 4668">
                  <a:extLst>
                    <a:ext uri="{FF2B5EF4-FFF2-40B4-BE49-F238E27FC236}">
                      <a16:creationId xmlns:a16="http://schemas.microsoft.com/office/drawing/2014/main" id="{E8C703ED-94F8-23ED-E17F-C870C697DA37}"/>
                    </a:ext>
                  </a:extLst>
                </p:cNvPr>
                <p:cNvSpPr>
                  <a:spLocks noChangeAspect="1"/>
                </p:cNvSpPr>
                <p:nvPr/>
              </p:nvSpPr>
              <p:spPr>
                <a:xfrm>
                  <a:off x="4867596" y="364474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70" name="Oval 4669">
                  <a:extLst>
                    <a:ext uri="{FF2B5EF4-FFF2-40B4-BE49-F238E27FC236}">
                      <a16:creationId xmlns:a16="http://schemas.microsoft.com/office/drawing/2014/main" id="{E5B1DFC7-6DF3-C5D6-BFE0-E34B64CDF931}"/>
                    </a:ext>
                  </a:extLst>
                </p:cNvPr>
                <p:cNvSpPr>
                  <a:spLocks noChangeAspect="1"/>
                </p:cNvSpPr>
                <p:nvPr/>
              </p:nvSpPr>
              <p:spPr>
                <a:xfrm>
                  <a:off x="4722130" y="364474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71" name="Oval 4670">
                  <a:extLst>
                    <a:ext uri="{FF2B5EF4-FFF2-40B4-BE49-F238E27FC236}">
                      <a16:creationId xmlns:a16="http://schemas.microsoft.com/office/drawing/2014/main" id="{CA3DB59F-CC6D-00B4-DB23-8C1A1F00CF37}"/>
                    </a:ext>
                  </a:extLst>
                </p:cNvPr>
                <p:cNvSpPr>
                  <a:spLocks noChangeAspect="1"/>
                </p:cNvSpPr>
                <p:nvPr/>
              </p:nvSpPr>
              <p:spPr>
                <a:xfrm>
                  <a:off x="4557975" y="364474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72" name="Oval 4671">
                  <a:extLst>
                    <a:ext uri="{FF2B5EF4-FFF2-40B4-BE49-F238E27FC236}">
                      <a16:creationId xmlns:a16="http://schemas.microsoft.com/office/drawing/2014/main" id="{3F038F1F-CE3C-0341-8302-16E010F1E24C}"/>
                    </a:ext>
                  </a:extLst>
                </p:cNvPr>
                <p:cNvSpPr>
                  <a:spLocks noChangeAspect="1"/>
                </p:cNvSpPr>
                <p:nvPr/>
              </p:nvSpPr>
              <p:spPr>
                <a:xfrm>
                  <a:off x="4402155" y="364474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73" name="Oval 4672">
                  <a:extLst>
                    <a:ext uri="{FF2B5EF4-FFF2-40B4-BE49-F238E27FC236}">
                      <a16:creationId xmlns:a16="http://schemas.microsoft.com/office/drawing/2014/main" id="{2293596E-E344-22E7-B364-AD8466436567}"/>
                    </a:ext>
                  </a:extLst>
                </p:cNvPr>
                <p:cNvSpPr>
                  <a:spLocks noChangeAspect="1"/>
                </p:cNvSpPr>
                <p:nvPr/>
              </p:nvSpPr>
              <p:spPr>
                <a:xfrm>
                  <a:off x="4256705" y="364888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74" name="Oval 4673">
                  <a:extLst>
                    <a:ext uri="{FF2B5EF4-FFF2-40B4-BE49-F238E27FC236}">
                      <a16:creationId xmlns:a16="http://schemas.microsoft.com/office/drawing/2014/main" id="{F415AB50-59B8-EE17-5034-958AA10302FB}"/>
                    </a:ext>
                  </a:extLst>
                </p:cNvPr>
                <p:cNvSpPr>
                  <a:spLocks noChangeAspect="1"/>
                </p:cNvSpPr>
                <p:nvPr/>
              </p:nvSpPr>
              <p:spPr>
                <a:xfrm>
                  <a:off x="4111259" y="364474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75" name="Oval 4674">
                  <a:extLst>
                    <a:ext uri="{FF2B5EF4-FFF2-40B4-BE49-F238E27FC236}">
                      <a16:creationId xmlns:a16="http://schemas.microsoft.com/office/drawing/2014/main" id="{B7C18C42-430F-BD60-E8CD-DE3C90998D7E}"/>
                    </a:ext>
                  </a:extLst>
                </p:cNvPr>
                <p:cNvSpPr>
                  <a:spLocks noChangeAspect="1"/>
                </p:cNvSpPr>
                <p:nvPr/>
              </p:nvSpPr>
              <p:spPr>
                <a:xfrm>
                  <a:off x="3791277" y="364474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76" name="Oval 4675">
                  <a:extLst>
                    <a:ext uri="{FF2B5EF4-FFF2-40B4-BE49-F238E27FC236}">
                      <a16:creationId xmlns:a16="http://schemas.microsoft.com/office/drawing/2014/main" id="{CAA23897-319C-4FE7-6AFD-F894FD761A7F}"/>
                    </a:ext>
                  </a:extLst>
                </p:cNvPr>
                <p:cNvSpPr>
                  <a:spLocks noChangeAspect="1"/>
                </p:cNvSpPr>
                <p:nvPr/>
              </p:nvSpPr>
              <p:spPr>
                <a:xfrm>
                  <a:off x="3645831" y="364888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77" name="Oval 4676">
                  <a:extLst>
                    <a:ext uri="{FF2B5EF4-FFF2-40B4-BE49-F238E27FC236}">
                      <a16:creationId xmlns:a16="http://schemas.microsoft.com/office/drawing/2014/main" id="{2002C252-D884-652E-98B1-3463435F5706}"/>
                    </a:ext>
                  </a:extLst>
                </p:cNvPr>
                <p:cNvSpPr>
                  <a:spLocks noChangeAspect="1"/>
                </p:cNvSpPr>
                <p:nvPr/>
              </p:nvSpPr>
              <p:spPr>
                <a:xfrm>
                  <a:off x="3500382" y="364474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78" name="Oval 4677">
                  <a:extLst>
                    <a:ext uri="{FF2B5EF4-FFF2-40B4-BE49-F238E27FC236}">
                      <a16:creationId xmlns:a16="http://schemas.microsoft.com/office/drawing/2014/main" id="{E16F696B-4BBB-532F-147C-50F357601B5F}"/>
                    </a:ext>
                  </a:extLst>
                </p:cNvPr>
                <p:cNvSpPr>
                  <a:spLocks noChangeAspect="1"/>
                </p:cNvSpPr>
                <p:nvPr/>
              </p:nvSpPr>
              <p:spPr>
                <a:xfrm>
                  <a:off x="3336220" y="364474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79" name="Oval 4678">
                  <a:extLst>
                    <a:ext uri="{FF2B5EF4-FFF2-40B4-BE49-F238E27FC236}">
                      <a16:creationId xmlns:a16="http://schemas.microsoft.com/office/drawing/2014/main" id="{1B81CF01-9F2F-E8CA-E150-2F6AB81DDDA3}"/>
                    </a:ext>
                  </a:extLst>
                </p:cNvPr>
                <p:cNvSpPr>
                  <a:spLocks noChangeAspect="1"/>
                </p:cNvSpPr>
                <p:nvPr/>
              </p:nvSpPr>
              <p:spPr>
                <a:xfrm>
                  <a:off x="6990088" y="379471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80" name="Oval 4679">
                  <a:extLst>
                    <a:ext uri="{FF2B5EF4-FFF2-40B4-BE49-F238E27FC236}">
                      <a16:creationId xmlns:a16="http://schemas.microsoft.com/office/drawing/2014/main" id="{D4976B6C-470B-C4AE-7896-5648AFF15883}"/>
                    </a:ext>
                  </a:extLst>
                </p:cNvPr>
                <p:cNvSpPr>
                  <a:spLocks noChangeAspect="1"/>
                </p:cNvSpPr>
                <p:nvPr/>
              </p:nvSpPr>
              <p:spPr>
                <a:xfrm>
                  <a:off x="6845353" y="379017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81" name="Oval 4680">
                  <a:extLst>
                    <a:ext uri="{FF2B5EF4-FFF2-40B4-BE49-F238E27FC236}">
                      <a16:creationId xmlns:a16="http://schemas.microsoft.com/office/drawing/2014/main" id="{01B1DA28-F15A-DE5A-02DC-2A6654494424}"/>
                    </a:ext>
                  </a:extLst>
                </p:cNvPr>
                <p:cNvSpPr>
                  <a:spLocks noChangeAspect="1"/>
                </p:cNvSpPr>
                <p:nvPr/>
              </p:nvSpPr>
              <p:spPr>
                <a:xfrm>
                  <a:off x="6699897" y="379017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82" name="Oval 4681">
                  <a:extLst>
                    <a:ext uri="{FF2B5EF4-FFF2-40B4-BE49-F238E27FC236}">
                      <a16:creationId xmlns:a16="http://schemas.microsoft.com/office/drawing/2014/main" id="{7169C8B9-92DF-9FA0-D8F0-1A386D9B0370}"/>
                    </a:ext>
                  </a:extLst>
                </p:cNvPr>
                <p:cNvSpPr>
                  <a:spLocks noChangeAspect="1"/>
                </p:cNvSpPr>
                <p:nvPr/>
              </p:nvSpPr>
              <p:spPr>
                <a:xfrm>
                  <a:off x="6532303" y="379017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83" name="Oval 4682">
                  <a:extLst>
                    <a:ext uri="{FF2B5EF4-FFF2-40B4-BE49-F238E27FC236}">
                      <a16:creationId xmlns:a16="http://schemas.microsoft.com/office/drawing/2014/main" id="{9D805A88-BA4E-21AB-B6DF-80D060CBB80E}"/>
                    </a:ext>
                  </a:extLst>
                </p:cNvPr>
                <p:cNvSpPr>
                  <a:spLocks noChangeAspect="1"/>
                </p:cNvSpPr>
                <p:nvPr/>
              </p:nvSpPr>
              <p:spPr>
                <a:xfrm>
                  <a:off x="6379207" y="379471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84" name="Oval 4683">
                  <a:extLst>
                    <a:ext uri="{FF2B5EF4-FFF2-40B4-BE49-F238E27FC236}">
                      <a16:creationId xmlns:a16="http://schemas.microsoft.com/office/drawing/2014/main" id="{402815F5-A534-BAFE-332A-35F27D69663A}"/>
                    </a:ext>
                  </a:extLst>
                </p:cNvPr>
                <p:cNvSpPr>
                  <a:spLocks noChangeAspect="1"/>
                </p:cNvSpPr>
                <p:nvPr/>
              </p:nvSpPr>
              <p:spPr>
                <a:xfrm>
                  <a:off x="6234472" y="379017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85" name="Oval 4684">
                  <a:extLst>
                    <a:ext uri="{FF2B5EF4-FFF2-40B4-BE49-F238E27FC236}">
                      <a16:creationId xmlns:a16="http://schemas.microsoft.com/office/drawing/2014/main" id="{BE4FDCAA-FA08-BFCD-BA27-4E855FC5BED3}"/>
                    </a:ext>
                  </a:extLst>
                </p:cNvPr>
                <p:cNvSpPr>
                  <a:spLocks noChangeAspect="1"/>
                </p:cNvSpPr>
                <p:nvPr/>
              </p:nvSpPr>
              <p:spPr>
                <a:xfrm>
                  <a:off x="6089029" y="379017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86" name="Oval 4685">
                  <a:extLst>
                    <a:ext uri="{FF2B5EF4-FFF2-40B4-BE49-F238E27FC236}">
                      <a16:creationId xmlns:a16="http://schemas.microsoft.com/office/drawing/2014/main" id="{E88D7337-852A-F4B4-9292-B6F94D556858}"/>
                    </a:ext>
                  </a:extLst>
                </p:cNvPr>
                <p:cNvSpPr>
                  <a:spLocks noChangeAspect="1"/>
                </p:cNvSpPr>
                <p:nvPr/>
              </p:nvSpPr>
              <p:spPr>
                <a:xfrm>
                  <a:off x="5929348" y="379017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87" name="Oval 4686">
                  <a:extLst>
                    <a:ext uri="{FF2B5EF4-FFF2-40B4-BE49-F238E27FC236}">
                      <a16:creationId xmlns:a16="http://schemas.microsoft.com/office/drawing/2014/main" id="{3429F2AC-F1DD-A66D-CAF7-36E2BC2D1BCE}"/>
                    </a:ext>
                  </a:extLst>
                </p:cNvPr>
                <p:cNvSpPr>
                  <a:spLocks noChangeAspect="1"/>
                </p:cNvSpPr>
                <p:nvPr/>
              </p:nvSpPr>
              <p:spPr>
                <a:xfrm>
                  <a:off x="5774880" y="379715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88" name="Oval 4687">
                  <a:extLst>
                    <a:ext uri="{FF2B5EF4-FFF2-40B4-BE49-F238E27FC236}">
                      <a16:creationId xmlns:a16="http://schemas.microsoft.com/office/drawing/2014/main" id="{8C0C1418-E529-86F2-47D3-C75B060CCFCA}"/>
                    </a:ext>
                  </a:extLst>
                </p:cNvPr>
                <p:cNvSpPr>
                  <a:spLocks noChangeAspect="1"/>
                </p:cNvSpPr>
                <p:nvPr/>
              </p:nvSpPr>
              <p:spPr>
                <a:xfrm>
                  <a:off x="5626187" y="379237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89" name="Oval 4688">
                  <a:extLst>
                    <a:ext uri="{FF2B5EF4-FFF2-40B4-BE49-F238E27FC236}">
                      <a16:creationId xmlns:a16="http://schemas.microsoft.com/office/drawing/2014/main" id="{EB4DD4D6-4496-550B-833D-6F0EF09584B7}"/>
                    </a:ext>
                  </a:extLst>
                </p:cNvPr>
                <p:cNvSpPr>
                  <a:spLocks noChangeAspect="1"/>
                </p:cNvSpPr>
                <p:nvPr/>
              </p:nvSpPr>
              <p:spPr>
                <a:xfrm>
                  <a:off x="5478149" y="379017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90" name="Oval 4689">
                  <a:extLst>
                    <a:ext uri="{FF2B5EF4-FFF2-40B4-BE49-F238E27FC236}">
                      <a16:creationId xmlns:a16="http://schemas.microsoft.com/office/drawing/2014/main" id="{E01CFC7A-E21D-E86A-8FEF-CB2A879323E8}"/>
                    </a:ext>
                  </a:extLst>
                </p:cNvPr>
                <p:cNvSpPr>
                  <a:spLocks noChangeAspect="1"/>
                </p:cNvSpPr>
                <p:nvPr/>
              </p:nvSpPr>
              <p:spPr>
                <a:xfrm>
                  <a:off x="5332706" y="379017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91" name="Oval 4690">
                  <a:extLst>
                    <a:ext uri="{FF2B5EF4-FFF2-40B4-BE49-F238E27FC236}">
                      <a16:creationId xmlns:a16="http://schemas.microsoft.com/office/drawing/2014/main" id="{E31370E3-EE79-6BF3-6C9C-FDBCE6961A32}"/>
                    </a:ext>
                  </a:extLst>
                </p:cNvPr>
                <p:cNvSpPr>
                  <a:spLocks noChangeAspect="1"/>
                </p:cNvSpPr>
                <p:nvPr/>
              </p:nvSpPr>
              <p:spPr>
                <a:xfrm>
                  <a:off x="5165102" y="379017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92" name="Oval 4691">
                  <a:extLst>
                    <a:ext uri="{FF2B5EF4-FFF2-40B4-BE49-F238E27FC236}">
                      <a16:creationId xmlns:a16="http://schemas.microsoft.com/office/drawing/2014/main" id="{87C294D2-C0B7-1449-FDF3-2BA5BC5CEB15}"/>
                    </a:ext>
                  </a:extLst>
                </p:cNvPr>
                <p:cNvSpPr>
                  <a:spLocks noChangeAspect="1"/>
                </p:cNvSpPr>
                <p:nvPr/>
              </p:nvSpPr>
              <p:spPr>
                <a:xfrm>
                  <a:off x="5012002" y="379471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93" name="Oval 4692">
                  <a:extLst>
                    <a:ext uri="{FF2B5EF4-FFF2-40B4-BE49-F238E27FC236}">
                      <a16:creationId xmlns:a16="http://schemas.microsoft.com/office/drawing/2014/main" id="{77D4319E-4BF7-518D-3B44-10561D255E61}"/>
                    </a:ext>
                  </a:extLst>
                </p:cNvPr>
                <p:cNvSpPr>
                  <a:spLocks noChangeAspect="1"/>
                </p:cNvSpPr>
                <p:nvPr/>
              </p:nvSpPr>
              <p:spPr>
                <a:xfrm>
                  <a:off x="4867281" y="379017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94" name="Oval 4693">
                  <a:extLst>
                    <a:ext uri="{FF2B5EF4-FFF2-40B4-BE49-F238E27FC236}">
                      <a16:creationId xmlns:a16="http://schemas.microsoft.com/office/drawing/2014/main" id="{49B15FCF-E1E6-8D67-9933-EE8FD200B32D}"/>
                    </a:ext>
                  </a:extLst>
                </p:cNvPr>
                <p:cNvSpPr>
                  <a:spLocks noChangeAspect="1"/>
                </p:cNvSpPr>
                <p:nvPr/>
              </p:nvSpPr>
              <p:spPr>
                <a:xfrm>
                  <a:off x="4721826" y="379017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95" name="Oval 4694">
                  <a:extLst>
                    <a:ext uri="{FF2B5EF4-FFF2-40B4-BE49-F238E27FC236}">
                      <a16:creationId xmlns:a16="http://schemas.microsoft.com/office/drawing/2014/main" id="{ABF7C341-75C3-79F4-9CDE-648E689D252B}"/>
                    </a:ext>
                  </a:extLst>
                </p:cNvPr>
                <p:cNvSpPr>
                  <a:spLocks noChangeAspect="1"/>
                </p:cNvSpPr>
                <p:nvPr/>
              </p:nvSpPr>
              <p:spPr>
                <a:xfrm>
                  <a:off x="4554224" y="379017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96" name="Oval 4695">
                  <a:extLst>
                    <a:ext uri="{FF2B5EF4-FFF2-40B4-BE49-F238E27FC236}">
                      <a16:creationId xmlns:a16="http://schemas.microsoft.com/office/drawing/2014/main" id="{2B9114E2-2429-8D89-EEFC-4B5C946DAFDF}"/>
                    </a:ext>
                  </a:extLst>
                </p:cNvPr>
                <p:cNvSpPr>
                  <a:spLocks noChangeAspect="1"/>
                </p:cNvSpPr>
                <p:nvPr/>
              </p:nvSpPr>
              <p:spPr>
                <a:xfrm>
                  <a:off x="4407672" y="379715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97" name="Oval 4696">
                  <a:extLst>
                    <a:ext uri="{FF2B5EF4-FFF2-40B4-BE49-F238E27FC236}">
                      <a16:creationId xmlns:a16="http://schemas.microsoft.com/office/drawing/2014/main" id="{1C753232-0C50-9B4C-C2DA-D0F5662EE30E}"/>
                    </a:ext>
                  </a:extLst>
                </p:cNvPr>
                <p:cNvSpPr>
                  <a:spLocks noChangeAspect="1"/>
                </p:cNvSpPr>
                <p:nvPr/>
              </p:nvSpPr>
              <p:spPr>
                <a:xfrm>
                  <a:off x="4258989" y="379239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98" name="Oval 4697">
                  <a:extLst>
                    <a:ext uri="{FF2B5EF4-FFF2-40B4-BE49-F238E27FC236}">
                      <a16:creationId xmlns:a16="http://schemas.microsoft.com/office/drawing/2014/main" id="{E4DF3D2A-BD3C-11C6-61C8-8AC7A024148F}"/>
                    </a:ext>
                  </a:extLst>
                </p:cNvPr>
                <p:cNvSpPr>
                  <a:spLocks noChangeAspect="1"/>
                </p:cNvSpPr>
                <p:nvPr/>
              </p:nvSpPr>
              <p:spPr>
                <a:xfrm>
                  <a:off x="4110951" y="379017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99" name="Oval 4698">
                  <a:extLst>
                    <a:ext uri="{FF2B5EF4-FFF2-40B4-BE49-F238E27FC236}">
                      <a16:creationId xmlns:a16="http://schemas.microsoft.com/office/drawing/2014/main" id="{D1940491-C6F7-CD44-6AA3-20FCD53AB780}"/>
                    </a:ext>
                  </a:extLst>
                </p:cNvPr>
                <p:cNvSpPr>
                  <a:spLocks noChangeAspect="1"/>
                </p:cNvSpPr>
                <p:nvPr/>
              </p:nvSpPr>
              <p:spPr>
                <a:xfrm>
                  <a:off x="3644803" y="379471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00" name="Oval 4699">
                  <a:extLst>
                    <a:ext uri="{FF2B5EF4-FFF2-40B4-BE49-F238E27FC236}">
                      <a16:creationId xmlns:a16="http://schemas.microsoft.com/office/drawing/2014/main" id="{831239A0-2AC6-D784-70A0-90C6569301AF}"/>
                    </a:ext>
                  </a:extLst>
                </p:cNvPr>
                <p:cNvSpPr>
                  <a:spLocks noChangeAspect="1"/>
                </p:cNvSpPr>
                <p:nvPr/>
              </p:nvSpPr>
              <p:spPr>
                <a:xfrm>
                  <a:off x="3500074" y="379017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01" name="Oval 4700">
                  <a:extLst>
                    <a:ext uri="{FF2B5EF4-FFF2-40B4-BE49-F238E27FC236}">
                      <a16:creationId xmlns:a16="http://schemas.microsoft.com/office/drawing/2014/main" id="{659379C8-F50E-F23A-87F0-14F3334430CD}"/>
                    </a:ext>
                  </a:extLst>
                </p:cNvPr>
                <p:cNvSpPr>
                  <a:spLocks noChangeAspect="1"/>
                </p:cNvSpPr>
                <p:nvPr/>
              </p:nvSpPr>
              <p:spPr>
                <a:xfrm>
                  <a:off x="6996628" y="394260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02" name="Oval 4701">
                  <a:extLst>
                    <a:ext uri="{FF2B5EF4-FFF2-40B4-BE49-F238E27FC236}">
                      <a16:creationId xmlns:a16="http://schemas.microsoft.com/office/drawing/2014/main" id="{5A8435D9-9104-D2CB-F52F-E0FC3A50048D}"/>
                    </a:ext>
                  </a:extLst>
                </p:cNvPr>
                <p:cNvSpPr>
                  <a:spLocks noChangeAspect="1"/>
                </p:cNvSpPr>
                <p:nvPr/>
              </p:nvSpPr>
              <p:spPr>
                <a:xfrm>
                  <a:off x="6845668" y="393564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03" name="Oval 4702">
                  <a:extLst>
                    <a:ext uri="{FF2B5EF4-FFF2-40B4-BE49-F238E27FC236}">
                      <a16:creationId xmlns:a16="http://schemas.microsoft.com/office/drawing/2014/main" id="{EAFF6B12-7001-E9A0-674D-5D1A18110B43}"/>
                    </a:ext>
                  </a:extLst>
                </p:cNvPr>
                <p:cNvSpPr>
                  <a:spLocks noChangeAspect="1"/>
                </p:cNvSpPr>
                <p:nvPr/>
              </p:nvSpPr>
              <p:spPr>
                <a:xfrm>
                  <a:off x="6700201" y="394318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04" name="Oval 4703">
                  <a:extLst>
                    <a:ext uri="{FF2B5EF4-FFF2-40B4-BE49-F238E27FC236}">
                      <a16:creationId xmlns:a16="http://schemas.microsoft.com/office/drawing/2014/main" id="{B55840D8-A320-F7EB-4FD5-BDC358FC3E2C}"/>
                    </a:ext>
                  </a:extLst>
                </p:cNvPr>
                <p:cNvSpPr>
                  <a:spLocks noChangeAspect="1"/>
                </p:cNvSpPr>
                <p:nvPr/>
              </p:nvSpPr>
              <p:spPr>
                <a:xfrm>
                  <a:off x="6531204" y="394260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05" name="Oval 4704">
                  <a:extLst>
                    <a:ext uri="{FF2B5EF4-FFF2-40B4-BE49-F238E27FC236}">
                      <a16:creationId xmlns:a16="http://schemas.microsoft.com/office/drawing/2014/main" id="{1184E120-0634-E58A-A1F5-FA50DC379B22}"/>
                    </a:ext>
                  </a:extLst>
                </p:cNvPr>
                <p:cNvSpPr>
                  <a:spLocks noChangeAspect="1"/>
                </p:cNvSpPr>
                <p:nvPr/>
              </p:nvSpPr>
              <p:spPr>
                <a:xfrm>
                  <a:off x="6385750" y="394260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06" name="Oval 4705">
                  <a:extLst>
                    <a:ext uri="{FF2B5EF4-FFF2-40B4-BE49-F238E27FC236}">
                      <a16:creationId xmlns:a16="http://schemas.microsoft.com/office/drawing/2014/main" id="{0696C353-1E28-234D-A9C2-21481F9B6AB1}"/>
                    </a:ext>
                  </a:extLst>
                </p:cNvPr>
                <p:cNvSpPr>
                  <a:spLocks noChangeAspect="1"/>
                </p:cNvSpPr>
                <p:nvPr/>
              </p:nvSpPr>
              <p:spPr>
                <a:xfrm>
                  <a:off x="6238757" y="394318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07" name="Oval 4706">
                  <a:extLst>
                    <a:ext uri="{FF2B5EF4-FFF2-40B4-BE49-F238E27FC236}">
                      <a16:creationId xmlns:a16="http://schemas.microsoft.com/office/drawing/2014/main" id="{8EDEC992-23B1-B050-FFA8-FA5FDF06CE10}"/>
                    </a:ext>
                  </a:extLst>
                </p:cNvPr>
                <p:cNvSpPr>
                  <a:spLocks noChangeAspect="1"/>
                </p:cNvSpPr>
                <p:nvPr/>
              </p:nvSpPr>
              <p:spPr>
                <a:xfrm>
                  <a:off x="6089344" y="393564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08" name="Oval 4707">
                  <a:extLst>
                    <a:ext uri="{FF2B5EF4-FFF2-40B4-BE49-F238E27FC236}">
                      <a16:creationId xmlns:a16="http://schemas.microsoft.com/office/drawing/2014/main" id="{C072B0E9-677C-BF6F-F95D-EBEE2B5C2163}"/>
                    </a:ext>
                  </a:extLst>
                </p:cNvPr>
                <p:cNvSpPr>
                  <a:spLocks noChangeAspect="1"/>
                </p:cNvSpPr>
                <p:nvPr/>
              </p:nvSpPr>
              <p:spPr>
                <a:xfrm>
                  <a:off x="5929348" y="394260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09" name="Oval 4708">
                  <a:extLst>
                    <a:ext uri="{FF2B5EF4-FFF2-40B4-BE49-F238E27FC236}">
                      <a16:creationId xmlns:a16="http://schemas.microsoft.com/office/drawing/2014/main" id="{1B32CC42-ABFA-5656-B8C8-674CD7316C7F}"/>
                    </a:ext>
                  </a:extLst>
                </p:cNvPr>
                <p:cNvSpPr>
                  <a:spLocks noChangeAspect="1"/>
                </p:cNvSpPr>
                <p:nvPr/>
              </p:nvSpPr>
              <p:spPr>
                <a:xfrm>
                  <a:off x="5774880" y="394260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10" name="Oval 4709">
                  <a:extLst>
                    <a:ext uri="{FF2B5EF4-FFF2-40B4-BE49-F238E27FC236}">
                      <a16:creationId xmlns:a16="http://schemas.microsoft.com/office/drawing/2014/main" id="{A55F8501-52BE-A2C4-BBC3-7CD3A89B15E5}"/>
                    </a:ext>
                  </a:extLst>
                </p:cNvPr>
                <p:cNvSpPr>
                  <a:spLocks noChangeAspect="1"/>
                </p:cNvSpPr>
                <p:nvPr/>
              </p:nvSpPr>
              <p:spPr>
                <a:xfrm>
                  <a:off x="5629426" y="394260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11" name="Oval 4710">
                  <a:extLst>
                    <a:ext uri="{FF2B5EF4-FFF2-40B4-BE49-F238E27FC236}">
                      <a16:creationId xmlns:a16="http://schemas.microsoft.com/office/drawing/2014/main" id="{8727A923-E989-EB38-7949-2004CCDE8DF0}"/>
                    </a:ext>
                  </a:extLst>
                </p:cNvPr>
                <p:cNvSpPr>
                  <a:spLocks noChangeAspect="1"/>
                </p:cNvSpPr>
                <p:nvPr/>
              </p:nvSpPr>
              <p:spPr>
                <a:xfrm>
                  <a:off x="5478453" y="393564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12" name="Oval 4711">
                  <a:extLst>
                    <a:ext uri="{FF2B5EF4-FFF2-40B4-BE49-F238E27FC236}">
                      <a16:creationId xmlns:a16="http://schemas.microsoft.com/office/drawing/2014/main" id="{85BD8462-B4BF-F340-D241-9FD8B0C09113}"/>
                    </a:ext>
                  </a:extLst>
                </p:cNvPr>
                <p:cNvSpPr>
                  <a:spLocks noChangeAspect="1"/>
                </p:cNvSpPr>
                <p:nvPr/>
              </p:nvSpPr>
              <p:spPr>
                <a:xfrm>
                  <a:off x="5333021" y="394318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13" name="Oval 4712">
                  <a:extLst>
                    <a:ext uri="{FF2B5EF4-FFF2-40B4-BE49-F238E27FC236}">
                      <a16:creationId xmlns:a16="http://schemas.microsoft.com/office/drawing/2014/main" id="{1F2A3B6D-0721-D492-6305-34B72277C831}"/>
                    </a:ext>
                  </a:extLst>
                </p:cNvPr>
                <p:cNvSpPr>
                  <a:spLocks noChangeAspect="1"/>
                </p:cNvSpPr>
                <p:nvPr/>
              </p:nvSpPr>
              <p:spPr>
                <a:xfrm>
                  <a:off x="5164001" y="394260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14" name="Oval 4713">
                  <a:extLst>
                    <a:ext uri="{FF2B5EF4-FFF2-40B4-BE49-F238E27FC236}">
                      <a16:creationId xmlns:a16="http://schemas.microsoft.com/office/drawing/2014/main" id="{FDB20C38-9998-A9E7-5D8C-FF66ECD9D1BD}"/>
                    </a:ext>
                  </a:extLst>
                </p:cNvPr>
                <p:cNvSpPr>
                  <a:spLocks noChangeAspect="1"/>
                </p:cNvSpPr>
                <p:nvPr/>
              </p:nvSpPr>
              <p:spPr>
                <a:xfrm>
                  <a:off x="5018557" y="394260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15" name="Oval 4714">
                  <a:extLst>
                    <a:ext uri="{FF2B5EF4-FFF2-40B4-BE49-F238E27FC236}">
                      <a16:creationId xmlns:a16="http://schemas.microsoft.com/office/drawing/2014/main" id="{9E3F9602-0947-0A3E-643C-76A47D82AB82}"/>
                    </a:ext>
                  </a:extLst>
                </p:cNvPr>
                <p:cNvSpPr>
                  <a:spLocks noChangeAspect="1"/>
                </p:cNvSpPr>
                <p:nvPr/>
              </p:nvSpPr>
              <p:spPr>
                <a:xfrm>
                  <a:off x="4871575" y="394318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16" name="Oval 4715">
                  <a:extLst>
                    <a:ext uri="{FF2B5EF4-FFF2-40B4-BE49-F238E27FC236}">
                      <a16:creationId xmlns:a16="http://schemas.microsoft.com/office/drawing/2014/main" id="{A56CEAE0-6902-472B-B191-9692089B9303}"/>
                    </a:ext>
                  </a:extLst>
                </p:cNvPr>
                <p:cNvSpPr>
                  <a:spLocks noChangeAspect="1"/>
                </p:cNvSpPr>
                <p:nvPr/>
              </p:nvSpPr>
              <p:spPr>
                <a:xfrm>
                  <a:off x="4722130" y="394318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17" name="Oval 4716">
                  <a:extLst>
                    <a:ext uri="{FF2B5EF4-FFF2-40B4-BE49-F238E27FC236}">
                      <a16:creationId xmlns:a16="http://schemas.microsoft.com/office/drawing/2014/main" id="{CFCC2F56-A59A-940B-2B65-36F1343FF701}"/>
                    </a:ext>
                  </a:extLst>
                </p:cNvPr>
                <p:cNvSpPr>
                  <a:spLocks noChangeAspect="1"/>
                </p:cNvSpPr>
                <p:nvPr/>
              </p:nvSpPr>
              <p:spPr>
                <a:xfrm>
                  <a:off x="4553118" y="394260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18" name="Oval 4717">
                  <a:extLst>
                    <a:ext uri="{FF2B5EF4-FFF2-40B4-BE49-F238E27FC236}">
                      <a16:creationId xmlns:a16="http://schemas.microsoft.com/office/drawing/2014/main" id="{55C76E44-F82A-37AE-11C8-E9D1118AC055}"/>
                    </a:ext>
                  </a:extLst>
                </p:cNvPr>
                <p:cNvSpPr>
                  <a:spLocks noChangeAspect="1"/>
                </p:cNvSpPr>
                <p:nvPr/>
              </p:nvSpPr>
              <p:spPr>
                <a:xfrm>
                  <a:off x="4407672" y="394260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19" name="Oval 4718">
                  <a:extLst>
                    <a:ext uri="{FF2B5EF4-FFF2-40B4-BE49-F238E27FC236}">
                      <a16:creationId xmlns:a16="http://schemas.microsoft.com/office/drawing/2014/main" id="{580B8440-5D50-2D13-E8B9-8030FDAC2DE1}"/>
                    </a:ext>
                  </a:extLst>
                </p:cNvPr>
                <p:cNvSpPr>
                  <a:spLocks noChangeAspect="1"/>
                </p:cNvSpPr>
                <p:nvPr/>
              </p:nvSpPr>
              <p:spPr>
                <a:xfrm>
                  <a:off x="4263445" y="39417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20" name="Oval 4719">
                  <a:extLst>
                    <a:ext uri="{FF2B5EF4-FFF2-40B4-BE49-F238E27FC236}">
                      <a16:creationId xmlns:a16="http://schemas.microsoft.com/office/drawing/2014/main" id="{3FC63815-5458-47B8-DA8D-CAE7B350BCA4}"/>
                    </a:ext>
                  </a:extLst>
                </p:cNvPr>
                <p:cNvSpPr>
                  <a:spLocks noChangeAspect="1"/>
                </p:cNvSpPr>
                <p:nvPr/>
              </p:nvSpPr>
              <p:spPr>
                <a:xfrm>
                  <a:off x="4111259" y="393564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21" name="Oval 4720">
                  <a:extLst>
                    <a:ext uri="{FF2B5EF4-FFF2-40B4-BE49-F238E27FC236}">
                      <a16:creationId xmlns:a16="http://schemas.microsoft.com/office/drawing/2014/main" id="{57E2DA3B-F0C8-97C9-0CF6-B29394AACAF5}"/>
                    </a:ext>
                  </a:extLst>
                </p:cNvPr>
                <p:cNvSpPr>
                  <a:spLocks noChangeAspect="1"/>
                </p:cNvSpPr>
                <p:nvPr/>
              </p:nvSpPr>
              <p:spPr>
                <a:xfrm>
                  <a:off x="3942242" y="394260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22" name="Oval 4721">
                  <a:extLst>
                    <a:ext uri="{FF2B5EF4-FFF2-40B4-BE49-F238E27FC236}">
                      <a16:creationId xmlns:a16="http://schemas.microsoft.com/office/drawing/2014/main" id="{BCD9E379-BF38-7704-5581-109A9497CE80}"/>
                    </a:ext>
                  </a:extLst>
                </p:cNvPr>
                <p:cNvSpPr>
                  <a:spLocks noChangeAspect="1"/>
                </p:cNvSpPr>
                <p:nvPr/>
              </p:nvSpPr>
              <p:spPr>
                <a:xfrm>
                  <a:off x="6704278" y="410264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23" name="Oval 4722">
                  <a:extLst>
                    <a:ext uri="{FF2B5EF4-FFF2-40B4-BE49-F238E27FC236}">
                      <a16:creationId xmlns:a16="http://schemas.microsoft.com/office/drawing/2014/main" id="{46E4FF22-1114-3999-9C94-32DF127E8076}"/>
                    </a:ext>
                  </a:extLst>
                </p:cNvPr>
                <p:cNvSpPr>
                  <a:spLocks noChangeAspect="1"/>
                </p:cNvSpPr>
                <p:nvPr/>
              </p:nvSpPr>
              <p:spPr>
                <a:xfrm>
                  <a:off x="6525803" y="411016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24" name="Oval 4723">
                  <a:extLst>
                    <a:ext uri="{FF2B5EF4-FFF2-40B4-BE49-F238E27FC236}">
                      <a16:creationId xmlns:a16="http://schemas.microsoft.com/office/drawing/2014/main" id="{C4D0E6AD-39BB-912C-44D8-B4848056E6C3}"/>
                    </a:ext>
                  </a:extLst>
                </p:cNvPr>
                <p:cNvSpPr>
                  <a:spLocks noChangeAspect="1"/>
                </p:cNvSpPr>
                <p:nvPr/>
              </p:nvSpPr>
              <p:spPr>
                <a:xfrm>
                  <a:off x="6380243" y="409369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25" name="Oval 4724">
                  <a:extLst>
                    <a:ext uri="{FF2B5EF4-FFF2-40B4-BE49-F238E27FC236}">
                      <a16:creationId xmlns:a16="http://schemas.microsoft.com/office/drawing/2014/main" id="{81A2F280-C94C-DFF6-BC43-F0E922417692}"/>
                    </a:ext>
                  </a:extLst>
                </p:cNvPr>
                <p:cNvSpPr>
                  <a:spLocks noChangeAspect="1"/>
                </p:cNvSpPr>
                <p:nvPr/>
              </p:nvSpPr>
              <p:spPr>
                <a:xfrm>
                  <a:off x="6238854" y="410264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26" name="Oval 4725">
                  <a:extLst>
                    <a:ext uri="{FF2B5EF4-FFF2-40B4-BE49-F238E27FC236}">
                      <a16:creationId xmlns:a16="http://schemas.microsoft.com/office/drawing/2014/main" id="{C27547B5-CB71-4A70-1520-9226F69055DF}"/>
                    </a:ext>
                  </a:extLst>
                </p:cNvPr>
                <p:cNvSpPr>
                  <a:spLocks noChangeAspect="1"/>
                </p:cNvSpPr>
                <p:nvPr/>
              </p:nvSpPr>
              <p:spPr>
                <a:xfrm>
                  <a:off x="6093409" y="410264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27" name="Oval 4726">
                  <a:extLst>
                    <a:ext uri="{FF2B5EF4-FFF2-40B4-BE49-F238E27FC236}">
                      <a16:creationId xmlns:a16="http://schemas.microsoft.com/office/drawing/2014/main" id="{87BC5D8E-27B8-4785-EF8A-291FDC78F764}"/>
                    </a:ext>
                  </a:extLst>
                </p:cNvPr>
                <p:cNvSpPr>
                  <a:spLocks noChangeAspect="1"/>
                </p:cNvSpPr>
                <p:nvPr/>
              </p:nvSpPr>
              <p:spPr>
                <a:xfrm>
                  <a:off x="5929348" y="411016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28" name="Oval 4727">
                  <a:extLst>
                    <a:ext uri="{FF2B5EF4-FFF2-40B4-BE49-F238E27FC236}">
                      <a16:creationId xmlns:a16="http://schemas.microsoft.com/office/drawing/2014/main" id="{546EC92A-637D-018F-A1F6-4BBA3E9DA50B}"/>
                    </a:ext>
                  </a:extLst>
                </p:cNvPr>
                <p:cNvSpPr>
                  <a:spLocks noChangeAspect="1"/>
                </p:cNvSpPr>
                <p:nvPr/>
              </p:nvSpPr>
              <p:spPr>
                <a:xfrm>
                  <a:off x="5769525" y="411016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29" name="Oval 4728">
                  <a:extLst>
                    <a:ext uri="{FF2B5EF4-FFF2-40B4-BE49-F238E27FC236}">
                      <a16:creationId xmlns:a16="http://schemas.microsoft.com/office/drawing/2014/main" id="{1DF10646-536B-E5B9-DFA5-C592BF759557}"/>
                    </a:ext>
                  </a:extLst>
                </p:cNvPr>
                <p:cNvSpPr>
                  <a:spLocks noChangeAspect="1"/>
                </p:cNvSpPr>
                <p:nvPr/>
              </p:nvSpPr>
              <p:spPr>
                <a:xfrm>
                  <a:off x="5623919" y="409435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30" name="Oval 4729">
                  <a:extLst>
                    <a:ext uri="{FF2B5EF4-FFF2-40B4-BE49-F238E27FC236}">
                      <a16:creationId xmlns:a16="http://schemas.microsoft.com/office/drawing/2014/main" id="{7DCA1D6D-0776-C2BE-E11F-215E25A72B28}"/>
                    </a:ext>
                  </a:extLst>
                </p:cNvPr>
                <p:cNvSpPr>
                  <a:spLocks noChangeAspect="1"/>
                </p:cNvSpPr>
                <p:nvPr/>
              </p:nvSpPr>
              <p:spPr>
                <a:xfrm>
                  <a:off x="5482530" y="410264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31" name="Oval 4730">
                  <a:extLst>
                    <a:ext uri="{FF2B5EF4-FFF2-40B4-BE49-F238E27FC236}">
                      <a16:creationId xmlns:a16="http://schemas.microsoft.com/office/drawing/2014/main" id="{22621A0C-8C0C-A3E0-3221-C0C03E30F7CF}"/>
                    </a:ext>
                  </a:extLst>
                </p:cNvPr>
                <p:cNvSpPr>
                  <a:spLocks noChangeAspect="1"/>
                </p:cNvSpPr>
                <p:nvPr/>
              </p:nvSpPr>
              <p:spPr>
                <a:xfrm>
                  <a:off x="5333021" y="411016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32" name="Oval 4731">
                  <a:extLst>
                    <a:ext uri="{FF2B5EF4-FFF2-40B4-BE49-F238E27FC236}">
                      <a16:creationId xmlns:a16="http://schemas.microsoft.com/office/drawing/2014/main" id="{BE202318-03A6-803F-6172-968385B244BD}"/>
                    </a:ext>
                  </a:extLst>
                </p:cNvPr>
                <p:cNvSpPr>
                  <a:spLocks noChangeAspect="1"/>
                </p:cNvSpPr>
                <p:nvPr/>
              </p:nvSpPr>
              <p:spPr>
                <a:xfrm>
                  <a:off x="5158589" y="411016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33" name="Oval 4732">
                  <a:extLst>
                    <a:ext uri="{FF2B5EF4-FFF2-40B4-BE49-F238E27FC236}">
                      <a16:creationId xmlns:a16="http://schemas.microsoft.com/office/drawing/2014/main" id="{01F9F70E-0B8C-72AE-A529-03545957780F}"/>
                    </a:ext>
                  </a:extLst>
                </p:cNvPr>
                <p:cNvSpPr>
                  <a:spLocks noChangeAspect="1"/>
                </p:cNvSpPr>
                <p:nvPr/>
              </p:nvSpPr>
              <p:spPr>
                <a:xfrm>
                  <a:off x="5013029" y="411016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34" name="Oval 4733">
                  <a:extLst>
                    <a:ext uri="{FF2B5EF4-FFF2-40B4-BE49-F238E27FC236}">
                      <a16:creationId xmlns:a16="http://schemas.microsoft.com/office/drawing/2014/main" id="{8E7F133D-C9A3-D9A3-667E-26E57C97FBF0}"/>
                    </a:ext>
                  </a:extLst>
                </p:cNvPr>
                <p:cNvSpPr>
                  <a:spLocks noChangeAspect="1"/>
                </p:cNvSpPr>
                <p:nvPr/>
              </p:nvSpPr>
              <p:spPr>
                <a:xfrm>
                  <a:off x="4867596" y="411016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35" name="Oval 4734">
                  <a:extLst>
                    <a:ext uri="{FF2B5EF4-FFF2-40B4-BE49-F238E27FC236}">
                      <a16:creationId xmlns:a16="http://schemas.microsoft.com/office/drawing/2014/main" id="{F4DDDE11-31FB-938D-4C2E-A4BF30B97322}"/>
                    </a:ext>
                  </a:extLst>
                </p:cNvPr>
                <p:cNvSpPr>
                  <a:spLocks noChangeAspect="1"/>
                </p:cNvSpPr>
                <p:nvPr/>
              </p:nvSpPr>
              <p:spPr>
                <a:xfrm>
                  <a:off x="4722130" y="411016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36" name="Oval 4735">
                  <a:extLst>
                    <a:ext uri="{FF2B5EF4-FFF2-40B4-BE49-F238E27FC236}">
                      <a16:creationId xmlns:a16="http://schemas.microsoft.com/office/drawing/2014/main" id="{F5625ADA-9090-FC51-EC12-C534245FE316}"/>
                    </a:ext>
                  </a:extLst>
                </p:cNvPr>
                <p:cNvSpPr>
                  <a:spLocks noChangeAspect="1"/>
                </p:cNvSpPr>
                <p:nvPr/>
              </p:nvSpPr>
              <p:spPr>
                <a:xfrm>
                  <a:off x="4557975" y="411016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37" name="Oval 4736">
                  <a:extLst>
                    <a:ext uri="{FF2B5EF4-FFF2-40B4-BE49-F238E27FC236}">
                      <a16:creationId xmlns:a16="http://schemas.microsoft.com/office/drawing/2014/main" id="{E8A6A305-CB67-898C-FD0E-956DD1A6A450}"/>
                    </a:ext>
                  </a:extLst>
                </p:cNvPr>
                <p:cNvSpPr>
                  <a:spLocks noChangeAspect="1"/>
                </p:cNvSpPr>
                <p:nvPr/>
              </p:nvSpPr>
              <p:spPr>
                <a:xfrm>
                  <a:off x="4402155" y="411016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38" name="Oval 4737">
                  <a:extLst>
                    <a:ext uri="{FF2B5EF4-FFF2-40B4-BE49-F238E27FC236}">
                      <a16:creationId xmlns:a16="http://schemas.microsoft.com/office/drawing/2014/main" id="{731EBCA9-BB84-5C34-6D52-BC8655575A58}"/>
                    </a:ext>
                  </a:extLst>
                </p:cNvPr>
                <p:cNvSpPr>
                  <a:spLocks noChangeAspect="1"/>
                </p:cNvSpPr>
                <p:nvPr/>
              </p:nvSpPr>
              <p:spPr>
                <a:xfrm>
                  <a:off x="4256705" y="411432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39" name="Oval 4738">
                  <a:extLst>
                    <a:ext uri="{FF2B5EF4-FFF2-40B4-BE49-F238E27FC236}">
                      <a16:creationId xmlns:a16="http://schemas.microsoft.com/office/drawing/2014/main" id="{1CC1909A-E4B0-CE44-4939-01131A1852C4}"/>
                    </a:ext>
                  </a:extLst>
                </p:cNvPr>
                <p:cNvSpPr>
                  <a:spLocks noChangeAspect="1"/>
                </p:cNvSpPr>
                <p:nvPr/>
              </p:nvSpPr>
              <p:spPr>
                <a:xfrm>
                  <a:off x="4111259" y="411016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40" name="Oval 4739">
                  <a:extLst>
                    <a:ext uri="{FF2B5EF4-FFF2-40B4-BE49-F238E27FC236}">
                      <a16:creationId xmlns:a16="http://schemas.microsoft.com/office/drawing/2014/main" id="{7E60E130-619F-ED7D-829D-4A3C6DE16630}"/>
                    </a:ext>
                  </a:extLst>
                </p:cNvPr>
                <p:cNvSpPr>
                  <a:spLocks noChangeAspect="1"/>
                </p:cNvSpPr>
                <p:nvPr/>
              </p:nvSpPr>
              <p:spPr>
                <a:xfrm>
                  <a:off x="3947098" y="411016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41" name="Oval 4740">
                  <a:extLst>
                    <a:ext uri="{FF2B5EF4-FFF2-40B4-BE49-F238E27FC236}">
                      <a16:creationId xmlns:a16="http://schemas.microsoft.com/office/drawing/2014/main" id="{C7E9CB50-D80B-4DAD-8E66-5373ED1F5043}"/>
                    </a:ext>
                  </a:extLst>
                </p:cNvPr>
                <p:cNvSpPr>
                  <a:spLocks noChangeAspect="1"/>
                </p:cNvSpPr>
                <p:nvPr/>
              </p:nvSpPr>
              <p:spPr>
                <a:xfrm>
                  <a:off x="6536054" y="425563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42" name="Oval 4741">
                  <a:extLst>
                    <a:ext uri="{FF2B5EF4-FFF2-40B4-BE49-F238E27FC236}">
                      <a16:creationId xmlns:a16="http://schemas.microsoft.com/office/drawing/2014/main" id="{A8A65E3C-7264-BA28-8C63-25FA23B22D12}"/>
                    </a:ext>
                  </a:extLst>
                </p:cNvPr>
                <p:cNvSpPr>
                  <a:spLocks noChangeAspect="1"/>
                </p:cNvSpPr>
                <p:nvPr/>
              </p:nvSpPr>
              <p:spPr>
                <a:xfrm>
                  <a:off x="6380243" y="425977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43" name="Oval 4742">
                  <a:extLst>
                    <a:ext uri="{FF2B5EF4-FFF2-40B4-BE49-F238E27FC236}">
                      <a16:creationId xmlns:a16="http://schemas.microsoft.com/office/drawing/2014/main" id="{64967B8C-3CD1-6DB4-3264-109AFC6B1798}"/>
                    </a:ext>
                  </a:extLst>
                </p:cNvPr>
                <p:cNvSpPr>
                  <a:spLocks noChangeAspect="1"/>
                </p:cNvSpPr>
                <p:nvPr/>
              </p:nvSpPr>
              <p:spPr>
                <a:xfrm>
                  <a:off x="6234777" y="425977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44" name="Oval 4743">
                  <a:extLst>
                    <a:ext uri="{FF2B5EF4-FFF2-40B4-BE49-F238E27FC236}">
                      <a16:creationId xmlns:a16="http://schemas.microsoft.com/office/drawing/2014/main" id="{5BE6D704-1B05-8DD0-818D-E1E96CC29FA1}"/>
                    </a:ext>
                  </a:extLst>
                </p:cNvPr>
                <p:cNvSpPr>
                  <a:spLocks noChangeAspect="1"/>
                </p:cNvSpPr>
                <p:nvPr/>
              </p:nvSpPr>
              <p:spPr>
                <a:xfrm>
                  <a:off x="6089344" y="425563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45" name="Oval 4744">
                  <a:extLst>
                    <a:ext uri="{FF2B5EF4-FFF2-40B4-BE49-F238E27FC236}">
                      <a16:creationId xmlns:a16="http://schemas.microsoft.com/office/drawing/2014/main" id="{F5B835B3-9878-8EB6-F867-CC2872FAF990}"/>
                    </a:ext>
                  </a:extLst>
                </p:cNvPr>
                <p:cNvSpPr>
                  <a:spLocks noChangeAspect="1"/>
                </p:cNvSpPr>
                <p:nvPr/>
              </p:nvSpPr>
              <p:spPr>
                <a:xfrm>
                  <a:off x="5929348" y="425563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46" name="Oval 4745">
                  <a:extLst>
                    <a:ext uri="{FF2B5EF4-FFF2-40B4-BE49-F238E27FC236}">
                      <a16:creationId xmlns:a16="http://schemas.microsoft.com/office/drawing/2014/main" id="{ED66E467-6A8E-0CF9-D86D-74A1254030A4}"/>
                    </a:ext>
                  </a:extLst>
                </p:cNvPr>
                <p:cNvSpPr>
                  <a:spLocks noChangeAspect="1"/>
                </p:cNvSpPr>
                <p:nvPr/>
              </p:nvSpPr>
              <p:spPr>
                <a:xfrm>
                  <a:off x="5769352" y="425563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47" name="Oval 4746">
                  <a:extLst>
                    <a:ext uri="{FF2B5EF4-FFF2-40B4-BE49-F238E27FC236}">
                      <a16:creationId xmlns:a16="http://schemas.microsoft.com/office/drawing/2014/main" id="{D9365A89-DDB0-FBAC-D5E5-B22D9BCC3789}"/>
                    </a:ext>
                  </a:extLst>
                </p:cNvPr>
                <p:cNvSpPr>
                  <a:spLocks noChangeAspect="1"/>
                </p:cNvSpPr>
                <p:nvPr/>
              </p:nvSpPr>
              <p:spPr>
                <a:xfrm>
                  <a:off x="5623919" y="425977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48" name="Oval 4747">
                  <a:extLst>
                    <a:ext uri="{FF2B5EF4-FFF2-40B4-BE49-F238E27FC236}">
                      <a16:creationId xmlns:a16="http://schemas.microsoft.com/office/drawing/2014/main" id="{A2940ADB-C83C-37F0-BF85-318794339F9C}"/>
                    </a:ext>
                  </a:extLst>
                </p:cNvPr>
                <p:cNvSpPr>
                  <a:spLocks noChangeAspect="1"/>
                </p:cNvSpPr>
                <p:nvPr/>
              </p:nvSpPr>
              <p:spPr>
                <a:xfrm>
                  <a:off x="5478453" y="425563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49" name="Oval 4748">
                  <a:extLst>
                    <a:ext uri="{FF2B5EF4-FFF2-40B4-BE49-F238E27FC236}">
                      <a16:creationId xmlns:a16="http://schemas.microsoft.com/office/drawing/2014/main" id="{B79B827E-BA9B-FABB-A807-3D49FD4293E5}"/>
                    </a:ext>
                  </a:extLst>
                </p:cNvPr>
                <p:cNvSpPr>
                  <a:spLocks noChangeAspect="1"/>
                </p:cNvSpPr>
                <p:nvPr/>
              </p:nvSpPr>
              <p:spPr>
                <a:xfrm>
                  <a:off x="5314292" y="425563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50" name="Oval 4749">
                  <a:extLst>
                    <a:ext uri="{FF2B5EF4-FFF2-40B4-BE49-F238E27FC236}">
                      <a16:creationId xmlns:a16="http://schemas.microsoft.com/office/drawing/2014/main" id="{39984C1B-EB35-AC59-AE1C-658C18DEF62C}"/>
                    </a:ext>
                  </a:extLst>
                </p:cNvPr>
                <p:cNvSpPr>
                  <a:spLocks noChangeAspect="1"/>
                </p:cNvSpPr>
                <p:nvPr/>
              </p:nvSpPr>
              <p:spPr>
                <a:xfrm>
                  <a:off x="5168854" y="425563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51" name="Oval 4750">
                  <a:extLst>
                    <a:ext uri="{FF2B5EF4-FFF2-40B4-BE49-F238E27FC236}">
                      <a16:creationId xmlns:a16="http://schemas.microsoft.com/office/drawing/2014/main" id="{D8B8C52A-CC52-BC0C-8CC5-5DE78282AEA2}"/>
                    </a:ext>
                  </a:extLst>
                </p:cNvPr>
                <p:cNvSpPr>
                  <a:spLocks noChangeAspect="1"/>
                </p:cNvSpPr>
                <p:nvPr/>
              </p:nvSpPr>
              <p:spPr>
                <a:xfrm>
                  <a:off x="5013029" y="425977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52" name="Oval 4751">
                  <a:extLst>
                    <a:ext uri="{FF2B5EF4-FFF2-40B4-BE49-F238E27FC236}">
                      <a16:creationId xmlns:a16="http://schemas.microsoft.com/office/drawing/2014/main" id="{C7951C1B-50F2-7F1A-CC8E-DE5E50FB7BF9}"/>
                    </a:ext>
                  </a:extLst>
                </p:cNvPr>
                <p:cNvSpPr>
                  <a:spLocks noChangeAspect="1"/>
                </p:cNvSpPr>
                <p:nvPr/>
              </p:nvSpPr>
              <p:spPr>
                <a:xfrm>
                  <a:off x="4867596" y="425563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53" name="Oval 4752">
                  <a:extLst>
                    <a:ext uri="{FF2B5EF4-FFF2-40B4-BE49-F238E27FC236}">
                      <a16:creationId xmlns:a16="http://schemas.microsoft.com/office/drawing/2014/main" id="{7177F5E3-8276-2E2F-856E-71F636A1DCBE}"/>
                    </a:ext>
                  </a:extLst>
                </p:cNvPr>
                <p:cNvSpPr>
                  <a:spLocks noChangeAspect="1"/>
                </p:cNvSpPr>
                <p:nvPr/>
              </p:nvSpPr>
              <p:spPr>
                <a:xfrm>
                  <a:off x="4722130" y="425563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54" name="Oval 4753">
                  <a:extLst>
                    <a:ext uri="{FF2B5EF4-FFF2-40B4-BE49-F238E27FC236}">
                      <a16:creationId xmlns:a16="http://schemas.microsoft.com/office/drawing/2014/main" id="{C14BD02A-D435-E6E5-C4CC-98E7D0F3ACC1}"/>
                    </a:ext>
                  </a:extLst>
                </p:cNvPr>
                <p:cNvSpPr>
                  <a:spLocks noChangeAspect="1"/>
                </p:cNvSpPr>
                <p:nvPr/>
              </p:nvSpPr>
              <p:spPr>
                <a:xfrm>
                  <a:off x="4557975" y="425563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55" name="Oval 4754">
                  <a:extLst>
                    <a:ext uri="{FF2B5EF4-FFF2-40B4-BE49-F238E27FC236}">
                      <a16:creationId xmlns:a16="http://schemas.microsoft.com/office/drawing/2014/main" id="{CC19BBEA-7BB2-D22D-A393-38CC1FAC1B40}"/>
                    </a:ext>
                  </a:extLst>
                </p:cNvPr>
                <p:cNvSpPr>
                  <a:spLocks noChangeAspect="1"/>
                </p:cNvSpPr>
                <p:nvPr/>
              </p:nvSpPr>
              <p:spPr>
                <a:xfrm>
                  <a:off x="4402155" y="425961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56" name="Oval 4755">
                  <a:extLst>
                    <a:ext uri="{FF2B5EF4-FFF2-40B4-BE49-F238E27FC236}">
                      <a16:creationId xmlns:a16="http://schemas.microsoft.com/office/drawing/2014/main" id="{F4430F36-13CC-4E46-A42F-1ADC83C8FE6A}"/>
                    </a:ext>
                  </a:extLst>
                </p:cNvPr>
                <p:cNvSpPr>
                  <a:spLocks noChangeAspect="1"/>
                </p:cNvSpPr>
                <p:nvPr/>
              </p:nvSpPr>
              <p:spPr>
                <a:xfrm>
                  <a:off x="4256705" y="425975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57" name="Oval 4756">
                  <a:extLst>
                    <a:ext uri="{FF2B5EF4-FFF2-40B4-BE49-F238E27FC236}">
                      <a16:creationId xmlns:a16="http://schemas.microsoft.com/office/drawing/2014/main" id="{8E71FE01-BFDC-5696-39CC-C963170DC391}"/>
                    </a:ext>
                  </a:extLst>
                </p:cNvPr>
                <p:cNvSpPr>
                  <a:spLocks noChangeAspect="1"/>
                </p:cNvSpPr>
                <p:nvPr/>
              </p:nvSpPr>
              <p:spPr>
                <a:xfrm>
                  <a:off x="4111259" y="425563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58" name="Oval 4757">
                  <a:extLst>
                    <a:ext uri="{FF2B5EF4-FFF2-40B4-BE49-F238E27FC236}">
                      <a16:creationId xmlns:a16="http://schemas.microsoft.com/office/drawing/2014/main" id="{9A8872B7-74CA-4C45-F206-EDFACB31C401}"/>
                    </a:ext>
                  </a:extLst>
                </p:cNvPr>
                <p:cNvSpPr>
                  <a:spLocks noChangeAspect="1"/>
                </p:cNvSpPr>
                <p:nvPr/>
              </p:nvSpPr>
              <p:spPr>
                <a:xfrm>
                  <a:off x="6385750" y="440804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59" name="Oval 4758">
                  <a:extLst>
                    <a:ext uri="{FF2B5EF4-FFF2-40B4-BE49-F238E27FC236}">
                      <a16:creationId xmlns:a16="http://schemas.microsoft.com/office/drawing/2014/main" id="{940E66CC-0AF6-9F80-70B6-E77B349A458B}"/>
                    </a:ext>
                  </a:extLst>
                </p:cNvPr>
                <p:cNvSpPr>
                  <a:spLocks noChangeAspect="1"/>
                </p:cNvSpPr>
                <p:nvPr/>
              </p:nvSpPr>
              <p:spPr>
                <a:xfrm>
                  <a:off x="6234601" y="440106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60" name="Oval 4759">
                  <a:extLst>
                    <a:ext uri="{FF2B5EF4-FFF2-40B4-BE49-F238E27FC236}">
                      <a16:creationId xmlns:a16="http://schemas.microsoft.com/office/drawing/2014/main" id="{B930CF59-8066-E8EB-C1C2-33202335C86F}"/>
                    </a:ext>
                  </a:extLst>
                </p:cNvPr>
                <p:cNvSpPr>
                  <a:spLocks noChangeAspect="1"/>
                </p:cNvSpPr>
                <p:nvPr/>
              </p:nvSpPr>
              <p:spPr>
                <a:xfrm>
                  <a:off x="6089029" y="440106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61" name="Oval 4760">
                  <a:extLst>
                    <a:ext uri="{FF2B5EF4-FFF2-40B4-BE49-F238E27FC236}">
                      <a16:creationId xmlns:a16="http://schemas.microsoft.com/office/drawing/2014/main" id="{176288AA-3D3D-A15D-0663-F819E0581047}"/>
                    </a:ext>
                  </a:extLst>
                </p:cNvPr>
                <p:cNvSpPr>
                  <a:spLocks noChangeAspect="1"/>
                </p:cNvSpPr>
                <p:nvPr/>
              </p:nvSpPr>
              <p:spPr>
                <a:xfrm>
                  <a:off x="5929348" y="440106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62" name="Oval 4761">
                  <a:extLst>
                    <a:ext uri="{FF2B5EF4-FFF2-40B4-BE49-F238E27FC236}">
                      <a16:creationId xmlns:a16="http://schemas.microsoft.com/office/drawing/2014/main" id="{943EBA3B-1553-1873-3378-CBD6619AD3AD}"/>
                    </a:ext>
                  </a:extLst>
                </p:cNvPr>
                <p:cNvSpPr>
                  <a:spLocks noChangeAspect="1"/>
                </p:cNvSpPr>
                <p:nvPr/>
              </p:nvSpPr>
              <p:spPr>
                <a:xfrm>
                  <a:off x="5774880" y="440804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63" name="Oval 4762">
                  <a:extLst>
                    <a:ext uri="{FF2B5EF4-FFF2-40B4-BE49-F238E27FC236}">
                      <a16:creationId xmlns:a16="http://schemas.microsoft.com/office/drawing/2014/main" id="{AADD9FB0-AE87-00B6-4BA4-16B1E114742A}"/>
                    </a:ext>
                  </a:extLst>
                </p:cNvPr>
                <p:cNvSpPr>
                  <a:spLocks noChangeAspect="1"/>
                </p:cNvSpPr>
                <p:nvPr/>
              </p:nvSpPr>
              <p:spPr>
                <a:xfrm>
                  <a:off x="5622884" y="440560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64" name="Oval 4763">
                  <a:extLst>
                    <a:ext uri="{FF2B5EF4-FFF2-40B4-BE49-F238E27FC236}">
                      <a16:creationId xmlns:a16="http://schemas.microsoft.com/office/drawing/2014/main" id="{95E013B4-D1DE-4D42-4CBE-CF866B3BC045}"/>
                    </a:ext>
                  </a:extLst>
                </p:cNvPr>
                <p:cNvSpPr>
                  <a:spLocks noChangeAspect="1"/>
                </p:cNvSpPr>
                <p:nvPr/>
              </p:nvSpPr>
              <p:spPr>
                <a:xfrm>
                  <a:off x="5478149" y="440106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65" name="Oval 4764">
                  <a:extLst>
                    <a:ext uri="{FF2B5EF4-FFF2-40B4-BE49-F238E27FC236}">
                      <a16:creationId xmlns:a16="http://schemas.microsoft.com/office/drawing/2014/main" id="{DCA37394-BB51-EE38-AEEC-B92DA2FDC764}"/>
                    </a:ext>
                  </a:extLst>
                </p:cNvPr>
                <p:cNvSpPr>
                  <a:spLocks noChangeAspect="1"/>
                </p:cNvSpPr>
                <p:nvPr/>
              </p:nvSpPr>
              <p:spPr>
                <a:xfrm>
                  <a:off x="5333021" y="440106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66" name="Oval 4765">
                  <a:extLst>
                    <a:ext uri="{FF2B5EF4-FFF2-40B4-BE49-F238E27FC236}">
                      <a16:creationId xmlns:a16="http://schemas.microsoft.com/office/drawing/2014/main" id="{B51F6AC5-E867-6483-7179-4F809A6CBC1E}"/>
                    </a:ext>
                  </a:extLst>
                </p:cNvPr>
                <p:cNvSpPr>
                  <a:spLocks noChangeAspect="1"/>
                </p:cNvSpPr>
                <p:nvPr/>
              </p:nvSpPr>
              <p:spPr>
                <a:xfrm>
                  <a:off x="5164001" y="440804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67" name="Oval 4766">
                  <a:extLst>
                    <a:ext uri="{FF2B5EF4-FFF2-40B4-BE49-F238E27FC236}">
                      <a16:creationId xmlns:a16="http://schemas.microsoft.com/office/drawing/2014/main" id="{F5569D07-8891-784D-DBEA-0C4111CC831E}"/>
                    </a:ext>
                  </a:extLst>
                </p:cNvPr>
                <p:cNvSpPr>
                  <a:spLocks noChangeAspect="1"/>
                </p:cNvSpPr>
                <p:nvPr/>
              </p:nvSpPr>
              <p:spPr>
                <a:xfrm>
                  <a:off x="5018557" y="440804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68" name="Oval 4767">
                  <a:extLst>
                    <a:ext uri="{FF2B5EF4-FFF2-40B4-BE49-F238E27FC236}">
                      <a16:creationId xmlns:a16="http://schemas.microsoft.com/office/drawing/2014/main" id="{74466112-183C-97D3-729C-BCC0F3F9749D}"/>
                    </a:ext>
                  </a:extLst>
                </p:cNvPr>
                <p:cNvSpPr>
                  <a:spLocks noChangeAspect="1"/>
                </p:cNvSpPr>
                <p:nvPr/>
              </p:nvSpPr>
              <p:spPr>
                <a:xfrm>
                  <a:off x="4867401" y="440106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69" name="Oval 4768">
                  <a:extLst>
                    <a:ext uri="{FF2B5EF4-FFF2-40B4-BE49-F238E27FC236}">
                      <a16:creationId xmlns:a16="http://schemas.microsoft.com/office/drawing/2014/main" id="{A51ACC52-9221-48A1-61B7-684D4A24D083}"/>
                    </a:ext>
                  </a:extLst>
                </p:cNvPr>
                <p:cNvSpPr>
                  <a:spLocks noChangeAspect="1"/>
                </p:cNvSpPr>
                <p:nvPr/>
              </p:nvSpPr>
              <p:spPr>
                <a:xfrm>
                  <a:off x="4722130" y="440106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70" name="Oval 4769">
                  <a:extLst>
                    <a:ext uri="{FF2B5EF4-FFF2-40B4-BE49-F238E27FC236}">
                      <a16:creationId xmlns:a16="http://schemas.microsoft.com/office/drawing/2014/main" id="{4A588F85-4A1E-1813-43B4-5C5B444F5C62}"/>
                    </a:ext>
                  </a:extLst>
                </p:cNvPr>
                <p:cNvSpPr>
                  <a:spLocks noChangeAspect="1"/>
                </p:cNvSpPr>
                <p:nvPr/>
              </p:nvSpPr>
              <p:spPr>
                <a:xfrm>
                  <a:off x="4553118" y="440804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71" name="Oval 4770">
                  <a:extLst>
                    <a:ext uri="{FF2B5EF4-FFF2-40B4-BE49-F238E27FC236}">
                      <a16:creationId xmlns:a16="http://schemas.microsoft.com/office/drawing/2014/main" id="{3A169D06-2E81-735A-A985-AB1F7DAC0D10}"/>
                    </a:ext>
                  </a:extLst>
                </p:cNvPr>
                <p:cNvSpPr>
                  <a:spLocks noChangeAspect="1"/>
                </p:cNvSpPr>
                <p:nvPr/>
              </p:nvSpPr>
              <p:spPr>
                <a:xfrm>
                  <a:off x="4407672" y="440804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72" name="Oval 4771">
                  <a:extLst>
                    <a:ext uri="{FF2B5EF4-FFF2-40B4-BE49-F238E27FC236}">
                      <a16:creationId xmlns:a16="http://schemas.microsoft.com/office/drawing/2014/main" id="{971C9DC8-575B-82FD-FC20-35754E32D40C}"/>
                    </a:ext>
                  </a:extLst>
                </p:cNvPr>
                <p:cNvSpPr>
                  <a:spLocks noChangeAspect="1"/>
                </p:cNvSpPr>
                <p:nvPr/>
              </p:nvSpPr>
              <p:spPr>
                <a:xfrm>
                  <a:off x="4110951" y="440106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73" name="Oval 4772">
                  <a:extLst>
                    <a:ext uri="{FF2B5EF4-FFF2-40B4-BE49-F238E27FC236}">
                      <a16:creationId xmlns:a16="http://schemas.microsoft.com/office/drawing/2014/main" id="{2D0CED9A-A42B-E269-885F-9196A1549FEC}"/>
                    </a:ext>
                  </a:extLst>
                </p:cNvPr>
                <p:cNvSpPr>
                  <a:spLocks noChangeAspect="1"/>
                </p:cNvSpPr>
                <p:nvPr/>
              </p:nvSpPr>
              <p:spPr>
                <a:xfrm>
                  <a:off x="6234777" y="455526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74" name="Oval 4773">
                  <a:extLst>
                    <a:ext uri="{FF2B5EF4-FFF2-40B4-BE49-F238E27FC236}">
                      <a16:creationId xmlns:a16="http://schemas.microsoft.com/office/drawing/2014/main" id="{718529D3-9874-2192-F482-9C80BF9BE053}"/>
                    </a:ext>
                  </a:extLst>
                </p:cNvPr>
                <p:cNvSpPr>
                  <a:spLocks noChangeAspect="1"/>
                </p:cNvSpPr>
                <p:nvPr/>
              </p:nvSpPr>
              <p:spPr>
                <a:xfrm>
                  <a:off x="6089344" y="455404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75" name="Oval 4774">
                  <a:extLst>
                    <a:ext uri="{FF2B5EF4-FFF2-40B4-BE49-F238E27FC236}">
                      <a16:creationId xmlns:a16="http://schemas.microsoft.com/office/drawing/2014/main" id="{7B97ACF4-3ED0-1182-CEA6-59E51BF72295}"/>
                    </a:ext>
                  </a:extLst>
                </p:cNvPr>
                <p:cNvSpPr>
                  <a:spLocks noChangeAspect="1"/>
                </p:cNvSpPr>
                <p:nvPr/>
              </p:nvSpPr>
              <p:spPr>
                <a:xfrm>
                  <a:off x="5929348" y="455465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76" name="Oval 4775">
                  <a:extLst>
                    <a:ext uri="{FF2B5EF4-FFF2-40B4-BE49-F238E27FC236}">
                      <a16:creationId xmlns:a16="http://schemas.microsoft.com/office/drawing/2014/main" id="{3C09F353-830E-51C4-9607-4DD1B4D963A1}"/>
                    </a:ext>
                  </a:extLst>
                </p:cNvPr>
                <p:cNvSpPr>
                  <a:spLocks noChangeAspect="1"/>
                </p:cNvSpPr>
                <p:nvPr/>
              </p:nvSpPr>
              <p:spPr>
                <a:xfrm>
                  <a:off x="5774880" y="455347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77" name="Oval 4776">
                  <a:extLst>
                    <a:ext uri="{FF2B5EF4-FFF2-40B4-BE49-F238E27FC236}">
                      <a16:creationId xmlns:a16="http://schemas.microsoft.com/office/drawing/2014/main" id="{411F7F6E-E599-8B46-DCF9-F7F61C00A2C7}"/>
                    </a:ext>
                  </a:extLst>
                </p:cNvPr>
                <p:cNvSpPr>
                  <a:spLocks noChangeAspect="1"/>
                </p:cNvSpPr>
                <p:nvPr/>
              </p:nvSpPr>
              <p:spPr>
                <a:xfrm>
                  <a:off x="5623919" y="455526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78" name="Oval 4777">
                  <a:extLst>
                    <a:ext uri="{FF2B5EF4-FFF2-40B4-BE49-F238E27FC236}">
                      <a16:creationId xmlns:a16="http://schemas.microsoft.com/office/drawing/2014/main" id="{004972C0-8934-22CE-CE88-CEC5FFEC3C30}"/>
                    </a:ext>
                  </a:extLst>
                </p:cNvPr>
                <p:cNvSpPr>
                  <a:spLocks noChangeAspect="1"/>
                </p:cNvSpPr>
                <p:nvPr/>
              </p:nvSpPr>
              <p:spPr>
                <a:xfrm>
                  <a:off x="5482434" y="455404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79" name="Oval 4778">
                  <a:extLst>
                    <a:ext uri="{FF2B5EF4-FFF2-40B4-BE49-F238E27FC236}">
                      <a16:creationId xmlns:a16="http://schemas.microsoft.com/office/drawing/2014/main" id="{171BDE22-C948-2633-87CA-369B6DC3FABE}"/>
                    </a:ext>
                  </a:extLst>
                </p:cNvPr>
                <p:cNvSpPr>
                  <a:spLocks noChangeAspect="1"/>
                </p:cNvSpPr>
                <p:nvPr/>
              </p:nvSpPr>
              <p:spPr>
                <a:xfrm>
                  <a:off x="5333021" y="455404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80" name="Oval 4779">
                  <a:extLst>
                    <a:ext uri="{FF2B5EF4-FFF2-40B4-BE49-F238E27FC236}">
                      <a16:creationId xmlns:a16="http://schemas.microsoft.com/office/drawing/2014/main" id="{E45AF973-4EB8-F329-8489-01F8D6A60FB4}"/>
                    </a:ext>
                  </a:extLst>
                </p:cNvPr>
                <p:cNvSpPr>
                  <a:spLocks noChangeAspect="1"/>
                </p:cNvSpPr>
                <p:nvPr/>
              </p:nvSpPr>
              <p:spPr>
                <a:xfrm>
                  <a:off x="5018557" y="455347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81" name="Oval 4780">
                  <a:extLst>
                    <a:ext uri="{FF2B5EF4-FFF2-40B4-BE49-F238E27FC236}">
                      <a16:creationId xmlns:a16="http://schemas.microsoft.com/office/drawing/2014/main" id="{76730548-4461-F30D-66D2-EC74A74C1B24}"/>
                    </a:ext>
                  </a:extLst>
                </p:cNvPr>
                <p:cNvSpPr>
                  <a:spLocks noChangeAspect="1"/>
                </p:cNvSpPr>
                <p:nvPr/>
              </p:nvSpPr>
              <p:spPr>
                <a:xfrm>
                  <a:off x="4871575" y="455404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82" name="Oval 4781">
                  <a:extLst>
                    <a:ext uri="{FF2B5EF4-FFF2-40B4-BE49-F238E27FC236}">
                      <a16:creationId xmlns:a16="http://schemas.microsoft.com/office/drawing/2014/main" id="{0C923982-7DF8-5890-147E-EE5B5384B3CF}"/>
                    </a:ext>
                  </a:extLst>
                </p:cNvPr>
                <p:cNvSpPr>
                  <a:spLocks noChangeAspect="1"/>
                </p:cNvSpPr>
                <p:nvPr/>
              </p:nvSpPr>
              <p:spPr>
                <a:xfrm>
                  <a:off x="4722130" y="455404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83" name="Oval 4782">
                  <a:extLst>
                    <a:ext uri="{FF2B5EF4-FFF2-40B4-BE49-F238E27FC236}">
                      <a16:creationId xmlns:a16="http://schemas.microsoft.com/office/drawing/2014/main" id="{B88C1567-5F0F-8E3B-D7E7-09BAC8CFD34B}"/>
                    </a:ext>
                  </a:extLst>
                </p:cNvPr>
                <p:cNvSpPr>
                  <a:spLocks noChangeAspect="1"/>
                </p:cNvSpPr>
                <p:nvPr/>
              </p:nvSpPr>
              <p:spPr>
                <a:xfrm>
                  <a:off x="4554780" y="455389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84" name="Oval 4783">
                  <a:extLst>
                    <a:ext uri="{FF2B5EF4-FFF2-40B4-BE49-F238E27FC236}">
                      <a16:creationId xmlns:a16="http://schemas.microsoft.com/office/drawing/2014/main" id="{B16EFCA4-F881-6E95-B6BB-D10F6C6B6C5D}"/>
                    </a:ext>
                  </a:extLst>
                </p:cNvPr>
                <p:cNvSpPr>
                  <a:spLocks noChangeAspect="1"/>
                </p:cNvSpPr>
                <p:nvPr/>
              </p:nvSpPr>
              <p:spPr>
                <a:xfrm>
                  <a:off x="4407672" y="455347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85" name="Oval 4784">
                  <a:extLst>
                    <a:ext uri="{FF2B5EF4-FFF2-40B4-BE49-F238E27FC236}">
                      <a16:creationId xmlns:a16="http://schemas.microsoft.com/office/drawing/2014/main" id="{0CBA4ED0-96CF-DE84-0050-C5C7B0CE4430}"/>
                    </a:ext>
                  </a:extLst>
                </p:cNvPr>
                <p:cNvSpPr>
                  <a:spLocks noChangeAspect="1"/>
                </p:cNvSpPr>
                <p:nvPr/>
              </p:nvSpPr>
              <p:spPr>
                <a:xfrm>
                  <a:off x="4256705" y="455526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86" name="Oval 4785">
                  <a:extLst>
                    <a:ext uri="{FF2B5EF4-FFF2-40B4-BE49-F238E27FC236}">
                      <a16:creationId xmlns:a16="http://schemas.microsoft.com/office/drawing/2014/main" id="{98AB4FF9-E680-09D0-1C77-387D4CE9B461}"/>
                    </a:ext>
                  </a:extLst>
                </p:cNvPr>
                <p:cNvSpPr>
                  <a:spLocks noChangeAspect="1"/>
                </p:cNvSpPr>
                <p:nvPr/>
              </p:nvSpPr>
              <p:spPr>
                <a:xfrm>
                  <a:off x="4115329" y="456807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87" name="Oval 4786">
                  <a:extLst>
                    <a:ext uri="{FF2B5EF4-FFF2-40B4-BE49-F238E27FC236}">
                      <a16:creationId xmlns:a16="http://schemas.microsoft.com/office/drawing/2014/main" id="{72BB1718-7AD5-D049-CABC-17A08B3B1278}"/>
                    </a:ext>
                  </a:extLst>
                </p:cNvPr>
                <p:cNvSpPr>
                  <a:spLocks noChangeAspect="1"/>
                </p:cNvSpPr>
                <p:nvPr/>
              </p:nvSpPr>
              <p:spPr>
                <a:xfrm>
                  <a:off x="6089344" y="472105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88" name="Oval 4787">
                  <a:extLst>
                    <a:ext uri="{FF2B5EF4-FFF2-40B4-BE49-F238E27FC236}">
                      <a16:creationId xmlns:a16="http://schemas.microsoft.com/office/drawing/2014/main" id="{78BD7452-6B86-C7CF-CDF2-DEB2C5E22534}"/>
                    </a:ext>
                  </a:extLst>
                </p:cNvPr>
                <p:cNvSpPr>
                  <a:spLocks noChangeAspect="1"/>
                </p:cNvSpPr>
                <p:nvPr/>
              </p:nvSpPr>
              <p:spPr>
                <a:xfrm>
                  <a:off x="5929348" y="472105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89" name="Oval 4788">
                  <a:extLst>
                    <a:ext uri="{FF2B5EF4-FFF2-40B4-BE49-F238E27FC236}">
                      <a16:creationId xmlns:a16="http://schemas.microsoft.com/office/drawing/2014/main" id="{32255C89-5EDE-138F-BD75-B42DBE073293}"/>
                    </a:ext>
                  </a:extLst>
                </p:cNvPr>
                <p:cNvSpPr>
                  <a:spLocks noChangeAspect="1"/>
                </p:cNvSpPr>
                <p:nvPr/>
              </p:nvSpPr>
              <p:spPr>
                <a:xfrm>
                  <a:off x="5769352" y="472105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90" name="Oval 4789">
                  <a:extLst>
                    <a:ext uri="{FF2B5EF4-FFF2-40B4-BE49-F238E27FC236}">
                      <a16:creationId xmlns:a16="http://schemas.microsoft.com/office/drawing/2014/main" id="{23E03FCB-FCC0-6150-0039-B1251F3E2C5A}"/>
                    </a:ext>
                  </a:extLst>
                </p:cNvPr>
                <p:cNvSpPr>
                  <a:spLocks noChangeAspect="1"/>
                </p:cNvSpPr>
                <p:nvPr/>
              </p:nvSpPr>
              <p:spPr>
                <a:xfrm>
                  <a:off x="5623919" y="472519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91" name="Oval 4790">
                  <a:extLst>
                    <a:ext uri="{FF2B5EF4-FFF2-40B4-BE49-F238E27FC236}">
                      <a16:creationId xmlns:a16="http://schemas.microsoft.com/office/drawing/2014/main" id="{72ECAF75-2DDF-680C-0767-A3042B63DFCF}"/>
                    </a:ext>
                  </a:extLst>
                </p:cNvPr>
                <p:cNvSpPr>
                  <a:spLocks noChangeAspect="1"/>
                </p:cNvSpPr>
                <p:nvPr/>
              </p:nvSpPr>
              <p:spPr>
                <a:xfrm>
                  <a:off x="5478453" y="472105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92" name="Oval 4791">
                  <a:extLst>
                    <a:ext uri="{FF2B5EF4-FFF2-40B4-BE49-F238E27FC236}">
                      <a16:creationId xmlns:a16="http://schemas.microsoft.com/office/drawing/2014/main" id="{ECFB7193-1538-FA97-0720-9BFA5F602833}"/>
                    </a:ext>
                  </a:extLst>
                </p:cNvPr>
                <p:cNvSpPr>
                  <a:spLocks noChangeAspect="1"/>
                </p:cNvSpPr>
                <p:nvPr/>
              </p:nvSpPr>
              <p:spPr>
                <a:xfrm>
                  <a:off x="5333021" y="472105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93" name="Oval 4792">
                  <a:extLst>
                    <a:ext uri="{FF2B5EF4-FFF2-40B4-BE49-F238E27FC236}">
                      <a16:creationId xmlns:a16="http://schemas.microsoft.com/office/drawing/2014/main" id="{8A98C5D3-6C97-7D3A-01B6-EB38A0698478}"/>
                    </a:ext>
                  </a:extLst>
                </p:cNvPr>
                <p:cNvSpPr>
                  <a:spLocks noChangeAspect="1"/>
                </p:cNvSpPr>
                <p:nvPr/>
              </p:nvSpPr>
              <p:spPr>
                <a:xfrm>
                  <a:off x="5158589" y="472105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94" name="Oval 4793">
                  <a:extLst>
                    <a:ext uri="{FF2B5EF4-FFF2-40B4-BE49-F238E27FC236}">
                      <a16:creationId xmlns:a16="http://schemas.microsoft.com/office/drawing/2014/main" id="{3318F1D4-01C1-434A-DEFF-C4CAC778B8C2}"/>
                    </a:ext>
                  </a:extLst>
                </p:cNvPr>
                <p:cNvSpPr>
                  <a:spLocks noChangeAspect="1"/>
                </p:cNvSpPr>
                <p:nvPr/>
              </p:nvSpPr>
              <p:spPr>
                <a:xfrm>
                  <a:off x="5013029" y="472519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95" name="Oval 4794">
                  <a:extLst>
                    <a:ext uri="{FF2B5EF4-FFF2-40B4-BE49-F238E27FC236}">
                      <a16:creationId xmlns:a16="http://schemas.microsoft.com/office/drawing/2014/main" id="{C5B9DBA5-E38C-4570-7229-936904B9F9B3}"/>
                    </a:ext>
                  </a:extLst>
                </p:cNvPr>
                <p:cNvSpPr>
                  <a:spLocks noChangeAspect="1"/>
                </p:cNvSpPr>
                <p:nvPr/>
              </p:nvSpPr>
              <p:spPr>
                <a:xfrm>
                  <a:off x="4867596" y="472105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96" name="Oval 4795">
                  <a:extLst>
                    <a:ext uri="{FF2B5EF4-FFF2-40B4-BE49-F238E27FC236}">
                      <a16:creationId xmlns:a16="http://schemas.microsoft.com/office/drawing/2014/main" id="{C9FE0D51-D076-DFF2-5E42-2DB6C1B3F0B7}"/>
                    </a:ext>
                  </a:extLst>
                </p:cNvPr>
                <p:cNvSpPr>
                  <a:spLocks noChangeAspect="1"/>
                </p:cNvSpPr>
                <p:nvPr/>
              </p:nvSpPr>
              <p:spPr>
                <a:xfrm>
                  <a:off x="4722130" y="472105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97" name="Oval 4796">
                  <a:extLst>
                    <a:ext uri="{FF2B5EF4-FFF2-40B4-BE49-F238E27FC236}">
                      <a16:creationId xmlns:a16="http://schemas.microsoft.com/office/drawing/2014/main" id="{41D48B39-3ECE-7F1A-9014-A938F2AD2759}"/>
                    </a:ext>
                  </a:extLst>
                </p:cNvPr>
                <p:cNvSpPr>
                  <a:spLocks noChangeAspect="1"/>
                </p:cNvSpPr>
                <p:nvPr/>
              </p:nvSpPr>
              <p:spPr>
                <a:xfrm>
                  <a:off x="4557975" y="472105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98" name="Oval 4797">
                  <a:extLst>
                    <a:ext uri="{FF2B5EF4-FFF2-40B4-BE49-F238E27FC236}">
                      <a16:creationId xmlns:a16="http://schemas.microsoft.com/office/drawing/2014/main" id="{BC57A205-122D-A316-28B1-56F8009A866B}"/>
                    </a:ext>
                  </a:extLst>
                </p:cNvPr>
                <p:cNvSpPr>
                  <a:spLocks noChangeAspect="1"/>
                </p:cNvSpPr>
                <p:nvPr/>
              </p:nvSpPr>
              <p:spPr>
                <a:xfrm>
                  <a:off x="4402155" y="472105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99" name="Oval 4798">
                  <a:extLst>
                    <a:ext uri="{FF2B5EF4-FFF2-40B4-BE49-F238E27FC236}">
                      <a16:creationId xmlns:a16="http://schemas.microsoft.com/office/drawing/2014/main" id="{DBD37CBE-4B43-1725-96F9-628B3E164393}"/>
                    </a:ext>
                  </a:extLst>
                </p:cNvPr>
                <p:cNvSpPr>
                  <a:spLocks noChangeAspect="1"/>
                </p:cNvSpPr>
                <p:nvPr/>
              </p:nvSpPr>
              <p:spPr>
                <a:xfrm>
                  <a:off x="4256705" y="472519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00" name="Oval 4799">
                  <a:extLst>
                    <a:ext uri="{FF2B5EF4-FFF2-40B4-BE49-F238E27FC236}">
                      <a16:creationId xmlns:a16="http://schemas.microsoft.com/office/drawing/2014/main" id="{42DB0FC1-F7DB-2E86-B05A-D737F80923A8}"/>
                    </a:ext>
                  </a:extLst>
                </p:cNvPr>
                <p:cNvSpPr>
                  <a:spLocks noChangeAspect="1"/>
                </p:cNvSpPr>
                <p:nvPr/>
              </p:nvSpPr>
              <p:spPr>
                <a:xfrm>
                  <a:off x="4111259" y="472105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01" name="Oval 4800">
                  <a:extLst>
                    <a:ext uri="{FF2B5EF4-FFF2-40B4-BE49-F238E27FC236}">
                      <a16:creationId xmlns:a16="http://schemas.microsoft.com/office/drawing/2014/main" id="{8E4793D9-5706-ED5F-4E91-C5533E81185F}"/>
                    </a:ext>
                  </a:extLst>
                </p:cNvPr>
                <p:cNvSpPr>
                  <a:spLocks noChangeAspect="1"/>
                </p:cNvSpPr>
                <p:nvPr/>
              </p:nvSpPr>
              <p:spPr>
                <a:xfrm>
                  <a:off x="5478453" y="486649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02" name="Oval 4801">
                  <a:extLst>
                    <a:ext uri="{FF2B5EF4-FFF2-40B4-BE49-F238E27FC236}">
                      <a16:creationId xmlns:a16="http://schemas.microsoft.com/office/drawing/2014/main" id="{CD82C1E1-4B6D-8B17-F751-E24A6172F059}"/>
                    </a:ext>
                  </a:extLst>
                </p:cNvPr>
                <p:cNvSpPr>
                  <a:spLocks noChangeAspect="1"/>
                </p:cNvSpPr>
                <p:nvPr/>
              </p:nvSpPr>
              <p:spPr>
                <a:xfrm>
                  <a:off x="5333021" y="486649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03" name="Oval 4802">
                  <a:extLst>
                    <a:ext uri="{FF2B5EF4-FFF2-40B4-BE49-F238E27FC236}">
                      <a16:creationId xmlns:a16="http://schemas.microsoft.com/office/drawing/2014/main" id="{4C0D19F3-90F4-37BF-9468-ACF8F29D0ED6}"/>
                    </a:ext>
                  </a:extLst>
                </p:cNvPr>
                <p:cNvSpPr>
                  <a:spLocks noChangeAspect="1"/>
                </p:cNvSpPr>
                <p:nvPr/>
              </p:nvSpPr>
              <p:spPr>
                <a:xfrm>
                  <a:off x="5164318" y="48717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04" name="Oval 4803">
                  <a:extLst>
                    <a:ext uri="{FF2B5EF4-FFF2-40B4-BE49-F238E27FC236}">
                      <a16:creationId xmlns:a16="http://schemas.microsoft.com/office/drawing/2014/main" id="{CD39C5AA-DB02-2F5E-7189-C1E163A9C089}"/>
                    </a:ext>
                  </a:extLst>
                </p:cNvPr>
                <p:cNvSpPr>
                  <a:spLocks noChangeAspect="1"/>
                </p:cNvSpPr>
                <p:nvPr/>
              </p:nvSpPr>
              <p:spPr>
                <a:xfrm>
                  <a:off x="5013029" y="487063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05" name="Oval 4804">
                  <a:extLst>
                    <a:ext uri="{FF2B5EF4-FFF2-40B4-BE49-F238E27FC236}">
                      <a16:creationId xmlns:a16="http://schemas.microsoft.com/office/drawing/2014/main" id="{CF7030FE-2B50-CA2D-EF3C-55D5C878B214}"/>
                    </a:ext>
                  </a:extLst>
                </p:cNvPr>
                <p:cNvSpPr>
                  <a:spLocks noChangeAspect="1"/>
                </p:cNvSpPr>
                <p:nvPr/>
              </p:nvSpPr>
              <p:spPr>
                <a:xfrm>
                  <a:off x="4867596" y="486649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06" name="Oval 4805">
                  <a:extLst>
                    <a:ext uri="{FF2B5EF4-FFF2-40B4-BE49-F238E27FC236}">
                      <a16:creationId xmlns:a16="http://schemas.microsoft.com/office/drawing/2014/main" id="{0951AF59-20B9-B84F-8F38-A3E2EFCFACF0}"/>
                    </a:ext>
                  </a:extLst>
                </p:cNvPr>
                <p:cNvSpPr>
                  <a:spLocks noChangeAspect="1"/>
                </p:cNvSpPr>
                <p:nvPr/>
              </p:nvSpPr>
              <p:spPr>
                <a:xfrm>
                  <a:off x="4722130" y="486649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07" name="Oval 4806">
                  <a:extLst>
                    <a:ext uri="{FF2B5EF4-FFF2-40B4-BE49-F238E27FC236}">
                      <a16:creationId xmlns:a16="http://schemas.microsoft.com/office/drawing/2014/main" id="{576C7C1A-DDFD-3973-F07F-7E11038DCC15}"/>
                    </a:ext>
                  </a:extLst>
                </p:cNvPr>
                <p:cNvSpPr>
                  <a:spLocks noChangeAspect="1"/>
                </p:cNvSpPr>
                <p:nvPr/>
              </p:nvSpPr>
              <p:spPr>
                <a:xfrm>
                  <a:off x="4557975" y="486649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08" name="Oval 4807">
                  <a:extLst>
                    <a:ext uri="{FF2B5EF4-FFF2-40B4-BE49-F238E27FC236}">
                      <a16:creationId xmlns:a16="http://schemas.microsoft.com/office/drawing/2014/main" id="{4BBAA2F9-00CD-97E4-F1A9-25A7AA80EC71}"/>
                    </a:ext>
                  </a:extLst>
                </p:cNvPr>
                <p:cNvSpPr>
                  <a:spLocks noChangeAspect="1"/>
                </p:cNvSpPr>
                <p:nvPr/>
              </p:nvSpPr>
              <p:spPr>
                <a:xfrm>
                  <a:off x="4402155" y="487047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09" name="Oval 4808">
                  <a:extLst>
                    <a:ext uri="{FF2B5EF4-FFF2-40B4-BE49-F238E27FC236}">
                      <a16:creationId xmlns:a16="http://schemas.microsoft.com/office/drawing/2014/main" id="{AC525ABA-B54F-2844-99D8-FDA51F26AB19}"/>
                    </a:ext>
                  </a:extLst>
                </p:cNvPr>
                <p:cNvSpPr>
                  <a:spLocks noChangeAspect="1"/>
                </p:cNvSpPr>
                <p:nvPr/>
              </p:nvSpPr>
              <p:spPr>
                <a:xfrm>
                  <a:off x="4256705" y="486649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10" name="Oval 4809">
                  <a:extLst>
                    <a:ext uri="{FF2B5EF4-FFF2-40B4-BE49-F238E27FC236}">
                      <a16:creationId xmlns:a16="http://schemas.microsoft.com/office/drawing/2014/main" id="{78BB6277-66D8-397F-0336-C4F0BEC49D1C}"/>
                    </a:ext>
                  </a:extLst>
                </p:cNvPr>
                <p:cNvSpPr>
                  <a:spLocks noChangeAspect="1"/>
                </p:cNvSpPr>
                <p:nvPr/>
              </p:nvSpPr>
              <p:spPr>
                <a:xfrm>
                  <a:off x="5774880" y="487347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11" name="Oval 4810">
                  <a:extLst>
                    <a:ext uri="{FF2B5EF4-FFF2-40B4-BE49-F238E27FC236}">
                      <a16:creationId xmlns:a16="http://schemas.microsoft.com/office/drawing/2014/main" id="{0D555E15-094E-DB0E-29A4-E0C4E160A6B9}"/>
                    </a:ext>
                  </a:extLst>
                </p:cNvPr>
                <p:cNvSpPr>
                  <a:spLocks noChangeAspect="1"/>
                </p:cNvSpPr>
                <p:nvPr/>
              </p:nvSpPr>
              <p:spPr>
                <a:xfrm>
                  <a:off x="5623919" y="486692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12" name="Oval 4811">
                  <a:extLst>
                    <a:ext uri="{FF2B5EF4-FFF2-40B4-BE49-F238E27FC236}">
                      <a16:creationId xmlns:a16="http://schemas.microsoft.com/office/drawing/2014/main" id="{F1AC7D75-3C3D-84C6-CEF3-9D410F3DB544}"/>
                    </a:ext>
                  </a:extLst>
                </p:cNvPr>
                <p:cNvSpPr>
                  <a:spLocks noChangeAspect="1"/>
                </p:cNvSpPr>
                <p:nvPr/>
              </p:nvSpPr>
              <p:spPr>
                <a:xfrm>
                  <a:off x="4110951" y="486649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13" name="Oval 4812">
                  <a:extLst>
                    <a:ext uri="{FF2B5EF4-FFF2-40B4-BE49-F238E27FC236}">
                      <a16:creationId xmlns:a16="http://schemas.microsoft.com/office/drawing/2014/main" id="{1CFFFFB8-7F59-5198-595F-66FF3880A31F}"/>
                    </a:ext>
                  </a:extLst>
                </p:cNvPr>
                <p:cNvSpPr>
                  <a:spLocks noChangeAspect="1"/>
                </p:cNvSpPr>
                <p:nvPr/>
              </p:nvSpPr>
              <p:spPr>
                <a:xfrm>
                  <a:off x="5622884" y="501645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14" name="Oval 4813">
                  <a:extLst>
                    <a:ext uri="{FF2B5EF4-FFF2-40B4-BE49-F238E27FC236}">
                      <a16:creationId xmlns:a16="http://schemas.microsoft.com/office/drawing/2014/main" id="{F8D0127C-AF67-C75C-DD44-51B397EFD09F}"/>
                    </a:ext>
                  </a:extLst>
                </p:cNvPr>
                <p:cNvSpPr>
                  <a:spLocks noChangeAspect="1"/>
                </p:cNvSpPr>
                <p:nvPr/>
              </p:nvSpPr>
              <p:spPr>
                <a:xfrm>
                  <a:off x="5478278" y="501195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15" name="Oval 4814">
                  <a:extLst>
                    <a:ext uri="{FF2B5EF4-FFF2-40B4-BE49-F238E27FC236}">
                      <a16:creationId xmlns:a16="http://schemas.microsoft.com/office/drawing/2014/main" id="{DEBC7F92-4240-D2F3-BAF9-6CD79F0C5040}"/>
                    </a:ext>
                  </a:extLst>
                </p:cNvPr>
                <p:cNvSpPr>
                  <a:spLocks noChangeAspect="1"/>
                </p:cNvSpPr>
                <p:nvPr/>
              </p:nvSpPr>
              <p:spPr>
                <a:xfrm>
                  <a:off x="5333021" y="501195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16" name="Oval 4815">
                  <a:extLst>
                    <a:ext uri="{FF2B5EF4-FFF2-40B4-BE49-F238E27FC236}">
                      <a16:creationId xmlns:a16="http://schemas.microsoft.com/office/drawing/2014/main" id="{BEC8D590-CC92-5357-4E37-3FDB488983B4}"/>
                    </a:ext>
                  </a:extLst>
                </p:cNvPr>
                <p:cNvSpPr>
                  <a:spLocks noChangeAspect="1"/>
                </p:cNvSpPr>
                <p:nvPr/>
              </p:nvSpPr>
              <p:spPr>
                <a:xfrm>
                  <a:off x="5164001" y="501890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17" name="Oval 4816">
                  <a:extLst>
                    <a:ext uri="{FF2B5EF4-FFF2-40B4-BE49-F238E27FC236}">
                      <a16:creationId xmlns:a16="http://schemas.microsoft.com/office/drawing/2014/main" id="{759E9C23-6720-3206-0A1F-D1D99752DD99}"/>
                    </a:ext>
                  </a:extLst>
                </p:cNvPr>
                <p:cNvSpPr>
                  <a:spLocks noChangeAspect="1"/>
                </p:cNvSpPr>
                <p:nvPr/>
              </p:nvSpPr>
              <p:spPr>
                <a:xfrm>
                  <a:off x="5018557" y="501890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18" name="Oval 4817">
                  <a:extLst>
                    <a:ext uri="{FF2B5EF4-FFF2-40B4-BE49-F238E27FC236}">
                      <a16:creationId xmlns:a16="http://schemas.microsoft.com/office/drawing/2014/main" id="{8C914418-BCF0-451F-E5BE-B5C45AA39287}"/>
                    </a:ext>
                  </a:extLst>
                </p:cNvPr>
                <p:cNvSpPr>
                  <a:spLocks noChangeAspect="1"/>
                </p:cNvSpPr>
                <p:nvPr/>
              </p:nvSpPr>
              <p:spPr>
                <a:xfrm>
                  <a:off x="4867401" y="501195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19" name="Oval 4818">
                  <a:extLst>
                    <a:ext uri="{FF2B5EF4-FFF2-40B4-BE49-F238E27FC236}">
                      <a16:creationId xmlns:a16="http://schemas.microsoft.com/office/drawing/2014/main" id="{7A1B9EF9-44A0-6514-36AE-1652077611D4}"/>
                    </a:ext>
                  </a:extLst>
                </p:cNvPr>
                <p:cNvSpPr>
                  <a:spLocks noChangeAspect="1"/>
                </p:cNvSpPr>
                <p:nvPr/>
              </p:nvSpPr>
              <p:spPr>
                <a:xfrm>
                  <a:off x="4722130" y="501195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20" name="Oval 4819">
                  <a:extLst>
                    <a:ext uri="{FF2B5EF4-FFF2-40B4-BE49-F238E27FC236}">
                      <a16:creationId xmlns:a16="http://schemas.microsoft.com/office/drawing/2014/main" id="{3A0A3D58-68E2-30D9-675C-AFF9ED53CCC0}"/>
                    </a:ext>
                  </a:extLst>
                </p:cNvPr>
                <p:cNvSpPr>
                  <a:spLocks noChangeAspect="1"/>
                </p:cNvSpPr>
                <p:nvPr/>
              </p:nvSpPr>
              <p:spPr>
                <a:xfrm>
                  <a:off x="4553118" y="501890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21" name="Oval 4820">
                  <a:extLst>
                    <a:ext uri="{FF2B5EF4-FFF2-40B4-BE49-F238E27FC236}">
                      <a16:creationId xmlns:a16="http://schemas.microsoft.com/office/drawing/2014/main" id="{14846C18-E848-BD1C-33D7-A96D1839626F}"/>
                    </a:ext>
                  </a:extLst>
                </p:cNvPr>
                <p:cNvSpPr>
                  <a:spLocks noChangeAspect="1"/>
                </p:cNvSpPr>
                <p:nvPr/>
              </p:nvSpPr>
              <p:spPr>
                <a:xfrm>
                  <a:off x="4407672" y="501890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22" name="Oval 4821">
                  <a:extLst>
                    <a:ext uri="{FF2B5EF4-FFF2-40B4-BE49-F238E27FC236}">
                      <a16:creationId xmlns:a16="http://schemas.microsoft.com/office/drawing/2014/main" id="{3F35E669-1FBA-9783-7F16-C017AE2B3A30}"/>
                    </a:ext>
                  </a:extLst>
                </p:cNvPr>
                <p:cNvSpPr>
                  <a:spLocks noChangeAspect="1"/>
                </p:cNvSpPr>
                <p:nvPr/>
              </p:nvSpPr>
              <p:spPr>
                <a:xfrm>
                  <a:off x="4258989" y="501415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23" name="Oval 4822">
                  <a:extLst>
                    <a:ext uri="{FF2B5EF4-FFF2-40B4-BE49-F238E27FC236}">
                      <a16:creationId xmlns:a16="http://schemas.microsoft.com/office/drawing/2014/main" id="{8411CCE4-3BFC-4633-6C53-C601E2D74038}"/>
                    </a:ext>
                  </a:extLst>
                </p:cNvPr>
                <p:cNvSpPr>
                  <a:spLocks noChangeAspect="1"/>
                </p:cNvSpPr>
                <p:nvPr/>
              </p:nvSpPr>
              <p:spPr>
                <a:xfrm>
                  <a:off x="5482530" y="517896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24" name="Oval 4823">
                  <a:extLst>
                    <a:ext uri="{FF2B5EF4-FFF2-40B4-BE49-F238E27FC236}">
                      <a16:creationId xmlns:a16="http://schemas.microsoft.com/office/drawing/2014/main" id="{AD3B1C3B-FEFC-D466-B773-96F5025DBFC4}"/>
                    </a:ext>
                  </a:extLst>
                </p:cNvPr>
                <p:cNvSpPr>
                  <a:spLocks noChangeAspect="1"/>
                </p:cNvSpPr>
                <p:nvPr/>
              </p:nvSpPr>
              <p:spPr>
                <a:xfrm>
                  <a:off x="5337086" y="517896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25" name="Oval 4824">
                  <a:extLst>
                    <a:ext uri="{FF2B5EF4-FFF2-40B4-BE49-F238E27FC236}">
                      <a16:creationId xmlns:a16="http://schemas.microsoft.com/office/drawing/2014/main" id="{C66697A2-F005-17D3-8613-33760B70334B}"/>
                    </a:ext>
                  </a:extLst>
                </p:cNvPr>
                <p:cNvSpPr>
                  <a:spLocks noChangeAspect="1"/>
                </p:cNvSpPr>
                <p:nvPr/>
              </p:nvSpPr>
              <p:spPr>
                <a:xfrm>
                  <a:off x="5164001" y="516436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26" name="Oval 4825">
                  <a:extLst>
                    <a:ext uri="{FF2B5EF4-FFF2-40B4-BE49-F238E27FC236}">
                      <a16:creationId xmlns:a16="http://schemas.microsoft.com/office/drawing/2014/main" id="{A6142B0F-3DE8-9CD4-7D85-3BC8306C415F}"/>
                    </a:ext>
                  </a:extLst>
                </p:cNvPr>
                <p:cNvSpPr>
                  <a:spLocks noChangeAspect="1"/>
                </p:cNvSpPr>
                <p:nvPr/>
              </p:nvSpPr>
              <p:spPr>
                <a:xfrm>
                  <a:off x="5018557" y="516436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27" name="Oval 4826">
                  <a:extLst>
                    <a:ext uri="{FF2B5EF4-FFF2-40B4-BE49-F238E27FC236}">
                      <a16:creationId xmlns:a16="http://schemas.microsoft.com/office/drawing/2014/main" id="{2C8D1408-2467-3A31-44E4-4CC89B2C3F0A}"/>
                    </a:ext>
                  </a:extLst>
                </p:cNvPr>
                <p:cNvSpPr>
                  <a:spLocks noChangeAspect="1"/>
                </p:cNvSpPr>
                <p:nvPr/>
              </p:nvSpPr>
              <p:spPr>
                <a:xfrm>
                  <a:off x="4871661" y="517896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28" name="Oval 4827">
                  <a:extLst>
                    <a:ext uri="{FF2B5EF4-FFF2-40B4-BE49-F238E27FC236}">
                      <a16:creationId xmlns:a16="http://schemas.microsoft.com/office/drawing/2014/main" id="{FAA8705D-237C-A688-56EE-D06E3E94B5D2}"/>
                    </a:ext>
                  </a:extLst>
                </p:cNvPr>
                <p:cNvSpPr>
                  <a:spLocks noChangeAspect="1"/>
                </p:cNvSpPr>
                <p:nvPr/>
              </p:nvSpPr>
              <p:spPr>
                <a:xfrm>
                  <a:off x="4726207" y="517896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29" name="Oval 4828">
                  <a:extLst>
                    <a:ext uri="{FF2B5EF4-FFF2-40B4-BE49-F238E27FC236}">
                      <a16:creationId xmlns:a16="http://schemas.microsoft.com/office/drawing/2014/main" id="{0C472D51-6A21-EC43-CE77-FCE72710A964}"/>
                    </a:ext>
                  </a:extLst>
                </p:cNvPr>
                <p:cNvSpPr>
                  <a:spLocks noChangeAspect="1"/>
                </p:cNvSpPr>
                <p:nvPr/>
              </p:nvSpPr>
              <p:spPr>
                <a:xfrm>
                  <a:off x="4554780" y="516478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30" name="Oval 4829">
                  <a:extLst>
                    <a:ext uri="{FF2B5EF4-FFF2-40B4-BE49-F238E27FC236}">
                      <a16:creationId xmlns:a16="http://schemas.microsoft.com/office/drawing/2014/main" id="{89117B15-F889-C65D-3DC4-6030AD3DDD8F}"/>
                    </a:ext>
                  </a:extLst>
                </p:cNvPr>
                <p:cNvSpPr>
                  <a:spLocks noChangeAspect="1"/>
                </p:cNvSpPr>
                <p:nvPr/>
              </p:nvSpPr>
              <p:spPr>
                <a:xfrm>
                  <a:off x="4407672" y="516436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31" name="Oval 4830">
                  <a:extLst>
                    <a:ext uri="{FF2B5EF4-FFF2-40B4-BE49-F238E27FC236}">
                      <a16:creationId xmlns:a16="http://schemas.microsoft.com/office/drawing/2014/main" id="{DB1966C6-00D0-C149-3B55-2752DBA64631}"/>
                    </a:ext>
                  </a:extLst>
                </p:cNvPr>
                <p:cNvSpPr>
                  <a:spLocks noChangeAspect="1"/>
                </p:cNvSpPr>
                <p:nvPr/>
              </p:nvSpPr>
              <p:spPr>
                <a:xfrm>
                  <a:off x="4260775" y="517896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32" name="Oval 4831">
                  <a:extLst>
                    <a:ext uri="{FF2B5EF4-FFF2-40B4-BE49-F238E27FC236}">
                      <a16:creationId xmlns:a16="http://schemas.microsoft.com/office/drawing/2014/main" id="{AC6F033C-B8AA-56BA-4E99-E2A75B513D6E}"/>
                    </a:ext>
                  </a:extLst>
                </p:cNvPr>
                <p:cNvSpPr>
                  <a:spLocks noChangeAspect="1"/>
                </p:cNvSpPr>
                <p:nvPr/>
              </p:nvSpPr>
              <p:spPr>
                <a:xfrm>
                  <a:off x="5623919" y="533606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33" name="Oval 4832">
                  <a:extLst>
                    <a:ext uri="{FF2B5EF4-FFF2-40B4-BE49-F238E27FC236}">
                      <a16:creationId xmlns:a16="http://schemas.microsoft.com/office/drawing/2014/main" id="{51EA31ED-DB69-795E-B4B3-1B14D00C2B89}"/>
                    </a:ext>
                  </a:extLst>
                </p:cNvPr>
                <p:cNvSpPr>
                  <a:spLocks noChangeAspect="1"/>
                </p:cNvSpPr>
                <p:nvPr/>
              </p:nvSpPr>
              <p:spPr>
                <a:xfrm>
                  <a:off x="5478453" y="533191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34" name="Oval 4833">
                  <a:extLst>
                    <a:ext uri="{FF2B5EF4-FFF2-40B4-BE49-F238E27FC236}">
                      <a16:creationId xmlns:a16="http://schemas.microsoft.com/office/drawing/2014/main" id="{1D50C8A6-6BED-576E-03E4-8C927A8C273B}"/>
                    </a:ext>
                  </a:extLst>
                </p:cNvPr>
                <p:cNvSpPr>
                  <a:spLocks noChangeAspect="1"/>
                </p:cNvSpPr>
                <p:nvPr/>
              </p:nvSpPr>
              <p:spPr>
                <a:xfrm>
                  <a:off x="5333021" y="533191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35" name="Oval 4834">
                  <a:extLst>
                    <a:ext uri="{FF2B5EF4-FFF2-40B4-BE49-F238E27FC236}">
                      <a16:creationId xmlns:a16="http://schemas.microsoft.com/office/drawing/2014/main" id="{1F15F19F-E577-64CD-89B6-F9C819A46C12}"/>
                    </a:ext>
                  </a:extLst>
                </p:cNvPr>
                <p:cNvSpPr>
                  <a:spLocks noChangeAspect="1"/>
                </p:cNvSpPr>
                <p:nvPr/>
              </p:nvSpPr>
              <p:spPr>
                <a:xfrm>
                  <a:off x="5168854" y="533191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36" name="Oval 4835">
                  <a:extLst>
                    <a:ext uri="{FF2B5EF4-FFF2-40B4-BE49-F238E27FC236}">
                      <a16:creationId xmlns:a16="http://schemas.microsoft.com/office/drawing/2014/main" id="{55897731-B07D-0B77-B592-228D1920D8D9}"/>
                    </a:ext>
                  </a:extLst>
                </p:cNvPr>
                <p:cNvSpPr>
                  <a:spLocks noChangeAspect="1"/>
                </p:cNvSpPr>
                <p:nvPr/>
              </p:nvSpPr>
              <p:spPr>
                <a:xfrm>
                  <a:off x="5013029" y="533606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37" name="Oval 4836">
                  <a:extLst>
                    <a:ext uri="{FF2B5EF4-FFF2-40B4-BE49-F238E27FC236}">
                      <a16:creationId xmlns:a16="http://schemas.microsoft.com/office/drawing/2014/main" id="{707117C2-8998-FCAC-5E82-F3A397848F5B}"/>
                    </a:ext>
                  </a:extLst>
                </p:cNvPr>
                <p:cNvSpPr>
                  <a:spLocks noChangeAspect="1"/>
                </p:cNvSpPr>
                <p:nvPr/>
              </p:nvSpPr>
              <p:spPr>
                <a:xfrm>
                  <a:off x="4867596" y="533191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38" name="Oval 4837">
                  <a:extLst>
                    <a:ext uri="{FF2B5EF4-FFF2-40B4-BE49-F238E27FC236}">
                      <a16:creationId xmlns:a16="http://schemas.microsoft.com/office/drawing/2014/main" id="{BD204447-B15F-DFE5-50D0-547917B65CAF}"/>
                    </a:ext>
                  </a:extLst>
                </p:cNvPr>
                <p:cNvSpPr>
                  <a:spLocks noChangeAspect="1"/>
                </p:cNvSpPr>
                <p:nvPr/>
              </p:nvSpPr>
              <p:spPr>
                <a:xfrm>
                  <a:off x="4722130" y="533191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39" name="Oval 4838">
                  <a:extLst>
                    <a:ext uri="{FF2B5EF4-FFF2-40B4-BE49-F238E27FC236}">
                      <a16:creationId xmlns:a16="http://schemas.microsoft.com/office/drawing/2014/main" id="{0946E859-B822-386C-6402-E0B93FAB6C95}"/>
                    </a:ext>
                  </a:extLst>
                </p:cNvPr>
                <p:cNvSpPr>
                  <a:spLocks noChangeAspect="1"/>
                </p:cNvSpPr>
                <p:nvPr/>
              </p:nvSpPr>
              <p:spPr>
                <a:xfrm>
                  <a:off x="4557975" y="533191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40" name="Oval 4839">
                  <a:extLst>
                    <a:ext uri="{FF2B5EF4-FFF2-40B4-BE49-F238E27FC236}">
                      <a16:creationId xmlns:a16="http://schemas.microsoft.com/office/drawing/2014/main" id="{801020D0-9DAE-854D-2280-2F6EC070626F}"/>
                    </a:ext>
                  </a:extLst>
                </p:cNvPr>
                <p:cNvSpPr>
                  <a:spLocks noChangeAspect="1"/>
                </p:cNvSpPr>
                <p:nvPr/>
              </p:nvSpPr>
              <p:spPr>
                <a:xfrm>
                  <a:off x="4402155" y="533191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41" name="Oval 4840">
                  <a:extLst>
                    <a:ext uri="{FF2B5EF4-FFF2-40B4-BE49-F238E27FC236}">
                      <a16:creationId xmlns:a16="http://schemas.microsoft.com/office/drawing/2014/main" id="{18133C16-12AC-4E20-4C8A-76DEADD9A73B}"/>
                    </a:ext>
                  </a:extLst>
                </p:cNvPr>
                <p:cNvSpPr>
                  <a:spLocks noChangeAspect="1"/>
                </p:cNvSpPr>
                <p:nvPr/>
              </p:nvSpPr>
              <p:spPr>
                <a:xfrm>
                  <a:off x="5478453" y="547738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42" name="Oval 4841">
                  <a:extLst>
                    <a:ext uri="{FF2B5EF4-FFF2-40B4-BE49-F238E27FC236}">
                      <a16:creationId xmlns:a16="http://schemas.microsoft.com/office/drawing/2014/main" id="{2DBD960A-0C38-9C6E-7C5F-776CD82CBBBB}"/>
                    </a:ext>
                  </a:extLst>
                </p:cNvPr>
                <p:cNvSpPr>
                  <a:spLocks noChangeAspect="1"/>
                </p:cNvSpPr>
                <p:nvPr/>
              </p:nvSpPr>
              <p:spPr>
                <a:xfrm>
                  <a:off x="4408000" y="549191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43" name="Oval 4842">
                  <a:extLst>
                    <a:ext uri="{FF2B5EF4-FFF2-40B4-BE49-F238E27FC236}">
                      <a16:creationId xmlns:a16="http://schemas.microsoft.com/office/drawing/2014/main" id="{452B01A2-7074-5A02-710D-E370DF71DAE4}"/>
                    </a:ext>
                  </a:extLst>
                </p:cNvPr>
                <p:cNvSpPr>
                  <a:spLocks noChangeAspect="1"/>
                </p:cNvSpPr>
                <p:nvPr/>
              </p:nvSpPr>
              <p:spPr>
                <a:xfrm>
                  <a:off x="5626118" y="547964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44" name="Oval 4843">
                  <a:extLst>
                    <a:ext uri="{FF2B5EF4-FFF2-40B4-BE49-F238E27FC236}">
                      <a16:creationId xmlns:a16="http://schemas.microsoft.com/office/drawing/2014/main" id="{5C9C418B-D804-95B2-8C81-8CE72DF2A911}"/>
                    </a:ext>
                  </a:extLst>
                </p:cNvPr>
                <p:cNvSpPr>
                  <a:spLocks noChangeAspect="1"/>
                </p:cNvSpPr>
                <p:nvPr/>
              </p:nvSpPr>
              <p:spPr>
                <a:xfrm>
                  <a:off x="5332706" y="547738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45" name="Oval 4844">
                  <a:extLst>
                    <a:ext uri="{FF2B5EF4-FFF2-40B4-BE49-F238E27FC236}">
                      <a16:creationId xmlns:a16="http://schemas.microsoft.com/office/drawing/2014/main" id="{9BF1F8BC-AB0D-A564-B3EB-F62669ACC201}"/>
                    </a:ext>
                  </a:extLst>
                </p:cNvPr>
                <p:cNvSpPr>
                  <a:spLocks noChangeAspect="1"/>
                </p:cNvSpPr>
                <p:nvPr/>
              </p:nvSpPr>
              <p:spPr>
                <a:xfrm>
                  <a:off x="5167225" y="547738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46" name="Oval 4845">
                  <a:extLst>
                    <a:ext uri="{FF2B5EF4-FFF2-40B4-BE49-F238E27FC236}">
                      <a16:creationId xmlns:a16="http://schemas.microsoft.com/office/drawing/2014/main" id="{498FBFD0-590A-1763-8470-F478728374AF}"/>
                    </a:ext>
                  </a:extLst>
                </p:cNvPr>
                <p:cNvSpPr>
                  <a:spLocks noChangeAspect="1"/>
                </p:cNvSpPr>
                <p:nvPr/>
              </p:nvSpPr>
              <p:spPr>
                <a:xfrm>
                  <a:off x="5015227" y="547964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47" name="Oval 4846">
                  <a:extLst>
                    <a:ext uri="{FF2B5EF4-FFF2-40B4-BE49-F238E27FC236}">
                      <a16:creationId xmlns:a16="http://schemas.microsoft.com/office/drawing/2014/main" id="{72C5C3C3-117B-D518-4F45-E214C20CCC36}"/>
                    </a:ext>
                  </a:extLst>
                </p:cNvPr>
                <p:cNvSpPr>
                  <a:spLocks noChangeAspect="1"/>
                </p:cNvSpPr>
                <p:nvPr/>
              </p:nvSpPr>
              <p:spPr>
                <a:xfrm>
                  <a:off x="4867281" y="547738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48" name="Oval 4847">
                  <a:extLst>
                    <a:ext uri="{FF2B5EF4-FFF2-40B4-BE49-F238E27FC236}">
                      <a16:creationId xmlns:a16="http://schemas.microsoft.com/office/drawing/2014/main" id="{77B6164B-A021-B9E7-D901-A8A5FF00A566}"/>
                    </a:ext>
                  </a:extLst>
                </p:cNvPr>
                <p:cNvSpPr>
                  <a:spLocks noChangeAspect="1"/>
                </p:cNvSpPr>
                <p:nvPr/>
              </p:nvSpPr>
              <p:spPr>
                <a:xfrm>
                  <a:off x="4721826" y="547738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49" name="Oval 4848">
                  <a:extLst>
                    <a:ext uri="{FF2B5EF4-FFF2-40B4-BE49-F238E27FC236}">
                      <a16:creationId xmlns:a16="http://schemas.microsoft.com/office/drawing/2014/main" id="{4C854652-7B71-6C50-4699-27A9A47527B0}"/>
                    </a:ext>
                  </a:extLst>
                </p:cNvPr>
                <p:cNvSpPr>
                  <a:spLocks noChangeAspect="1"/>
                </p:cNvSpPr>
                <p:nvPr/>
              </p:nvSpPr>
              <p:spPr>
                <a:xfrm>
                  <a:off x="4562789" y="547738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50" name="Oval 4849">
                  <a:extLst>
                    <a:ext uri="{FF2B5EF4-FFF2-40B4-BE49-F238E27FC236}">
                      <a16:creationId xmlns:a16="http://schemas.microsoft.com/office/drawing/2014/main" id="{E78D4270-B139-DBB3-9398-5A93B24394DD}"/>
                    </a:ext>
                  </a:extLst>
                </p:cNvPr>
                <p:cNvSpPr>
                  <a:spLocks noChangeAspect="1"/>
                </p:cNvSpPr>
                <p:nvPr/>
              </p:nvSpPr>
              <p:spPr>
                <a:xfrm>
                  <a:off x="5478453" y="562281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51" name="Oval 4850">
                  <a:extLst>
                    <a:ext uri="{FF2B5EF4-FFF2-40B4-BE49-F238E27FC236}">
                      <a16:creationId xmlns:a16="http://schemas.microsoft.com/office/drawing/2014/main" id="{0E9012F3-330F-DDC1-62CF-1A086FC751FA}"/>
                    </a:ext>
                  </a:extLst>
                </p:cNvPr>
                <p:cNvSpPr>
                  <a:spLocks noChangeAspect="1"/>
                </p:cNvSpPr>
                <p:nvPr/>
              </p:nvSpPr>
              <p:spPr>
                <a:xfrm>
                  <a:off x="5333021" y="563035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52" name="Oval 4851">
                  <a:extLst>
                    <a:ext uri="{FF2B5EF4-FFF2-40B4-BE49-F238E27FC236}">
                      <a16:creationId xmlns:a16="http://schemas.microsoft.com/office/drawing/2014/main" id="{45CE588A-CC64-7DAC-D842-1BCAC6BEC299}"/>
                    </a:ext>
                  </a:extLst>
                </p:cNvPr>
                <p:cNvSpPr>
                  <a:spLocks noChangeAspect="1"/>
                </p:cNvSpPr>
                <p:nvPr/>
              </p:nvSpPr>
              <p:spPr>
                <a:xfrm>
                  <a:off x="5164001" y="562979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53" name="Oval 4852">
                  <a:extLst>
                    <a:ext uri="{FF2B5EF4-FFF2-40B4-BE49-F238E27FC236}">
                      <a16:creationId xmlns:a16="http://schemas.microsoft.com/office/drawing/2014/main" id="{0D12B08A-8318-5631-F2D0-2CB0CDD90566}"/>
                    </a:ext>
                  </a:extLst>
                </p:cNvPr>
                <p:cNvSpPr>
                  <a:spLocks noChangeAspect="1"/>
                </p:cNvSpPr>
                <p:nvPr/>
              </p:nvSpPr>
              <p:spPr>
                <a:xfrm>
                  <a:off x="4845482" y="5600702"/>
                  <a:ext cx="146142" cy="146134"/>
                </a:xfrm>
                <a:prstGeom prst="ellipse">
                  <a:avLst/>
                </a:prstGeom>
                <a:solidFill>
                  <a:srgbClr val="385723"/>
                </a:solidFill>
                <a:ln w="10484" cap="flat">
                  <a:solidFill>
                    <a:sysClr val="window" lastClr="FFFFFF"/>
                  </a:solidFill>
                  <a:prstDash val="solid"/>
                  <a:miter/>
                </a:ln>
                <a:effectLst>
                  <a:outerShdw blurRad="38100" algn="c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4854" name="Oval 4853">
                  <a:extLst>
                    <a:ext uri="{FF2B5EF4-FFF2-40B4-BE49-F238E27FC236}">
                      <a16:creationId xmlns:a16="http://schemas.microsoft.com/office/drawing/2014/main" id="{8CE34090-030A-6A13-7550-646F61A4D8B2}"/>
                    </a:ext>
                  </a:extLst>
                </p:cNvPr>
                <p:cNvSpPr>
                  <a:spLocks noChangeAspect="1"/>
                </p:cNvSpPr>
                <p:nvPr/>
              </p:nvSpPr>
              <p:spPr>
                <a:xfrm>
                  <a:off x="4722130" y="562281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55" name="Oval 4854">
                  <a:extLst>
                    <a:ext uri="{FF2B5EF4-FFF2-40B4-BE49-F238E27FC236}">
                      <a16:creationId xmlns:a16="http://schemas.microsoft.com/office/drawing/2014/main" id="{656BB1C9-470F-FAFC-1F6B-8FF77740AA1C}"/>
                    </a:ext>
                  </a:extLst>
                </p:cNvPr>
                <p:cNvSpPr>
                  <a:spLocks noChangeAspect="1"/>
                </p:cNvSpPr>
                <p:nvPr/>
              </p:nvSpPr>
              <p:spPr>
                <a:xfrm>
                  <a:off x="4553118" y="562979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56" name="Oval 4855">
                  <a:extLst>
                    <a:ext uri="{FF2B5EF4-FFF2-40B4-BE49-F238E27FC236}">
                      <a16:creationId xmlns:a16="http://schemas.microsoft.com/office/drawing/2014/main" id="{F8590E9F-A881-34FD-CE3A-84D4C68F61C7}"/>
                    </a:ext>
                  </a:extLst>
                </p:cNvPr>
                <p:cNvSpPr>
                  <a:spLocks noChangeAspect="1"/>
                </p:cNvSpPr>
                <p:nvPr/>
              </p:nvSpPr>
              <p:spPr>
                <a:xfrm>
                  <a:off x="4407672" y="562979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57" name="Oval 4856">
                  <a:extLst>
                    <a:ext uri="{FF2B5EF4-FFF2-40B4-BE49-F238E27FC236}">
                      <a16:creationId xmlns:a16="http://schemas.microsoft.com/office/drawing/2014/main" id="{E040B6C3-2920-755C-3264-F24D1CDC463D}"/>
                    </a:ext>
                  </a:extLst>
                </p:cNvPr>
                <p:cNvSpPr>
                  <a:spLocks noChangeAspect="1"/>
                </p:cNvSpPr>
                <p:nvPr/>
              </p:nvSpPr>
              <p:spPr>
                <a:xfrm>
                  <a:off x="5482530" y="578982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58" name="Oval 4857">
                  <a:extLst>
                    <a:ext uri="{FF2B5EF4-FFF2-40B4-BE49-F238E27FC236}">
                      <a16:creationId xmlns:a16="http://schemas.microsoft.com/office/drawing/2014/main" id="{74AB3D1B-82A6-8ED1-9EFD-E8E633144981}"/>
                    </a:ext>
                  </a:extLst>
                </p:cNvPr>
                <p:cNvSpPr>
                  <a:spLocks noChangeAspect="1"/>
                </p:cNvSpPr>
                <p:nvPr/>
              </p:nvSpPr>
              <p:spPr>
                <a:xfrm>
                  <a:off x="5337086" y="578982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59" name="Oval 4858">
                  <a:extLst>
                    <a:ext uri="{FF2B5EF4-FFF2-40B4-BE49-F238E27FC236}">
                      <a16:creationId xmlns:a16="http://schemas.microsoft.com/office/drawing/2014/main" id="{EB804C10-0D29-8BE9-F285-4675F024B91E}"/>
                    </a:ext>
                  </a:extLst>
                </p:cNvPr>
                <p:cNvSpPr>
                  <a:spLocks noChangeAspect="1"/>
                </p:cNvSpPr>
                <p:nvPr/>
              </p:nvSpPr>
              <p:spPr>
                <a:xfrm>
                  <a:off x="5166618" y="578087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60" name="Oval 4859">
                  <a:extLst>
                    <a:ext uri="{FF2B5EF4-FFF2-40B4-BE49-F238E27FC236}">
                      <a16:creationId xmlns:a16="http://schemas.microsoft.com/office/drawing/2014/main" id="{A5210E9C-5A51-541A-E974-1B911A4433E5}"/>
                    </a:ext>
                  </a:extLst>
                </p:cNvPr>
                <p:cNvSpPr>
                  <a:spLocks noChangeAspect="1"/>
                </p:cNvSpPr>
                <p:nvPr/>
              </p:nvSpPr>
              <p:spPr>
                <a:xfrm>
                  <a:off x="5013029" y="578087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61" name="Oval 4860">
                  <a:extLst>
                    <a:ext uri="{FF2B5EF4-FFF2-40B4-BE49-F238E27FC236}">
                      <a16:creationId xmlns:a16="http://schemas.microsoft.com/office/drawing/2014/main" id="{1266E521-0095-A1D1-8C83-94D408D1C3DE}"/>
                    </a:ext>
                  </a:extLst>
                </p:cNvPr>
                <p:cNvSpPr>
                  <a:spLocks noChangeAspect="1"/>
                </p:cNvSpPr>
                <p:nvPr/>
              </p:nvSpPr>
              <p:spPr>
                <a:xfrm>
                  <a:off x="4871661" y="578982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62" name="Oval 4861">
                  <a:extLst>
                    <a:ext uri="{FF2B5EF4-FFF2-40B4-BE49-F238E27FC236}">
                      <a16:creationId xmlns:a16="http://schemas.microsoft.com/office/drawing/2014/main" id="{AD332220-AD74-AEB9-245E-BE999010458B}"/>
                    </a:ext>
                  </a:extLst>
                </p:cNvPr>
                <p:cNvSpPr>
                  <a:spLocks noChangeAspect="1"/>
                </p:cNvSpPr>
                <p:nvPr/>
              </p:nvSpPr>
              <p:spPr>
                <a:xfrm>
                  <a:off x="4726207" y="578982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63" name="Oval 4862">
                  <a:extLst>
                    <a:ext uri="{FF2B5EF4-FFF2-40B4-BE49-F238E27FC236}">
                      <a16:creationId xmlns:a16="http://schemas.microsoft.com/office/drawing/2014/main" id="{A35DD179-5F80-670E-25C3-00C7B968701B}"/>
                    </a:ext>
                  </a:extLst>
                </p:cNvPr>
                <p:cNvSpPr>
                  <a:spLocks noChangeAspect="1"/>
                </p:cNvSpPr>
                <p:nvPr/>
              </p:nvSpPr>
              <p:spPr>
                <a:xfrm>
                  <a:off x="4555740" y="578087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64" name="Oval 4863">
                  <a:extLst>
                    <a:ext uri="{FF2B5EF4-FFF2-40B4-BE49-F238E27FC236}">
                      <a16:creationId xmlns:a16="http://schemas.microsoft.com/office/drawing/2014/main" id="{62D73E0D-F24E-5D99-379F-A9588F96CA79}"/>
                    </a:ext>
                  </a:extLst>
                </p:cNvPr>
                <p:cNvSpPr>
                  <a:spLocks noChangeAspect="1"/>
                </p:cNvSpPr>
                <p:nvPr/>
              </p:nvSpPr>
              <p:spPr>
                <a:xfrm>
                  <a:off x="5478453" y="594280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65" name="Oval 4864">
                  <a:extLst>
                    <a:ext uri="{FF2B5EF4-FFF2-40B4-BE49-F238E27FC236}">
                      <a16:creationId xmlns:a16="http://schemas.microsoft.com/office/drawing/2014/main" id="{C210FAE1-2D27-06DC-F25B-04CF80240D13}"/>
                    </a:ext>
                  </a:extLst>
                </p:cNvPr>
                <p:cNvSpPr>
                  <a:spLocks noChangeAspect="1"/>
                </p:cNvSpPr>
                <p:nvPr/>
              </p:nvSpPr>
              <p:spPr>
                <a:xfrm>
                  <a:off x="5333021" y="594280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66" name="Oval 4865">
                  <a:extLst>
                    <a:ext uri="{FF2B5EF4-FFF2-40B4-BE49-F238E27FC236}">
                      <a16:creationId xmlns:a16="http://schemas.microsoft.com/office/drawing/2014/main" id="{3F77D618-4DA6-FC76-1155-095AD40390F2}"/>
                    </a:ext>
                  </a:extLst>
                </p:cNvPr>
                <p:cNvSpPr>
                  <a:spLocks noChangeAspect="1"/>
                </p:cNvSpPr>
                <p:nvPr/>
              </p:nvSpPr>
              <p:spPr>
                <a:xfrm>
                  <a:off x="5158461" y="594280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67" name="Oval 4866">
                  <a:extLst>
                    <a:ext uri="{FF2B5EF4-FFF2-40B4-BE49-F238E27FC236}">
                      <a16:creationId xmlns:a16="http://schemas.microsoft.com/office/drawing/2014/main" id="{5996B9FC-0A73-C2F0-1F33-16F22E9CB209}"/>
                    </a:ext>
                  </a:extLst>
                </p:cNvPr>
                <p:cNvSpPr>
                  <a:spLocks noChangeAspect="1"/>
                </p:cNvSpPr>
                <p:nvPr/>
              </p:nvSpPr>
              <p:spPr>
                <a:xfrm>
                  <a:off x="5013029" y="594694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68" name="Oval 4867">
                  <a:extLst>
                    <a:ext uri="{FF2B5EF4-FFF2-40B4-BE49-F238E27FC236}">
                      <a16:creationId xmlns:a16="http://schemas.microsoft.com/office/drawing/2014/main" id="{BA308EDB-39BB-AADF-FD32-5337FA723383}"/>
                    </a:ext>
                  </a:extLst>
                </p:cNvPr>
                <p:cNvSpPr>
                  <a:spLocks noChangeAspect="1"/>
                </p:cNvSpPr>
                <p:nvPr/>
              </p:nvSpPr>
              <p:spPr>
                <a:xfrm>
                  <a:off x="4867596" y="594280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69" name="Oval 4868">
                  <a:extLst>
                    <a:ext uri="{FF2B5EF4-FFF2-40B4-BE49-F238E27FC236}">
                      <a16:creationId xmlns:a16="http://schemas.microsoft.com/office/drawing/2014/main" id="{8DF4131B-3DFF-F0A6-8D8D-FBDC5928BCCB}"/>
                    </a:ext>
                  </a:extLst>
                </p:cNvPr>
                <p:cNvSpPr>
                  <a:spLocks noChangeAspect="1"/>
                </p:cNvSpPr>
                <p:nvPr/>
              </p:nvSpPr>
              <p:spPr>
                <a:xfrm>
                  <a:off x="4722130" y="594280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70" name="Oval 4869">
                  <a:extLst>
                    <a:ext uri="{FF2B5EF4-FFF2-40B4-BE49-F238E27FC236}">
                      <a16:creationId xmlns:a16="http://schemas.microsoft.com/office/drawing/2014/main" id="{4CD30B15-B54B-3FAD-30F0-C42FCE53F197}"/>
                    </a:ext>
                  </a:extLst>
                </p:cNvPr>
                <p:cNvSpPr>
                  <a:spLocks noChangeAspect="1"/>
                </p:cNvSpPr>
                <p:nvPr/>
              </p:nvSpPr>
              <p:spPr>
                <a:xfrm>
                  <a:off x="5478149" y="608823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71" name="Oval 4870">
                  <a:extLst>
                    <a:ext uri="{FF2B5EF4-FFF2-40B4-BE49-F238E27FC236}">
                      <a16:creationId xmlns:a16="http://schemas.microsoft.com/office/drawing/2014/main" id="{49D8E80B-41A7-6032-F744-19EF917A7E0B}"/>
                    </a:ext>
                  </a:extLst>
                </p:cNvPr>
                <p:cNvSpPr>
                  <a:spLocks noChangeAspect="1"/>
                </p:cNvSpPr>
                <p:nvPr/>
              </p:nvSpPr>
              <p:spPr>
                <a:xfrm>
                  <a:off x="5332706" y="608823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72" name="Oval 4871">
                  <a:extLst>
                    <a:ext uri="{FF2B5EF4-FFF2-40B4-BE49-F238E27FC236}">
                      <a16:creationId xmlns:a16="http://schemas.microsoft.com/office/drawing/2014/main" id="{30A7A215-EB5A-9A75-7F7B-EE54DB692D3E}"/>
                    </a:ext>
                  </a:extLst>
                </p:cNvPr>
                <p:cNvSpPr>
                  <a:spLocks noChangeAspect="1"/>
                </p:cNvSpPr>
                <p:nvPr/>
              </p:nvSpPr>
              <p:spPr>
                <a:xfrm>
                  <a:off x="5164001" y="609521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73" name="Oval 4872">
                  <a:extLst>
                    <a:ext uri="{FF2B5EF4-FFF2-40B4-BE49-F238E27FC236}">
                      <a16:creationId xmlns:a16="http://schemas.microsoft.com/office/drawing/2014/main" id="{F45C6B69-FE7D-B754-1D1B-57B4C8E79D92}"/>
                    </a:ext>
                  </a:extLst>
                </p:cNvPr>
                <p:cNvSpPr>
                  <a:spLocks noChangeAspect="1"/>
                </p:cNvSpPr>
                <p:nvPr/>
              </p:nvSpPr>
              <p:spPr>
                <a:xfrm>
                  <a:off x="4996633" y="6072448"/>
                  <a:ext cx="140205" cy="140195"/>
                </a:xfrm>
                <a:prstGeom prst="ellipse">
                  <a:avLst/>
                </a:prstGeom>
                <a:solidFill>
                  <a:srgbClr val="385723"/>
                </a:solidFill>
                <a:ln w="10484" cap="flat">
                  <a:solidFill>
                    <a:sysClr val="window" lastClr="FFFFFF"/>
                  </a:solidFill>
                  <a:prstDash val="solid"/>
                  <a:miter/>
                </a:ln>
                <a:effectLst>
                  <a:outerShdw blurRad="38100" algn="c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74" name="Oval 4873">
                  <a:extLst>
                    <a:ext uri="{FF2B5EF4-FFF2-40B4-BE49-F238E27FC236}">
                      <a16:creationId xmlns:a16="http://schemas.microsoft.com/office/drawing/2014/main" id="{72CA00E3-8B8C-3A69-F5C2-5F0690F8F170}"/>
                    </a:ext>
                  </a:extLst>
                </p:cNvPr>
                <p:cNvSpPr>
                  <a:spLocks noChangeAspect="1"/>
                </p:cNvSpPr>
                <p:nvPr/>
              </p:nvSpPr>
              <p:spPr>
                <a:xfrm>
                  <a:off x="4867281" y="608823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75" name="Oval 4874">
                  <a:extLst>
                    <a:ext uri="{FF2B5EF4-FFF2-40B4-BE49-F238E27FC236}">
                      <a16:creationId xmlns:a16="http://schemas.microsoft.com/office/drawing/2014/main" id="{CC8558DE-9019-88D0-A116-3BA2FA528846}"/>
                    </a:ext>
                  </a:extLst>
                </p:cNvPr>
                <p:cNvSpPr>
                  <a:spLocks noChangeAspect="1"/>
                </p:cNvSpPr>
                <p:nvPr/>
              </p:nvSpPr>
              <p:spPr>
                <a:xfrm>
                  <a:off x="5333021" y="624124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76" name="Oval 4875">
                  <a:extLst>
                    <a:ext uri="{FF2B5EF4-FFF2-40B4-BE49-F238E27FC236}">
                      <a16:creationId xmlns:a16="http://schemas.microsoft.com/office/drawing/2014/main" id="{EF58563E-9529-923A-F6A5-6AA26911CE8B}"/>
                    </a:ext>
                  </a:extLst>
                </p:cNvPr>
                <p:cNvSpPr>
                  <a:spLocks noChangeAspect="1"/>
                </p:cNvSpPr>
                <p:nvPr/>
              </p:nvSpPr>
              <p:spPr>
                <a:xfrm>
                  <a:off x="5164001" y="624066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77" name="Oval 4876">
                  <a:extLst>
                    <a:ext uri="{FF2B5EF4-FFF2-40B4-BE49-F238E27FC236}">
                      <a16:creationId xmlns:a16="http://schemas.microsoft.com/office/drawing/2014/main" id="{C0A81DA4-9A4E-36E4-4130-37DDD5A770A4}"/>
                    </a:ext>
                  </a:extLst>
                </p:cNvPr>
                <p:cNvSpPr>
                  <a:spLocks noChangeAspect="1"/>
                </p:cNvSpPr>
                <p:nvPr/>
              </p:nvSpPr>
              <p:spPr>
                <a:xfrm>
                  <a:off x="5018557" y="624066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78" name="Oval 4877">
                  <a:extLst>
                    <a:ext uri="{FF2B5EF4-FFF2-40B4-BE49-F238E27FC236}">
                      <a16:creationId xmlns:a16="http://schemas.microsoft.com/office/drawing/2014/main" id="{8B3F3F24-B2C4-AA16-79BB-DAE121A46690}"/>
                    </a:ext>
                  </a:extLst>
                </p:cNvPr>
                <p:cNvSpPr>
                  <a:spLocks noChangeAspect="1"/>
                </p:cNvSpPr>
                <p:nvPr/>
              </p:nvSpPr>
              <p:spPr>
                <a:xfrm>
                  <a:off x="4871575" y="624124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79" name="Oval 4878">
                  <a:extLst>
                    <a:ext uri="{FF2B5EF4-FFF2-40B4-BE49-F238E27FC236}">
                      <a16:creationId xmlns:a16="http://schemas.microsoft.com/office/drawing/2014/main" id="{8F2796FC-30E5-8F70-1FBC-13D25D00EC69}"/>
                    </a:ext>
                  </a:extLst>
                </p:cNvPr>
                <p:cNvSpPr>
                  <a:spLocks noChangeAspect="1"/>
                </p:cNvSpPr>
                <p:nvPr/>
              </p:nvSpPr>
              <p:spPr>
                <a:xfrm>
                  <a:off x="5333021" y="640823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80" name="Oval 4879">
                  <a:extLst>
                    <a:ext uri="{FF2B5EF4-FFF2-40B4-BE49-F238E27FC236}">
                      <a16:creationId xmlns:a16="http://schemas.microsoft.com/office/drawing/2014/main" id="{8BB07058-7E33-7BE7-340F-A9F4338D5969}"/>
                    </a:ext>
                  </a:extLst>
                </p:cNvPr>
                <p:cNvSpPr>
                  <a:spLocks noChangeAspect="1"/>
                </p:cNvSpPr>
                <p:nvPr/>
              </p:nvSpPr>
              <p:spPr>
                <a:xfrm>
                  <a:off x="5158589" y="640823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81" name="Oval 4880">
                  <a:extLst>
                    <a:ext uri="{FF2B5EF4-FFF2-40B4-BE49-F238E27FC236}">
                      <a16:creationId xmlns:a16="http://schemas.microsoft.com/office/drawing/2014/main" id="{3E342FC1-14AD-23C2-CAA4-A97DC0D0702C}"/>
                    </a:ext>
                  </a:extLst>
                </p:cNvPr>
                <p:cNvSpPr>
                  <a:spLocks noChangeAspect="1"/>
                </p:cNvSpPr>
                <p:nvPr/>
              </p:nvSpPr>
              <p:spPr>
                <a:xfrm>
                  <a:off x="5013029" y="640823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82" name="Oval 4881">
                  <a:extLst>
                    <a:ext uri="{FF2B5EF4-FFF2-40B4-BE49-F238E27FC236}">
                      <a16:creationId xmlns:a16="http://schemas.microsoft.com/office/drawing/2014/main" id="{657D14EA-B93A-4F25-8080-80807F234972}"/>
                    </a:ext>
                  </a:extLst>
                </p:cNvPr>
                <p:cNvSpPr>
                  <a:spLocks noChangeAspect="1"/>
                </p:cNvSpPr>
                <p:nvPr/>
              </p:nvSpPr>
              <p:spPr>
                <a:xfrm>
                  <a:off x="4867596" y="640823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83" name="Oval 4882">
                  <a:extLst>
                    <a:ext uri="{FF2B5EF4-FFF2-40B4-BE49-F238E27FC236}">
                      <a16:creationId xmlns:a16="http://schemas.microsoft.com/office/drawing/2014/main" id="{B62FC102-7A7A-0608-D214-3440BDB14B27}"/>
                    </a:ext>
                  </a:extLst>
                </p:cNvPr>
                <p:cNvSpPr>
                  <a:spLocks noChangeAspect="1"/>
                </p:cNvSpPr>
                <p:nvPr/>
              </p:nvSpPr>
              <p:spPr>
                <a:xfrm>
                  <a:off x="5164318" y="655893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84" name="Oval 4883">
                  <a:extLst>
                    <a:ext uri="{FF2B5EF4-FFF2-40B4-BE49-F238E27FC236}">
                      <a16:creationId xmlns:a16="http://schemas.microsoft.com/office/drawing/2014/main" id="{BA6DBE8A-74CD-0DA2-C78D-CD526DE90F05}"/>
                    </a:ext>
                  </a:extLst>
                </p:cNvPr>
                <p:cNvSpPr>
                  <a:spLocks noChangeAspect="1"/>
                </p:cNvSpPr>
                <p:nvPr/>
              </p:nvSpPr>
              <p:spPr>
                <a:xfrm>
                  <a:off x="5013029" y="655781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85" name="Oval 4884">
                  <a:extLst>
                    <a:ext uri="{FF2B5EF4-FFF2-40B4-BE49-F238E27FC236}">
                      <a16:creationId xmlns:a16="http://schemas.microsoft.com/office/drawing/2014/main" id="{C735EFF2-AD3B-6927-1E7D-0453C89D99EF}"/>
                    </a:ext>
                  </a:extLst>
                </p:cNvPr>
                <p:cNvSpPr>
                  <a:spLocks noChangeAspect="1"/>
                </p:cNvSpPr>
                <p:nvPr/>
              </p:nvSpPr>
              <p:spPr>
                <a:xfrm>
                  <a:off x="5018557" y="67060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86" name="Oval 4885">
                  <a:extLst>
                    <a:ext uri="{FF2B5EF4-FFF2-40B4-BE49-F238E27FC236}">
                      <a16:creationId xmlns:a16="http://schemas.microsoft.com/office/drawing/2014/main" id="{9BEEE4E7-7B12-626D-6747-7B78DE83F52A}"/>
                    </a:ext>
                  </a:extLst>
                </p:cNvPr>
                <p:cNvSpPr>
                  <a:spLocks noChangeAspect="1"/>
                </p:cNvSpPr>
                <p:nvPr userDrawn="1"/>
              </p:nvSpPr>
              <p:spPr>
                <a:xfrm>
                  <a:off x="5021961" y="562281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4223" name="Oval 4222">
                <a:extLst>
                  <a:ext uri="{FF2B5EF4-FFF2-40B4-BE49-F238E27FC236}">
                    <a16:creationId xmlns:a16="http://schemas.microsoft.com/office/drawing/2014/main" id="{74E4BB0B-65CE-EC37-7A38-504AF0167BA9}"/>
                  </a:ext>
                </a:extLst>
              </p:cNvPr>
              <p:cNvSpPr>
                <a:spLocks noChangeAspect="1"/>
              </p:cNvSpPr>
              <p:nvPr/>
            </p:nvSpPr>
            <p:spPr>
              <a:xfrm>
                <a:off x="6693061" y="2271361"/>
                <a:ext cx="117511" cy="112034"/>
              </a:xfrm>
              <a:prstGeom prst="ellipse">
                <a:avLst/>
              </a:prstGeom>
              <a:solidFill>
                <a:srgbClr val="385723"/>
              </a:solidFill>
              <a:ln w="10484" cap="flat">
                <a:solidFill>
                  <a:sysClr val="window" lastClr="FFFFFF"/>
                </a:solidFill>
                <a:prstDash val="solid"/>
                <a:miter/>
              </a:ln>
              <a:effectLst>
                <a:outerShdw blurRad="38100" algn="c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4224" name="Oval 4223">
                <a:extLst>
                  <a:ext uri="{FF2B5EF4-FFF2-40B4-BE49-F238E27FC236}">
                    <a16:creationId xmlns:a16="http://schemas.microsoft.com/office/drawing/2014/main" id="{1FF63DBD-78B8-9F16-C721-2FFC07717D7C}"/>
                  </a:ext>
                </a:extLst>
              </p:cNvPr>
              <p:cNvSpPr>
                <a:spLocks noChangeAspect="1"/>
              </p:cNvSpPr>
              <p:nvPr/>
            </p:nvSpPr>
            <p:spPr>
              <a:xfrm>
                <a:off x="8657851" y="3367514"/>
                <a:ext cx="117511" cy="112034"/>
              </a:xfrm>
              <a:prstGeom prst="ellipse">
                <a:avLst/>
              </a:prstGeom>
              <a:solidFill>
                <a:srgbClr val="385723"/>
              </a:solidFill>
              <a:ln w="10484" cap="flat">
                <a:solidFill>
                  <a:sysClr val="window" lastClr="FFFFFF"/>
                </a:solidFill>
                <a:prstDash val="solid"/>
                <a:miter/>
              </a:ln>
              <a:effectLst>
                <a:outerShdw blurRad="38100" algn="c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4225" name="Oval 4224">
                <a:extLst>
                  <a:ext uri="{FF2B5EF4-FFF2-40B4-BE49-F238E27FC236}">
                    <a16:creationId xmlns:a16="http://schemas.microsoft.com/office/drawing/2014/main" id="{34796879-3509-4944-971E-AD7E4A7E29A1}"/>
                  </a:ext>
                </a:extLst>
              </p:cNvPr>
              <p:cNvSpPr>
                <a:spLocks noChangeAspect="1"/>
              </p:cNvSpPr>
              <p:nvPr/>
            </p:nvSpPr>
            <p:spPr>
              <a:xfrm>
                <a:off x="5837128" y="3367514"/>
                <a:ext cx="117511" cy="112034"/>
              </a:xfrm>
              <a:prstGeom prst="ellipse">
                <a:avLst/>
              </a:prstGeom>
              <a:solidFill>
                <a:srgbClr val="385723"/>
              </a:solidFill>
              <a:ln w="10484" cap="flat">
                <a:solidFill>
                  <a:sysClr val="window" lastClr="FFFFFF"/>
                </a:solidFill>
                <a:prstDash val="solid"/>
                <a:miter/>
              </a:ln>
              <a:effectLst>
                <a:outerShdw blurRad="38100" algn="c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4226" name="Oval 4225">
                <a:extLst>
                  <a:ext uri="{FF2B5EF4-FFF2-40B4-BE49-F238E27FC236}">
                    <a16:creationId xmlns:a16="http://schemas.microsoft.com/office/drawing/2014/main" id="{401DF1CF-1E8B-17FE-CC43-0D59F99FAA39}"/>
                  </a:ext>
                </a:extLst>
              </p:cNvPr>
              <p:cNvSpPr>
                <a:spLocks noChangeAspect="1"/>
              </p:cNvSpPr>
              <p:nvPr/>
            </p:nvSpPr>
            <p:spPr>
              <a:xfrm>
                <a:off x="5839827" y="4116027"/>
                <a:ext cx="117511" cy="112034"/>
              </a:xfrm>
              <a:prstGeom prst="ellipse">
                <a:avLst/>
              </a:prstGeom>
              <a:solidFill>
                <a:srgbClr val="385723"/>
              </a:solidFill>
              <a:ln w="10484" cap="flat">
                <a:solidFill>
                  <a:sysClr val="window" lastClr="FFFFFF"/>
                </a:solidFill>
                <a:prstDash val="solid"/>
                <a:miter/>
              </a:ln>
              <a:effectLst>
                <a:outerShdw blurRad="38100" algn="c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4227" name="Oval 4226">
                <a:extLst>
                  <a:ext uri="{FF2B5EF4-FFF2-40B4-BE49-F238E27FC236}">
                    <a16:creationId xmlns:a16="http://schemas.microsoft.com/office/drawing/2014/main" id="{D666AB10-F3D7-2CF0-B335-34B19C639E47}"/>
                  </a:ext>
                </a:extLst>
              </p:cNvPr>
              <p:cNvSpPr>
                <a:spLocks noChangeAspect="1"/>
              </p:cNvSpPr>
              <p:nvPr/>
            </p:nvSpPr>
            <p:spPr>
              <a:xfrm>
                <a:off x="6086744" y="4234736"/>
                <a:ext cx="117511" cy="112034"/>
              </a:xfrm>
              <a:prstGeom prst="ellipse">
                <a:avLst/>
              </a:prstGeom>
              <a:solidFill>
                <a:srgbClr val="385723"/>
              </a:solidFill>
              <a:ln w="10484" cap="flat">
                <a:solidFill>
                  <a:sysClr val="window" lastClr="FFFFFF"/>
                </a:solidFill>
                <a:prstDash val="solid"/>
                <a:miter/>
              </a:ln>
              <a:effectLst>
                <a:outerShdw blurRad="38100" algn="c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4228" name="Oval 4227">
                <a:extLst>
                  <a:ext uri="{FF2B5EF4-FFF2-40B4-BE49-F238E27FC236}">
                    <a16:creationId xmlns:a16="http://schemas.microsoft.com/office/drawing/2014/main" id="{5DC6E0A6-2604-9070-7EF2-DE12E23C9220}"/>
                  </a:ext>
                </a:extLst>
              </p:cNvPr>
              <p:cNvSpPr>
                <a:spLocks noChangeAspect="1"/>
              </p:cNvSpPr>
              <p:nvPr/>
            </p:nvSpPr>
            <p:spPr>
              <a:xfrm>
                <a:off x="6814456" y="4355521"/>
                <a:ext cx="117511" cy="112034"/>
              </a:xfrm>
              <a:prstGeom prst="ellipse">
                <a:avLst/>
              </a:prstGeom>
              <a:solidFill>
                <a:srgbClr val="385723"/>
              </a:solidFill>
              <a:ln w="10484" cap="flat">
                <a:solidFill>
                  <a:sysClr val="window" lastClr="FFFFFF"/>
                </a:solidFill>
                <a:prstDash val="solid"/>
                <a:miter/>
              </a:ln>
              <a:effectLst>
                <a:outerShdw blurRad="38100" algn="c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4229" name="Oval 4228">
                <a:extLst>
                  <a:ext uri="{FF2B5EF4-FFF2-40B4-BE49-F238E27FC236}">
                    <a16:creationId xmlns:a16="http://schemas.microsoft.com/office/drawing/2014/main" id="{D6A68F93-8BC8-4493-78B5-F64B6D9E40C6}"/>
                  </a:ext>
                </a:extLst>
              </p:cNvPr>
              <p:cNvSpPr>
                <a:spLocks noChangeAspect="1"/>
              </p:cNvSpPr>
              <p:nvPr/>
            </p:nvSpPr>
            <p:spPr>
              <a:xfrm>
                <a:off x="7188699" y="5220975"/>
                <a:ext cx="117511" cy="112034"/>
              </a:xfrm>
              <a:prstGeom prst="ellipse">
                <a:avLst/>
              </a:prstGeom>
              <a:solidFill>
                <a:srgbClr val="385723"/>
              </a:solidFill>
              <a:ln w="10484" cap="flat">
                <a:solidFill>
                  <a:sysClr val="window" lastClr="FFFFFF"/>
                </a:solidFill>
                <a:prstDash val="solid"/>
                <a:miter/>
              </a:ln>
              <a:effectLst>
                <a:outerShdw blurRad="38100" algn="c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4230" name="Oval 4229">
                <a:extLst>
                  <a:ext uri="{FF2B5EF4-FFF2-40B4-BE49-F238E27FC236}">
                    <a16:creationId xmlns:a16="http://schemas.microsoft.com/office/drawing/2014/main" id="{7302B21C-A38B-F9E5-342F-78532DB85A6E}"/>
                  </a:ext>
                </a:extLst>
              </p:cNvPr>
              <p:cNvSpPr>
                <a:spLocks noChangeAspect="1"/>
              </p:cNvSpPr>
              <p:nvPr/>
            </p:nvSpPr>
            <p:spPr>
              <a:xfrm>
                <a:off x="6327156" y="5472666"/>
                <a:ext cx="117511" cy="112034"/>
              </a:xfrm>
              <a:prstGeom prst="ellipse">
                <a:avLst/>
              </a:prstGeom>
              <a:solidFill>
                <a:srgbClr val="385723"/>
              </a:solidFill>
              <a:ln w="10484" cap="flat">
                <a:solidFill>
                  <a:sysClr val="window" lastClr="FFFFFF"/>
                </a:solidFill>
                <a:prstDash val="solid"/>
                <a:miter/>
              </a:ln>
              <a:effectLst>
                <a:outerShdw blurRad="38100" algn="c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4231" name="Oval 4230">
                <a:extLst>
                  <a:ext uri="{FF2B5EF4-FFF2-40B4-BE49-F238E27FC236}">
                    <a16:creationId xmlns:a16="http://schemas.microsoft.com/office/drawing/2014/main" id="{02D83133-AF2D-A372-FA0D-F9D54BA711A7}"/>
                  </a:ext>
                </a:extLst>
              </p:cNvPr>
              <p:cNvSpPr>
                <a:spLocks noChangeAspect="1"/>
              </p:cNvSpPr>
              <p:nvPr/>
            </p:nvSpPr>
            <p:spPr>
              <a:xfrm>
                <a:off x="6458906" y="5589606"/>
                <a:ext cx="117511" cy="112034"/>
              </a:xfrm>
              <a:prstGeom prst="ellipse">
                <a:avLst/>
              </a:prstGeom>
              <a:solidFill>
                <a:srgbClr val="385723"/>
              </a:solidFill>
              <a:ln w="10484" cap="flat">
                <a:solidFill>
                  <a:sysClr val="window" lastClr="FFFFFF"/>
                </a:solidFill>
                <a:prstDash val="solid"/>
                <a:miter/>
              </a:ln>
              <a:effectLst>
                <a:outerShdw blurRad="38100" algn="c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4232" name="Oval 4231">
                <a:extLst>
                  <a:ext uri="{FF2B5EF4-FFF2-40B4-BE49-F238E27FC236}">
                    <a16:creationId xmlns:a16="http://schemas.microsoft.com/office/drawing/2014/main" id="{21986BCE-6448-A332-B792-2BD402706E28}"/>
                  </a:ext>
                </a:extLst>
              </p:cNvPr>
              <p:cNvSpPr>
                <a:spLocks noChangeAspect="1"/>
              </p:cNvSpPr>
              <p:nvPr/>
            </p:nvSpPr>
            <p:spPr>
              <a:xfrm>
                <a:off x="6459152" y="5712637"/>
                <a:ext cx="117511" cy="112034"/>
              </a:xfrm>
              <a:prstGeom prst="ellipse">
                <a:avLst/>
              </a:prstGeom>
              <a:solidFill>
                <a:srgbClr val="385723"/>
              </a:solidFill>
              <a:ln w="10484" cap="flat">
                <a:solidFill>
                  <a:sysClr val="window" lastClr="FFFFFF"/>
                </a:solidFill>
                <a:prstDash val="solid"/>
                <a:miter/>
              </a:ln>
              <a:effectLst>
                <a:outerShdw blurRad="38100" algn="c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4233" name="Oval 4232">
                <a:extLst>
                  <a:ext uri="{FF2B5EF4-FFF2-40B4-BE49-F238E27FC236}">
                    <a16:creationId xmlns:a16="http://schemas.microsoft.com/office/drawing/2014/main" id="{25512A40-BE4A-3030-73D1-0BFD338F209D}"/>
                  </a:ext>
                </a:extLst>
              </p:cNvPr>
              <p:cNvSpPr>
                <a:spLocks noChangeAspect="1"/>
              </p:cNvSpPr>
              <p:nvPr/>
            </p:nvSpPr>
            <p:spPr>
              <a:xfrm>
                <a:off x="6459152" y="5846908"/>
                <a:ext cx="117511" cy="112034"/>
              </a:xfrm>
              <a:prstGeom prst="ellipse">
                <a:avLst/>
              </a:prstGeom>
              <a:solidFill>
                <a:srgbClr val="385723"/>
              </a:solidFill>
              <a:ln w="10484" cap="flat">
                <a:solidFill>
                  <a:sysClr val="window" lastClr="FFFFFF"/>
                </a:solidFill>
                <a:prstDash val="solid"/>
                <a:miter/>
              </a:ln>
              <a:effectLst>
                <a:outerShdw blurRad="38100" algn="c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4234" name="Oval 4233">
                <a:extLst>
                  <a:ext uri="{FF2B5EF4-FFF2-40B4-BE49-F238E27FC236}">
                    <a16:creationId xmlns:a16="http://schemas.microsoft.com/office/drawing/2014/main" id="{F7AF6B82-66D2-C6C2-FC6D-B3EB2251D8FE}"/>
                  </a:ext>
                </a:extLst>
              </p:cNvPr>
              <p:cNvSpPr>
                <a:spLocks noChangeAspect="1"/>
              </p:cNvSpPr>
              <p:nvPr/>
            </p:nvSpPr>
            <p:spPr>
              <a:xfrm>
                <a:off x="6576120" y="5963876"/>
                <a:ext cx="117511" cy="112034"/>
              </a:xfrm>
              <a:prstGeom prst="ellipse">
                <a:avLst/>
              </a:prstGeom>
              <a:solidFill>
                <a:srgbClr val="385723"/>
              </a:solidFill>
              <a:ln w="10484" cap="flat">
                <a:solidFill>
                  <a:sysClr val="window" lastClr="FFFFFF"/>
                </a:solidFill>
                <a:prstDash val="solid"/>
                <a:miter/>
              </a:ln>
              <a:effectLst>
                <a:outerShdw blurRad="38100" algn="c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4235" name="Oval 4234">
                <a:extLst>
                  <a:ext uri="{FF2B5EF4-FFF2-40B4-BE49-F238E27FC236}">
                    <a16:creationId xmlns:a16="http://schemas.microsoft.com/office/drawing/2014/main" id="{8AD026AC-A4A0-EFAD-783F-CBD544566879}"/>
                  </a:ext>
                </a:extLst>
              </p:cNvPr>
              <p:cNvSpPr>
                <a:spLocks noChangeAspect="1"/>
              </p:cNvSpPr>
              <p:nvPr/>
            </p:nvSpPr>
            <p:spPr>
              <a:xfrm>
                <a:off x="6607078" y="6049071"/>
                <a:ext cx="117511" cy="112034"/>
              </a:xfrm>
              <a:prstGeom prst="ellipse">
                <a:avLst/>
              </a:prstGeom>
              <a:solidFill>
                <a:srgbClr val="385723"/>
              </a:solidFill>
              <a:ln w="10484" cap="flat">
                <a:solidFill>
                  <a:sysClr val="window" lastClr="FFFFFF"/>
                </a:solidFill>
                <a:prstDash val="solid"/>
                <a:miter/>
              </a:ln>
              <a:effectLst>
                <a:outerShdw blurRad="38100" algn="c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4236" name="Oval 4235">
                <a:extLst>
                  <a:ext uri="{FF2B5EF4-FFF2-40B4-BE49-F238E27FC236}">
                    <a16:creationId xmlns:a16="http://schemas.microsoft.com/office/drawing/2014/main" id="{AA784F04-81B7-7113-B865-8EF1E6D47E7F}"/>
                  </a:ext>
                </a:extLst>
              </p:cNvPr>
              <p:cNvSpPr>
                <a:spLocks noChangeAspect="1"/>
              </p:cNvSpPr>
              <p:nvPr userDrawn="1"/>
            </p:nvSpPr>
            <p:spPr>
              <a:xfrm>
                <a:off x="6355208" y="5526741"/>
                <a:ext cx="117511" cy="112034"/>
              </a:xfrm>
              <a:prstGeom prst="ellipse">
                <a:avLst/>
              </a:prstGeom>
              <a:solidFill>
                <a:srgbClr val="385723"/>
              </a:solidFill>
              <a:ln w="10484" cap="flat">
                <a:solidFill>
                  <a:sysClr val="window" lastClr="FFFFFF"/>
                </a:solidFill>
                <a:prstDash val="solid"/>
                <a:miter/>
              </a:ln>
              <a:effectLst>
                <a:outerShdw blurRad="38100" algn="c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grpSp>
        <p:sp>
          <p:nvSpPr>
            <p:cNvPr id="4205" name="TextBox 4204">
              <a:extLst>
                <a:ext uri="{FF2B5EF4-FFF2-40B4-BE49-F238E27FC236}">
                  <a16:creationId xmlns:a16="http://schemas.microsoft.com/office/drawing/2014/main" id="{5A42270C-F754-806C-D93F-F38D7DB0AD39}"/>
                </a:ext>
              </a:extLst>
            </p:cNvPr>
            <p:cNvSpPr txBox="1"/>
            <p:nvPr userDrawn="1"/>
          </p:nvSpPr>
          <p:spPr>
            <a:xfrm>
              <a:off x="7491663" y="2645537"/>
              <a:ext cx="777369" cy="153888"/>
            </a:xfrm>
            <a:prstGeom prst="rect">
              <a:avLst/>
            </a:prstGeom>
            <a:noFill/>
          </p:spPr>
          <p:txBody>
            <a:bodyPr wrap="square" lIns="0" tIns="0" rIns="0" bIns="0" anchor="ctr">
              <a:spAutoFit/>
            </a:bodyPr>
            <a:lstStyle>
              <a:defPPr>
                <a:defRPr lang="en-US"/>
              </a:defPPr>
              <a:lvl1pPr>
                <a:spcBef>
                  <a:spcPts val="200"/>
                </a:spcBef>
                <a:spcAft>
                  <a:spcPts val="200"/>
                </a:spcAft>
                <a:defRPr sz="1200" b="1">
                  <a:latin typeface="+mj-lt"/>
                </a:defRPr>
              </a:lvl1pPr>
            </a:lstStyle>
            <a:p>
              <a:pPr marL="0" marR="0" lvl="0" indent="0" algn="r" defTabSz="914400" eaLnBrk="1" fontAlgn="auto" latinLnBrk="0" hangingPunct="1">
                <a:lnSpc>
                  <a:spcPct val="100000"/>
                </a:lnSpc>
                <a:spcBef>
                  <a:spcPts val="200"/>
                </a:spcBef>
                <a:spcAft>
                  <a:spcPts val="20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rPr>
                <a:t>Ahmedabad</a:t>
              </a:r>
            </a:p>
          </p:txBody>
        </p:sp>
        <p:sp>
          <p:nvSpPr>
            <p:cNvPr id="4206" name="TextBox 4205">
              <a:extLst>
                <a:ext uri="{FF2B5EF4-FFF2-40B4-BE49-F238E27FC236}">
                  <a16:creationId xmlns:a16="http://schemas.microsoft.com/office/drawing/2014/main" id="{D23C6DCE-8326-45FC-0447-83712F1E7F46}"/>
                </a:ext>
              </a:extLst>
            </p:cNvPr>
            <p:cNvSpPr txBox="1"/>
            <p:nvPr userDrawn="1"/>
          </p:nvSpPr>
          <p:spPr>
            <a:xfrm>
              <a:off x="6934032" y="3480277"/>
              <a:ext cx="842882" cy="153888"/>
            </a:xfrm>
            <a:prstGeom prst="rect">
              <a:avLst/>
            </a:prstGeom>
            <a:noFill/>
          </p:spPr>
          <p:txBody>
            <a:bodyPr wrap="square" lIns="0" tIns="0" rIns="0" bIns="0" anchor="ctr">
              <a:spAutoFit/>
            </a:bodyPr>
            <a:lstStyle>
              <a:defPPr>
                <a:defRPr lang="en-US"/>
              </a:defPPr>
              <a:lvl1pPr>
                <a:spcBef>
                  <a:spcPts val="200"/>
                </a:spcBef>
                <a:spcAft>
                  <a:spcPts val="200"/>
                </a:spcAft>
                <a:defRPr sz="1200" b="1">
                  <a:latin typeface="+mj-lt"/>
                </a:defRPr>
              </a:lvl1pPr>
            </a:lstStyle>
            <a:p>
              <a:pPr marL="0" marR="0" lvl="0" indent="0" algn="r" defTabSz="914400" eaLnBrk="1" fontAlgn="auto" latinLnBrk="0" hangingPunct="1">
                <a:lnSpc>
                  <a:spcPct val="100000"/>
                </a:lnSpc>
                <a:spcBef>
                  <a:spcPts val="200"/>
                </a:spcBef>
                <a:spcAft>
                  <a:spcPts val="20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rPr>
                <a:t>Mumbai</a:t>
              </a:r>
            </a:p>
          </p:txBody>
        </p:sp>
        <p:sp>
          <p:nvSpPr>
            <p:cNvPr id="4207" name="TextBox 4206">
              <a:extLst>
                <a:ext uri="{FF2B5EF4-FFF2-40B4-BE49-F238E27FC236}">
                  <a16:creationId xmlns:a16="http://schemas.microsoft.com/office/drawing/2014/main" id="{74889D6E-8BAC-057A-E8B6-7E622AF42E0D}"/>
                </a:ext>
              </a:extLst>
            </p:cNvPr>
            <p:cNvSpPr txBox="1"/>
            <p:nvPr userDrawn="1"/>
          </p:nvSpPr>
          <p:spPr>
            <a:xfrm>
              <a:off x="7308845" y="3640142"/>
              <a:ext cx="623864" cy="153888"/>
            </a:xfrm>
            <a:prstGeom prst="rect">
              <a:avLst/>
            </a:prstGeom>
            <a:noFill/>
          </p:spPr>
          <p:txBody>
            <a:bodyPr wrap="square" lIns="0" tIns="0" rIns="0" bIns="0" anchor="ctr">
              <a:spAutoFit/>
            </a:bodyPr>
            <a:lstStyle>
              <a:defPPr>
                <a:defRPr lang="en-US"/>
              </a:defPPr>
              <a:lvl1pPr>
                <a:spcBef>
                  <a:spcPts val="200"/>
                </a:spcBef>
                <a:spcAft>
                  <a:spcPts val="200"/>
                </a:spcAft>
                <a:defRPr sz="1200" b="1">
                  <a:latin typeface="+mj-lt"/>
                </a:defRPr>
              </a:lvl1pPr>
            </a:lstStyle>
            <a:p>
              <a:pPr marL="0" marR="0" lvl="0" indent="0" algn="r" defTabSz="914400" eaLnBrk="1" fontAlgn="auto" latinLnBrk="0" hangingPunct="1">
                <a:lnSpc>
                  <a:spcPct val="100000"/>
                </a:lnSpc>
                <a:spcBef>
                  <a:spcPts val="200"/>
                </a:spcBef>
                <a:spcAft>
                  <a:spcPts val="20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rPr>
                <a:t>Pune</a:t>
              </a:r>
            </a:p>
          </p:txBody>
        </p:sp>
        <p:sp>
          <p:nvSpPr>
            <p:cNvPr id="4208" name="TextBox 4207">
              <a:extLst>
                <a:ext uri="{FF2B5EF4-FFF2-40B4-BE49-F238E27FC236}">
                  <a16:creationId xmlns:a16="http://schemas.microsoft.com/office/drawing/2014/main" id="{B5B11B7D-E4F0-7F91-8EF2-4F00FC7E450B}"/>
                </a:ext>
              </a:extLst>
            </p:cNvPr>
            <p:cNvSpPr txBox="1"/>
            <p:nvPr userDrawn="1"/>
          </p:nvSpPr>
          <p:spPr>
            <a:xfrm>
              <a:off x="7306005" y="4848210"/>
              <a:ext cx="975707" cy="153888"/>
            </a:xfrm>
            <a:prstGeom prst="rect">
              <a:avLst/>
            </a:prstGeom>
            <a:noFill/>
          </p:spPr>
          <p:txBody>
            <a:bodyPr wrap="square" lIns="0" tIns="0" rIns="0" bIns="0" anchor="ctr">
              <a:spAutoFit/>
            </a:bodyPr>
            <a:lstStyle>
              <a:defPPr>
                <a:defRPr lang="en-US"/>
              </a:defPPr>
              <a:lvl1pPr>
                <a:spcBef>
                  <a:spcPts val="200"/>
                </a:spcBef>
                <a:spcAft>
                  <a:spcPts val="200"/>
                </a:spcAft>
                <a:defRPr sz="1200" b="1">
                  <a:latin typeface="+mj-lt"/>
                </a:defRPr>
              </a:lvl1pPr>
            </a:lstStyle>
            <a:p>
              <a:pPr marL="0" marR="0" lvl="0" indent="0" algn="r" defTabSz="914400" eaLnBrk="1" fontAlgn="auto" latinLnBrk="0" hangingPunct="1">
                <a:lnSpc>
                  <a:spcPct val="100000"/>
                </a:lnSpc>
                <a:spcBef>
                  <a:spcPts val="200"/>
                </a:spcBef>
                <a:spcAft>
                  <a:spcPts val="20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rPr>
                <a:t>Kozhikode</a:t>
              </a:r>
            </a:p>
          </p:txBody>
        </p:sp>
        <p:sp>
          <p:nvSpPr>
            <p:cNvPr id="4209" name="TextBox 4208">
              <a:extLst>
                <a:ext uri="{FF2B5EF4-FFF2-40B4-BE49-F238E27FC236}">
                  <a16:creationId xmlns:a16="http://schemas.microsoft.com/office/drawing/2014/main" id="{1348629D-E4D0-9246-3196-E2BE4385CAFF}"/>
                </a:ext>
              </a:extLst>
            </p:cNvPr>
            <p:cNvSpPr txBox="1"/>
            <p:nvPr userDrawn="1"/>
          </p:nvSpPr>
          <p:spPr>
            <a:xfrm>
              <a:off x="7891486" y="4975893"/>
              <a:ext cx="464576" cy="153888"/>
            </a:xfrm>
            <a:prstGeom prst="rect">
              <a:avLst/>
            </a:prstGeom>
            <a:noFill/>
          </p:spPr>
          <p:txBody>
            <a:bodyPr wrap="square" lIns="0" tIns="0" rIns="0" bIns="0" anchor="ctr">
              <a:spAutoFit/>
            </a:bodyPr>
            <a:lstStyle>
              <a:defPPr>
                <a:defRPr lang="en-US"/>
              </a:defPPr>
              <a:lvl1pPr>
                <a:spcBef>
                  <a:spcPts val="200"/>
                </a:spcBef>
                <a:spcAft>
                  <a:spcPts val="200"/>
                </a:spcAft>
                <a:defRPr sz="1200" b="1">
                  <a:latin typeface="+mj-lt"/>
                </a:defRPr>
              </a:lvl1pPr>
            </a:lstStyle>
            <a:p>
              <a:pPr marL="0" marR="0" lvl="0" indent="0" algn="r" defTabSz="914400" eaLnBrk="1" fontAlgn="auto" latinLnBrk="0" hangingPunct="1">
                <a:lnSpc>
                  <a:spcPct val="100000"/>
                </a:lnSpc>
                <a:spcBef>
                  <a:spcPts val="200"/>
                </a:spcBef>
                <a:spcAft>
                  <a:spcPts val="20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rPr>
                <a:t>Cochin</a:t>
              </a:r>
            </a:p>
          </p:txBody>
        </p:sp>
        <p:sp>
          <p:nvSpPr>
            <p:cNvPr id="4210" name="TextBox 4209">
              <a:extLst>
                <a:ext uri="{FF2B5EF4-FFF2-40B4-BE49-F238E27FC236}">
                  <a16:creationId xmlns:a16="http://schemas.microsoft.com/office/drawing/2014/main" id="{73885710-780B-5A67-D672-492C91844BC9}"/>
                </a:ext>
              </a:extLst>
            </p:cNvPr>
            <p:cNvSpPr txBox="1"/>
            <p:nvPr userDrawn="1"/>
          </p:nvSpPr>
          <p:spPr>
            <a:xfrm>
              <a:off x="7471816" y="5112061"/>
              <a:ext cx="904588" cy="153888"/>
            </a:xfrm>
            <a:prstGeom prst="rect">
              <a:avLst/>
            </a:prstGeom>
            <a:noFill/>
          </p:spPr>
          <p:txBody>
            <a:bodyPr wrap="square" lIns="0" tIns="0" rIns="0" bIns="0" anchor="ctr">
              <a:spAutoFit/>
            </a:bodyPr>
            <a:lstStyle>
              <a:defPPr>
                <a:defRPr lang="en-US"/>
              </a:defPPr>
              <a:lvl1pPr>
                <a:spcBef>
                  <a:spcPts val="200"/>
                </a:spcBef>
                <a:spcAft>
                  <a:spcPts val="200"/>
                </a:spcAft>
                <a:defRPr sz="1200" b="1">
                  <a:latin typeface="+mj-lt"/>
                </a:defRPr>
              </a:lvl1pPr>
            </a:lstStyle>
            <a:p>
              <a:pPr marL="0" marR="0" lvl="0" indent="0" algn="r" defTabSz="914400" eaLnBrk="1" fontAlgn="auto" latinLnBrk="0" hangingPunct="1">
                <a:lnSpc>
                  <a:spcPct val="100000"/>
                </a:lnSpc>
                <a:spcBef>
                  <a:spcPts val="200"/>
                </a:spcBef>
                <a:spcAft>
                  <a:spcPts val="20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rPr>
                <a:t>Kottayam</a:t>
              </a:r>
            </a:p>
          </p:txBody>
        </p:sp>
        <p:sp>
          <p:nvSpPr>
            <p:cNvPr id="4211" name="TextBox 4210">
              <a:extLst>
                <a:ext uri="{FF2B5EF4-FFF2-40B4-BE49-F238E27FC236}">
                  <a16:creationId xmlns:a16="http://schemas.microsoft.com/office/drawing/2014/main" id="{2B1CD53F-69A2-1B90-DD49-AAE9F7053331}"/>
                </a:ext>
              </a:extLst>
            </p:cNvPr>
            <p:cNvSpPr txBox="1"/>
            <p:nvPr userDrawn="1"/>
          </p:nvSpPr>
          <p:spPr>
            <a:xfrm>
              <a:off x="6678382" y="5384397"/>
              <a:ext cx="1822523" cy="153888"/>
            </a:xfrm>
            <a:prstGeom prst="rect">
              <a:avLst/>
            </a:prstGeom>
            <a:noFill/>
          </p:spPr>
          <p:txBody>
            <a:bodyPr wrap="square" lIns="0" tIns="0" rIns="0" bIns="0" anchor="ctr">
              <a:spAutoFit/>
            </a:bodyPr>
            <a:lstStyle>
              <a:defPPr>
                <a:defRPr lang="en-US"/>
              </a:defPPr>
              <a:lvl1pPr>
                <a:spcBef>
                  <a:spcPts val="200"/>
                </a:spcBef>
                <a:spcAft>
                  <a:spcPts val="200"/>
                </a:spcAft>
                <a:defRPr sz="1200" b="1">
                  <a:latin typeface="+mj-lt"/>
                </a:defRPr>
              </a:lvl1pPr>
            </a:lstStyle>
            <a:p>
              <a:pPr marL="0" marR="0" lvl="0" indent="0" algn="r" defTabSz="914400" eaLnBrk="1" fontAlgn="auto" latinLnBrk="0" hangingPunct="1">
                <a:lnSpc>
                  <a:spcPct val="100000"/>
                </a:lnSpc>
                <a:spcBef>
                  <a:spcPts val="200"/>
                </a:spcBef>
                <a:spcAft>
                  <a:spcPts val="200"/>
                </a:spcAft>
                <a:buClrTx/>
                <a:buSzTx/>
                <a:buFontTx/>
                <a:buNone/>
                <a:tabLst/>
                <a:defRPr/>
              </a:pPr>
              <a:r>
                <a:rPr kumimoji="0" lang="en-IN" sz="1000" b="0" i="0" u="none" strike="noStrike" kern="0" cap="none" spc="0" normalizeH="0" baseline="0" noProof="0">
                  <a:ln>
                    <a:noFill/>
                  </a:ln>
                  <a:solidFill>
                    <a:prstClr val="black"/>
                  </a:solidFill>
                  <a:effectLst/>
                  <a:uLnTx/>
                  <a:uFillTx/>
                  <a:latin typeface="Segoe UI"/>
                </a:rPr>
                <a:t>Trivandrum</a:t>
              </a:r>
              <a:endParaRPr kumimoji="0" lang="en-US" sz="1000" b="0" i="0" u="none" strike="noStrike" kern="0" cap="none" spc="0" normalizeH="0" baseline="0" noProof="0">
                <a:ln>
                  <a:noFill/>
                </a:ln>
                <a:solidFill>
                  <a:prstClr val="black"/>
                </a:solidFill>
                <a:effectLst/>
                <a:uLnTx/>
                <a:uFillTx/>
                <a:latin typeface="Segoe UI"/>
              </a:endParaRPr>
            </a:p>
          </p:txBody>
        </p:sp>
        <p:sp>
          <p:nvSpPr>
            <p:cNvPr id="4212" name="TextBox 4211">
              <a:extLst>
                <a:ext uri="{FF2B5EF4-FFF2-40B4-BE49-F238E27FC236}">
                  <a16:creationId xmlns:a16="http://schemas.microsoft.com/office/drawing/2014/main" id="{50507234-A4FC-ADA5-2596-4630D9984742}"/>
                </a:ext>
              </a:extLst>
            </p:cNvPr>
            <p:cNvSpPr txBox="1"/>
            <p:nvPr userDrawn="1"/>
          </p:nvSpPr>
          <p:spPr>
            <a:xfrm>
              <a:off x="7571829" y="5248229"/>
              <a:ext cx="904588" cy="153888"/>
            </a:xfrm>
            <a:prstGeom prst="rect">
              <a:avLst/>
            </a:prstGeom>
            <a:noFill/>
          </p:spPr>
          <p:txBody>
            <a:bodyPr wrap="square" lIns="0" tIns="0" rIns="0" bIns="0" anchor="ctr">
              <a:spAutoFit/>
            </a:bodyPr>
            <a:lstStyle>
              <a:defPPr>
                <a:defRPr lang="en-US"/>
              </a:defPPr>
              <a:lvl1pPr>
                <a:spcBef>
                  <a:spcPts val="200"/>
                </a:spcBef>
                <a:spcAft>
                  <a:spcPts val="200"/>
                </a:spcAft>
                <a:defRPr sz="1200" b="1">
                  <a:latin typeface="+mj-lt"/>
                </a:defRPr>
              </a:lvl1pPr>
            </a:lstStyle>
            <a:p>
              <a:pPr marL="0" marR="0" lvl="0" indent="0" algn="r" defTabSz="914400" eaLnBrk="1" fontAlgn="auto" latinLnBrk="0" hangingPunct="1">
                <a:lnSpc>
                  <a:spcPct val="100000"/>
                </a:lnSpc>
                <a:spcBef>
                  <a:spcPts val="200"/>
                </a:spcBef>
                <a:spcAft>
                  <a:spcPts val="20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rPr>
                <a:t>Alleppey</a:t>
              </a:r>
            </a:p>
          </p:txBody>
        </p:sp>
        <p:sp>
          <p:nvSpPr>
            <p:cNvPr id="4213" name="TextBox 4212">
              <a:extLst>
                <a:ext uri="{FF2B5EF4-FFF2-40B4-BE49-F238E27FC236}">
                  <a16:creationId xmlns:a16="http://schemas.microsoft.com/office/drawing/2014/main" id="{9E3E5351-6062-74BA-255F-D4894119EC8B}"/>
                </a:ext>
              </a:extLst>
            </p:cNvPr>
            <p:cNvSpPr txBox="1"/>
            <p:nvPr userDrawn="1"/>
          </p:nvSpPr>
          <p:spPr>
            <a:xfrm>
              <a:off x="8439825" y="4741556"/>
              <a:ext cx="768107" cy="153888"/>
            </a:xfrm>
            <a:prstGeom prst="rect">
              <a:avLst/>
            </a:prstGeom>
            <a:noFill/>
          </p:spPr>
          <p:txBody>
            <a:bodyPr wrap="square" lIns="0" tIns="0" rIns="0" bIns="0" anchor="ctr">
              <a:spAutoFit/>
            </a:bodyPr>
            <a:lstStyle>
              <a:defPPr>
                <a:defRPr lang="en-US"/>
              </a:defPPr>
              <a:lvl1pPr>
                <a:spcBef>
                  <a:spcPts val="200"/>
                </a:spcBef>
                <a:spcAft>
                  <a:spcPts val="200"/>
                </a:spcAft>
                <a:defRPr sz="1200" b="1">
                  <a:latin typeface="+mj-lt"/>
                </a:defRPr>
              </a:lvl1pPr>
            </a:lstStyle>
            <a:p>
              <a:pPr marL="0" marR="0" lvl="0" indent="0" defTabSz="914400" eaLnBrk="1" fontAlgn="auto" latinLnBrk="0" hangingPunct="1">
                <a:lnSpc>
                  <a:spcPct val="100000"/>
                </a:lnSpc>
                <a:spcBef>
                  <a:spcPts val="200"/>
                </a:spcBef>
                <a:spcAft>
                  <a:spcPts val="20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rPr>
                <a:t>Malappuram</a:t>
              </a:r>
            </a:p>
          </p:txBody>
        </p:sp>
        <p:sp>
          <p:nvSpPr>
            <p:cNvPr id="4214" name="TextBox 4213">
              <a:extLst>
                <a:ext uri="{FF2B5EF4-FFF2-40B4-BE49-F238E27FC236}">
                  <a16:creationId xmlns:a16="http://schemas.microsoft.com/office/drawing/2014/main" id="{2444A542-4977-50C0-E81D-E4428E2304FF}"/>
                </a:ext>
              </a:extLst>
            </p:cNvPr>
            <p:cNvSpPr txBox="1"/>
            <p:nvPr userDrawn="1"/>
          </p:nvSpPr>
          <p:spPr>
            <a:xfrm>
              <a:off x="8419848" y="4371134"/>
              <a:ext cx="609851" cy="153888"/>
            </a:xfrm>
            <a:prstGeom prst="rect">
              <a:avLst/>
            </a:prstGeom>
            <a:noFill/>
          </p:spPr>
          <p:txBody>
            <a:bodyPr wrap="square" lIns="0" tIns="0" rIns="0" bIns="0" anchor="ctr">
              <a:spAutoFit/>
            </a:bodyPr>
            <a:lstStyle>
              <a:defPPr>
                <a:defRPr lang="en-US"/>
              </a:defPPr>
              <a:lvl1pPr>
                <a:spcBef>
                  <a:spcPts val="200"/>
                </a:spcBef>
                <a:spcAft>
                  <a:spcPts val="200"/>
                </a:spcAft>
                <a:defRPr sz="1200" b="1">
                  <a:latin typeface="+mj-lt"/>
                </a:defRPr>
              </a:lvl1pPr>
            </a:lstStyle>
            <a:p>
              <a:pPr marL="0" marR="0" lvl="0" indent="0" defTabSz="914400" eaLnBrk="1" fontAlgn="auto" latinLnBrk="0" hangingPunct="1">
                <a:lnSpc>
                  <a:spcPct val="100000"/>
                </a:lnSpc>
                <a:spcBef>
                  <a:spcPts val="200"/>
                </a:spcBef>
                <a:spcAft>
                  <a:spcPts val="20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rPr>
                <a:t>Bangalore</a:t>
              </a:r>
            </a:p>
          </p:txBody>
        </p:sp>
        <p:sp>
          <p:nvSpPr>
            <p:cNvPr id="4215" name="TextBox 4214">
              <a:extLst>
                <a:ext uri="{FF2B5EF4-FFF2-40B4-BE49-F238E27FC236}">
                  <a16:creationId xmlns:a16="http://schemas.microsoft.com/office/drawing/2014/main" id="{A3937451-C82B-5379-C328-E6E6C2796D49}"/>
                </a:ext>
              </a:extLst>
            </p:cNvPr>
            <p:cNvSpPr txBox="1"/>
            <p:nvPr userDrawn="1"/>
          </p:nvSpPr>
          <p:spPr>
            <a:xfrm>
              <a:off x="9216194" y="4516468"/>
              <a:ext cx="1423910" cy="153888"/>
            </a:xfrm>
            <a:prstGeom prst="rect">
              <a:avLst/>
            </a:prstGeom>
            <a:noFill/>
          </p:spPr>
          <p:txBody>
            <a:bodyPr wrap="square" lIns="0" tIns="0" rIns="0" bIns="0" anchor="ctr">
              <a:spAutoFit/>
            </a:bodyPr>
            <a:lstStyle>
              <a:defPPr>
                <a:defRPr lang="en-US"/>
              </a:defPPr>
              <a:lvl1pPr>
                <a:spcBef>
                  <a:spcPts val="200"/>
                </a:spcBef>
                <a:spcAft>
                  <a:spcPts val="200"/>
                </a:spcAft>
                <a:defRPr sz="1200" b="1">
                  <a:latin typeface="+mj-lt"/>
                </a:defRPr>
              </a:lvl1pPr>
            </a:lstStyle>
            <a:p>
              <a:pPr marL="0" marR="0" lvl="0" indent="0" defTabSz="914400" eaLnBrk="1" fontAlgn="auto" latinLnBrk="0" hangingPunct="1">
                <a:lnSpc>
                  <a:spcPct val="100000"/>
                </a:lnSpc>
                <a:spcBef>
                  <a:spcPts val="200"/>
                </a:spcBef>
                <a:spcAft>
                  <a:spcPts val="20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rPr>
                <a:t>Chennai</a:t>
              </a:r>
            </a:p>
          </p:txBody>
        </p:sp>
        <p:sp>
          <p:nvSpPr>
            <p:cNvPr id="4216" name="TextBox 4215">
              <a:extLst>
                <a:ext uri="{FF2B5EF4-FFF2-40B4-BE49-F238E27FC236}">
                  <a16:creationId xmlns:a16="http://schemas.microsoft.com/office/drawing/2014/main" id="{9A6B7BB0-8F67-BBE8-6A08-FDBCDF602E50}"/>
                </a:ext>
              </a:extLst>
            </p:cNvPr>
            <p:cNvSpPr txBox="1"/>
            <p:nvPr userDrawn="1"/>
          </p:nvSpPr>
          <p:spPr>
            <a:xfrm>
              <a:off x="8685077" y="1594726"/>
              <a:ext cx="1350654" cy="153888"/>
            </a:xfrm>
            <a:prstGeom prst="rect">
              <a:avLst/>
            </a:prstGeom>
            <a:noFill/>
          </p:spPr>
          <p:txBody>
            <a:bodyPr wrap="square" lIns="0" tIns="0" rIns="0" bIns="0" anchor="ctr">
              <a:spAutoFit/>
            </a:bodyPr>
            <a:lstStyle/>
            <a:p>
              <a:pPr marL="0" marR="0" lvl="0" indent="0" defTabSz="914400" eaLnBrk="1" fontAlgn="auto" latinLnBrk="0" hangingPunct="1">
                <a:lnSpc>
                  <a:spcPct val="100000"/>
                </a:lnSpc>
                <a:spcBef>
                  <a:spcPts val="200"/>
                </a:spcBef>
                <a:spcAft>
                  <a:spcPts val="200"/>
                </a:spcAft>
                <a:buClrTx/>
                <a:buSzTx/>
                <a:buFontTx/>
                <a:buNone/>
                <a:tabLst/>
                <a:defRPr/>
              </a:pPr>
              <a:r>
                <a:rPr kumimoji="0" lang="en-US" sz="1000" b="0" i="0" u="none" strike="noStrike" kern="0" cap="none" spc="0" normalizeH="0" baseline="0" noProof="0">
                  <a:ln>
                    <a:noFill/>
                  </a:ln>
                  <a:solidFill>
                    <a:prstClr val="black"/>
                  </a:solidFill>
                  <a:effectLst/>
                  <a:uLnTx/>
                  <a:uFillTx/>
                </a:rPr>
                <a:t>New Delhi</a:t>
              </a:r>
            </a:p>
          </p:txBody>
        </p:sp>
        <p:sp>
          <p:nvSpPr>
            <p:cNvPr id="4217" name="TextBox 4216">
              <a:extLst>
                <a:ext uri="{FF2B5EF4-FFF2-40B4-BE49-F238E27FC236}">
                  <a16:creationId xmlns:a16="http://schemas.microsoft.com/office/drawing/2014/main" id="{39EABCB4-BDF4-3A94-2246-5F9874609991}"/>
                </a:ext>
              </a:extLst>
            </p:cNvPr>
            <p:cNvSpPr txBox="1"/>
            <p:nvPr userDrawn="1"/>
          </p:nvSpPr>
          <p:spPr>
            <a:xfrm>
              <a:off x="10609560" y="2786056"/>
              <a:ext cx="1021002" cy="153888"/>
            </a:xfrm>
            <a:prstGeom prst="rect">
              <a:avLst/>
            </a:prstGeom>
            <a:noFill/>
          </p:spPr>
          <p:txBody>
            <a:bodyPr wrap="square" lIns="0" tIns="0" rIns="0" bIns="0" anchor="ctr">
              <a:spAutoFit/>
            </a:bodyPr>
            <a:lstStyle>
              <a:defPPr>
                <a:defRPr lang="en-US"/>
              </a:defPPr>
              <a:lvl1pPr>
                <a:spcBef>
                  <a:spcPts val="200"/>
                </a:spcBef>
                <a:spcAft>
                  <a:spcPts val="200"/>
                </a:spcAft>
                <a:defRPr sz="1200" b="1">
                  <a:latin typeface="+mj-lt"/>
                </a:defRPr>
              </a:lvl1pPr>
            </a:lstStyle>
            <a:p>
              <a:pPr marL="0" marR="0" lvl="0" indent="0" defTabSz="914400" eaLnBrk="1" fontAlgn="auto" latinLnBrk="0" hangingPunct="1">
                <a:lnSpc>
                  <a:spcPct val="100000"/>
                </a:lnSpc>
                <a:spcBef>
                  <a:spcPts val="200"/>
                </a:spcBef>
                <a:spcAft>
                  <a:spcPts val="20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rPr>
                <a:t>Kolkata</a:t>
              </a:r>
            </a:p>
          </p:txBody>
        </p:sp>
        <p:sp>
          <p:nvSpPr>
            <p:cNvPr id="4218" name="TextBox 4217">
              <a:extLst>
                <a:ext uri="{FF2B5EF4-FFF2-40B4-BE49-F238E27FC236}">
                  <a16:creationId xmlns:a16="http://schemas.microsoft.com/office/drawing/2014/main" id="{13816D84-0BBF-2278-C35C-91E385AE0300}"/>
                </a:ext>
              </a:extLst>
            </p:cNvPr>
            <p:cNvSpPr txBox="1"/>
            <p:nvPr userDrawn="1"/>
          </p:nvSpPr>
          <p:spPr>
            <a:xfrm>
              <a:off x="8854966" y="3607448"/>
              <a:ext cx="1332339" cy="153888"/>
            </a:xfrm>
            <a:prstGeom prst="rect">
              <a:avLst/>
            </a:prstGeom>
            <a:noFill/>
          </p:spPr>
          <p:txBody>
            <a:bodyPr wrap="square" lIns="0" tIns="0" rIns="0" bIns="0" anchor="ctr">
              <a:spAutoFit/>
            </a:bodyPr>
            <a:lstStyle>
              <a:defPPr>
                <a:defRPr lang="en-US"/>
              </a:defPPr>
              <a:lvl1pPr>
                <a:spcBef>
                  <a:spcPts val="200"/>
                </a:spcBef>
                <a:spcAft>
                  <a:spcPts val="200"/>
                </a:spcAft>
                <a:defRPr sz="1200" b="1">
                  <a:latin typeface="+mj-lt"/>
                </a:defRPr>
              </a:lvl1pPr>
            </a:lstStyle>
            <a:p>
              <a:pPr marL="0" marR="0" lvl="0" indent="0" defTabSz="914400" eaLnBrk="1" fontAlgn="auto" latinLnBrk="0" hangingPunct="1">
                <a:lnSpc>
                  <a:spcPct val="100000"/>
                </a:lnSpc>
                <a:spcBef>
                  <a:spcPts val="200"/>
                </a:spcBef>
                <a:spcAft>
                  <a:spcPts val="20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rPr>
                <a:t>Hyderabad</a:t>
              </a:r>
            </a:p>
          </p:txBody>
        </p:sp>
        <p:sp>
          <p:nvSpPr>
            <p:cNvPr id="4219" name="TextBox 4218">
              <a:extLst>
                <a:ext uri="{FF2B5EF4-FFF2-40B4-BE49-F238E27FC236}">
                  <a16:creationId xmlns:a16="http://schemas.microsoft.com/office/drawing/2014/main" id="{0E38C277-58F0-2E26-C5CC-295EA82300A8}"/>
                </a:ext>
              </a:extLst>
            </p:cNvPr>
            <p:cNvSpPr txBox="1"/>
            <p:nvPr userDrawn="1"/>
          </p:nvSpPr>
          <p:spPr>
            <a:xfrm>
              <a:off x="11097240" y="2138201"/>
              <a:ext cx="1021002" cy="153888"/>
            </a:xfrm>
            <a:prstGeom prst="rect">
              <a:avLst/>
            </a:prstGeom>
            <a:noFill/>
          </p:spPr>
          <p:txBody>
            <a:bodyPr wrap="square" lIns="0" tIns="0" rIns="0" bIns="0" anchor="ctr">
              <a:spAutoFit/>
            </a:bodyPr>
            <a:lstStyle>
              <a:defPPr>
                <a:defRPr lang="en-US"/>
              </a:defPPr>
              <a:lvl1pPr>
                <a:spcBef>
                  <a:spcPts val="200"/>
                </a:spcBef>
                <a:spcAft>
                  <a:spcPts val="200"/>
                </a:spcAft>
                <a:defRPr sz="1200" b="1">
                  <a:latin typeface="+mj-lt"/>
                </a:defRPr>
              </a:lvl1pPr>
            </a:lstStyle>
            <a:p>
              <a:pPr marL="0" marR="0" lvl="0" indent="0" defTabSz="914400" eaLnBrk="1" fontAlgn="auto" latinLnBrk="0" hangingPunct="1">
                <a:lnSpc>
                  <a:spcPct val="100000"/>
                </a:lnSpc>
                <a:spcBef>
                  <a:spcPts val="200"/>
                </a:spcBef>
                <a:spcAft>
                  <a:spcPts val="20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rPr>
                <a:t>Guwahati</a:t>
              </a:r>
            </a:p>
          </p:txBody>
        </p:sp>
        <p:sp>
          <p:nvSpPr>
            <p:cNvPr id="4220" name="TextBox 4219">
              <a:extLst>
                <a:ext uri="{FF2B5EF4-FFF2-40B4-BE49-F238E27FC236}">
                  <a16:creationId xmlns:a16="http://schemas.microsoft.com/office/drawing/2014/main" id="{4D66D487-AB97-731C-07B1-2F6985D2313A}"/>
                </a:ext>
              </a:extLst>
            </p:cNvPr>
            <p:cNvSpPr txBox="1"/>
            <p:nvPr userDrawn="1"/>
          </p:nvSpPr>
          <p:spPr>
            <a:xfrm>
              <a:off x="7296480" y="4712089"/>
              <a:ext cx="975707" cy="153888"/>
            </a:xfrm>
            <a:prstGeom prst="rect">
              <a:avLst/>
            </a:prstGeom>
            <a:noFill/>
          </p:spPr>
          <p:txBody>
            <a:bodyPr wrap="square" lIns="0" tIns="0" rIns="0" bIns="0" anchor="ctr">
              <a:spAutoFit/>
            </a:bodyPr>
            <a:lstStyle>
              <a:defPPr>
                <a:defRPr lang="en-US"/>
              </a:defPPr>
              <a:lvl1pPr>
                <a:spcBef>
                  <a:spcPts val="200"/>
                </a:spcBef>
                <a:spcAft>
                  <a:spcPts val="200"/>
                </a:spcAft>
                <a:defRPr sz="1200" b="1">
                  <a:latin typeface="+mj-lt"/>
                </a:defRPr>
              </a:lvl1pPr>
            </a:lstStyle>
            <a:p>
              <a:pPr marL="0" marR="0" lvl="0" indent="0" algn="r" defTabSz="914400" eaLnBrk="1" fontAlgn="auto" latinLnBrk="0" hangingPunct="1">
                <a:lnSpc>
                  <a:spcPct val="100000"/>
                </a:lnSpc>
                <a:spcBef>
                  <a:spcPts val="200"/>
                </a:spcBef>
                <a:spcAft>
                  <a:spcPts val="20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rPr>
                <a:t>Kannur </a:t>
              </a:r>
            </a:p>
          </p:txBody>
        </p:sp>
        <p:sp>
          <p:nvSpPr>
            <p:cNvPr id="4221" name="TextBox 4220">
              <a:extLst>
                <a:ext uri="{FF2B5EF4-FFF2-40B4-BE49-F238E27FC236}">
                  <a16:creationId xmlns:a16="http://schemas.microsoft.com/office/drawing/2014/main" id="{9A64C830-58EA-6208-D867-ADB180CB297D}"/>
                </a:ext>
              </a:extLst>
            </p:cNvPr>
            <p:cNvSpPr txBox="1"/>
            <p:nvPr userDrawn="1"/>
          </p:nvSpPr>
          <p:spPr>
            <a:xfrm>
              <a:off x="8723193" y="4940768"/>
              <a:ext cx="768107" cy="153888"/>
            </a:xfrm>
            <a:prstGeom prst="rect">
              <a:avLst/>
            </a:prstGeom>
            <a:noFill/>
          </p:spPr>
          <p:txBody>
            <a:bodyPr wrap="square" lIns="0" tIns="0" rIns="0" bIns="0" anchor="ctr">
              <a:spAutoFit/>
            </a:bodyPr>
            <a:lstStyle>
              <a:defPPr>
                <a:defRPr lang="en-US"/>
              </a:defPPr>
              <a:lvl1pPr>
                <a:spcBef>
                  <a:spcPts val="200"/>
                </a:spcBef>
                <a:spcAft>
                  <a:spcPts val="200"/>
                </a:spcAft>
                <a:defRPr sz="1200" b="1">
                  <a:latin typeface="+mj-lt"/>
                </a:defRPr>
              </a:lvl1pPr>
            </a:lstStyle>
            <a:p>
              <a:pPr marL="0" marR="0" lvl="0" indent="0" defTabSz="914400" eaLnBrk="1" fontAlgn="auto" latinLnBrk="0" hangingPunct="1">
                <a:lnSpc>
                  <a:spcPct val="100000"/>
                </a:lnSpc>
                <a:spcBef>
                  <a:spcPts val="200"/>
                </a:spcBef>
                <a:spcAft>
                  <a:spcPts val="20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rPr>
                <a:t>Coimbatore</a:t>
              </a:r>
            </a:p>
          </p:txBody>
        </p:sp>
      </p:grpSp>
      <p:pic>
        <p:nvPicPr>
          <p:cNvPr id="3" name="Picture 2" descr="Logo&#10;&#10;Description automatically generated">
            <a:extLst>
              <a:ext uri="{FF2B5EF4-FFF2-40B4-BE49-F238E27FC236}">
                <a16:creationId xmlns:a16="http://schemas.microsoft.com/office/drawing/2014/main" id="{CF5A0F92-3E77-CFC3-E15E-E3B0FAFBB5C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2379" y="429765"/>
            <a:ext cx="2505346" cy="630070"/>
          </a:xfrm>
          <a:prstGeom prst="rect">
            <a:avLst/>
          </a:prstGeom>
        </p:spPr>
      </p:pic>
      <p:sp>
        <p:nvSpPr>
          <p:cNvPr id="4" name="Rectangle 3">
            <a:extLst>
              <a:ext uri="{FF2B5EF4-FFF2-40B4-BE49-F238E27FC236}">
                <a16:creationId xmlns:a16="http://schemas.microsoft.com/office/drawing/2014/main" id="{BB19BAF5-DB0D-C726-8868-3871295E84C7}"/>
              </a:ext>
            </a:extLst>
          </p:cNvPr>
          <p:cNvSpPr/>
          <p:nvPr userDrawn="1"/>
        </p:nvSpPr>
        <p:spPr>
          <a:xfrm>
            <a:off x="1" y="1083195"/>
            <a:ext cx="4991011" cy="446670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solidFill>
            </a:endParaRPr>
          </a:p>
        </p:txBody>
      </p:sp>
      <p:sp>
        <p:nvSpPr>
          <p:cNvPr id="5" name="Rectangle 4">
            <a:extLst>
              <a:ext uri="{FF2B5EF4-FFF2-40B4-BE49-F238E27FC236}">
                <a16:creationId xmlns:a16="http://schemas.microsoft.com/office/drawing/2014/main" id="{EBC9A70D-E1EB-3C87-251B-DECF52BA772B}"/>
              </a:ext>
            </a:extLst>
          </p:cNvPr>
          <p:cNvSpPr/>
          <p:nvPr userDrawn="1"/>
        </p:nvSpPr>
        <p:spPr>
          <a:xfrm>
            <a:off x="270079" y="1155253"/>
            <a:ext cx="3234854" cy="179088"/>
          </a:xfrm>
          <a:prstGeom prst="rect">
            <a:avLst/>
          </a:prstGeom>
          <a:noFill/>
        </p:spPr>
        <p:txBody>
          <a:bodyPr wrap="square" lIns="0" tIns="0" rIns="0" bIns="0">
            <a:spAutoFit/>
          </a:bodyPr>
          <a:lstStyle/>
          <a:p>
            <a:pPr defTabSz="1007521">
              <a:lnSpc>
                <a:spcPts val="1500"/>
              </a:lnSpc>
              <a:defRPr/>
            </a:pPr>
            <a:r>
              <a:rPr lang="en-US" sz="1100" b="1">
                <a:solidFill>
                  <a:schemeClr val="bg1"/>
                </a:solidFill>
                <a:latin typeface="+mj-lt"/>
                <a:cs typeface="Arial" pitchFamily="34" charset="0"/>
              </a:rPr>
              <a:t>Corporate Office : </a:t>
            </a:r>
            <a:endParaRPr lang="en-US" sz="1100">
              <a:solidFill>
                <a:schemeClr val="bg1"/>
              </a:solidFill>
              <a:latin typeface="+mj-lt"/>
              <a:cs typeface="Arial" pitchFamily="34" charset="0"/>
            </a:endParaRPr>
          </a:p>
        </p:txBody>
      </p:sp>
      <p:sp>
        <p:nvSpPr>
          <p:cNvPr id="6" name="Rounded Rectangle 32">
            <a:extLst>
              <a:ext uri="{FF2B5EF4-FFF2-40B4-BE49-F238E27FC236}">
                <a16:creationId xmlns:a16="http://schemas.microsoft.com/office/drawing/2014/main" id="{F373364C-7261-7A06-8674-4B8FBC290059}"/>
              </a:ext>
            </a:extLst>
          </p:cNvPr>
          <p:cNvSpPr/>
          <p:nvPr userDrawn="1"/>
        </p:nvSpPr>
        <p:spPr>
          <a:xfrm>
            <a:off x="270079" y="4421206"/>
            <a:ext cx="3636603" cy="101566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ct val="100000"/>
              </a:lnSpc>
              <a:spcBef>
                <a:spcPts val="200"/>
              </a:spcBef>
              <a:spcAft>
                <a:spcPts val="200"/>
              </a:spcAft>
            </a:pPr>
            <a:r>
              <a:rPr lang="en-US" sz="1100" b="1">
                <a:solidFill>
                  <a:schemeClr val="bg1"/>
                </a:solidFill>
                <a:latin typeface="+mj-lt"/>
                <a:cs typeface="Arial" pitchFamily="34" charset="0"/>
              </a:rPr>
              <a:t>Equirus Insurance Broking Private  Limited</a:t>
            </a:r>
          </a:p>
          <a:p>
            <a:pPr>
              <a:lnSpc>
                <a:spcPct val="100000"/>
              </a:lnSpc>
              <a:spcBef>
                <a:spcPts val="200"/>
              </a:spcBef>
              <a:spcAft>
                <a:spcPts val="200"/>
              </a:spcAft>
            </a:pPr>
            <a:r>
              <a:rPr lang="en-US" sz="900" b="0" i="0">
                <a:solidFill>
                  <a:srgbClr val="FFFFFF"/>
                </a:solidFill>
                <a:effectLst/>
                <a:latin typeface="+mj-lt"/>
              </a:rPr>
              <a:t>A – 2102, </a:t>
            </a:r>
            <a:r>
              <a:rPr lang="en-US" sz="900">
                <a:solidFill>
                  <a:schemeClr val="bg1"/>
                </a:solidFill>
                <a:latin typeface="+mj-lt"/>
                <a:cs typeface="Arial" pitchFamily="34" charset="0"/>
              </a:rPr>
              <a:t>21</a:t>
            </a:r>
            <a:r>
              <a:rPr lang="en-US" sz="900" baseline="30000">
                <a:solidFill>
                  <a:schemeClr val="bg1"/>
                </a:solidFill>
                <a:latin typeface="+mj-lt"/>
                <a:cs typeface="Arial" pitchFamily="34" charset="0"/>
              </a:rPr>
              <a:t>st</a:t>
            </a:r>
            <a:r>
              <a:rPr lang="en-US" sz="900">
                <a:solidFill>
                  <a:schemeClr val="bg1"/>
                </a:solidFill>
                <a:latin typeface="+mj-lt"/>
                <a:cs typeface="Arial" pitchFamily="34" charset="0"/>
              </a:rPr>
              <a:t> Floor, A Wing</a:t>
            </a:r>
            <a:r>
              <a:rPr lang="en-US" sz="900" b="0" i="0">
                <a:solidFill>
                  <a:srgbClr val="FFFFFF"/>
                </a:solidFill>
                <a:effectLst/>
                <a:latin typeface="+mj-lt"/>
              </a:rPr>
              <a:t>, </a:t>
            </a:r>
            <a:r>
              <a:rPr lang="en-US" sz="900">
                <a:solidFill>
                  <a:schemeClr val="bg1"/>
                </a:solidFill>
                <a:latin typeface="+mj-lt"/>
                <a:cs typeface="Arial" pitchFamily="34" charset="0"/>
              </a:rPr>
              <a:t>Marathon </a:t>
            </a:r>
            <a:r>
              <a:rPr lang="en-US" sz="900" err="1">
                <a:solidFill>
                  <a:schemeClr val="bg1"/>
                </a:solidFill>
                <a:latin typeface="+mj-lt"/>
                <a:cs typeface="Arial" pitchFamily="34" charset="0"/>
              </a:rPr>
              <a:t>Futurex</a:t>
            </a:r>
            <a:r>
              <a:rPr lang="en-US" sz="900">
                <a:solidFill>
                  <a:schemeClr val="bg1"/>
                </a:solidFill>
                <a:latin typeface="+mj-lt"/>
                <a:cs typeface="Arial" pitchFamily="34" charset="0"/>
              </a:rPr>
              <a:t>, N M Joshi Marg, Lower Parel, Mumbai - 400013</a:t>
            </a:r>
            <a:endParaRPr lang="en-US" sz="900" b="1">
              <a:solidFill>
                <a:schemeClr val="bg1"/>
              </a:solidFill>
              <a:latin typeface="+mj-lt"/>
              <a:cs typeface="Arial" pitchFamily="34" charset="0"/>
            </a:endParaRPr>
          </a:p>
          <a:p>
            <a:pPr>
              <a:lnSpc>
                <a:spcPct val="100000"/>
              </a:lnSpc>
              <a:spcBef>
                <a:spcPts val="200"/>
              </a:spcBef>
              <a:spcAft>
                <a:spcPts val="200"/>
              </a:spcAft>
            </a:pPr>
            <a:r>
              <a:rPr lang="en-US" sz="900">
                <a:solidFill>
                  <a:schemeClr val="bg1"/>
                </a:solidFill>
                <a:latin typeface="+mj-lt"/>
                <a:cs typeface="Arial" pitchFamily="34" charset="0"/>
              </a:rPr>
              <a:t>IRDA Licensed Direct Insurance Broker ( Life &amp; General) | License # 763 License Validity: 1</a:t>
            </a:r>
            <a:r>
              <a:rPr lang="en-US" sz="900" baseline="30000">
                <a:solidFill>
                  <a:schemeClr val="bg1"/>
                </a:solidFill>
                <a:latin typeface="+mj-lt"/>
                <a:cs typeface="Arial" pitchFamily="34" charset="0"/>
              </a:rPr>
              <a:t>st</a:t>
            </a:r>
            <a:r>
              <a:rPr lang="en-US" sz="900">
                <a:solidFill>
                  <a:schemeClr val="bg1"/>
                </a:solidFill>
                <a:latin typeface="+mj-lt"/>
                <a:cs typeface="Arial" pitchFamily="34" charset="0"/>
              </a:rPr>
              <a:t> August 2021 to 31</a:t>
            </a:r>
            <a:r>
              <a:rPr lang="en-US" sz="900" baseline="30000">
                <a:solidFill>
                  <a:schemeClr val="bg1"/>
                </a:solidFill>
                <a:latin typeface="+mj-lt"/>
                <a:cs typeface="Arial" pitchFamily="34" charset="0"/>
              </a:rPr>
              <a:t>st</a:t>
            </a:r>
            <a:r>
              <a:rPr lang="en-US" sz="900">
                <a:solidFill>
                  <a:schemeClr val="bg1"/>
                </a:solidFill>
                <a:latin typeface="+mj-lt"/>
                <a:cs typeface="Arial" pitchFamily="34" charset="0"/>
              </a:rPr>
              <a:t> July 2024</a:t>
            </a:r>
          </a:p>
          <a:p>
            <a:pPr>
              <a:lnSpc>
                <a:spcPct val="100000"/>
              </a:lnSpc>
              <a:spcBef>
                <a:spcPts val="200"/>
              </a:spcBef>
              <a:spcAft>
                <a:spcPts val="200"/>
              </a:spcAft>
            </a:pPr>
            <a:r>
              <a:rPr lang="en-US" sz="900">
                <a:solidFill>
                  <a:schemeClr val="bg1"/>
                </a:solidFill>
                <a:latin typeface="+mj-lt"/>
                <a:cs typeface="Arial" pitchFamily="34" charset="0"/>
              </a:rPr>
              <a:t>CIN: U67100MH2008PTC185564</a:t>
            </a:r>
          </a:p>
        </p:txBody>
      </p:sp>
      <p:sp>
        <p:nvSpPr>
          <p:cNvPr id="8" name="Rounded Rectangle 32">
            <a:extLst>
              <a:ext uri="{FF2B5EF4-FFF2-40B4-BE49-F238E27FC236}">
                <a16:creationId xmlns:a16="http://schemas.microsoft.com/office/drawing/2014/main" id="{8D246BFC-CD5D-A579-5094-C1C6BD0A63E4}"/>
              </a:ext>
            </a:extLst>
          </p:cNvPr>
          <p:cNvSpPr/>
          <p:nvPr userDrawn="1"/>
        </p:nvSpPr>
        <p:spPr>
          <a:xfrm>
            <a:off x="270079" y="1434890"/>
            <a:ext cx="3636603" cy="49757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ct val="100000"/>
              </a:lnSpc>
              <a:spcBef>
                <a:spcPts val="200"/>
              </a:spcBef>
              <a:spcAft>
                <a:spcPts val="200"/>
              </a:spcAft>
            </a:pPr>
            <a:r>
              <a:rPr lang="en-US" sz="1100" b="1" dirty="0">
                <a:solidFill>
                  <a:schemeClr val="bg1"/>
                </a:solidFill>
                <a:latin typeface="+mj-lt"/>
                <a:cs typeface="Arial" pitchFamily="34" charset="0"/>
              </a:rPr>
              <a:t>Equirus Capital Private Limited</a:t>
            </a:r>
          </a:p>
          <a:p>
            <a:pPr>
              <a:lnSpc>
                <a:spcPct val="100000"/>
              </a:lnSpc>
              <a:spcBef>
                <a:spcPts val="200"/>
              </a:spcBef>
              <a:spcAft>
                <a:spcPts val="200"/>
              </a:spcAft>
            </a:pPr>
            <a:r>
              <a:rPr lang="en-US" sz="900" dirty="0">
                <a:solidFill>
                  <a:schemeClr val="bg1"/>
                </a:solidFill>
                <a:latin typeface="+mj-lt"/>
                <a:cs typeface="Arial" pitchFamily="34" charset="0"/>
              </a:rPr>
              <a:t>2601 B, “A” Wing, Marathon </a:t>
            </a:r>
            <a:r>
              <a:rPr lang="en-US" sz="900" dirty="0" err="1">
                <a:solidFill>
                  <a:schemeClr val="bg1"/>
                </a:solidFill>
                <a:latin typeface="+mj-lt"/>
                <a:cs typeface="Arial" pitchFamily="34" charset="0"/>
              </a:rPr>
              <a:t>Futurex</a:t>
            </a:r>
            <a:r>
              <a:rPr lang="en-US" sz="900" dirty="0">
                <a:solidFill>
                  <a:schemeClr val="bg1"/>
                </a:solidFill>
                <a:latin typeface="+mj-lt"/>
                <a:cs typeface="Arial" pitchFamily="34" charset="0"/>
              </a:rPr>
              <a:t>, N. M. Joshi Marg, Lower Parel, Mumbai 400 013</a:t>
            </a:r>
          </a:p>
        </p:txBody>
      </p:sp>
      <p:sp>
        <p:nvSpPr>
          <p:cNvPr id="9" name="Rounded Rectangle 32">
            <a:extLst>
              <a:ext uri="{FF2B5EF4-FFF2-40B4-BE49-F238E27FC236}">
                <a16:creationId xmlns:a16="http://schemas.microsoft.com/office/drawing/2014/main" id="{2EF64048-7879-CBC5-2298-8E22B05F2443}"/>
              </a:ext>
            </a:extLst>
          </p:cNvPr>
          <p:cNvSpPr/>
          <p:nvPr userDrawn="1"/>
        </p:nvSpPr>
        <p:spPr>
          <a:xfrm>
            <a:off x="270079" y="2137941"/>
            <a:ext cx="3636603" cy="825867"/>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ct val="100000"/>
              </a:lnSpc>
              <a:spcBef>
                <a:spcPts val="200"/>
              </a:spcBef>
              <a:spcAft>
                <a:spcPts val="200"/>
              </a:spcAft>
            </a:pPr>
            <a:r>
              <a:rPr lang="en-US" sz="1100" b="1">
                <a:solidFill>
                  <a:schemeClr val="bg1"/>
                </a:solidFill>
                <a:latin typeface="+mj-lt"/>
                <a:cs typeface="Arial" pitchFamily="34" charset="0"/>
              </a:rPr>
              <a:t>Equirus Securities Private Limited </a:t>
            </a:r>
          </a:p>
          <a:p>
            <a:pPr>
              <a:lnSpc>
                <a:spcPct val="100000"/>
              </a:lnSpc>
              <a:spcBef>
                <a:spcPts val="200"/>
              </a:spcBef>
              <a:spcAft>
                <a:spcPts val="200"/>
              </a:spcAft>
            </a:pPr>
            <a:r>
              <a:rPr lang="en-US" sz="900" b="0" i="0">
                <a:solidFill>
                  <a:srgbClr val="FFFFFF"/>
                </a:solidFill>
                <a:effectLst/>
                <a:latin typeface="+mj-lt"/>
              </a:rPr>
              <a:t>A – 2102, </a:t>
            </a:r>
            <a:r>
              <a:rPr lang="en-US" sz="900">
                <a:solidFill>
                  <a:schemeClr val="bg1"/>
                </a:solidFill>
                <a:latin typeface="+mj-lt"/>
                <a:cs typeface="Arial" pitchFamily="34" charset="0"/>
              </a:rPr>
              <a:t>21</a:t>
            </a:r>
            <a:r>
              <a:rPr lang="en-US" sz="900" baseline="30000">
                <a:solidFill>
                  <a:schemeClr val="bg1"/>
                </a:solidFill>
                <a:latin typeface="+mj-lt"/>
                <a:cs typeface="Arial" pitchFamily="34" charset="0"/>
              </a:rPr>
              <a:t>st</a:t>
            </a:r>
            <a:r>
              <a:rPr lang="en-US" sz="900">
                <a:solidFill>
                  <a:schemeClr val="bg1"/>
                </a:solidFill>
                <a:latin typeface="+mj-lt"/>
                <a:cs typeface="Arial" pitchFamily="34" charset="0"/>
              </a:rPr>
              <a:t> Floor, A Wing</a:t>
            </a:r>
            <a:r>
              <a:rPr lang="en-US" sz="900" b="0" i="0">
                <a:solidFill>
                  <a:srgbClr val="FFFFFF"/>
                </a:solidFill>
                <a:effectLst/>
                <a:latin typeface="+mj-lt"/>
              </a:rPr>
              <a:t>, </a:t>
            </a:r>
            <a:r>
              <a:rPr lang="en-US" sz="900">
                <a:solidFill>
                  <a:schemeClr val="bg1"/>
                </a:solidFill>
                <a:latin typeface="+mj-lt"/>
                <a:cs typeface="Arial" pitchFamily="34" charset="0"/>
              </a:rPr>
              <a:t>Marathon </a:t>
            </a:r>
            <a:r>
              <a:rPr lang="en-US" sz="900" err="1">
                <a:solidFill>
                  <a:schemeClr val="bg1"/>
                </a:solidFill>
                <a:latin typeface="+mj-lt"/>
                <a:cs typeface="Arial" pitchFamily="34" charset="0"/>
              </a:rPr>
              <a:t>Futurex</a:t>
            </a:r>
            <a:r>
              <a:rPr lang="en-US" sz="900">
                <a:solidFill>
                  <a:schemeClr val="bg1"/>
                </a:solidFill>
                <a:latin typeface="+mj-lt"/>
                <a:cs typeface="Arial" pitchFamily="34" charset="0"/>
              </a:rPr>
              <a:t>, N M Joshi Marg, Lower Parel, Mumbai - 400013</a:t>
            </a:r>
            <a:endParaRPr lang="en-US" sz="900" b="1">
              <a:solidFill>
                <a:schemeClr val="bg1"/>
              </a:solidFill>
              <a:latin typeface="+mj-lt"/>
              <a:cs typeface="Arial" pitchFamily="34" charset="0"/>
            </a:endParaRPr>
          </a:p>
          <a:p>
            <a:pPr>
              <a:lnSpc>
                <a:spcPct val="100000"/>
              </a:lnSpc>
              <a:spcBef>
                <a:spcPts val="200"/>
              </a:spcBef>
              <a:spcAft>
                <a:spcPts val="200"/>
              </a:spcAft>
            </a:pPr>
            <a:r>
              <a:rPr lang="en-US" sz="900">
                <a:solidFill>
                  <a:schemeClr val="bg1"/>
                </a:solidFill>
                <a:latin typeface="+mj-lt"/>
                <a:cs typeface="Arial" pitchFamily="34" charset="0"/>
              </a:rPr>
              <a:t>1205 &amp; 1206, 12</a:t>
            </a:r>
            <a:r>
              <a:rPr lang="en-US" sz="900" baseline="30000">
                <a:solidFill>
                  <a:schemeClr val="bg1"/>
                </a:solidFill>
                <a:latin typeface="+mj-lt"/>
                <a:cs typeface="Arial" pitchFamily="34" charset="0"/>
              </a:rPr>
              <a:t>th</a:t>
            </a:r>
            <a:r>
              <a:rPr lang="en-US" sz="900">
                <a:solidFill>
                  <a:schemeClr val="bg1"/>
                </a:solidFill>
                <a:latin typeface="+mj-lt"/>
                <a:cs typeface="Arial" pitchFamily="34" charset="0"/>
              </a:rPr>
              <a:t> Floor, A Block, </a:t>
            </a:r>
            <a:r>
              <a:rPr lang="en-US" sz="900" err="1">
                <a:solidFill>
                  <a:schemeClr val="bg1"/>
                </a:solidFill>
                <a:latin typeface="+mj-lt"/>
                <a:cs typeface="Arial" pitchFamily="34" charset="0"/>
              </a:rPr>
              <a:t>Navratna</a:t>
            </a:r>
            <a:r>
              <a:rPr lang="en-US" sz="900">
                <a:solidFill>
                  <a:schemeClr val="bg1"/>
                </a:solidFill>
                <a:latin typeface="+mj-lt"/>
                <a:cs typeface="Arial" pitchFamily="34" charset="0"/>
              </a:rPr>
              <a:t> Corporate Park, </a:t>
            </a:r>
            <a:r>
              <a:rPr lang="en-US" sz="900" err="1">
                <a:solidFill>
                  <a:schemeClr val="bg1"/>
                </a:solidFill>
                <a:latin typeface="+mj-lt"/>
                <a:cs typeface="Arial" pitchFamily="34" charset="0"/>
              </a:rPr>
              <a:t>Bopal</a:t>
            </a:r>
            <a:r>
              <a:rPr lang="en-US" sz="900">
                <a:solidFill>
                  <a:schemeClr val="bg1"/>
                </a:solidFill>
                <a:latin typeface="+mj-lt"/>
                <a:cs typeface="Arial" pitchFamily="34" charset="0"/>
              </a:rPr>
              <a:t> - </a:t>
            </a:r>
            <a:r>
              <a:rPr lang="en-US" sz="900" err="1">
                <a:solidFill>
                  <a:schemeClr val="bg1"/>
                </a:solidFill>
                <a:latin typeface="+mj-lt"/>
                <a:cs typeface="Arial" pitchFamily="34" charset="0"/>
              </a:rPr>
              <a:t>Ambli</a:t>
            </a:r>
            <a:r>
              <a:rPr lang="en-US" sz="900">
                <a:solidFill>
                  <a:schemeClr val="bg1"/>
                </a:solidFill>
                <a:latin typeface="+mj-lt"/>
                <a:cs typeface="Arial" pitchFamily="34" charset="0"/>
              </a:rPr>
              <a:t> Road, Ahmedabad - 380058</a:t>
            </a:r>
          </a:p>
        </p:txBody>
      </p:sp>
      <p:cxnSp>
        <p:nvCxnSpPr>
          <p:cNvPr id="10" name="Straight Connector 9">
            <a:extLst>
              <a:ext uri="{FF2B5EF4-FFF2-40B4-BE49-F238E27FC236}">
                <a16:creationId xmlns:a16="http://schemas.microsoft.com/office/drawing/2014/main" id="{31661B58-EFC0-9EC4-053C-A3B311F5D7C9}"/>
              </a:ext>
            </a:extLst>
          </p:cNvPr>
          <p:cNvCxnSpPr>
            <a:cxnSpLocks/>
          </p:cNvCxnSpPr>
          <p:nvPr userDrawn="1"/>
        </p:nvCxnSpPr>
        <p:spPr>
          <a:xfrm>
            <a:off x="270079" y="2035201"/>
            <a:ext cx="3636603" cy="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61DB1F3-AB8A-5AE1-BE8C-A37F9604CFA5}"/>
              </a:ext>
            </a:extLst>
          </p:cNvPr>
          <p:cNvCxnSpPr>
            <a:cxnSpLocks/>
          </p:cNvCxnSpPr>
          <p:nvPr userDrawn="1"/>
        </p:nvCxnSpPr>
        <p:spPr>
          <a:xfrm>
            <a:off x="270079" y="3066548"/>
            <a:ext cx="3636603" cy="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12" name="Rounded Rectangle 32">
            <a:extLst>
              <a:ext uri="{FF2B5EF4-FFF2-40B4-BE49-F238E27FC236}">
                <a16:creationId xmlns:a16="http://schemas.microsoft.com/office/drawing/2014/main" id="{C171EAA5-668D-1719-A3D9-FA65AC2CACB1}"/>
              </a:ext>
            </a:extLst>
          </p:cNvPr>
          <p:cNvSpPr/>
          <p:nvPr userDrawn="1"/>
        </p:nvSpPr>
        <p:spPr>
          <a:xfrm>
            <a:off x="270079" y="3169288"/>
            <a:ext cx="3636603" cy="104644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ct val="100000"/>
              </a:lnSpc>
              <a:spcBef>
                <a:spcPts val="200"/>
              </a:spcBef>
              <a:spcAft>
                <a:spcPts val="200"/>
              </a:spcAft>
            </a:pPr>
            <a:r>
              <a:rPr lang="en-US" sz="1100" b="1">
                <a:solidFill>
                  <a:schemeClr val="bg1"/>
                </a:solidFill>
                <a:latin typeface="+mj-lt"/>
                <a:cs typeface="Arial" pitchFamily="34" charset="0"/>
              </a:rPr>
              <a:t>Equirus Wealth Private Limited</a:t>
            </a:r>
          </a:p>
          <a:p>
            <a:pPr>
              <a:lnSpc>
                <a:spcPct val="100000"/>
              </a:lnSpc>
              <a:spcBef>
                <a:spcPts val="200"/>
              </a:spcBef>
              <a:spcAft>
                <a:spcPts val="200"/>
              </a:spcAft>
            </a:pPr>
            <a:r>
              <a:rPr lang="en-US" sz="1100" b="1">
                <a:solidFill>
                  <a:schemeClr val="bg1"/>
                </a:solidFill>
                <a:latin typeface="Segoe UI Semibold" panose="020B0702040204020203" pitchFamily="34" charset="0"/>
                <a:cs typeface="Segoe UI Semibold" panose="020B0702040204020203" pitchFamily="34" charset="0"/>
              </a:rPr>
              <a:t>AMFI-registered Mutual Fund Distributor</a:t>
            </a:r>
          </a:p>
          <a:p>
            <a:pPr>
              <a:lnSpc>
                <a:spcPct val="100000"/>
              </a:lnSpc>
              <a:spcBef>
                <a:spcPts val="200"/>
              </a:spcBef>
              <a:spcAft>
                <a:spcPts val="200"/>
              </a:spcAft>
            </a:pPr>
            <a:r>
              <a:rPr lang="en-US" sz="900">
                <a:solidFill>
                  <a:schemeClr val="bg1"/>
                </a:solidFill>
                <a:latin typeface="+mj-lt"/>
                <a:cs typeface="Arial" pitchFamily="34" charset="0"/>
              </a:rPr>
              <a:t>529, 5</a:t>
            </a:r>
            <a:r>
              <a:rPr lang="en-US" sz="900" baseline="30000">
                <a:solidFill>
                  <a:schemeClr val="bg1"/>
                </a:solidFill>
                <a:latin typeface="+mj-lt"/>
                <a:cs typeface="Arial" pitchFamily="34" charset="0"/>
              </a:rPr>
              <a:t>th</a:t>
            </a:r>
            <a:r>
              <a:rPr lang="en-US" sz="900">
                <a:solidFill>
                  <a:schemeClr val="bg1"/>
                </a:solidFill>
                <a:latin typeface="+mj-lt"/>
                <a:cs typeface="Arial" pitchFamily="34" charset="0"/>
              </a:rPr>
              <a:t> Floor, G Wing, </a:t>
            </a:r>
            <a:r>
              <a:rPr lang="en-US" sz="900" err="1">
                <a:solidFill>
                  <a:schemeClr val="bg1"/>
                </a:solidFill>
                <a:latin typeface="+mj-lt"/>
                <a:cs typeface="Arial" pitchFamily="34" charset="0"/>
              </a:rPr>
              <a:t>Kanakia</a:t>
            </a:r>
            <a:r>
              <a:rPr lang="en-US" sz="900">
                <a:solidFill>
                  <a:schemeClr val="bg1"/>
                </a:solidFill>
                <a:latin typeface="+mj-lt"/>
                <a:cs typeface="Arial" pitchFamily="34" charset="0"/>
              </a:rPr>
              <a:t> Zillion, LBS Marg, BKC Annexure, Kurla West, Mumbai – 400070</a:t>
            </a:r>
          </a:p>
          <a:p>
            <a:pPr>
              <a:lnSpc>
                <a:spcPct val="100000"/>
              </a:lnSpc>
              <a:spcBef>
                <a:spcPts val="200"/>
              </a:spcBef>
              <a:spcAft>
                <a:spcPts val="0"/>
              </a:spcAft>
            </a:pPr>
            <a:r>
              <a:rPr lang="en-US" sz="900">
                <a:solidFill>
                  <a:schemeClr val="bg1"/>
                </a:solidFill>
                <a:latin typeface="+mj-lt"/>
                <a:cs typeface="Arial" pitchFamily="34" charset="0"/>
              </a:rPr>
              <a:t>Unit No 403, 4</a:t>
            </a:r>
            <a:r>
              <a:rPr lang="en-US" sz="900" baseline="30000">
                <a:solidFill>
                  <a:schemeClr val="bg1"/>
                </a:solidFill>
                <a:latin typeface="+mj-lt"/>
                <a:cs typeface="Arial" pitchFamily="34" charset="0"/>
              </a:rPr>
              <a:t>th</a:t>
            </a:r>
            <a:r>
              <a:rPr lang="en-US" sz="900">
                <a:solidFill>
                  <a:schemeClr val="bg1"/>
                </a:solidFill>
                <a:latin typeface="+mj-lt"/>
                <a:cs typeface="Arial" pitchFamily="34" charset="0"/>
              </a:rPr>
              <a:t> floor, A - 13A, Graphix Tower, Sector 62, Noida, </a:t>
            </a:r>
          </a:p>
          <a:p>
            <a:pPr>
              <a:lnSpc>
                <a:spcPct val="100000"/>
              </a:lnSpc>
              <a:spcBef>
                <a:spcPts val="0"/>
              </a:spcBef>
              <a:spcAft>
                <a:spcPts val="0"/>
              </a:spcAft>
            </a:pPr>
            <a:r>
              <a:rPr lang="en-US" sz="900">
                <a:solidFill>
                  <a:schemeClr val="bg1"/>
                </a:solidFill>
                <a:latin typeface="+mj-lt"/>
                <a:cs typeface="Arial" pitchFamily="34" charset="0"/>
              </a:rPr>
              <a:t>UP - 201309</a:t>
            </a:r>
            <a:endParaRPr lang="en-US" sz="900" b="1">
              <a:solidFill>
                <a:schemeClr val="bg1"/>
              </a:solidFill>
              <a:latin typeface="+mj-lt"/>
              <a:cs typeface="Arial" pitchFamily="34" charset="0"/>
            </a:endParaRPr>
          </a:p>
        </p:txBody>
      </p:sp>
      <p:cxnSp>
        <p:nvCxnSpPr>
          <p:cNvPr id="13" name="Straight Connector 12">
            <a:extLst>
              <a:ext uri="{FF2B5EF4-FFF2-40B4-BE49-F238E27FC236}">
                <a16:creationId xmlns:a16="http://schemas.microsoft.com/office/drawing/2014/main" id="{BB3A299F-A199-DD83-AB4A-9EF4B36ABA40}"/>
              </a:ext>
            </a:extLst>
          </p:cNvPr>
          <p:cNvCxnSpPr>
            <a:cxnSpLocks/>
          </p:cNvCxnSpPr>
          <p:nvPr userDrawn="1"/>
        </p:nvCxnSpPr>
        <p:spPr>
          <a:xfrm>
            <a:off x="270079" y="4318468"/>
            <a:ext cx="3636603" cy="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607688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28_Title Slide">
    <p:spTree>
      <p:nvGrpSpPr>
        <p:cNvPr id="1" name=""/>
        <p:cNvGrpSpPr/>
        <p:nvPr/>
      </p:nvGrpSpPr>
      <p:grpSpPr>
        <a:xfrm>
          <a:off x="0" y="0"/>
          <a:ext cx="0" cy="0"/>
          <a:chOff x="0" y="0"/>
          <a:chExt cx="0" cy="0"/>
        </a:xfrm>
      </p:grpSpPr>
      <p:sp>
        <p:nvSpPr>
          <p:cNvPr id="4948" name="Rectangle 4947">
            <a:extLst>
              <a:ext uri="{FF2B5EF4-FFF2-40B4-BE49-F238E27FC236}">
                <a16:creationId xmlns:a16="http://schemas.microsoft.com/office/drawing/2014/main" id="{B7DA9399-B5B2-4449-A3E0-CB7701795380}"/>
              </a:ext>
            </a:extLst>
          </p:cNvPr>
          <p:cNvSpPr/>
          <p:nvPr userDrawn="1"/>
        </p:nvSpPr>
        <p:spPr>
          <a:xfrm>
            <a:off x="0" y="2313972"/>
            <a:ext cx="8853295" cy="1802394"/>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a:extLst>
              <a:ext uri="{FF2B5EF4-FFF2-40B4-BE49-F238E27FC236}">
                <a16:creationId xmlns:a16="http://schemas.microsoft.com/office/drawing/2014/main" id="{09E5C80A-33BF-4E0B-83E6-7F9FD87354A1}"/>
              </a:ext>
            </a:extLst>
          </p:cNvPr>
          <p:cNvSpPr>
            <a:spLocks noGrp="1"/>
          </p:cNvSpPr>
          <p:nvPr>
            <p:ph type="ctrTitle"/>
          </p:nvPr>
        </p:nvSpPr>
        <p:spPr>
          <a:xfrm>
            <a:off x="340265" y="3048970"/>
            <a:ext cx="7444846" cy="332399"/>
          </a:xfrm>
        </p:spPr>
        <p:txBody>
          <a:bodyPr wrap="square" lIns="0" tIns="0" rIns="0" bIns="0" anchor="b" anchorCtr="0">
            <a:spAutoFit/>
          </a:bodyPr>
          <a:lstStyle>
            <a:lvl1pPr algn="l">
              <a:defRPr sz="2400" b="1">
                <a:solidFill>
                  <a:schemeClr val="accent1"/>
                </a:solidFill>
              </a:defRPr>
            </a:lvl1pPr>
          </a:lstStyle>
          <a:p>
            <a:endParaRPr lang="en-US"/>
          </a:p>
        </p:txBody>
      </p:sp>
      <p:sp>
        <p:nvSpPr>
          <p:cNvPr id="5081" name="Right Triangle 5080">
            <a:extLst>
              <a:ext uri="{FF2B5EF4-FFF2-40B4-BE49-F238E27FC236}">
                <a16:creationId xmlns:a16="http://schemas.microsoft.com/office/drawing/2014/main" id="{50C799E3-6D7D-41D2-9B0B-2FFFE99E5C8C}"/>
              </a:ext>
            </a:extLst>
          </p:cNvPr>
          <p:cNvSpPr/>
          <p:nvPr userDrawn="1"/>
        </p:nvSpPr>
        <p:spPr>
          <a:xfrm flipH="1">
            <a:off x="7999464" y="2313972"/>
            <a:ext cx="853829" cy="1802393"/>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83" name="Right Triangle 5082">
            <a:extLst>
              <a:ext uri="{FF2B5EF4-FFF2-40B4-BE49-F238E27FC236}">
                <a16:creationId xmlns:a16="http://schemas.microsoft.com/office/drawing/2014/main" id="{559D7921-56CD-4782-9767-D5790B4A421D}"/>
              </a:ext>
            </a:extLst>
          </p:cNvPr>
          <p:cNvSpPr/>
          <p:nvPr userDrawn="1"/>
        </p:nvSpPr>
        <p:spPr>
          <a:xfrm flipH="1" flipV="1">
            <a:off x="7999464" y="2313972"/>
            <a:ext cx="853829" cy="1802393"/>
          </a:xfrm>
          <a:prstGeom prst="r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4" name="Freeform: Shape 203">
            <a:extLst>
              <a:ext uri="{FF2B5EF4-FFF2-40B4-BE49-F238E27FC236}">
                <a16:creationId xmlns:a16="http://schemas.microsoft.com/office/drawing/2014/main" id="{8356AA88-7ECD-4545-B19D-7FDCD096D4D6}"/>
              </a:ext>
            </a:extLst>
          </p:cNvPr>
          <p:cNvSpPr>
            <a:spLocks noChangeAspect="1"/>
          </p:cNvSpPr>
          <p:nvPr userDrawn="1"/>
        </p:nvSpPr>
        <p:spPr>
          <a:xfrm>
            <a:off x="7575892" y="4041648"/>
            <a:ext cx="4616108" cy="2816352"/>
          </a:xfrm>
          <a:custGeom>
            <a:avLst/>
            <a:gdLst>
              <a:gd name="connsiteX0" fmla="*/ 6203341 w 11240921"/>
              <a:gd name="connsiteY0" fmla="*/ 6853924 h 6858243"/>
              <a:gd name="connsiteX1" fmla="*/ 3099406 w 11240921"/>
              <a:gd name="connsiteY1" fmla="*/ 6845504 h 6858243"/>
              <a:gd name="connsiteX2" fmla="*/ 1072 w 11240921"/>
              <a:gd name="connsiteY2" fmla="*/ 6840450 h 6858243"/>
              <a:gd name="connsiteX3" fmla="*/ 478810 w 11240921"/>
              <a:gd name="connsiteY3" fmla="*/ 6832030 h 6858243"/>
              <a:gd name="connsiteX4" fmla="*/ 951507 w 11240921"/>
              <a:gd name="connsiteY4" fmla="*/ 6828661 h 6858243"/>
              <a:gd name="connsiteX5" fmla="*/ 954893 w 11240921"/>
              <a:gd name="connsiteY5" fmla="*/ 5898998 h 6858243"/>
              <a:gd name="connsiteX6" fmla="*/ 958255 w 11240921"/>
              <a:gd name="connsiteY6" fmla="*/ 4969315 h 6858243"/>
              <a:gd name="connsiteX7" fmla="*/ 2009747 w 11240921"/>
              <a:gd name="connsiteY7" fmla="*/ 4965954 h 6858243"/>
              <a:gd name="connsiteX8" fmla="*/ 3061265 w 11240921"/>
              <a:gd name="connsiteY8" fmla="*/ 4962593 h 6858243"/>
              <a:gd name="connsiteX9" fmla="*/ 3107833 w 11240921"/>
              <a:gd name="connsiteY9" fmla="*/ 4920938 h 6858243"/>
              <a:gd name="connsiteX10" fmla="*/ 3605508 w 11240921"/>
              <a:gd name="connsiteY10" fmla="*/ 4466217 h 6858243"/>
              <a:gd name="connsiteX11" fmla="*/ 4060687 w 11240921"/>
              <a:gd name="connsiteY11" fmla="*/ 4036271 h 6858243"/>
              <a:gd name="connsiteX12" fmla="*/ 4074895 w 11240921"/>
              <a:gd name="connsiteY12" fmla="*/ 4021147 h 6858243"/>
              <a:gd name="connsiteX13" fmla="*/ 4114870 w 11240921"/>
              <a:gd name="connsiteY13" fmla="*/ 3997569 h 6858243"/>
              <a:gd name="connsiteX14" fmla="*/ 5113147 w 11240921"/>
              <a:gd name="connsiteY14" fmla="*/ 3085582 h 6858243"/>
              <a:gd name="connsiteX15" fmla="*/ 5131658 w 11240921"/>
              <a:gd name="connsiteY15" fmla="*/ 3042908 h 6858243"/>
              <a:gd name="connsiteX16" fmla="*/ 5149735 w 11240921"/>
              <a:gd name="connsiteY16" fmla="*/ 3025085 h 6858243"/>
              <a:gd name="connsiteX17" fmla="*/ 5159335 w 11240921"/>
              <a:gd name="connsiteY17" fmla="*/ 3039241 h 6858243"/>
              <a:gd name="connsiteX18" fmla="*/ 5409496 w 11240921"/>
              <a:gd name="connsiteY18" fmla="*/ 2815739 h 6858243"/>
              <a:gd name="connsiteX19" fmla="*/ 5655889 w 11240921"/>
              <a:gd name="connsiteY19" fmla="*/ 2576577 h 6858243"/>
              <a:gd name="connsiteX20" fmla="*/ 5672846 w 11240921"/>
              <a:gd name="connsiteY20" fmla="*/ 2560943 h 6858243"/>
              <a:gd name="connsiteX21" fmla="*/ 6156517 w 11240921"/>
              <a:gd name="connsiteY21" fmla="*/ 2123231 h 6858243"/>
              <a:gd name="connsiteX22" fmla="*/ 6186460 w 11240921"/>
              <a:gd name="connsiteY22" fmla="*/ 2095911 h 6858243"/>
              <a:gd name="connsiteX23" fmla="*/ 6691773 w 11240921"/>
              <a:gd name="connsiteY23" fmla="*/ 1641750 h 6858243"/>
              <a:gd name="connsiteX24" fmla="*/ 6946365 w 11240921"/>
              <a:gd name="connsiteY24" fmla="*/ 1408954 h 6858243"/>
              <a:gd name="connsiteX25" fmla="*/ 7190593 w 11240921"/>
              <a:gd name="connsiteY25" fmla="*/ 1173178 h 6858243"/>
              <a:gd name="connsiteX26" fmla="*/ 7219950 w 11240921"/>
              <a:gd name="connsiteY26" fmla="*/ 1139492 h 6858243"/>
              <a:gd name="connsiteX27" fmla="*/ 7572519 w 11240921"/>
              <a:gd name="connsiteY27" fmla="*/ 836702 h 6858243"/>
              <a:gd name="connsiteX28" fmla="*/ 7762845 w 11240921"/>
              <a:gd name="connsiteY28" fmla="*/ 669113 h 6858243"/>
              <a:gd name="connsiteX29" fmla="*/ 7772469 w 11240921"/>
              <a:gd name="connsiteY29" fmla="*/ 676700 h 6858243"/>
              <a:gd name="connsiteX30" fmla="*/ 8268209 w 11240921"/>
              <a:gd name="connsiteY30" fmla="*/ 1134756 h 6858243"/>
              <a:gd name="connsiteX31" fmla="*/ 8287305 w 11240921"/>
              <a:gd name="connsiteY31" fmla="*/ 1134756 h 6858243"/>
              <a:gd name="connsiteX32" fmla="*/ 8547193 w 11240921"/>
              <a:gd name="connsiteY32" fmla="*/ 900330 h 6858243"/>
              <a:gd name="connsiteX33" fmla="*/ 8807055 w 11240921"/>
              <a:gd name="connsiteY33" fmla="*/ 669113 h 6858243"/>
              <a:gd name="connsiteX34" fmla="*/ 8816654 w 11240921"/>
              <a:gd name="connsiteY34" fmla="*/ 676700 h 6858243"/>
              <a:gd name="connsiteX35" fmla="*/ 9315342 w 11240921"/>
              <a:gd name="connsiteY35" fmla="*/ 1139492 h 6858243"/>
              <a:gd name="connsiteX36" fmla="*/ 9585050 w 11240921"/>
              <a:gd name="connsiteY36" fmla="*/ 905372 h 6858243"/>
              <a:gd name="connsiteX37" fmla="*/ 9853808 w 11240921"/>
              <a:gd name="connsiteY37" fmla="*/ 671277 h 6858243"/>
              <a:gd name="connsiteX38" fmla="*/ 10109126 w 11240921"/>
              <a:gd name="connsiteY38" fmla="*/ 900330 h 6858243"/>
              <a:gd name="connsiteX39" fmla="*/ 10359521 w 11240921"/>
              <a:gd name="connsiteY39" fmla="*/ 1129384 h 6858243"/>
              <a:gd name="connsiteX40" fmla="*/ 10609423 w 11240921"/>
              <a:gd name="connsiteY40" fmla="*/ 907052 h 6858243"/>
              <a:gd name="connsiteX41" fmla="*/ 10864946 w 11240921"/>
              <a:gd name="connsiteY41" fmla="*/ 682659 h 6858243"/>
              <a:gd name="connsiteX42" fmla="*/ 11144933 w 11240921"/>
              <a:gd name="connsiteY42" fmla="*/ 911890 h 6858243"/>
              <a:gd name="connsiteX43" fmla="*/ 11217354 w 11240921"/>
              <a:gd name="connsiteY43" fmla="*/ 971063 h 6858243"/>
              <a:gd name="connsiteX44" fmla="*/ 11221784 w 11240921"/>
              <a:gd name="connsiteY44" fmla="*/ 494446 h 6858243"/>
              <a:gd name="connsiteX45" fmla="*/ 11227585 w 11240921"/>
              <a:gd name="connsiteY45" fmla="*/ 8839 h 6858243"/>
              <a:gd name="connsiteX46" fmla="*/ 11241919 w 11240921"/>
              <a:gd name="connsiteY46" fmla="*/ 6008458 h 6858243"/>
              <a:gd name="connsiteX47" fmla="*/ 11241919 w 11240921"/>
              <a:gd name="connsiteY47" fmla="*/ 6845504 h 6858243"/>
              <a:gd name="connsiteX48" fmla="*/ 9750291 w 11240921"/>
              <a:gd name="connsiteY48" fmla="*/ 6845504 h 6858243"/>
              <a:gd name="connsiteX49" fmla="*/ 8255274 w 11240921"/>
              <a:gd name="connsiteY49" fmla="*/ 6853924 h 6858243"/>
              <a:gd name="connsiteX50" fmla="*/ 8251328 w 11240921"/>
              <a:gd name="connsiteY50" fmla="*/ 6853924 h 6858243"/>
              <a:gd name="connsiteX51" fmla="*/ 7230746 w 11240921"/>
              <a:gd name="connsiteY51" fmla="*/ 6845504 h 6858243"/>
              <a:gd name="connsiteX52" fmla="*/ 6207287 w 11240921"/>
              <a:gd name="connsiteY52" fmla="*/ 6853924 h 6858243"/>
              <a:gd name="connsiteX53" fmla="*/ 6203366 w 11240921"/>
              <a:gd name="connsiteY53" fmla="*/ 6853924 h 6858243"/>
              <a:gd name="connsiteX54" fmla="*/ 1043399 w 11240921"/>
              <a:gd name="connsiteY54" fmla="*/ 6816873 h 6858243"/>
              <a:gd name="connsiteX55" fmla="*/ 1258449 w 11240921"/>
              <a:gd name="connsiteY55" fmla="*/ 6613087 h 6858243"/>
              <a:gd name="connsiteX56" fmla="*/ 1466496 w 11240921"/>
              <a:gd name="connsiteY56" fmla="*/ 6417322 h 6858243"/>
              <a:gd name="connsiteX57" fmla="*/ 981934 w 11240921"/>
              <a:gd name="connsiteY57" fmla="*/ 5969731 h 6858243"/>
              <a:gd name="connsiteX58" fmla="*/ 979591 w 11240921"/>
              <a:gd name="connsiteY58" fmla="*/ 6827538 h 6858243"/>
              <a:gd name="connsiteX59" fmla="*/ 1010044 w 11240921"/>
              <a:gd name="connsiteY59" fmla="*/ 6832030 h 6858243"/>
              <a:gd name="connsiteX60" fmla="*/ 1043399 w 11240921"/>
              <a:gd name="connsiteY60" fmla="*/ 6816873 h 6858243"/>
              <a:gd name="connsiteX61" fmla="*/ 2024412 w 11240921"/>
              <a:gd name="connsiteY61" fmla="*/ 6400874 h 6858243"/>
              <a:gd name="connsiteX62" fmla="*/ 2022681 w 11240921"/>
              <a:gd name="connsiteY62" fmla="*/ 5964028 h 6858243"/>
              <a:gd name="connsiteX63" fmla="*/ 2000224 w 11240921"/>
              <a:gd name="connsiteY63" fmla="*/ 5967414 h 6858243"/>
              <a:gd name="connsiteX64" fmla="*/ 1062673 w 11240921"/>
              <a:gd name="connsiteY64" fmla="*/ 6826382 h 6858243"/>
              <a:gd name="connsiteX65" fmla="*/ 1542677 w 11240921"/>
              <a:gd name="connsiteY65" fmla="*/ 6830390 h 6858243"/>
              <a:gd name="connsiteX66" fmla="*/ 2022656 w 11240921"/>
              <a:gd name="connsiteY66" fmla="*/ 6828661 h 6858243"/>
              <a:gd name="connsiteX67" fmla="*/ 2087583 w 11240921"/>
              <a:gd name="connsiteY67" fmla="*/ 6816873 h 6858243"/>
              <a:gd name="connsiteX68" fmla="*/ 2299221 w 11240921"/>
              <a:gd name="connsiteY68" fmla="*/ 6616453 h 6858243"/>
              <a:gd name="connsiteX69" fmla="*/ 2503907 w 11240921"/>
              <a:gd name="connsiteY69" fmla="*/ 6423688 h 6858243"/>
              <a:gd name="connsiteX70" fmla="*/ 2053719 w 11240921"/>
              <a:gd name="connsiteY70" fmla="*/ 5983200 h 6858243"/>
              <a:gd name="connsiteX71" fmla="*/ 2050740 w 11240921"/>
              <a:gd name="connsiteY71" fmla="*/ 6827538 h 6858243"/>
              <a:gd name="connsiteX72" fmla="*/ 2087583 w 11240921"/>
              <a:gd name="connsiteY72" fmla="*/ 6816873 h 6858243"/>
              <a:gd name="connsiteX73" fmla="*/ 2922015 w 11240921"/>
              <a:gd name="connsiteY73" fmla="*/ 6826558 h 6858243"/>
              <a:gd name="connsiteX74" fmla="*/ 2524786 w 11240921"/>
              <a:gd name="connsiteY74" fmla="*/ 6442428 h 6858243"/>
              <a:gd name="connsiteX75" fmla="*/ 2106858 w 11240921"/>
              <a:gd name="connsiteY75" fmla="*/ 6826327 h 6858243"/>
              <a:gd name="connsiteX76" fmla="*/ 2514449 w 11240921"/>
              <a:gd name="connsiteY76" fmla="*/ 6832030 h 6858243"/>
              <a:gd name="connsiteX77" fmla="*/ 2922015 w 11240921"/>
              <a:gd name="connsiteY77" fmla="*/ 6826558 h 6858243"/>
              <a:gd name="connsiteX78" fmla="*/ 3048381 w 11240921"/>
              <a:gd name="connsiteY78" fmla="*/ 6399194 h 6858243"/>
              <a:gd name="connsiteX79" fmla="*/ 3043492 w 11240921"/>
              <a:gd name="connsiteY79" fmla="*/ 5969731 h 6858243"/>
              <a:gd name="connsiteX80" fmla="*/ 2551496 w 11240921"/>
              <a:gd name="connsiteY80" fmla="*/ 6423408 h 6858243"/>
              <a:gd name="connsiteX81" fmla="*/ 2758143 w 11240921"/>
              <a:gd name="connsiteY81" fmla="*/ 6632410 h 6858243"/>
              <a:gd name="connsiteX82" fmla="*/ 2964790 w 11240921"/>
              <a:gd name="connsiteY82" fmla="*/ 6832613 h 6858243"/>
              <a:gd name="connsiteX83" fmla="*/ 3005707 w 11240921"/>
              <a:gd name="connsiteY83" fmla="*/ 6830637 h 6858243"/>
              <a:gd name="connsiteX84" fmla="*/ 3046649 w 11240921"/>
              <a:gd name="connsiteY84" fmla="*/ 6828661 h 6858243"/>
              <a:gd name="connsiteX85" fmla="*/ 3342259 w 11240921"/>
              <a:gd name="connsiteY85" fmla="*/ 6638348 h 6858243"/>
              <a:gd name="connsiteX86" fmla="*/ 3561536 w 11240921"/>
              <a:gd name="connsiteY86" fmla="*/ 6429518 h 6858243"/>
              <a:gd name="connsiteX87" fmla="*/ 3585571 w 11240921"/>
              <a:gd name="connsiteY87" fmla="*/ 6414343 h 6858243"/>
              <a:gd name="connsiteX88" fmla="*/ 3609659 w 11240921"/>
              <a:gd name="connsiteY88" fmla="*/ 6429518 h 6858243"/>
              <a:gd name="connsiteX89" fmla="*/ 3826159 w 11240921"/>
              <a:gd name="connsiteY89" fmla="*/ 6635980 h 6858243"/>
              <a:gd name="connsiteX90" fmla="*/ 4066518 w 11240921"/>
              <a:gd name="connsiteY90" fmla="*/ 6827976 h 6858243"/>
              <a:gd name="connsiteX91" fmla="*/ 4090834 w 11240921"/>
              <a:gd name="connsiteY91" fmla="*/ 6828661 h 6858243"/>
              <a:gd name="connsiteX92" fmla="*/ 4092464 w 11240921"/>
              <a:gd name="connsiteY92" fmla="*/ 5926217 h 6858243"/>
              <a:gd name="connsiteX93" fmla="*/ 4088619 w 11240921"/>
              <a:gd name="connsiteY93" fmla="*/ 5018303 h 6858243"/>
              <a:gd name="connsiteX94" fmla="*/ 3078935 w 11240921"/>
              <a:gd name="connsiteY94" fmla="*/ 5941621 h 6858243"/>
              <a:gd name="connsiteX95" fmla="*/ 3070532 w 11240921"/>
              <a:gd name="connsiteY95" fmla="*/ 6391326 h 6858243"/>
              <a:gd name="connsiteX96" fmla="*/ 3074708 w 11240921"/>
              <a:gd name="connsiteY96" fmla="*/ 6827538 h 6858243"/>
              <a:gd name="connsiteX97" fmla="*/ 3101316 w 11240921"/>
              <a:gd name="connsiteY97" fmla="*/ 6832030 h 6858243"/>
              <a:gd name="connsiteX98" fmla="*/ 3342259 w 11240921"/>
              <a:gd name="connsiteY98" fmla="*/ 6638348 h 6858243"/>
              <a:gd name="connsiteX99" fmla="*/ 4005512 w 11240921"/>
              <a:gd name="connsiteY99" fmla="*/ 6826281 h 6858243"/>
              <a:gd name="connsiteX100" fmla="*/ 3585571 w 11240921"/>
              <a:gd name="connsiteY100" fmla="*/ 6455082 h 6858243"/>
              <a:gd name="connsiteX101" fmla="*/ 3165658 w 11240921"/>
              <a:gd name="connsiteY101" fmla="*/ 6826102 h 6858243"/>
              <a:gd name="connsiteX102" fmla="*/ 3585571 w 11240921"/>
              <a:gd name="connsiteY102" fmla="*/ 6832030 h 6858243"/>
              <a:gd name="connsiteX103" fmla="*/ 4005512 w 11240921"/>
              <a:gd name="connsiteY103" fmla="*/ 6826281 h 6858243"/>
              <a:gd name="connsiteX104" fmla="*/ 5029480 w 11240921"/>
              <a:gd name="connsiteY104" fmla="*/ 6825316 h 6858243"/>
              <a:gd name="connsiteX105" fmla="*/ 4613181 w 11240921"/>
              <a:gd name="connsiteY105" fmla="*/ 6434560 h 6858243"/>
              <a:gd name="connsiteX106" fmla="*/ 4407094 w 11240921"/>
              <a:gd name="connsiteY106" fmla="*/ 6619524 h 6858243"/>
              <a:gd name="connsiteX107" fmla="*/ 4188633 w 11240921"/>
              <a:gd name="connsiteY107" fmla="*/ 6800030 h 6858243"/>
              <a:gd name="connsiteX108" fmla="*/ 4395687 w 11240921"/>
              <a:gd name="connsiteY108" fmla="*/ 6600639 h 6858243"/>
              <a:gd name="connsiteX109" fmla="*/ 4592735 w 11240921"/>
              <a:gd name="connsiteY109" fmla="*/ 6415489 h 6858243"/>
              <a:gd name="connsiteX110" fmla="*/ 4120165 w 11240921"/>
              <a:gd name="connsiteY110" fmla="*/ 5970851 h 6858243"/>
              <a:gd name="connsiteX111" fmla="*/ 4118918 w 11240921"/>
              <a:gd name="connsiteY111" fmla="*/ 6827538 h 6858243"/>
              <a:gd name="connsiteX112" fmla="*/ 5029480 w 11240921"/>
              <a:gd name="connsiteY112" fmla="*/ 6825316 h 6858243"/>
              <a:gd name="connsiteX113" fmla="*/ 6053473 w 11240921"/>
              <a:gd name="connsiteY113" fmla="*/ 6825392 h 6858243"/>
              <a:gd name="connsiteX114" fmla="*/ 5649778 w 11240921"/>
              <a:gd name="connsiteY114" fmla="*/ 6454751 h 6858243"/>
              <a:gd name="connsiteX115" fmla="*/ 5454359 w 11240921"/>
              <a:gd name="connsiteY115" fmla="*/ 6628232 h 6858243"/>
              <a:gd name="connsiteX116" fmla="*/ 5255223 w 11240921"/>
              <a:gd name="connsiteY116" fmla="*/ 6803999 h 6858243"/>
              <a:gd name="connsiteX117" fmla="*/ 5439973 w 11240921"/>
              <a:gd name="connsiteY117" fmla="*/ 6612825 h 6858243"/>
              <a:gd name="connsiteX118" fmla="*/ 5628568 w 11240921"/>
              <a:gd name="connsiteY118" fmla="*/ 6433058 h 6858243"/>
              <a:gd name="connsiteX119" fmla="*/ 5121320 w 11240921"/>
              <a:gd name="connsiteY119" fmla="*/ 5971081 h 6858243"/>
              <a:gd name="connsiteX120" fmla="*/ 4634569 w 11240921"/>
              <a:gd name="connsiteY120" fmla="*/ 6413936 h 6858243"/>
              <a:gd name="connsiteX121" fmla="*/ 5064108 w 11240921"/>
              <a:gd name="connsiteY121" fmla="*/ 6820486 h 6858243"/>
              <a:gd name="connsiteX122" fmla="*/ 5568250 w 11240921"/>
              <a:gd name="connsiteY122" fmla="*/ 6832020 h 6858243"/>
              <a:gd name="connsiteX123" fmla="*/ 6053473 w 11240921"/>
              <a:gd name="connsiteY123" fmla="*/ 6825392 h 6858243"/>
              <a:gd name="connsiteX124" fmla="*/ 6194429 w 11240921"/>
              <a:gd name="connsiteY124" fmla="*/ 6391861 h 6858243"/>
              <a:gd name="connsiteX125" fmla="*/ 6189974 w 11240921"/>
              <a:gd name="connsiteY125" fmla="*/ 5957357 h 6858243"/>
              <a:gd name="connsiteX126" fmla="*/ 5670605 w 11240921"/>
              <a:gd name="connsiteY126" fmla="*/ 6434534 h 6858243"/>
              <a:gd name="connsiteX127" fmla="*/ 6091080 w 11240921"/>
              <a:gd name="connsiteY127" fmla="*/ 6823510 h 6858243"/>
              <a:gd name="connsiteX128" fmla="*/ 6148904 w 11240921"/>
              <a:gd name="connsiteY128" fmla="*/ 6830248 h 6858243"/>
              <a:gd name="connsiteX129" fmla="*/ 6192698 w 11240921"/>
              <a:gd name="connsiteY129" fmla="*/ 6828651 h 6858243"/>
              <a:gd name="connsiteX130" fmla="*/ 6194429 w 11240921"/>
              <a:gd name="connsiteY130" fmla="*/ 6391861 h 6858243"/>
              <a:gd name="connsiteX131" fmla="*/ 8240685 w 11240921"/>
              <a:gd name="connsiteY131" fmla="*/ 6384018 h 6858243"/>
              <a:gd name="connsiteX132" fmla="*/ 8240685 w 11240921"/>
              <a:gd name="connsiteY132" fmla="*/ 5939406 h 6858243"/>
              <a:gd name="connsiteX133" fmla="*/ 7734048 w 11240921"/>
              <a:gd name="connsiteY133" fmla="*/ 5937675 h 6858243"/>
              <a:gd name="connsiteX134" fmla="*/ 7227385 w 11240921"/>
              <a:gd name="connsiteY134" fmla="*/ 5935943 h 6858243"/>
              <a:gd name="connsiteX135" fmla="*/ 7187869 w 11240921"/>
              <a:gd name="connsiteY135" fmla="*/ 5971361 h 6858243"/>
              <a:gd name="connsiteX136" fmla="*/ 6712117 w 11240921"/>
              <a:gd name="connsiteY136" fmla="*/ 6404235 h 6858243"/>
              <a:gd name="connsiteX137" fmla="*/ 6266282 w 11240921"/>
              <a:gd name="connsiteY137" fmla="*/ 6803882 h 6858243"/>
              <a:gd name="connsiteX138" fmla="*/ 6278606 w 11240921"/>
              <a:gd name="connsiteY138" fmla="*/ 6771612 h 6858243"/>
              <a:gd name="connsiteX139" fmla="*/ 6746541 w 11240921"/>
              <a:gd name="connsiteY139" fmla="*/ 6345164 h 6858243"/>
              <a:gd name="connsiteX140" fmla="*/ 7192604 w 11240921"/>
              <a:gd name="connsiteY140" fmla="*/ 5939406 h 6858243"/>
              <a:gd name="connsiteX141" fmla="*/ 7192859 w 11240921"/>
              <a:gd name="connsiteY141" fmla="*/ 5506557 h 6858243"/>
              <a:gd name="connsiteX142" fmla="*/ 7203222 w 11240921"/>
              <a:gd name="connsiteY142" fmla="*/ 5073734 h 6858243"/>
              <a:gd name="connsiteX143" fmla="*/ 7213331 w 11240921"/>
              <a:gd name="connsiteY143" fmla="*/ 5491408 h 6858243"/>
              <a:gd name="connsiteX144" fmla="*/ 7219034 w 11240921"/>
              <a:gd name="connsiteY144" fmla="*/ 5909081 h 6858243"/>
              <a:gd name="connsiteX145" fmla="*/ 7737383 w 11240921"/>
              <a:gd name="connsiteY145" fmla="*/ 5435366 h 6858243"/>
              <a:gd name="connsiteX146" fmla="*/ 7257659 w 11240921"/>
              <a:gd name="connsiteY146" fmla="*/ 4988793 h 6858243"/>
              <a:gd name="connsiteX147" fmla="*/ 7127881 w 11240921"/>
              <a:gd name="connsiteY147" fmla="*/ 5094638 h 6858243"/>
              <a:gd name="connsiteX148" fmla="*/ 6224220 w 11240921"/>
              <a:gd name="connsiteY148" fmla="*/ 5932735 h 6858243"/>
              <a:gd name="connsiteX149" fmla="*/ 6216275 w 11240921"/>
              <a:gd name="connsiteY149" fmla="*/ 6386590 h 6858243"/>
              <a:gd name="connsiteX150" fmla="*/ 6220808 w 11240921"/>
              <a:gd name="connsiteY150" fmla="*/ 6827551 h 6858243"/>
              <a:gd name="connsiteX151" fmla="*/ 7232987 w 11240921"/>
              <a:gd name="connsiteY151" fmla="*/ 6830357 h 6858243"/>
              <a:gd name="connsiteX152" fmla="*/ 8240685 w 11240921"/>
              <a:gd name="connsiteY152" fmla="*/ 6828651 h 6858243"/>
              <a:gd name="connsiteX153" fmla="*/ 9245859 w 11240921"/>
              <a:gd name="connsiteY153" fmla="*/ 6821048 h 6858243"/>
              <a:gd name="connsiteX154" fmla="*/ 8786431 w 11240921"/>
              <a:gd name="connsiteY154" fmla="*/ 6398302 h 6858243"/>
              <a:gd name="connsiteX155" fmla="*/ 8557504 w 11240921"/>
              <a:gd name="connsiteY155" fmla="*/ 6600415 h 6858243"/>
              <a:gd name="connsiteX156" fmla="*/ 8327127 w 11240921"/>
              <a:gd name="connsiteY156" fmla="*/ 6803999 h 6858243"/>
              <a:gd name="connsiteX157" fmla="*/ 8319209 w 11240921"/>
              <a:gd name="connsiteY157" fmla="*/ 6796776 h 6858243"/>
              <a:gd name="connsiteX158" fmla="*/ 8545563 w 11240921"/>
              <a:gd name="connsiteY158" fmla="*/ 6582874 h 6858243"/>
              <a:gd name="connsiteX159" fmla="*/ 8757786 w 11240921"/>
              <a:gd name="connsiteY159" fmla="*/ 6365253 h 6858243"/>
              <a:gd name="connsiteX160" fmla="*/ 8273683 w 11240921"/>
              <a:gd name="connsiteY160" fmla="*/ 5923747 h 6858243"/>
              <a:gd name="connsiteX161" fmla="*/ 8264262 w 11240921"/>
              <a:gd name="connsiteY161" fmla="*/ 6372306 h 6858243"/>
              <a:gd name="connsiteX162" fmla="*/ 8268794 w 11240921"/>
              <a:gd name="connsiteY162" fmla="*/ 6827572 h 6858243"/>
              <a:gd name="connsiteX163" fmla="*/ 9245859 w 11240921"/>
              <a:gd name="connsiteY163" fmla="*/ 6821048 h 6858243"/>
              <a:gd name="connsiteX164" fmla="*/ 9420152 w 11240921"/>
              <a:gd name="connsiteY164" fmla="*/ 6823358 h 6858243"/>
              <a:gd name="connsiteX165" fmla="*/ 9833913 w 11240921"/>
              <a:gd name="connsiteY165" fmla="*/ 6438328 h 6858243"/>
              <a:gd name="connsiteX166" fmla="*/ 9305753 w 11240921"/>
              <a:gd name="connsiteY166" fmla="*/ 5960259 h 6858243"/>
              <a:gd name="connsiteX167" fmla="*/ 9278919 w 11240921"/>
              <a:gd name="connsiteY167" fmla="*/ 5958375 h 6858243"/>
              <a:gd name="connsiteX168" fmla="*/ 9268026 w 11240921"/>
              <a:gd name="connsiteY168" fmla="*/ 6392803 h 6858243"/>
              <a:gd name="connsiteX169" fmla="*/ 9272518 w 11240921"/>
              <a:gd name="connsiteY169" fmla="*/ 6827528 h 6858243"/>
              <a:gd name="connsiteX170" fmla="*/ 9420152 w 11240921"/>
              <a:gd name="connsiteY170" fmla="*/ 6823360 h 6858243"/>
              <a:gd name="connsiteX171" fmla="*/ 10330800 w 11240921"/>
              <a:gd name="connsiteY171" fmla="*/ 6426132 h 6858243"/>
              <a:gd name="connsiteX172" fmla="*/ 10327432 w 11240921"/>
              <a:gd name="connsiteY172" fmla="*/ 6023684 h 6858243"/>
              <a:gd name="connsiteX173" fmla="*/ 9457762 w 11240921"/>
              <a:gd name="connsiteY173" fmla="*/ 6825606 h 6858243"/>
              <a:gd name="connsiteX174" fmla="*/ 9892281 w 11240921"/>
              <a:gd name="connsiteY174" fmla="*/ 6830383 h 6858243"/>
              <a:gd name="connsiteX175" fmla="*/ 10329064 w 11240921"/>
              <a:gd name="connsiteY175" fmla="*/ 6828649 h 6858243"/>
              <a:gd name="connsiteX176" fmla="*/ 11218314 w 11240921"/>
              <a:gd name="connsiteY176" fmla="*/ 6394127 h 6858243"/>
              <a:gd name="connsiteX177" fmla="*/ 11218314 w 11240921"/>
              <a:gd name="connsiteY177" fmla="*/ 5959623 h 6858243"/>
              <a:gd name="connsiteX178" fmla="*/ 10809351 w 11240921"/>
              <a:gd name="connsiteY178" fmla="*/ 5957866 h 6858243"/>
              <a:gd name="connsiteX179" fmla="*/ 10400387 w 11240921"/>
              <a:gd name="connsiteY179" fmla="*/ 5956135 h 6858243"/>
              <a:gd name="connsiteX180" fmla="*/ 10376514 w 11240921"/>
              <a:gd name="connsiteY180" fmla="*/ 5977089 h 6858243"/>
              <a:gd name="connsiteX181" fmla="*/ 10352641 w 11240921"/>
              <a:gd name="connsiteY181" fmla="*/ 5998070 h 6858243"/>
              <a:gd name="connsiteX182" fmla="*/ 10352641 w 11240921"/>
              <a:gd name="connsiteY182" fmla="*/ 6410550 h 6858243"/>
              <a:gd name="connsiteX183" fmla="*/ 10357181 w 11240921"/>
              <a:gd name="connsiteY183" fmla="*/ 6827577 h 6858243"/>
              <a:gd name="connsiteX184" fmla="*/ 10790017 w 11240921"/>
              <a:gd name="connsiteY184" fmla="*/ 6830383 h 6858243"/>
              <a:gd name="connsiteX185" fmla="*/ 11218314 w 11240921"/>
              <a:gd name="connsiteY185" fmla="*/ 6828649 h 6858243"/>
              <a:gd name="connsiteX186" fmla="*/ 9247815 w 11240921"/>
              <a:gd name="connsiteY186" fmla="*/ 6378010 h 6858243"/>
              <a:gd name="connsiteX187" fmla="*/ 9243822 w 11240921"/>
              <a:gd name="connsiteY187" fmla="*/ 5981443 h 6858243"/>
              <a:gd name="connsiteX188" fmla="*/ 8811434 w 11240921"/>
              <a:gd name="connsiteY188" fmla="*/ 6377577 h 6858243"/>
              <a:gd name="connsiteX189" fmla="*/ 9242763 w 11240921"/>
              <a:gd name="connsiteY189" fmla="*/ 6773468 h 6858243"/>
              <a:gd name="connsiteX190" fmla="*/ 9247815 w 11240921"/>
              <a:gd name="connsiteY190" fmla="*/ 6378010 h 6858243"/>
              <a:gd name="connsiteX191" fmla="*/ 10088252 w 11240921"/>
              <a:gd name="connsiteY191" fmla="*/ 6211719 h 6858243"/>
              <a:gd name="connsiteX192" fmla="*/ 10324768 w 11240921"/>
              <a:gd name="connsiteY192" fmla="*/ 5989489 h 6858243"/>
              <a:gd name="connsiteX193" fmla="*/ 10330031 w 11240921"/>
              <a:gd name="connsiteY193" fmla="*/ 5966447 h 6858243"/>
              <a:gd name="connsiteX194" fmla="*/ 9840861 w 11240921"/>
              <a:gd name="connsiteY194" fmla="*/ 5956236 h 6858243"/>
              <a:gd name="connsiteX195" fmla="*/ 9355604 w 11240921"/>
              <a:gd name="connsiteY195" fmla="*/ 5962551 h 6858243"/>
              <a:gd name="connsiteX196" fmla="*/ 9535812 w 11240921"/>
              <a:gd name="connsiteY196" fmla="*/ 6132380 h 6858243"/>
              <a:gd name="connsiteX197" fmla="*/ 9784807 w 11240921"/>
              <a:gd name="connsiteY197" fmla="*/ 6358506 h 6858243"/>
              <a:gd name="connsiteX198" fmla="*/ 9857256 w 11240921"/>
              <a:gd name="connsiteY198" fmla="*/ 6421065 h 6858243"/>
              <a:gd name="connsiteX199" fmla="*/ 10088252 w 11240921"/>
              <a:gd name="connsiteY199" fmla="*/ 6211719 h 6858243"/>
              <a:gd name="connsiteX200" fmla="*/ 5911244 w 11240921"/>
              <a:gd name="connsiteY200" fmla="*/ 6181038 h 6858243"/>
              <a:gd name="connsiteX201" fmla="*/ 6168000 w 11240921"/>
              <a:gd name="connsiteY201" fmla="*/ 5941876 h 6858243"/>
              <a:gd name="connsiteX202" fmla="*/ 5151874 w 11240921"/>
              <a:gd name="connsiteY202" fmla="*/ 5942614 h 6858243"/>
              <a:gd name="connsiteX203" fmla="*/ 5403029 w 11240921"/>
              <a:gd name="connsiteY203" fmla="*/ 6193208 h 6858243"/>
              <a:gd name="connsiteX204" fmla="*/ 5648505 w 11240921"/>
              <a:gd name="connsiteY204" fmla="*/ 6413860 h 6858243"/>
              <a:gd name="connsiteX205" fmla="*/ 5911244 w 11240921"/>
              <a:gd name="connsiteY205" fmla="*/ 6181038 h 6858243"/>
              <a:gd name="connsiteX206" fmla="*/ 2770441 w 11240921"/>
              <a:gd name="connsiteY206" fmla="*/ 6185239 h 6858243"/>
              <a:gd name="connsiteX207" fmla="*/ 3008457 w 11240921"/>
              <a:gd name="connsiteY207" fmla="*/ 5962958 h 6858243"/>
              <a:gd name="connsiteX208" fmla="*/ 2541387 w 11240921"/>
              <a:gd name="connsiteY208" fmla="*/ 5956236 h 6858243"/>
              <a:gd name="connsiteX209" fmla="*/ 2074572 w 11240921"/>
              <a:gd name="connsiteY209" fmla="*/ 5963798 h 6858243"/>
              <a:gd name="connsiteX210" fmla="*/ 2527638 w 11240921"/>
              <a:gd name="connsiteY210" fmla="*/ 6400849 h 6858243"/>
              <a:gd name="connsiteX211" fmla="*/ 2770441 w 11240921"/>
              <a:gd name="connsiteY211" fmla="*/ 6185239 h 6858243"/>
              <a:gd name="connsiteX212" fmla="*/ 1729872 w 11240921"/>
              <a:gd name="connsiteY212" fmla="*/ 6181980 h 6858243"/>
              <a:gd name="connsiteX213" fmla="*/ 1964247 w 11240921"/>
              <a:gd name="connsiteY213" fmla="*/ 5963035 h 6858243"/>
              <a:gd name="connsiteX214" fmla="*/ 1490456 w 11240921"/>
              <a:gd name="connsiteY214" fmla="*/ 5956236 h 6858243"/>
              <a:gd name="connsiteX215" fmla="*/ 1016638 w 11240921"/>
              <a:gd name="connsiteY215" fmla="*/ 5962729 h 6858243"/>
              <a:gd name="connsiteX216" fmla="*/ 1487375 w 11240921"/>
              <a:gd name="connsiteY216" fmla="*/ 6393643 h 6858243"/>
              <a:gd name="connsiteX217" fmla="*/ 1729872 w 11240921"/>
              <a:gd name="connsiteY217" fmla="*/ 6181980 h 6858243"/>
              <a:gd name="connsiteX218" fmla="*/ 4862196 w 11240921"/>
              <a:gd name="connsiteY218" fmla="*/ 6174367 h 6858243"/>
              <a:gd name="connsiteX219" fmla="*/ 5101358 w 11240921"/>
              <a:gd name="connsiteY219" fmla="*/ 5948852 h 6858243"/>
              <a:gd name="connsiteX220" fmla="*/ 4595383 w 11240921"/>
              <a:gd name="connsiteY220" fmla="*/ 5486035 h 6858243"/>
              <a:gd name="connsiteX221" fmla="*/ 4142521 w 11240921"/>
              <a:gd name="connsiteY221" fmla="*/ 5893397 h 6858243"/>
              <a:gd name="connsiteX222" fmla="*/ 4119605 w 11240921"/>
              <a:gd name="connsiteY222" fmla="*/ 5933015 h 6858243"/>
              <a:gd name="connsiteX223" fmla="*/ 4612926 w 11240921"/>
              <a:gd name="connsiteY223" fmla="*/ 6393516 h 6858243"/>
              <a:gd name="connsiteX224" fmla="*/ 4862196 w 11240921"/>
              <a:gd name="connsiteY224" fmla="*/ 6174367 h 6858243"/>
              <a:gd name="connsiteX225" fmla="*/ 9024243 w 11240921"/>
              <a:gd name="connsiteY225" fmla="*/ 6146028 h 6858243"/>
              <a:gd name="connsiteX226" fmla="*/ 9259530 w 11240921"/>
              <a:gd name="connsiteY226" fmla="*/ 5928177 h 6858243"/>
              <a:gd name="connsiteX227" fmla="*/ 9025083 w 11240921"/>
              <a:gd name="connsiteY227" fmla="*/ 5697622 h 6858243"/>
              <a:gd name="connsiteX228" fmla="*/ 8772478 w 11240921"/>
              <a:gd name="connsiteY228" fmla="*/ 5473508 h 6858243"/>
              <a:gd name="connsiteX229" fmla="*/ 8734082 w 11240921"/>
              <a:gd name="connsiteY229" fmla="*/ 5495303 h 6858243"/>
              <a:gd name="connsiteX230" fmla="*/ 8292805 w 11240921"/>
              <a:gd name="connsiteY230" fmla="*/ 5903480 h 6858243"/>
              <a:gd name="connsiteX231" fmla="*/ 8788442 w 11240921"/>
              <a:gd name="connsiteY231" fmla="*/ 6353719 h 6858243"/>
              <a:gd name="connsiteX232" fmla="*/ 9024243 w 11240921"/>
              <a:gd name="connsiteY232" fmla="*/ 6146028 h 6858243"/>
              <a:gd name="connsiteX233" fmla="*/ 2011428 w 11240921"/>
              <a:gd name="connsiteY233" fmla="*/ 5920412 h 6858243"/>
              <a:gd name="connsiteX234" fmla="*/ 2026119 w 11240921"/>
              <a:gd name="connsiteY234" fmla="*/ 5904753 h 6858243"/>
              <a:gd name="connsiteX235" fmla="*/ 2024388 w 11240921"/>
              <a:gd name="connsiteY235" fmla="*/ 5447155 h 6858243"/>
              <a:gd name="connsiteX236" fmla="*/ 2022656 w 11240921"/>
              <a:gd name="connsiteY236" fmla="*/ 4989532 h 6858243"/>
              <a:gd name="connsiteX237" fmla="*/ 1500563 w 11240921"/>
              <a:gd name="connsiteY237" fmla="*/ 4989532 h 6858243"/>
              <a:gd name="connsiteX238" fmla="*/ 978472 w 11240921"/>
              <a:gd name="connsiteY238" fmla="*/ 4989532 h 6858243"/>
              <a:gd name="connsiteX239" fmla="*/ 976715 w 11240921"/>
              <a:gd name="connsiteY239" fmla="*/ 5454361 h 6858243"/>
              <a:gd name="connsiteX240" fmla="*/ 978191 w 11240921"/>
              <a:gd name="connsiteY240" fmla="*/ 5927617 h 6858243"/>
              <a:gd name="connsiteX241" fmla="*/ 1489080 w 11240921"/>
              <a:gd name="connsiteY241" fmla="*/ 5936045 h 6858243"/>
              <a:gd name="connsiteX242" fmla="*/ 1996735 w 11240921"/>
              <a:gd name="connsiteY242" fmla="*/ 5936045 h 6858243"/>
              <a:gd name="connsiteX243" fmla="*/ 3035421 w 11240921"/>
              <a:gd name="connsiteY243" fmla="*/ 5929527 h 6858243"/>
              <a:gd name="connsiteX244" fmla="*/ 2788672 w 11240921"/>
              <a:gd name="connsiteY244" fmla="*/ 5696934 h 6858243"/>
              <a:gd name="connsiteX245" fmla="*/ 2535226 w 11240921"/>
              <a:gd name="connsiteY245" fmla="*/ 5476079 h 6858243"/>
              <a:gd name="connsiteX246" fmla="*/ 2054865 w 11240921"/>
              <a:gd name="connsiteY246" fmla="*/ 5914530 h 6858243"/>
              <a:gd name="connsiteX247" fmla="*/ 2050231 w 11240921"/>
              <a:gd name="connsiteY247" fmla="*/ 5930291 h 6858243"/>
              <a:gd name="connsiteX248" fmla="*/ 3035421 w 11240921"/>
              <a:gd name="connsiteY248" fmla="*/ 5929527 h 6858243"/>
              <a:gd name="connsiteX249" fmla="*/ 10318958 w 11240921"/>
              <a:gd name="connsiteY249" fmla="*/ 5930545 h 6858243"/>
              <a:gd name="connsiteX250" fmla="*/ 9801874 w 11240921"/>
              <a:gd name="connsiteY250" fmla="*/ 5472489 h 6858243"/>
              <a:gd name="connsiteX251" fmla="*/ 9308941 w 11240921"/>
              <a:gd name="connsiteY251" fmla="*/ 5920335 h 6858243"/>
              <a:gd name="connsiteX252" fmla="*/ 9316867 w 11240921"/>
              <a:gd name="connsiteY252" fmla="*/ 5931589 h 6858243"/>
              <a:gd name="connsiteX253" fmla="*/ 10318958 w 11240921"/>
              <a:gd name="connsiteY253" fmla="*/ 5930545 h 6858243"/>
              <a:gd name="connsiteX254" fmla="*/ 10469205 w 11240921"/>
              <a:gd name="connsiteY254" fmla="*/ 5859965 h 6858243"/>
              <a:gd name="connsiteX255" fmla="*/ 10857898 w 11240921"/>
              <a:gd name="connsiteY255" fmla="*/ 5502152 h 6858243"/>
              <a:gd name="connsiteX256" fmla="*/ 11193252 w 11240921"/>
              <a:gd name="connsiteY256" fmla="*/ 5191036 h 6858243"/>
              <a:gd name="connsiteX257" fmla="*/ 11222087 w 11240921"/>
              <a:gd name="connsiteY257" fmla="*/ 5161678 h 6858243"/>
              <a:gd name="connsiteX258" fmla="*/ 11220201 w 11240921"/>
              <a:gd name="connsiteY258" fmla="*/ 5075592 h 6858243"/>
              <a:gd name="connsiteX259" fmla="*/ 11218314 w 11240921"/>
              <a:gd name="connsiteY259" fmla="*/ 4989532 h 6858243"/>
              <a:gd name="connsiteX260" fmla="*/ 10787161 w 11240921"/>
              <a:gd name="connsiteY260" fmla="*/ 4989532 h 6858243"/>
              <a:gd name="connsiteX261" fmla="*/ 10356010 w 11240921"/>
              <a:gd name="connsiteY261" fmla="*/ 4989532 h 6858243"/>
              <a:gd name="connsiteX262" fmla="*/ 10354266 w 11240921"/>
              <a:gd name="connsiteY262" fmla="*/ 5454361 h 6858243"/>
              <a:gd name="connsiteX263" fmla="*/ 10355738 w 11240921"/>
              <a:gd name="connsiteY263" fmla="*/ 5927617 h 6858243"/>
              <a:gd name="connsiteX264" fmla="*/ 10469203 w 11240921"/>
              <a:gd name="connsiteY264" fmla="*/ 5859965 h 6858243"/>
              <a:gd name="connsiteX265" fmla="*/ 11220058 w 11240921"/>
              <a:gd name="connsiteY265" fmla="*/ 5572656 h 6858243"/>
              <a:gd name="connsiteX266" fmla="*/ 11216689 w 11240921"/>
              <a:gd name="connsiteY266" fmla="*/ 5207866 h 6858243"/>
              <a:gd name="connsiteX267" fmla="*/ 10427850 w 11240921"/>
              <a:gd name="connsiteY267" fmla="*/ 5930189 h 6858243"/>
              <a:gd name="connsiteX268" fmla="*/ 10821949 w 11240921"/>
              <a:gd name="connsiteY268" fmla="*/ 5934416 h 6858243"/>
              <a:gd name="connsiteX269" fmla="*/ 11218314 w 11240921"/>
              <a:gd name="connsiteY269" fmla="*/ 5932684 h 6858243"/>
              <a:gd name="connsiteX270" fmla="*/ 5127584 w 11240921"/>
              <a:gd name="connsiteY270" fmla="*/ 5911907 h 6858243"/>
              <a:gd name="connsiteX271" fmla="*/ 5126616 w 11240921"/>
              <a:gd name="connsiteY271" fmla="*/ 4999793 h 6858243"/>
              <a:gd name="connsiteX272" fmla="*/ 4623034 w 11240921"/>
              <a:gd name="connsiteY272" fmla="*/ 5463756 h 6858243"/>
              <a:gd name="connsiteX273" fmla="*/ 5115795 w 11240921"/>
              <a:gd name="connsiteY273" fmla="*/ 5922220 h 6858243"/>
              <a:gd name="connsiteX274" fmla="*/ 5127584 w 11240921"/>
              <a:gd name="connsiteY274" fmla="*/ 5911907 h 6858243"/>
              <a:gd name="connsiteX275" fmla="*/ 6182208 w 11240921"/>
              <a:gd name="connsiteY275" fmla="*/ 5910787 h 6858243"/>
              <a:gd name="connsiteX276" fmla="*/ 5668722 w 11240921"/>
              <a:gd name="connsiteY276" fmla="*/ 5474577 h 6858243"/>
              <a:gd name="connsiteX277" fmla="*/ 5185611 w 11240921"/>
              <a:gd name="connsiteY277" fmla="*/ 5910787 h 6858243"/>
              <a:gd name="connsiteX278" fmla="*/ 5684075 w 11240921"/>
              <a:gd name="connsiteY278" fmla="*/ 5915829 h 6858243"/>
              <a:gd name="connsiteX279" fmla="*/ 6182208 w 11240921"/>
              <a:gd name="connsiteY279" fmla="*/ 5910787 h 6858243"/>
              <a:gd name="connsiteX280" fmla="*/ 8250768 w 11240921"/>
              <a:gd name="connsiteY280" fmla="*/ 5906281 h 6858243"/>
              <a:gd name="connsiteX281" fmla="*/ 7756607 w 11240921"/>
              <a:gd name="connsiteY281" fmla="*/ 5455736 h 6858243"/>
              <a:gd name="connsiteX282" fmla="*/ 7260485 w 11240921"/>
              <a:gd name="connsiteY282" fmla="*/ 5910329 h 6858243"/>
              <a:gd name="connsiteX283" fmla="*/ 7755639 w 11240921"/>
              <a:gd name="connsiteY283" fmla="*/ 5915829 h 6858243"/>
              <a:gd name="connsiteX284" fmla="*/ 8250768 w 11240921"/>
              <a:gd name="connsiteY284" fmla="*/ 5906281 h 6858243"/>
              <a:gd name="connsiteX285" fmla="*/ 3050010 w 11240921"/>
              <a:gd name="connsiteY285" fmla="*/ 5457747 h 6858243"/>
              <a:gd name="connsiteX286" fmla="*/ 3044561 w 11240921"/>
              <a:gd name="connsiteY286" fmla="*/ 5013109 h 6858243"/>
              <a:gd name="connsiteX287" fmla="*/ 2566391 w 11240921"/>
              <a:gd name="connsiteY287" fmla="*/ 5455634 h 6858243"/>
              <a:gd name="connsiteX288" fmla="*/ 3044969 w 11240921"/>
              <a:gd name="connsiteY288" fmla="*/ 5902028 h 6858243"/>
              <a:gd name="connsiteX289" fmla="*/ 3050010 w 11240921"/>
              <a:gd name="connsiteY289" fmla="*/ 5457747 h 6858243"/>
              <a:gd name="connsiteX290" fmla="*/ 3575718 w 11240921"/>
              <a:gd name="connsiteY290" fmla="*/ 5448453 h 6858243"/>
              <a:gd name="connsiteX291" fmla="*/ 4062316 w 11240921"/>
              <a:gd name="connsiteY291" fmla="*/ 4992002 h 6858243"/>
              <a:gd name="connsiteX292" fmla="*/ 3564999 w 11240921"/>
              <a:gd name="connsiteY292" fmla="*/ 4987800 h 6858243"/>
              <a:gd name="connsiteX293" fmla="*/ 3073588 w 11240921"/>
              <a:gd name="connsiteY293" fmla="*/ 4989532 h 6858243"/>
              <a:gd name="connsiteX294" fmla="*/ 3071856 w 11240921"/>
              <a:gd name="connsiteY294" fmla="*/ 5446519 h 6858243"/>
              <a:gd name="connsiteX295" fmla="*/ 3076668 w 11240921"/>
              <a:gd name="connsiteY295" fmla="*/ 5901264 h 6858243"/>
              <a:gd name="connsiteX296" fmla="*/ 3575718 w 11240921"/>
              <a:gd name="connsiteY296" fmla="*/ 5448453 h 6858243"/>
              <a:gd name="connsiteX297" fmla="*/ 5434830 w 11240921"/>
              <a:gd name="connsiteY297" fmla="*/ 5649448 h 6858243"/>
              <a:gd name="connsiteX298" fmla="*/ 5641656 w 11240921"/>
              <a:gd name="connsiteY298" fmla="*/ 5451407 h 6858243"/>
              <a:gd name="connsiteX299" fmla="*/ 5403512 w 11240921"/>
              <a:gd name="connsiteY299" fmla="*/ 5235416 h 6858243"/>
              <a:gd name="connsiteX300" fmla="*/ 5157934 w 11240921"/>
              <a:gd name="connsiteY300" fmla="*/ 5027699 h 6858243"/>
              <a:gd name="connsiteX301" fmla="*/ 5156534 w 11240921"/>
              <a:gd name="connsiteY301" fmla="*/ 5898031 h 6858243"/>
              <a:gd name="connsiteX302" fmla="*/ 5195286 w 11240921"/>
              <a:gd name="connsiteY302" fmla="*/ 5869845 h 6858243"/>
              <a:gd name="connsiteX303" fmla="*/ 5434830 w 11240921"/>
              <a:gd name="connsiteY303" fmla="*/ 5649448 h 6858243"/>
              <a:gd name="connsiteX304" fmla="*/ 6429644 w 11240921"/>
              <a:gd name="connsiteY304" fmla="*/ 5706228 h 6858243"/>
              <a:gd name="connsiteX305" fmla="*/ 6690143 w 11240921"/>
              <a:gd name="connsiteY305" fmla="*/ 5452476 h 6858243"/>
              <a:gd name="connsiteX306" fmla="*/ 6438505 w 11240921"/>
              <a:gd name="connsiteY306" fmla="*/ 5225307 h 6858243"/>
              <a:gd name="connsiteX307" fmla="*/ 6185849 w 11240921"/>
              <a:gd name="connsiteY307" fmla="*/ 5000939 h 6858243"/>
              <a:gd name="connsiteX308" fmla="*/ 5692452 w 11240921"/>
              <a:gd name="connsiteY308" fmla="*/ 5452502 h 6858243"/>
              <a:gd name="connsiteX309" fmla="*/ 6210699 w 11240921"/>
              <a:gd name="connsiteY309" fmla="*/ 5902028 h 6858243"/>
              <a:gd name="connsiteX310" fmla="*/ 6429644 w 11240921"/>
              <a:gd name="connsiteY310" fmla="*/ 5706228 h 6858243"/>
              <a:gd name="connsiteX311" fmla="*/ 9537663 w 11240921"/>
              <a:gd name="connsiteY311" fmla="*/ 5677405 h 6858243"/>
              <a:gd name="connsiteX312" fmla="*/ 9778643 w 11240921"/>
              <a:gd name="connsiteY312" fmla="*/ 5446977 h 6858243"/>
              <a:gd name="connsiteX313" fmla="*/ 9283000 w 11240921"/>
              <a:gd name="connsiteY313" fmla="*/ 4999971 h 6858243"/>
              <a:gd name="connsiteX314" fmla="*/ 8791701 w 11240921"/>
              <a:gd name="connsiteY314" fmla="*/ 5448199 h 6858243"/>
              <a:gd name="connsiteX315" fmla="*/ 9288760 w 11240921"/>
              <a:gd name="connsiteY315" fmla="*/ 5901010 h 6858243"/>
              <a:gd name="connsiteX316" fmla="*/ 9537663 w 11240921"/>
              <a:gd name="connsiteY316" fmla="*/ 5677405 h 6858243"/>
              <a:gd name="connsiteX317" fmla="*/ 10332432 w 11240921"/>
              <a:gd name="connsiteY317" fmla="*/ 5443870 h 6858243"/>
              <a:gd name="connsiteX318" fmla="*/ 10325441 w 11240921"/>
              <a:gd name="connsiteY318" fmla="*/ 4992893 h 6858243"/>
              <a:gd name="connsiteX319" fmla="*/ 9830544 w 11240921"/>
              <a:gd name="connsiteY319" fmla="*/ 5448581 h 6858243"/>
              <a:gd name="connsiteX320" fmla="*/ 10327378 w 11240921"/>
              <a:gd name="connsiteY320" fmla="*/ 5897700 h 6858243"/>
              <a:gd name="connsiteX321" fmla="*/ 10332432 w 11240921"/>
              <a:gd name="connsiteY321" fmla="*/ 5443870 h 6858243"/>
              <a:gd name="connsiteX322" fmla="*/ 2275719 w 11240921"/>
              <a:gd name="connsiteY322" fmla="*/ 5682828 h 6858243"/>
              <a:gd name="connsiteX323" fmla="*/ 2521171 w 11240921"/>
              <a:gd name="connsiteY323" fmla="*/ 5457263 h 6858243"/>
              <a:gd name="connsiteX324" fmla="*/ 2785591 w 11240921"/>
              <a:gd name="connsiteY324" fmla="*/ 5214817 h 6858243"/>
              <a:gd name="connsiteX325" fmla="*/ 3023072 w 11240921"/>
              <a:gd name="connsiteY325" fmla="*/ 4992333 h 6858243"/>
              <a:gd name="connsiteX326" fmla="*/ 2536346 w 11240921"/>
              <a:gd name="connsiteY326" fmla="*/ 4987800 h 6858243"/>
              <a:gd name="connsiteX327" fmla="*/ 2049594 w 11240921"/>
              <a:gd name="connsiteY327" fmla="*/ 4989532 h 6858243"/>
              <a:gd name="connsiteX328" fmla="*/ 2047863 w 11240921"/>
              <a:gd name="connsiteY328" fmla="*/ 5435850 h 6858243"/>
              <a:gd name="connsiteX329" fmla="*/ 2051682 w 11240921"/>
              <a:gd name="connsiteY329" fmla="*/ 5882143 h 6858243"/>
              <a:gd name="connsiteX330" fmla="*/ 2275719 w 11240921"/>
              <a:gd name="connsiteY330" fmla="*/ 5682828 h 6858243"/>
              <a:gd name="connsiteX331" fmla="*/ 4347845 w 11240921"/>
              <a:gd name="connsiteY331" fmla="*/ 5677252 h 6858243"/>
              <a:gd name="connsiteX332" fmla="*/ 4573868 w 11240921"/>
              <a:gd name="connsiteY332" fmla="*/ 5467906 h 6858243"/>
              <a:gd name="connsiteX333" fmla="*/ 4352479 w 11240921"/>
              <a:gd name="connsiteY333" fmla="*/ 5251762 h 6858243"/>
              <a:gd name="connsiteX334" fmla="*/ 4120395 w 11240921"/>
              <a:gd name="connsiteY334" fmla="*/ 5041168 h 6858243"/>
              <a:gd name="connsiteX335" fmla="*/ 4114412 w 11240921"/>
              <a:gd name="connsiteY335" fmla="*/ 5461108 h 6858243"/>
              <a:gd name="connsiteX336" fmla="*/ 4120472 w 11240921"/>
              <a:gd name="connsiteY336" fmla="*/ 5881022 h 6858243"/>
              <a:gd name="connsiteX337" fmla="*/ 4347845 w 11240921"/>
              <a:gd name="connsiteY337" fmla="*/ 5677252 h 6858243"/>
              <a:gd name="connsiteX338" fmla="*/ 8391189 w 11240921"/>
              <a:gd name="connsiteY338" fmla="*/ 5779099 h 6858243"/>
              <a:gd name="connsiteX339" fmla="*/ 8621286 w 11240921"/>
              <a:gd name="connsiteY339" fmla="*/ 5569040 h 6858243"/>
              <a:gd name="connsiteX340" fmla="*/ 8743910 w 11240921"/>
              <a:gd name="connsiteY340" fmla="*/ 5454361 h 6858243"/>
              <a:gd name="connsiteX341" fmla="*/ 8521578 w 11240921"/>
              <a:gd name="connsiteY341" fmla="*/ 5240788 h 6858243"/>
              <a:gd name="connsiteX342" fmla="*/ 8276102 w 11240921"/>
              <a:gd name="connsiteY342" fmla="*/ 5016419 h 6858243"/>
              <a:gd name="connsiteX343" fmla="*/ 8257668 w 11240921"/>
              <a:gd name="connsiteY343" fmla="*/ 4997934 h 6858243"/>
              <a:gd name="connsiteX344" fmla="*/ 8228947 w 11240921"/>
              <a:gd name="connsiteY344" fmla="*/ 5023676 h 6858243"/>
              <a:gd name="connsiteX345" fmla="*/ 7787416 w 11240921"/>
              <a:gd name="connsiteY345" fmla="*/ 5435494 h 6858243"/>
              <a:gd name="connsiteX346" fmla="*/ 8272665 w 11240921"/>
              <a:gd name="connsiteY346" fmla="*/ 5882143 h 6858243"/>
              <a:gd name="connsiteX347" fmla="*/ 8391189 w 11240921"/>
              <a:gd name="connsiteY347" fmla="*/ 5779099 h 6858243"/>
              <a:gd name="connsiteX348" fmla="*/ 4843941 w 11240921"/>
              <a:gd name="connsiteY348" fmla="*/ 5224976 h 6858243"/>
              <a:gd name="connsiteX349" fmla="*/ 5084502 w 11240921"/>
              <a:gd name="connsiteY349" fmla="*/ 4999284 h 6858243"/>
              <a:gd name="connsiteX350" fmla="*/ 4602334 w 11240921"/>
              <a:gd name="connsiteY350" fmla="*/ 4992893 h 6858243"/>
              <a:gd name="connsiteX351" fmla="*/ 4122355 w 11240921"/>
              <a:gd name="connsiteY351" fmla="*/ 5002848 h 6858243"/>
              <a:gd name="connsiteX352" fmla="*/ 4596351 w 11240921"/>
              <a:gd name="connsiteY352" fmla="*/ 5443845 h 6858243"/>
              <a:gd name="connsiteX353" fmla="*/ 4843941 w 11240921"/>
              <a:gd name="connsiteY353" fmla="*/ 5224976 h 6858243"/>
              <a:gd name="connsiteX354" fmla="*/ 6959248 w 11240921"/>
              <a:gd name="connsiteY354" fmla="*/ 5220622 h 6858243"/>
              <a:gd name="connsiteX355" fmla="*/ 7205259 w 11240921"/>
              <a:gd name="connsiteY355" fmla="*/ 4992180 h 6858243"/>
              <a:gd name="connsiteX356" fmla="*/ 7200192 w 11240921"/>
              <a:gd name="connsiteY356" fmla="*/ 4983013 h 6858243"/>
              <a:gd name="connsiteX357" fmla="*/ 7193114 w 11240921"/>
              <a:gd name="connsiteY357" fmla="*/ 4952765 h 6858243"/>
              <a:gd name="connsiteX358" fmla="*/ 7151000 w 11240921"/>
              <a:gd name="connsiteY358" fmla="*/ 4886692 h 6858243"/>
              <a:gd name="connsiteX359" fmla="*/ 6730296 w 11240921"/>
              <a:gd name="connsiteY359" fmla="*/ 4503035 h 6858243"/>
              <a:gd name="connsiteX360" fmla="*/ 6470944 w 11240921"/>
              <a:gd name="connsiteY360" fmla="*/ 4730357 h 6858243"/>
              <a:gd name="connsiteX361" fmla="*/ 6221546 w 11240921"/>
              <a:gd name="connsiteY361" fmla="*/ 4981537 h 6858243"/>
              <a:gd name="connsiteX362" fmla="*/ 6224907 w 11240921"/>
              <a:gd name="connsiteY362" fmla="*/ 5003128 h 6858243"/>
              <a:gd name="connsiteX363" fmla="*/ 6700201 w 11240921"/>
              <a:gd name="connsiteY363" fmla="*/ 5438752 h 6858243"/>
              <a:gd name="connsiteX364" fmla="*/ 6708858 w 11240921"/>
              <a:gd name="connsiteY364" fmla="*/ 5444252 h 6858243"/>
              <a:gd name="connsiteX365" fmla="*/ 6959248 w 11240921"/>
              <a:gd name="connsiteY365" fmla="*/ 5220622 h 6858243"/>
              <a:gd name="connsiteX366" fmla="*/ 5906381 w 11240921"/>
              <a:gd name="connsiteY366" fmla="*/ 5218356 h 6858243"/>
              <a:gd name="connsiteX367" fmla="*/ 6141062 w 11240921"/>
              <a:gd name="connsiteY367" fmla="*/ 4999411 h 6858243"/>
              <a:gd name="connsiteX368" fmla="*/ 5653775 w 11240921"/>
              <a:gd name="connsiteY368" fmla="*/ 4992893 h 6858243"/>
              <a:gd name="connsiteX369" fmla="*/ 5166489 w 11240921"/>
              <a:gd name="connsiteY369" fmla="*/ 4999691 h 6858243"/>
              <a:gd name="connsiteX370" fmla="*/ 5667245 w 11240921"/>
              <a:gd name="connsiteY370" fmla="*/ 5430656 h 6858243"/>
              <a:gd name="connsiteX371" fmla="*/ 5906381 w 11240921"/>
              <a:gd name="connsiteY371" fmla="*/ 5218356 h 6858243"/>
              <a:gd name="connsiteX372" fmla="*/ 9012251 w 11240921"/>
              <a:gd name="connsiteY372" fmla="*/ 5214155 h 6858243"/>
              <a:gd name="connsiteX373" fmla="*/ 9253429 w 11240921"/>
              <a:gd name="connsiteY373" fmla="*/ 4991849 h 6858243"/>
              <a:gd name="connsiteX374" fmla="*/ 8769499 w 11240921"/>
              <a:gd name="connsiteY374" fmla="*/ 4986171 h 6858243"/>
              <a:gd name="connsiteX375" fmla="*/ 8285777 w 11240921"/>
              <a:gd name="connsiteY375" fmla="*/ 4993453 h 6858243"/>
              <a:gd name="connsiteX376" fmla="*/ 8766341 w 11240921"/>
              <a:gd name="connsiteY376" fmla="*/ 5430350 h 6858243"/>
              <a:gd name="connsiteX377" fmla="*/ 9012251 w 11240921"/>
              <a:gd name="connsiteY377" fmla="*/ 5214155 h 6858243"/>
              <a:gd name="connsiteX378" fmla="*/ 10058892 w 11240921"/>
              <a:gd name="connsiteY378" fmla="*/ 5201984 h 6858243"/>
              <a:gd name="connsiteX379" fmla="*/ 10304017 w 11240921"/>
              <a:gd name="connsiteY379" fmla="*/ 4968475 h 6858243"/>
              <a:gd name="connsiteX380" fmla="*/ 10083172 w 11240921"/>
              <a:gd name="connsiteY380" fmla="*/ 4760249 h 6858243"/>
              <a:gd name="connsiteX381" fmla="*/ 9839700 w 11240921"/>
              <a:gd name="connsiteY381" fmla="*/ 4536695 h 6858243"/>
              <a:gd name="connsiteX382" fmla="*/ 9815170 w 11240921"/>
              <a:gd name="connsiteY382" fmla="*/ 4513296 h 6858243"/>
              <a:gd name="connsiteX383" fmla="*/ 9561488 w 11240921"/>
              <a:gd name="connsiteY383" fmla="*/ 4743877 h 6858243"/>
              <a:gd name="connsiteX384" fmla="*/ 9309809 w 11240921"/>
              <a:gd name="connsiteY384" fmla="*/ 4983701 h 6858243"/>
              <a:gd name="connsiteX385" fmla="*/ 9804364 w 11240921"/>
              <a:gd name="connsiteY385" fmla="*/ 5428772 h 6858243"/>
              <a:gd name="connsiteX386" fmla="*/ 10058892 w 11240921"/>
              <a:gd name="connsiteY386" fmla="*/ 5201984 h 6858243"/>
              <a:gd name="connsiteX387" fmla="*/ 8000836 w 11240921"/>
              <a:gd name="connsiteY387" fmla="*/ 5202366 h 6858243"/>
              <a:gd name="connsiteX388" fmla="*/ 8225586 w 11240921"/>
              <a:gd name="connsiteY388" fmla="*/ 4990168 h 6858243"/>
              <a:gd name="connsiteX389" fmla="*/ 7302014 w 11240921"/>
              <a:gd name="connsiteY389" fmla="*/ 4992103 h 6858243"/>
              <a:gd name="connsiteX390" fmla="*/ 7762590 w 11240921"/>
              <a:gd name="connsiteY390" fmla="*/ 5410567 h 6858243"/>
              <a:gd name="connsiteX391" fmla="*/ 8000836 w 11240921"/>
              <a:gd name="connsiteY391" fmla="*/ 5202366 h 6858243"/>
              <a:gd name="connsiteX392" fmla="*/ 5123586 w 11240921"/>
              <a:gd name="connsiteY392" fmla="*/ 4964605 h 6858243"/>
              <a:gd name="connsiteX393" fmla="*/ 5131658 w 11240921"/>
              <a:gd name="connsiteY393" fmla="*/ 4509884 h 6858243"/>
              <a:gd name="connsiteX394" fmla="*/ 5126565 w 11240921"/>
              <a:gd name="connsiteY394" fmla="*/ 4063235 h 6858243"/>
              <a:gd name="connsiteX395" fmla="*/ 4643964 w 11240921"/>
              <a:gd name="connsiteY395" fmla="*/ 4507618 h 6858243"/>
              <a:gd name="connsiteX396" fmla="*/ 4624384 w 11240921"/>
              <a:gd name="connsiteY396" fmla="*/ 4525339 h 6858243"/>
              <a:gd name="connsiteX397" fmla="*/ 4141375 w 11240921"/>
              <a:gd name="connsiteY397" fmla="*/ 4966336 h 6858243"/>
              <a:gd name="connsiteX398" fmla="*/ 5123586 w 11240921"/>
              <a:gd name="connsiteY398" fmla="*/ 4964605 h 6858243"/>
              <a:gd name="connsiteX399" fmla="*/ 6148904 w 11240921"/>
              <a:gd name="connsiteY399" fmla="*/ 4966871 h 6858243"/>
              <a:gd name="connsiteX400" fmla="*/ 5656805 w 11240921"/>
              <a:gd name="connsiteY400" fmla="*/ 4517955 h 6858243"/>
              <a:gd name="connsiteX401" fmla="*/ 5165343 w 11240921"/>
              <a:gd name="connsiteY401" fmla="*/ 4966616 h 6858243"/>
              <a:gd name="connsiteX402" fmla="*/ 5657136 w 11240921"/>
              <a:gd name="connsiteY402" fmla="*/ 4972701 h 6858243"/>
              <a:gd name="connsiteX403" fmla="*/ 6148904 w 11240921"/>
              <a:gd name="connsiteY403" fmla="*/ 4966871 h 6858243"/>
              <a:gd name="connsiteX404" fmla="*/ 4032451 w 11240921"/>
              <a:gd name="connsiteY404" fmla="*/ 4960200 h 6858243"/>
              <a:gd name="connsiteX405" fmla="*/ 3568614 w 11240921"/>
              <a:gd name="connsiteY405" fmla="*/ 4534811 h 6858243"/>
              <a:gd name="connsiteX406" fmla="*/ 3103913 w 11240921"/>
              <a:gd name="connsiteY406" fmla="*/ 4959767 h 6858243"/>
              <a:gd name="connsiteX407" fmla="*/ 3569302 w 11240921"/>
              <a:gd name="connsiteY407" fmla="*/ 4965954 h 6858243"/>
              <a:gd name="connsiteX408" fmla="*/ 4032451 w 11240921"/>
              <a:gd name="connsiteY408" fmla="*/ 4960200 h 6858243"/>
              <a:gd name="connsiteX409" fmla="*/ 4133049 w 11240921"/>
              <a:gd name="connsiteY409" fmla="*/ 4937310 h 6858243"/>
              <a:gd name="connsiteX410" fmla="*/ 4598005 w 11240921"/>
              <a:gd name="connsiteY410" fmla="*/ 4503239 h 6858243"/>
              <a:gd name="connsiteX411" fmla="*/ 4101069 w 11240921"/>
              <a:gd name="connsiteY411" fmla="*/ 4043018 h 6858243"/>
              <a:gd name="connsiteX412" fmla="*/ 4080726 w 11240921"/>
              <a:gd name="connsiteY412" fmla="*/ 4512303 h 6858243"/>
              <a:gd name="connsiteX413" fmla="*/ 4080624 w 11240921"/>
              <a:gd name="connsiteY413" fmla="*/ 4960913 h 6858243"/>
              <a:gd name="connsiteX414" fmla="*/ 4133049 w 11240921"/>
              <a:gd name="connsiteY414" fmla="*/ 4937310 h 6858243"/>
              <a:gd name="connsiteX415" fmla="*/ 7226800 w 11240921"/>
              <a:gd name="connsiteY415" fmla="*/ 4959207 h 6858243"/>
              <a:gd name="connsiteX416" fmla="*/ 7219670 w 11240921"/>
              <a:gd name="connsiteY416" fmla="*/ 4952485 h 6858243"/>
              <a:gd name="connsiteX417" fmla="*/ 7216691 w 11240921"/>
              <a:gd name="connsiteY417" fmla="*/ 4959207 h 6858243"/>
              <a:gd name="connsiteX418" fmla="*/ 7223821 w 11240921"/>
              <a:gd name="connsiteY418" fmla="*/ 4965954 h 6858243"/>
              <a:gd name="connsiteX419" fmla="*/ 7226800 w 11240921"/>
              <a:gd name="connsiteY419" fmla="*/ 4959207 h 6858243"/>
              <a:gd name="connsiteX420" fmla="*/ 8235669 w 11240921"/>
              <a:gd name="connsiteY420" fmla="*/ 4526383 h 6858243"/>
              <a:gd name="connsiteX421" fmla="*/ 8230500 w 11240921"/>
              <a:gd name="connsiteY421" fmla="*/ 4090173 h 6858243"/>
              <a:gd name="connsiteX422" fmla="*/ 7280676 w 11240921"/>
              <a:gd name="connsiteY422" fmla="*/ 4960225 h 6858243"/>
              <a:gd name="connsiteX423" fmla="*/ 7757320 w 11240921"/>
              <a:gd name="connsiteY423" fmla="*/ 4964325 h 6858243"/>
              <a:gd name="connsiteX424" fmla="*/ 8233938 w 11240921"/>
              <a:gd name="connsiteY424" fmla="*/ 4962593 h 6858243"/>
              <a:gd name="connsiteX425" fmla="*/ 9239955 w 11240921"/>
              <a:gd name="connsiteY425" fmla="*/ 4960225 h 6858243"/>
              <a:gd name="connsiteX426" fmla="*/ 8773165 w 11240921"/>
              <a:gd name="connsiteY426" fmla="*/ 4540107 h 6858243"/>
              <a:gd name="connsiteX427" fmla="*/ 8304670 w 11240921"/>
              <a:gd name="connsiteY427" fmla="*/ 4959971 h 6858243"/>
              <a:gd name="connsiteX428" fmla="*/ 8773445 w 11240921"/>
              <a:gd name="connsiteY428" fmla="*/ 4965954 h 6858243"/>
              <a:gd name="connsiteX429" fmla="*/ 9239955 w 11240921"/>
              <a:gd name="connsiteY429" fmla="*/ 4960225 h 6858243"/>
              <a:gd name="connsiteX430" fmla="*/ 11220216 w 11240921"/>
              <a:gd name="connsiteY430" fmla="*/ 4890995 h 6858243"/>
              <a:gd name="connsiteX431" fmla="*/ 11222118 w 11240921"/>
              <a:gd name="connsiteY431" fmla="*/ 4819422 h 6858243"/>
              <a:gd name="connsiteX432" fmla="*/ 11048428 w 11240921"/>
              <a:gd name="connsiteY432" fmla="*/ 4660184 h 6858243"/>
              <a:gd name="connsiteX433" fmla="*/ 10837687 w 11240921"/>
              <a:gd name="connsiteY433" fmla="*/ 4464817 h 6858243"/>
              <a:gd name="connsiteX434" fmla="*/ 10347758 w 11240921"/>
              <a:gd name="connsiteY434" fmla="*/ 4017073 h 6858243"/>
              <a:gd name="connsiteX435" fmla="*/ 9838203 w 11240921"/>
              <a:gd name="connsiteY435" fmla="*/ 4009332 h 6858243"/>
              <a:gd name="connsiteX436" fmla="*/ 9331981 w 11240921"/>
              <a:gd name="connsiteY436" fmla="*/ 4020459 h 6858243"/>
              <a:gd name="connsiteX437" fmla="*/ 9336551 w 11240921"/>
              <a:gd name="connsiteY437" fmla="*/ 4046583 h 6858243"/>
              <a:gd name="connsiteX438" fmla="*/ 9567810 w 11240921"/>
              <a:gd name="connsiteY438" fmla="*/ 4258501 h 6858243"/>
              <a:gd name="connsiteX439" fmla="*/ 9817070 w 11240921"/>
              <a:gd name="connsiteY439" fmla="*/ 4486510 h 6858243"/>
              <a:gd name="connsiteX440" fmla="*/ 10094974 w 11240921"/>
              <a:gd name="connsiteY440" fmla="*/ 4741840 h 6858243"/>
              <a:gd name="connsiteX441" fmla="*/ 10339195 w 11240921"/>
              <a:gd name="connsiteY441" fmla="*/ 4966056 h 6858243"/>
              <a:gd name="connsiteX442" fmla="*/ 10778753 w 11240921"/>
              <a:gd name="connsiteY442" fmla="*/ 4964325 h 6858243"/>
              <a:gd name="connsiteX443" fmla="*/ 11218311 w 11240921"/>
              <a:gd name="connsiteY443" fmla="*/ 4962593 h 6858243"/>
              <a:gd name="connsiteX444" fmla="*/ 6448817 w 11240921"/>
              <a:gd name="connsiteY444" fmla="*/ 4721827 h 6858243"/>
              <a:gd name="connsiteX445" fmla="*/ 6706413 w 11240921"/>
              <a:gd name="connsiteY445" fmla="*/ 4479839 h 6858243"/>
              <a:gd name="connsiteX446" fmla="*/ 6455437 w 11240921"/>
              <a:gd name="connsiteY446" fmla="*/ 4246305 h 6858243"/>
              <a:gd name="connsiteX447" fmla="*/ 6196084 w 11240921"/>
              <a:gd name="connsiteY447" fmla="*/ 4023285 h 6858243"/>
              <a:gd name="connsiteX448" fmla="*/ 5680714 w 11240921"/>
              <a:gd name="connsiteY448" fmla="*/ 4498579 h 6858243"/>
              <a:gd name="connsiteX449" fmla="*/ 6183786 w 11240921"/>
              <a:gd name="connsiteY449" fmla="*/ 4959207 h 6858243"/>
              <a:gd name="connsiteX450" fmla="*/ 6448817 w 11240921"/>
              <a:gd name="connsiteY450" fmla="*/ 4721827 h 6858243"/>
              <a:gd name="connsiteX451" fmla="*/ 9288235 w 11240921"/>
              <a:gd name="connsiteY451" fmla="*/ 4514595 h 6858243"/>
              <a:gd name="connsiteX452" fmla="*/ 9281885 w 11240921"/>
              <a:gd name="connsiteY452" fmla="*/ 4069956 h 6858243"/>
              <a:gd name="connsiteX453" fmla="*/ 8793076 w 11240921"/>
              <a:gd name="connsiteY453" fmla="*/ 4518414 h 6858243"/>
              <a:gd name="connsiteX454" fmla="*/ 9279815 w 11240921"/>
              <a:gd name="connsiteY454" fmla="*/ 4958800 h 6858243"/>
              <a:gd name="connsiteX455" fmla="*/ 9288235 w 11240921"/>
              <a:gd name="connsiteY455" fmla="*/ 4514595 h 6858243"/>
              <a:gd name="connsiteX456" fmla="*/ 8368935 w 11240921"/>
              <a:gd name="connsiteY456" fmla="*/ 4867163 h 6858243"/>
              <a:gd name="connsiteX457" fmla="*/ 8641503 w 11240921"/>
              <a:gd name="connsiteY457" fmla="*/ 4618937 h 6858243"/>
              <a:gd name="connsiteX458" fmla="*/ 9050767 w 11240921"/>
              <a:gd name="connsiteY458" fmla="*/ 4245872 h 6858243"/>
              <a:gd name="connsiteX459" fmla="*/ 9281500 w 11240921"/>
              <a:gd name="connsiteY459" fmla="*/ 4030058 h 6858243"/>
              <a:gd name="connsiteX460" fmla="*/ 8791854 w 11240921"/>
              <a:gd name="connsiteY460" fmla="*/ 3580150 h 6858243"/>
              <a:gd name="connsiteX461" fmla="*/ 8282773 w 11240921"/>
              <a:gd name="connsiteY461" fmla="*/ 4037162 h 6858243"/>
              <a:gd name="connsiteX462" fmla="*/ 8264262 w 11240921"/>
              <a:gd name="connsiteY462" fmla="*/ 4056717 h 6858243"/>
              <a:gd name="connsiteX463" fmla="*/ 8264262 w 11240921"/>
              <a:gd name="connsiteY463" fmla="*/ 4504588 h 6858243"/>
              <a:gd name="connsiteX464" fmla="*/ 8269584 w 11240921"/>
              <a:gd name="connsiteY464" fmla="*/ 4952485 h 6858243"/>
              <a:gd name="connsiteX465" fmla="*/ 8368935 w 11240921"/>
              <a:gd name="connsiteY465" fmla="*/ 4867163 h 6858243"/>
              <a:gd name="connsiteX466" fmla="*/ 4060535 w 11240921"/>
              <a:gd name="connsiteY466" fmla="*/ 4517242 h 6858243"/>
              <a:gd name="connsiteX467" fmla="*/ 4050579 w 11240921"/>
              <a:gd name="connsiteY467" fmla="*/ 4092541 h 6858243"/>
              <a:gd name="connsiteX468" fmla="*/ 3590638 w 11240921"/>
              <a:gd name="connsiteY468" fmla="*/ 4516249 h 6858243"/>
              <a:gd name="connsiteX469" fmla="*/ 4055468 w 11240921"/>
              <a:gd name="connsiteY469" fmla="*/ 4945483 h 6858243"/>
              <a:gd name="connsiteX470" fmla="*/ 4060535 w 11240921"/>
              <a:gd name="connsiteY470" fmla="*/ 4517242 h 6858243"/>
              <a:gd name="connsiteX471" fmla="*/ 7501964 w 11240921"/>
              <a:gd name="connsiteY471" fmla="*/ 4722897 h 6858243"/>
              <a:gd name="connsiteX472" fmla="*/ 7745531 w 11240921"/>
              <a:gd name="connsiteY472" fmla="*/ 4491730 h 6858243"/>
              <a:gd name="connsiteX473" fmla="*/ 7244317 w 11240921"/>
              <a:gd name="connsiteY473" fmla="*/ 4030847 h 6858243"/>
              <a:gd name="connsiteX474" fmla="*/ 7224075 w 11240921"/>
              <a:gd name="connsiteY474" fmla="*/ 4044138 h 6858243"/>
              <a:gd name="connsiteX475" fmla="*/ 7213331 w 11240921"/>
              <a:gd name="connsiteY475" fmla="*/ 4486077 h 6858243"/>
              <a:gd name="connsiteX476" fmla="*/ 7213331 w 11240921"/>
              <a:gd name="connsiteY476" fmla="*/ 4912663 h 6858243"/>
              <a:gd name="connsiteX477" fmla="*/ 7229855 w 11240921"/>
              <a:gd name="connsiteY477" fmla="*/ 4929213 h 6858243"/>
              <a:gd name="connsiteX478" fmla="*/ 7252414 w 11240921"/>
              <a:gd name="connsiteY478" fmla="*/ 4945738 h 6858243"/>
              <a:gd name="connsiteX479" fmla="*/ 7501964 w 11240921"/>
              <a:gd name="connsiteY479" fmla="*/ 4722897 h 6858243"/>
              <a:gd name="connsiteX480" fmla="*/ 9652019 w 11240921"/>
              <a:gd name="connsiteY480" fmla="*/ 4633246 h 6858243"/>
              <a:gd name="connsiteX481" fmla="*/ 9792181 w 11240921"/>
              <a:gd name="connsiteY481" fmla="*/ 4501533 h 6858243"/>
              <a:gd name="connsiteX482" fmla="*/ 9312314 w 11240921"/>
              <a:gd name="connsiteY482" fmla="*/ 4056487 h 6858243"/>
              <a:gd name="connsiteX483" fmla="*/ 9312671 w 11240921"/>
              <a:gd name="connsiteY483" fmla="*/ 4934254 h 6858243"/>
              <a:gd name="connsiteX484" fmla="*/ 9415406 w 11240921"/>
              <a:gd name="connsiteY484" fmla="*/ 4848677 h 6858243"/>
              <a:gd name="connsiteX485" fmla="*/ 9652022 w 11240921"/>
              <a:gd name="connsiteY485" fmla="*/ 4633246 h 6858243"/>
              <a:gd name="connsiteX486" fmla="*/ 5399515 w 11240921"/>
              <a:gd name="connsiteY486" fmla="*/ 4719001 h 6858243"/>
              <a:gd name="connsiteX487" fmla="*/ 5635596 w 11240921"/>
              <a:gd name="connsiteY487" fmla="*/ 4500667 h 6858243"/>
              <a:gd name="connsiteX488" fmla="*/ 5157960 w 11240921"/>
              <a:gd name="connsiteY488" fmla="*/ 4063235 h 6858243"/>
              <a:gd name="connsiteX489" fmla="*/ 5151874 w 11240921"/>
              <a:gd name="connsiteY489" fmla="*/ 4497739 h 6858243"/>
              <a:gd name="connsiteX490" fmla="*/ 5158673 w 11240921"/>
              <a:gd name="connsiteY490" fmla="*/ 4932268 h 6858243"/>
              <a:gd name="connsiteX491" fmla="*/ 5399515 w 11240921"/>
              <a:gd name="connsiteY491" fmla="*/ 4719001 h 6858243"/>
              <a:gd name="connsiteX492" fmla="*/ 7193114 w 11240921"/>
              <a:gd name="connsiteY492" fmla="*/ 4480349 h 6858243"/>
              <a:gd name="connsiteX493" fmla="*/ 7187130 w 11240921"/>
              <a:gd name="connsiteY493" fmla="*/ 4077824 h 6858243"/>
              <a:gd name="connsiteX494" fmla="*/ 6748476 w 11240921"/>
              <a:gd name="connsiteY494" fmla="*/ 4481443 h 6858243"/>
              <a:gd name="connsiteX495" fmla="*/ 7187309 w 11240921"/>
              <a:gd name="connsiteY495" fmla="*/ 4885113 h 6858243"/>
              <a:gd name="connsiteX496" fmla="*/ 7193114 w 11240921"/>
              <a:gd name="connsiteY496" fmla="*/ 4480349 h 6858243"/>
              <a:gd name="connsiteX497" fmla="*/ 11221683 w 11240921"/>
              <a:gd name="connsiteY497" fmla="*/ 4497357 h 6858243"/>
              <a:gd name="connsiteX498" fmla="*/ 11214395 w 11240921"/>
              <a:gd name="connsiteY498" fmla="*/ 4218169 h 6858243"/>
              <a:gd name="connsiteX499" fmla="*/ 10899900 w 11240921"/>
              <a:gd name="connsiteY499" fmla="*/ 4489031 h 6858243"/>
              <a:gd name="connsiteX500" fmla="*/ 11216628 w 11240921"/>
              <a:gd name="connsiteY500" fmla="*/ 4779371 h 6858243"/>
              <a:gd name="connsiteX501" fmla="*/ 11221683 w 11240921"/>
              <a:gd name="connsiteY501" fmla="*/ 4497357 h 6858243"/>
              <a:gd name="connsiteX502" fmla="*/ 4873884 w 11240921"/>
              <a:gd name="connsiteY502" fmla="*/ 4260919 h 6858243"/>
              <a:gd name="connsiteX503" fmla="*/ 5121549 w 11240921"/>
              <a:gd name="connsiteY503" fmla="*/ 4029523 h 6858243"/>
              <a:gd name="connsiteX504" fmla="*/ 4879027 w 11240921"/>
              <a:gd name="connsiteY504" fmla="*/ 3803703 h 6858243"/>
              <a:gd name="connsiteX505" fmla="*/ 4634213 w 11240921"/>
              <a:gd name="connsiteY505" fmla="*/ 3572995 h 6858243"/>
              <a:gd name="connsiteX506" fmla="*/ 4642106 w 11240921"/>
              <a:gd name="connsiteY506" fmla="*/ 3565789 h 6858243"/>
              <a:gd name="connsiteX507" fmla="*/ 4885112 w 11240921"/>
              <a:gd name="connsiteY507" fmla="*/ 3780253 h 6858243"/>
              <a:gd name="connsiteX508" fmla="*/ 5124783 w 11240921"/>
              <a:gd name="connsiteY508" fmla="*/ 3994692 h 6858243"/>
              <a:gd name="connsiteX509" fmla="*/ 5131658 w 11240921"/>
              <a:gd name="connsiteY509" fmla="*/ 3551225 h 6858243"/>
              <a:gd name="connsiteX510" fmla="*/ 5125343 w 11240921"/>
              <a:gd name="connsiteY510" fmla="*/ 3107733 h 6858243"/>
              <a:gd name="connsiteX511" fmla="*/ 4646892 w 11240921"/>
              <a:gd name="connsiteY511" fmla="*/ 3542034 h 6858243"/>
              <a:gd name="connsiteX512" fmla="*/ 4368392 w 11240921"/>
              <a:gd name="connsiteY512" fmla="*/ 3797134 h 6858243"/>
              <a:gd name="connsiteX513" fmla="*/ 4129230 w 11240921"/>
              <a:gd name="connsiteY513" fmla="*/ 4027003 h 6858243"/>
              <a:gd name="connsiteX514" fmla="*/ 4621253 w 11240921"/>
              <a:gd name="connsiteY514" fmla="*/ 4487172 h 6858243"/>
              <a:gd name="connsiteX515" fmla="*/ 4873884 w 11240921"/>
              <a:gd name="connsiteY515" fmla="*/ 4260919 h 6858243"/>
              <a:gd name="connsiteX516" fmla="*/ 5919927 w 11240921"/>
              <a:gd name="connsiteY516" fmla="*/ 4244650 h 6858243"/>
              <a:gd name="connsiteX517" fmla="*/ 6179229 w 11240921"/>
              <a:gd name="connsiteY517" fmla="*/ 4000650 h 6858243"/>
              <a:gd name="connsiteX518" fmla="*/ 5690822 w 11240921"/>
              <a:gd name="connsiteY518" fmla="*/ 3544962 h 6858243"/>
              <a:gd name="connsiteX519" fmla="*/ 5167100 w 11240921"/>
              <a:gd name="connsiteY519" fmla="*/ 4027308 h 6858243"/>
              <a:gd name="connsiteX520" fmla="*/ 5657086 w 11240921"/>
              <a:gd name="connsiteY520" fmla="*/ 4480908 h 6858243"/>
              <a:gd name="connsiteX521" fmla="*/ 5919927 w 11240921"/>
              <a:gd name="connsiteY521" fmla="*/ 4244650 h 6858243"/>
              <a:gd name="connsiteX522" fmla="*/ 8007736 w 11240921"/>
              <a:gd name="connsiteY522" fmla="*/ 4259544 h 6858243"/>
              <a:gd name="connsiteX523" fmla="*/ 8236000 w 11240921"/>
              <a:gd name="connsiteY523" fmla="*/ 4030491 h 6858243"/>
              <a:gd name="connsiteX524" fmla="*/ 8233938 w 11240921"/>
              <a:gd name="connsiteY524" fmla="*/ 4012693 h 6858243"/>
              <a:gd name="connsiteX525" fmla="*/ 7759000 w 11240921"/>
              <a:gd name="connsiteY525" fmla="*/ 4010962 h 6858243"/>
              <a:gd name="connsiteX526" fmla="*/ 7275355 w 11240921"/>
              <a:gd name="connsiteY526" fmla="*/ 4012541 h 6858243"/>
              <a:gd name="connsiteX527" fmla="*/ 7516757 w 11240921"/>
              <a:gd name="connsiteY527" fmla="*/ 4245388 h 6858243"/>
              <a:gd name="connsiteX528" fmla="*/ 7772164 w 11240921"/>
              <a:gd name="connsiteY528" fmla="*/ 4472863 h 6858243"/>
              <a:gd name="connsiteX529" fmla="*/ 8007736 w 11240921"/>
              <a:gd name="connsiteY529" fmla="*/ 4259544 h 6858243"/>
              <a:gd name="connsiteX530" fmla="*/ 11055665 w 11240921"/>
              <a:gd name="connsiteY530" fmla="*/ 4316248 h 6858243"/>
              <a:gd name="connsiteX531" fmla="*/ 11222075 w 11240921"/>
              <a:gd name="connsiteY531" fmla="*/ 4175164 h 6858243"/>
              <a:gd name="connsiteX532" fmla="*/ 11220193 w 11240921"/>
              <a:gd name="connsiteY532" fmla="*/ 4093941 h 6858243"/>
              <a:gd name="connsiteX533" fmla="*/ 11218311 w 11240921"/>
              <a:gd name="connsiteY533" fmla="*/ 4012693 h 6858243"/>
              <a:gd name="connsiteX534" fmla="*/ 10801740 w 11240921"/>
              <a:gd name="connsiteY534" fmla="*/ 4010962 h 6858243"/>
              <a:gd name="connsiteX535" fmla="*/ 10387430 w 11240921"/>
              <a:gd name="connsiteY535" fmla="*/ 4015825 h 6858243"/>
              <a:gd name="connsiteX536" fmla="*/ 10630884 w 11240921"/>
              <a:gd name="connsiteY536" fmla="*/ 4245057 h 6858243"/>
              <a:gd name="connsiteX537" fmla="*/ 10880666 w 11240921"/>
              <a:gd name="connsiteY537" fmla="*/ 4462525 h 6858243"/>
              <a:gd name="connsiteX538" fmla="*/ 11055665 w 11240921"/>
              <a:gd name="connsiteY538" fmla="*/ 4316248 h 6858243"/>
              <a:gd name="connsiteX539" fmla="*/ 6941934 w 11240921"/>
              <a:gd name="connsiteY539" fmla="*/ 4271486 h 6858243"/>
              <a:gd name="connsiteX540" fmla="*/ 7193114 w 11240921"/>
              <a:gd name="connsiteY540" fmla="*/ 4013355 h 6858243"/>
              <a:gd name="connsiteX541" fmla="*/ 7189142 w 11240921"/>
              <a:gd name="connsiteY541" fmla="*/ 3979873 h 6858243"/>
              <a:gd name="connsiteX542" fmla="*/ 6721003 w 11240921"/>
              <a:gd name="connsiteY542" fmla="*/ 3551225 h 6858243"/>
              <a:gd name="connsiteX543" fmla="*/ 6685102 w 11240921"/>
              <a:gd name="connsiteY543" fmla="*/ 3576509 h 6858243"/>
              <a:gd name="connsiteX544" fmla="*/ 6224449 w 11240921"/>
              <a:gd name="connsiteY544" fmla="*/ 4002534 h 6858243"/>
              <a:gd name="connsiteX545" fmla="*/ 6726350 w 11240921"/>
              <a:gd name="connsiteY545" fmla="*/ 4460438 h 6858243"/>
              <a:gd name="connsiteX546" fmla="*/ 6941934 w 11240921"/>
              <a:gd name="connsiteY546" fmla="*/ 4271486 h 6858243"/>
              <a:gd name="connsiteX547" fmla="*/ 5415606 w 11240921"/>
              <a:gd name="connsiteY547" fmla="*/ 3766275 h 6858243"/>
              <a:gd name="connsiteX548" fmla="*/ 5666277 w 11240921"/>
              <a:gd name="connsiteY548" fmla="*/ 3532995 h 6858243"/>
              <a:gd name="connsiteX549" fmla="*/ 5166820 w 11240921"/>
              <a:gd name="connsiteY549" fmla="*/ 3074251 h 6858243"/>
              <a:gd name="connsiteX550" fmla="*/ 5153504 w 11240921"/>
              <a:gd name="connsiteY550" fmla="*/ 3536738 h 6858243"/>
              <a:gd name="connsiteX551" fmla="*/ 5160200 w 11240921"/>
              <a:gd name="connsiteY551" fmla="*/ 3994208 h 6858243"/>
              <a:gd name="connsiteX552" fmla="*/ 5415606 w 11240921"/>
              <a:gd name="connsiteY552" fmla="*/ 3766275 h 6858243"/>
              <a:gd name="connsiteX553" fmla="*/ 8530719 w 11240921"/>
              <a:gd name="connsiteY553" fmla="*/ 3780253 h 6858243"/>
              <a:gd name="connsiteX554" fmla="*/ 8767767 w 11240921"/>
              <a:gd name="connsiteY554" fmla="*/ 3559627 h 6858243"/>
              <a:gd name="connsiteX555" fmla="*/ 8270373 w 11240921"/>
              <a:gd name="connsiteY555" fmla="*/ 3100986 h 6858243"/>
              <a:gd name="connsiteX556" fmla="*/ 8264262 w 11240921"/>
              <a:gd name="connsiteY556" fmla="*/ 3539233 h 6858243"/>
              <a:gd name="connsiteX557" fmla="*/ 8287865 w 11240921"/>
              <a:gd name="connsiteY557" fmla="*/ 3995863 h 6858243"/>
              <a:gd name="connsiteX558" fmla="*/ 8530719 w 11240921"/>
              <a:gd name="connsiteY558" fmla="*/ 3780253 h 6858243"/>
              <a:gd name="connsiteX559" fmla="*/ 9288235 w 11240921"/>
              <a:gd name="connsiteY559" fmla="*/ 3557565 h 6858243"/>
              <a:gd name="connsiteX560" fmla="*/ 9281320 w 11240921"/>
              <a:gd name="connsiteY560" fmla="*/ 3126829 h 6858243"/>
              <a:gd name="connsiteX561" fmla="*/ 8811816 w 11240921"/>
              <a:gd name="connsiteY561" fmla="*/ 3560290 h 6858243"/>
              <a:gd name="connsiteX562" fmla="*/ 9283183 w 11240921"/>
              <a:gd name="connsiteY562" fmla="*/ 3991153 h 6858243"/>
              <a:gd name="connsiteX563" fmla="*/ 9288235 w 11240921"/>
              <a:gd name="connsiteY563" fmla="*/ 3557565 h 6858243"/>
              <a:gd name="connsiteX564" fmla="*/ 7500080 w 11240921"/>
              <a:gd name="connsiteY564" fmla="*/ 3759757 h 6858243"/>
              <a:gd name="connsiteX565" fmla="*/ 7737281 w 11240921"/>
              <a:gd name="connsiteY565" fmla="*/ 3534039 h 6858243"/>
              <a:gd name="connsiteX566" fmla="*/ 7237595 w 11240921"/>
              <a:gd name="connsiteY566" fmla="*/ 3079675 h 6858243"/>
              <a:gd name="connsiteX567" fmla="*/ 7220281 w 11240921"/>
              <a:gd name="connsiteY567" fmla="*/ 3092686 h 6858243"/>
              <a:gd name="connsiteX568" fmla="*/ 7213331 w 11240921"/>
              <a:gd name="connsiteY568" fmla="*/ 3533962 h 6858243"/>
              <a:gd name="connsiteX569" fmla="*/ 7227004 w 11240921"/>
              <a:gd name="connsiteY569" fmla="*/ 3975876 h 6858243"/>
              <a:gd name="connsiteX570" fmla="*/ 7250835 w 11240921"/>
              <a:gd name="connsiteY570" fmla="*/ 3983871 h 6858243"/>
              <a:gd name="connsiteX571" fmla="*/ 7500080 w 11240921"/>
              <a:gd name="connsiteY571" fmla="*/ 3759757 h 6858243"/>
              <a:gd name="connsiteX572" fmla="*/ 8229456 w 11240921"/>
              <a:gd name="connsiteY572" fmla="*/ 3983208 h 6858243"/>
              <a:gd name="connsiteX573" fmla="*/ 7760401 w 11240921"/>
              <a:gd name="connsiteY573" fmla="*/ 3557973 h 6858243"/>
              <a:gd name="connsiteX574" fmla="*/ 7294171 w 11240921"/>
              <a:gd name="connsiteY574" fmla="*/ 3982928 h 6858243"/>
              <a:gd name="connsiteX575" fmla="*/ 7762921 w 11240921"/>
              <a:gd name="connsiteY575" fmla="*/ 3989116 h 6858243"/>
              <a:gd name="connsiteX576" fmla="*/ 8229456 w 11240921"/>
              <a:gd name="connsiteY576" fmla="*/ 3983208 h 6858243"/>
              <a:gd name="connsiteX577" fmla="*/ 9342316 w 11240921"/>
              <a:gd name="connsiteY577" fmla="*/ 3977556 h 6858243"/>
              <a:gd name="connsiteX578" fmla="*/ 9805541 w 11240921"/>
              <a:gd name="connsiteY578" fmla="*/ 3550334 h 6858243"/>
              <a:gd name="connsiteX579" fmla="*/ 9313727 w 11240921"/>
              <a:gd name="connsiteY579" fmla="*/ 3099866 h 6858243"/>
              <a:gd name="connsiteX580" fmla="*/ 9312938 w 11240921"/>
              <a:gd name="connsiteY580" fmla="*/ 3984634 h 6858243"/>
              <a:gd name="connsiteX581" fmla="*/ 9342316 w 11240921"/>
              <a:gd name="connsiteY581" fmla="*/ 3977556 h 6858243"/>
              <a:gd name="connsiteX582" fmla="*/ 10605227 w 11240921"/>
              <a:gd name="connsiteY582" fmla="*/ 3762252 h 6858243"/>
              <a:gd name="connsiteX583" fmla="*/ 10851161 w 11240921"/>
              <a:gd name="connsiteY583" fmla="*/ 3527597 h 6858243"/>
              <a:gd name="connsiteX584" fmla="*/ 10798952 w 11240921"/>
              <a:gd name="connsiteY584" fmla="*/ 3473312 h 6858243"/>
              <a:gd name="connsiteX585" fmla="*/ 10560213 w 11240921"/>
              <a:gd name="connsiteY585" fmla="*/ 3256608 h 6858243"/>
              <a:gd name="connsiteX586" fmla="*/ 10364804 w 11240921"/>
              <a:gd name="connsiteY586" fmla="*/ 3086396 h 6858243"/>
              <a:gd name="connsiteX587" fmla="*/ 9376936 w 11240921"/>
              <a:gd name="connsiteY587" fmla="*/ 3982419 h 6858243"/>
              <a:gd name="connsiteX588" fmla="*/ 9866990 w 11240921"/>
              <a:gd name="connsiteY588" fmla="*/ 3989116 h 6858243"/>
              <a:gd name="connsiteX589" fmla="*/ 10359289 w 11240921"/>
              <a:gd name="connsiteY589" fmla="*/ 3989116 h 6858243"/>
              <a:gd name="connsiteX590" fmla="*/ 11220063 w 11240921"/>
              <a:gd name="connsiteY590" fmla="*/ 3615236 h 6858243"/>
              <a:gd name="connsiteX591" fmla="*/ 11218502 w 11240921"/>
              <a:gd name="connsiteY591" fmla="*/ 3236060 h 6858243"/>
              <a:gd name="connsiteX592" fmla="*/ 10400904 w 11240921"/>
              <a:gd name="connsiteY592" fmla="*/ 3983132 h 6858243"/>
              <a:gd name="connsiteX593" fmla="*/ 10808475 w 11240921"/>
              <a:gd name="connsiteY593" fmla="*/ 3987486 h 6858243"/>
              <a:gd name="connsiteX594" fmla="*/ 11218311 w 11240921"/>
              <a:gd name="connsiteY594" fmla="*/ 3985755 h 6858243"/>
              <a:gd name="connsiteX595" fmla="*/ 6452738 w 11240921"/>
              <a:gd name="connsiteY595" fmla="*/ 3758382 h 6858243"/>
              <a:gd name="connsiteX596" fmla="*/ 6727648 w 11240921"/>
              <a:gd name="connsiteY596" fmla="*/ 3507457 h 6858243"/>
              <a:gd name="connsiteX597" fmla="*/ 7189371 w 11240921"/>
              <a:gd name="connsiteY597" fmla="*/ 3081584 h 6858243"/>
              <a:gd name="connsiteX598" fmla="*/ 7189371 w 11240921"/>
              <a:gd name="connsiteY598" fmla="*/ 3065594 h 6858243"/>
              <a:gd name="connsiteX599" fmla="*/ 6704809 w 11240921"/>
              <a:gd name="connsiteY599" fmla="*/ 3059458 h 6858243"/>
              <a:gd name="connsiteX600" fmla="*/ 6224067 w 11240921"/>
              <a:gd name="connsiteY600" fmla="*/ 3059458 h 6858243"/>
              <a:gd name="connsiteX601" fmla="*/ 6196466 w 11240921"/>
              <a:gd name="connsiteY601" fmla="*/ 3081355 h 6858243"/>
              <a:gd name="connsiteX602" fmla="*/ 5713076 w 11240921"/>
              <a:gd name="connsiteY602" fmla="*/ 3528870 h 6858243"/>
              <a:gd name="connsiteX603" fmla="*/ 6203519 w 11240921"/>
              <a:gd name="connsiteY603" fmla="*/ 3982369 h 6858243"/>
              <a:gd name="connsiteX604" fmla="*/ 6452738 w 11240921"/>
              <a:gd name="connsiteY604" fmla="*/ 3758382 h 6858243"/>
              <a:gd name="connsiteX605" fmla="*/ 8237298 w 11240921"/>
              <a:gd name="connsiteY605" fmla="*/ 3538164 h 6858243"/>
              <a:gd name="connsiteX606" fmla="*/ 8232257 w 11240921"/>
              <a:gd name="connsiteY606" fmla="*/ 3124767 h 6858243"/>
              <a:gd name="connsiteX607" fmla="*/ 7783392 w 11240921"/>
              <a:gd name="connsiteY607" fmla="*/ 3539080 h 6858243"/>
              <a:gd name="connsiteX608" fmla="*/ 8232079 w 11240921"/>
              <a:gd name="connsiteY608" fmla="*/ 3948708 h 6858243"/>
              <a:gd name="connsiteX609" fmla="*/ 8237298 w 11240921"/>
              <a:gd name="connsiteY609" fmla="*/ 3538164 h 6858243"/>
              <a:gd name="connsiteX610" fmla="*/ 7193114 w 11240921"/>
              <a:gd name="connsiteY610" fmla="*/ 3531034 h 6858243"/>
              <a:gd name="connsiteX611" fmla="*/ 7188047 w 11240921"/>
              <a:gd name="connsiteY611" fmla="*/ 3124614 h 6858243"/>
              <a:gd name="connsiteX612" fmla="*/ 6743078 w 11240921"/>
              <a:gd name="connsiteY612" fmla="*/ 3531492 h 6858243"/>
              <a:gd name="connsiteX613" fmla="*/ 7188047 w 11240921"/>
              <a:gd name="connsiteY613" fmla="*/ 3937250 h 6858243"/>
              <a:gd name="connsiteX614" fmla="*/ 7193114 w 11240921"/>
              <a:gd name="connsiteY614" fmla="*/ 3531034 h 6858243"/>
              <a:gd name="connsiteX615" fmla="*/ 9041812 w 11240921"/>
              <a:gd name="connsiteY615" fmla="*/ 3311707 h 6858243"/>
              <a:gd name="connsiteX616" fmla="*/ 9288235 w 11240921"/>
              <a:gd name="connsiteY616" fmla="*/ 3080642 h 6858243"/>
              <a:gd name="connsiteX617" fmla="*/ 8786685 w 11240921"/>
              <a:gd name="connsiteY617" fmla="*/ 3059560 h 6858243"/>
              <a:gd name="connsiteX618" fmla="*/ 8292066 w 11240921"/>
              <a:gd name="connsiteY618" fmla="*/ 3065518 h 6858243"/>
              <a:gd name="connsiteX619" fmla="*/ 8285319 w 11240921"/>
              <a:gd name="connsiteY619" fmla="*/ 3078300 h 6858243"/>
              <a:gd name="connsiteX620" fmla="*/ 8787500 w 11240921"/>
              <a:gd name="connsiteY620" fmla="*/ 3537425 h 6858243"/>
              <a:gd name="connsiteX621" fmla="*/ 9041812 w 11240921"/>
              <a:gd name="connsiteY621" fmla="*/ 3311707 h 6858243"/>
              <a:gd name="connsiteX622" fmla="*/ 10086136 w 11240921"/>
              <a:gd name="connsiteY622" fmla="*/ 3303483 h 6858243"/>
              <a:gd name="connsiteX623" fmla="*/ 10337642 w 11240921"/>
              <a:gd name="connsiteY623" fmla="*/ 3067886 h 6858243"/>
              <a:gd name="connsiteX624" fmla="*/ 9846261 w 11240921"/>
              <a:gd name="connsiteY624" fmla="*/ 3059560 h 6858243"/>
              <a:gd name="connsiteX625" fmla="*/ 9342130 w 11240921"/>
              <a:gd name="connsiteY625" fmla="*/ 3066103 h 6858243"/>
              <a:gd name="connsiteX626" fmla="*/ 9339469 w 11240921"/>
              <a:gd name="connsiteY626" fmla="*/ 3084538 h 6858243"/>
              <a:gd name="connsiteX627" fmla="*/ 9827176 w 11240921"/>
              <a:gd name="connsiteY627" fmla="*/ 3530372 h 6858243"/>
              <a:gd name="connsiteX628" fmla="*/ 10086136 w 11240921"/>
              <a:gd name="connsiteY628" fmla="*/ 3303483 h 6858243"/>
              <a:gd name="connsiteX629" fmla="*/ 7997016 w 11240921"/>
              <a:gd name="connsiteY629" fmla="*/ 3305061 h 6858243"/>
              <a:gd name="connsiteX630" fmla="*/ 8233276 w 11240921"/>
              <a:gd name="connsiteY630" fmla="*/ 3082323 h 6858243"/>
              <a:gd name="connsiteX631" fmla="*/ 8208629 w 11240921"/>
              <a:gd name="connsiteY631" fmla="*/ 3042730 h 6858243"/>
              <a:gd name="connsiteX632" fmla="*/ 7741788 w 11240921"/>
              <a:gd name="connsiteY632" fmla="*/ 2621567 h 6858243"/>
              <a:gd name="connsiteX633" fmla="*/ 7263846 w 11240921"/>
              <a:gd name="connsiteY633" fmla="*/ 3057472 h 6858243"/>
              <a:gd name="connsiteX634" fmla="*/ 7760171 w 11240921"/>
              <a:gd name="connsiteY634" fmla="*/ 3517387 h 6858243"/>
              <a:gd name="connsiteX635" fmla="*/ 7997016 w 11240921"/>
              <a:gd name="connsiteY635" fmla="*/ 3305061 h 6858243"/>
              <a:gd name="connsiteX636" fmla="*/ 5936477 w 11240921"/>
              <a:gd name="connsiteY636" fmla="*/ 3288741 h 6858243"/>
              <a:gd name="connsiteX637" fmla="*/ 6175868 w 11240921"/>
              <a:gd name="connsiteY637" fmla="*/ 3064754 h 6858243"/>
              <a:gd name="connsiteX638" fmla="*/ 6169350 w 11240921"/>
              <a:gd name="connsiteY638" fmla="*/ 3059458 h 6858243"/>
              <a:gd name="connsiteX639" fmla="*/ 6154174 w 11240921"/>
              <a:gd name="connsiteY639" fmla="*/ 3043315 h 6858243"/>
              <a:gd name="connsiteX640" fmla="*/ 5677659 w 11240921"/>
              <a:gd name="connsiteY640" fmla="*/ 2602497 h 6858243"/>
              <a:gd name="connsiteX641" fmla="*/ 5193860 w 11240921"/>
              <a:gd name="connsiteY641" fmla="*/ 3051336 h 6858243"/>
              <a:gd name="connsiteX642" fmla="*/ 5691943 w 11240921"/>
              <a:gd name="connsiteY642" fmla="*/ 3509239 h 6858243"/>
              <a:gd name="connsiteX643" fmla="*/ 5936477 w 11240921"/>
              <a:gd name="connsiteY643" fmla="*/ 3288741 h 6858243"/>
              <a:gd name="connsiteX644" fmla="*/ 11055181 w 11240921"/>
              <a:gd name="connsiteY644" fmla="*/ 3346844 h 6858243"/>
              <a:gd name="connsiteX645" fmla="*/ 11222146 w 11240921"/>
              <a:gd name="connsiteY645" fmla="*/ 3192343 h 6858243"/>
              <a:gd name="connsiteX646" fmla="*/ 11220229 w 11240921"/>
              <a:gd name="connsiteY646" fmla="*/ 3127594 h 6858243"/>
              <a:gd name="connsiteX647" fmla="*/ 11218311 w 11240921"/>
              <a:gd name="connsiteY647" fmla="*/ 3062819 h 6858243"/>
              <a:gd name="connsiteX648" fmla="*/ 10807759 w 11240921"/>
              <a:gd name="connsiteY648" fmla="*/ 3061087 h 6858243"/>
              <a:gd name="connsiteX649" fmla="*/ 10391779 w 11240921"/>
              <a:gd name="connsiteY649" fmla="*/ 3064779 h 6858243"/>
              <a:gd name="connsiteX650" fmla="*/ 10605761 w 11240921"/>
              <a:gd name="connsiteY650" fmla="*/ 3266614 h 6858243"/>
              <a:gd name="connsiteX651" fmla="*/ 10759341 w 11240921"/>
              <a:gd name="connsiteY651" fmla="*/ 3405304 h 6858243"/>
              <a:gd name="connsiteX652" fmla="*/ 10880603 w 11240921"/>
              <a:gd name="connsiteY652" fmla="*/ 3505980 h 6858243"/>
              <a:gd name="connsiteX653" fmla="*/ 11055178 w 11240921"/>
              <a:gd name="connsiteY653" fmla="*/ 3346844 h 6858243"/>
              <a:gd name="connsiteX654" fmla="*/ 6454572 w 11240921"/>
              <a:gd name="connsiteY654" fmla="*/ 2815993 h 6858243"/>
              <a:gd name="connsiteX655" fmla="*/ 6692486 w 11240921"/>
              <a:gd name="connsiteY655" fmla="*/ 2590606 h 6858243"/>
              <a:gd name="connsiteX656" fmla="*/ 6449530 w 11240921"/>
              <a:gd name="connsiteY656" fmla="*/ 2361552 h 6858243"/>
              <a:gd name="connsiteX657" fmla="*/ 6193538 w 11240921"/>
              <a:gd name="connsiteY657" fmla="*/ 2139883 h 6858243"/>
              <a:gd name="connsiteX658" fmla="*/ 6179229 w 11240921"/>
              <a:gd name="connsiteY658" fmla="*/ 2139883 h 6858243"/>
              <a:gd name="connsiteX659" fmla="*/ 6177497 w 11240921"/>
              <a:gd name="connsiteY659" fmla="*/ 2580396 h 6858243"/>
              <a:gd name="connsiteX660" fmla="*/ 6203544 w 11240921"/>
              <a:gd name="connsiteY660" fmla="*/ 3037103 h 6858243"/>
              <a:gd name="connsiteX661" fmla="*/ 6454572 w 11240921"/>
              <a:gd name="connsiteY661" fmla="*/ 2815993 h 6858243"/>
              <a:gd name="connsiteX662" fmla="*/ 7175011 w 11240921"/>
              <a:gd name="connsiteY662" fmla="*/ 3034200 h 6858243"/>
              <a:gd name="connsiteX663" fmla="*/ 6716369 w 11240921"/>
              <a:gd name="connsiteY663" fmla="*/ 2609881 h 6858243"/>
              <a:gd name="connsiteX664" fmla="*/ 6251082 w 11240921"/>
              <a:gd name="connsiteY664" fmla="*/ 3033105 h 6858243"/>
              <a:gd name="connsiteX665" fmla="*/ 7175011 w 11240921"/>
              <a:gd name="connsiteY665" fmla="*/ 3034200 h 6858243"/>
              <a:gd name="connsiteX666" fmla="*/ 7482893 w 11240921"/>
              <a:gd name="connsiteY666" fmla="*/ 2820678 h 6858243"/>
              <a:gd name="connsiteX667" fmla="*/ 7717141 w 11240921"/>
              <a:gd name="connsiteY667" fmla="*/ 2596921 h 6858243"/>
              <a:gd name="connsiteX668" fmla="*/ 7225425 w 11240921"/>
              <a:gd name="connsiteY668" fmla="*/ 2147471 h 6858243"/>
              <a:gd name="connsiteX669" fmla="*/ 7224788 w 11240921"/>
              <a:gd name="connsiteY669" fmla="*/ 3034989 h 6858243"/>
              <a:gd name="connsiteX670" fmla="*/ 7238105 w 11240921"/>
              <a:gd name="connsiteY670" fmla="*/ 3037790 h 6858243"/>
              <a:gd name="connsiteX671" fmla="*/ 7482893 w 11240921"/>
              <a:gd name="connsiteY671" fmla="*/ 2820678 h 6858243"/>
              <a:gd name="connsiteX672" fmla="*/ 8305561 w 11240921"/>
              <a:gd name="connsiteY672" fmla="*/ 3020705 h 6858243"/>
              <a:gd name="connsiteX673" fmla="*/ 8765476 w 11240921"/>
              <a:gd name="connsiteY673" fmla="*/ 2594349 h 6858243"/>
              <a:gd name="connsiteX674" fmla="*/ 8807207 w 11240921"/>
              <a:gd name="connsiteY674" fmla="*/ 2594323 h 6858243"/>
              <a:gd name="connsiteX675" fmla="*/ 9275586 w 11240921"/>
              <a:gd name="connsiteY675" fmla="*/ 3025772 h 6858243"/>
              <a:gd name="connsiteX676" fmla="*/ 9279863 w 11240921"/>
              <a:gd name="connsiteY676" fmla="*/ 2579454 h 6858243"/>
              <a:gd name="connsiteX677" fmla="*/ 9278132 w 11240921"/>
              <a:gd name="connsiteY677" fmla="*/ 2133161 h 6858243"/>
              <a:gd name="connsiteX678" fmla="*/ 8782968 w 11240921"/>
              <a:gd name="connsiteY678" fmla="*/ 2133161 h 6858243"/>
              <a:gd name="connsiteX679" fmla="*/ 8276051 w 11240921"/>
              <a:gd name="connsiteY679" fmla="*/ 2137999 h 6858243"/>
              <a:gd name="connsiteX680" fmla="*/ 8264262 w 11240921"/>
              <a:gd name="connsiteY680" fmla="*/ 2586558 h 6858243"/>
              <a:gd name="connsiteX681" fmla="*/ 8268743 w 11240921"/>
              <a:gd name="connsiteY681" fmla="*/ 3034760 h 6858243"/>
              <a:gd name="connsiteX682" fmla="*/ 8305561 w 11240921"/>
              <a:gd name="connsiteY682" fmla="*/ 3020705 h 6858243"/>
              <a:gd name="connsiteX683" fmla="*/ 9241080 w 11240921"/>
              <a:gd name="connsiteY683" fmla="*/ 3033589 h 6858243"/>
              <a:gd name="connsiteX684" fmla="*/ 8783757 w 11240921"/>
              <a:gd name="connsiteY684" fmla="*/ 2616017 h 6858243"/>
              <a:gd name="connsiteX685" fmla="*/ 8331609 w 11240921"/>
              <a:gd name="connsiteY685" fmla="*/ 3033232 h 6858243"/>
              <a:gd name="connsiteX686" fmla="*/ 8786354 w 11240921"/>
              <a:gd name="connsiteY686" fmla="*/ 3039241 h 6858243"/>
              <a:gd name="connsiteX687" fmla="*/ 9241080 w 11240921"/>
              <a:gd name="connsiteY687" fmla="*/ 3033589 h 6858243"/>
              <a:gd name="connsiteX688" fmla="*/ 9360597 w 11240921"/>
              <a:gd name="connsiteY688" fmla="*/ 3017344 h 6858243"/>
              <a:gd name="connsiteX689" fmla="*/ 9820438 w 11240921"/>
              <a:gd name="connsiteY689" fmla="*/ 2590657 h 6858243"/>
              <a:gd name="connsiteX690" fmla="*/ 9308174 w 11240921"/>
              <a:gd name="connsiteY690" fmla="*/ 2126592 h 6858243"/>
              <a:gd name="connsiteX691" fmla="*/ 9306201 w 11240921"/>
              <a:gd name="connsiteY691" fmla="*/ 3034760 h 6858243"/>
              <a:gd name="connsiteX692" fmla="*/ 9360597 w 11240921"/>
              <a:gd name="connsiteY692" fmla="*/ 3017344 h 6858243"/>
              <a:gd name="connsiteX693" fmla="*/ 10311098 w 11240921"/>
              <a:gd name="connsiteY693" fmla="*/ 3033538 h 6858243"/>
              <a:gd name="connsiteX694" fmla="*/ 10078032 w 11240921"/>
              <a:gd name="connsiteY694" fmla="*/ 2817597 h 6858243"/>
              <a:gd name="connsiteX695" fmla="*/ 9838878 w 11240921"/>
              <a:gd name="connsiteY695" fmla="*/ 2612452 h 6858243"/>
              <a:gd name="connsiteX696" fmla="*/ 9382550 w 11240921"/>
              <a:gd name="connsiteY696" fmla="*/ 3033589 h 6858243"/>
              <a:gd name="connsiteX697" fmla="*/ 9847947 w 11240921"/>
              <a:gd name="connsiteY697" fmla="*/ 3039241 h 6858243"/>
              <a:gd name="connsiteX698" fmla="*/ 10311098 w 11240921"/>
              <a:gd name="connsiteY698" fmla="*/ 3033538 h 6858243"/>
              <a:gd name="connsiteX699" fmla="*/ 10784039 w 11240921"/>
              <a:gd name="connsiteY699" fmla="*/ 2668774 h 6858243"/>
              <a:gd name="connsiteX700" fmla="*/ 11200020 w 11240921"/>
              <a:gd name="connsiteY700" fmla="*/ 2287459 h 6858243"/>
              <a:gd name="connsiteX701" fmla="*/ 11222148 w 11240921"/>
              <a:gd name="connsiteY701" fmla="*/ 2264212 h 6858243"/>
              <a:gd name="connsiteX702" fmla="*/ 11220229 w 11240921"/>
              <a:gd name="connsiteY702" fmla="*/ 2195313 h 6858243"/>
              <a:gd name="connsiteX703" fmla="*/ 11218311 w 11240921"/>
              <a:gd name="connsiteY703" fmla="*/ 2126414 h 6858243"/>
              <a:gd name="connsiteX704" fmla="*/ 10798018 w 11240921"/>
              <a:gd name="connsiteY704" fmla="*/ 2124683 h 6858243"/>
              <a:gd name="connsiteX705" fmla="*/ 10368550 w 11240921"/>
              <a:gd name="connsiteY705" fmla="*/ 2130564 h 6858243"/>
              <a:gd name="connsiteX706" fmla="*/ 10359379 w 11240921"/>
              <a:gd name="connsiteY706" fmla="*/ 2584215 h 6858243"/>
              <a:gd name="connsiteX707" fmla="*/ 10363633 w 11240921"/>
              <a:gd name="connsiteY707" fmla="*/ 3034505 h 6858243"/>
              <a:gd name="connsiteX708" fmla="*/ 10379038 w 11240921"/>
              <a:gd name="connsiteY708" fmla="*/ 3032799 h 6858243"/>
              <a:gd name="connsiteX709" fmla="*/ 10784039 w 11240921"/>
              <a:gd name="connsiteY709" fmla="*/ 2668774 h 6858243"/>
              <a:gd name="connsiteX710" fmla="*/ 11220058 w 11240921"/>
              <a:gd name="connsiteY710" fmla="*/ 2675852 h 6858243"/>
              <a:gd name="connsiteX711" fmla="*/ 11216689 w 11240921"/>
              <a:gd name="connsiteY711" fmla="*/ 2311139 h 6858243"/>
              <a:gd name="connsiteX712" fmla="*/ 10421301 w 11240921"/>
              <a:gd name="connsiteY712" fmla="*/ 3031985 h 6858243"/>
              <a:gd name="connsiteX713" fmla="*/ 10818580 w 11240921"/>
              <a:gd name="connsiteY713" fmla="*/ 3037612 h 6858243"/>
              <a:gd name="connsiteX714" fmla="*/ 11218314 w 11240921"/>
              <a:gd name="connsiteY714" fmla="*/ 3035880 h 6858243"/>
              <a:gd name="connsiteX715" fmla="*/ 8244046 w 11240921"/>
              <a:gd name="connsiteY715" fmla="*/ 2597430 h 6858243"/>
              <a:gd name="connsiteX716" fmla="*/ 8237884 w 11240921"/>
              <a:gd name="connsiteY716" fmla="*/ 2164581 h 6858243"/>
              <a:gd name="connsiteX717" fmla="*/ 7767275 w 11240921"/>
              <a:gd name="connsiteY717" fmla="*/ 2600333 h 6858243"/>
              <a:gd name="connsiteX718" fmla="*/ 8235618 w 11240921"/>
              <a:gd name="connsiteY718" fmla="*/ 3032036 h 6858243"/>
              <a:gd name="connsiteX719" fmla="*/ 8244046 w 11240921"/>
              <a:gd name="connsiteY719" fmla="*/ 2597430 h 6858243"/>
              <a:gd name="connsiteX720" fmla="*/ 10337532 w 11240921"/>
              <a:gd name="connsiteY720" fmla="*/ 2572732 h 6858243"/>
              <a:gd name="connsiteX721" fmla="*/ 10335801 w 11240921"/>
              <a:gd name="connsiteY721" fmla="*/ 2126414 h 6858243"/>
              <a:gd name="connsiteX722" fmla="*/ 9845126 w 11240921"/>
              <a:gd name="connsiteY722" fmla="*/ 2124683 h 6858243"/>
              <a:gd name="connsiteX723" fmla="*/ 9356712 w 11240921"/>
              <a:gd name="connsiteY723" fmla="*/ 2128680 h 6858243"/>
              <a:gd name="connsiteX724" fmla="*/ 9598127 w 11240921"/>
              <a:gd name="connsiteY724" fmla="*/ 2351648 h 6858243"/>
              <a:gd name="connsiteX725" fmla="*/ 9894545 w 11240921"/>
              <a:gd name="connsiteY725" fmla="*/ 2621771 h 6858243"/>
              <a:gd name="connsiteX726" fmla="*/ 10334164 w 11240921"/>
              <a:gd name="connsiteY726" fmla="*/ 3018846 h 6858243"/>
              <a:gd name="connsiteX727" fmla="*/ 10337532 w 11240921"/>
              <a:gd name="connsiteY727" fmla="*/ 2572732 h 6858243"/>
              <a:gd name="connsiteX728" fmla="*/ 7193114 w 11240921"/>
              <a:gd name="connsiteY728" fmla="*/ 2591242 h 6858243"/>
              <a:gd name="connsiteX729" fmla="*/ 7187996 w 11240921"/>
              <a:gd name="connsiteY729" fmla="*/ 2176929 h 6858243"/>
              <a:gd name="connsiteX730" fmla="*/ 6738368 w 11240921"/>
              <a:gd name="connsiteY730" fmla="*/ 2590937 h 6858243"/>
              <a:gd name="connsiteX731" fmla="*/ 7187818 w 11240921"/>
              <a:gd name="connsiteY731" fmla="*/ 3005555 h 6858243"/>
              <a:gd name="connsiteX732" fmla="*/ 7193114 w 11240921"/>
              <a:gd name="connsiteY732" fmla="*/ 2591242 h 6858243"/>
              <a:gd name="connsiteX733" fmla="*/ 6155651 w 11240921"/>
              <a:gd name="connsiteY733" fmla="*/ 2583961 h 6858243"/>
              <a:gd name="connsiteX734" fmla="*/ 6149031 w 11240921"/>
              <a:gd name="connsiteY734" fmla="*/ 2171328 h 6858243"/>
              <a:gd name="connsiteX735" fmla="*/ 5705590 w 11240921"/>
              <a:gd name="connsiteY735" fmla="*/ 2584699 h 6858243"/>
              <a:gd name="connsiteX736" fmla="*/ 6150610 w 11240921"/>
              <a:gd name="connsiteY736" fmla="*/ 2998732 h 6858243"/>
              <a:gd name="connsiteX737" fmla="*/ 6155651 w 11240921"/>
              <a:gd name="connsiteY737" fmla="*/ 2583961 h 6858243"/>
              <a:gd name="connsiteX738" fmla="*/ 7995158 w 11240921"/>
              <a:gd name="connsiteY738" fmla="*/ 2353990 h 6858243"/>
              <a:gd name="connsiteX739" fmla="*/ 8237298 w 11240921"/>
              <a:gd name="connsiteY739" fmla="*/ 2128247 h 6858243"/>
              <a:gd name="connsiteX740" fmla="*/ 7252058 w 11240921"/>
              <a:gd name="connsiteY740" fmla="*/ 2126974 h 6858243"/>
              <a:gd name="connsiteX741" fmla="*/ 7744232 w 11240921"/>
              <a:gd name="connsiteY741" fmla="*/ 2577442 h 6858243"/>
              <a:gd name="connsiteX742" fmla="*/ 7995158 w 11240921"/>
              <a:gd name="connsiteY742" fmla="*/ 2353990 h 6858243"/>
              <a:gd name="connsiteX743" fmla="*/ 6953341 w 11240921"/>
              <a:gd name="connsiteY743" fmla="*/ 2358828 h 6858243"/>
              <a:gd name="connsiteX744" fmla="*/ 7186214 w 11240921"/>
              <a:gd name="connsiteY744" fmla="*/ 2138202 h 6858243"/>
              <a:gd name="connsiteX745" fmla="*/ 6710869 w 11240921"/>
              <a:gd name="connsiteY745" fmla="*/ 2129775 h 6858243"/>
              <a:gd name="connsiteX746" fmla="*/ 6237612 w 11240921"/>
              <a:gd name="connsiteY746" fmla="*/ 2135376 h 6858243"/>
              <a:gd name="connsiteX747" fmla="*/ 6716013 w 11240921"/>
              <a:gd name="connsiteY747" fmla="*/ 2572477 h 6858243"/>
              <a:gd name="connsiteX748" fmla="*/ 6953341 w 11240921"/>
              <a:gd name="connsiteY748" fmla="*/ 2358828 h 6858243"/>
              <a:gd name="connsiteX749" fmla="*/ 7179645 w 11240921"/>
              <a:gd name="connsiteY749" fmla="*/ 2103498 h 6858243"/>
              <a:gd name="connsiteX750" fmla="*/ 6699233 w 11240921"/>
              <a:gd name="connsiteY750" fmla="*/ 1667237 h 6858243"/>
              <a:gd name="connsiteX751" fmla="*/ 6224143 w 11240921"/>
              <a:gd name="connsiteY751" fmla="*/ 2103116 h 6858243"/>
              <a:gd name="connsiteX752" fmla="*/ 6700761 w 11240921"/>
              <a:gd name="connsiteY752" fmla="*/ 2109583 h 6858243"/>
              <a:gd name="connsiteX753" fmla="*/ 7179645 w 11240921"/>
              <a:gd name="connsiteY753" fmla="*/ 2103498 h 6858243"/>
              <a:gd name="connsiteX754" fmla="*/ 9286600 w 11240921"/>
              <a:gd name="connsiteY754" fmla="*/ 1659319 h 6858243"/>
              <a:gd name="connsiteX755" fmla="*/ 9281531 w 11240921"/>
              <a:gd name="connsiteY755" fmla="*/ 1214706 h 6858243"/>
              <a:gd name="connsiteX756" fmla="*/ 9049063 w 11240921"/>
              <a:gd name="connsiteY756" fmla="*/ 1422143 h 6858243"/>
              <a:gd name="connsiteX757" fmla="*/ 8823401 w 11240921"/>
              <a:gd name="connsiteY757" fmla="*/ 1642769 h 6858243"/>
              <a:gd name="connsiteX758" fmla="*/ 8806520 w 11240921"/>
              <a:gd name="connsiteY758" fmla="*/ 1658224 h 6858243"/>
              <a:gd name="connsiteX759" fmla="*/ 8548822 w 11240921"/>
              <a:gd name="connsiteY759" fmla="*/ 1877729 h 6858243"/>
              <a:gd name="connsiteX760" fmla="*/ 8305790 w 11240921"/>
              <a:gd name="connsiteY760" fmla="*/ 2103447 h 6858243"/>
              <a:gd name="connsiteX761" fmla="*/ 8794197 w 11240921"/>
              <a:gd name="connsiteY761" fmla="*/ 2107928 h 6858243"/>
              <a:gd name="connsiteX762" fmla="*/ 9284867 w 11240921"/>
              <a:gd name="connsiteY762" fmla="*/ 2106197 h 6858243"/>
              <a:gd name="connsiteX763" fmla="*/ 10311098 w 11240921"/>
              <a:gd name="connsiteY763" fmla="*/ 2096852 h 6858243"/>
              <a:gd name="connsiteX764" fmla="*/ 10069698 w 11240921"/>
              <a:gd name="connsiteY764" fmla="*/ 1869989 h 6858243"/>
              <a:gd name="connsiteX765" fmla="*/ 9825928 w 11240921"/>
              <a:gd name="connsiteY765" fmla="*/ 1642183 h 6858243"/>
              <a:gd name="connsiteX766" fmla="*/ 9825928 w 11240921"/>
              <a:gd name="connsiteY766" fmla="*/ 1627670 h 6858243"/>
              <a:gd name="connsiteX767" fmla="*/ 10077658 w 11240921"/>
              <a:gd name="connsiteY767" fmla="*/ 1393931 h 6858243"/>
              <a:gd name="connsiteX768" fmla="*/ 10320740 w 11240921"/>
              <a:gd name="connsiteY768" fmla="*/ 1163732 h 6858243"/>
              <a:gd name="connsiteX769" fmla="*/ 9830330 w 11240921"/>
              <a:gd name="connsiteY769" fmla="*/ 1159683 h 6858243"/>
              <a:gd name="connsiteX770" fmla="*/ 9326196 w 11240921"/>
              <a:gd name="connsiteY770" fmla="*/ 1173662 h 6858243"/>
              <a:gd name="connsiteX771" fmla="*/ 9308447 w 11240921"/>
              <a:gd name="connsiteY771" fmla="*/ 1187615 h 6858243"/>
              <a:gd name="connsiteX772" fmla="*/ 9308447 w 11240921"/>
              <a:gd name="connsiteY772" fmla="*/ 1638160 h 6858243"/>
              <a:gd name="connsiteX773" fmla="*/ 9320235 w 11240921"/>
              <a:gd name="connsiteY773" fmla="*/ 2095554 h 6858243"/>
              <a:gd name="connsiteX774" fmla="*/ 10311098 w 11240921"/>
              <a:gd name="connsiteY774" fmla="*/ 2096852 h 6858243"/>
              <a:gd name="connsiteX775" fmla="*/ 11220325 w 11240921"/>
              <a:gd name="connsiteY775" fmla="*/ 2049010 h 6858243"/>
              <a:gd name="connsiteX776" fmla="*/ 11218854 w 11240921"/>
              <a:gd name="connsiteY776" fmla="*/ 1984694 h 6858243"/>
              <a:gd name="connsiteX777" fmla="*/ 10363842 w 11240921"/>
              <a:gd name="connsiteY777" fmla="*/ 1172185 h 6858243"/>
              <a:gd name="connsiteX778" fmla="*/ 9855598 w 11240921"/>
              <a:gd name="connsiteY778" fmla="*/ 1632813 h 6858243"/>
              <a:gd name="connsiteX779" fmla="*/ 10103305 w 11240921"/>
              <a:gd name="connsiteY779" fmla="*/ 1872357 h 6858243"/>
              <a:gd name="connsiteX780" fmla="*/ 10352909 w 11240921"/>
              <a:gd name="connsiteY780" fmla="*/ 2102938 h 6858243"/>
              <a:gd name="connsiteX781" fmla="*/ 10785610 w 11240921"/>
              <a:gd name="connsiteY781" fmla="*/ 2101206 h 6858243"/>
              <a:gd name="connsiteX782" fmla="*/ 11218314 w 11240921"/>
              <a:gd name="connsiteY782" fmla="*/ 2099475 h 6858243"/>
              <a:gd name="connsiteX783" fmla="*/ 7484472 w 11240921"/>
              <a:gd name="connsiteY783" fmla="*/ 1872688 h 6858243"/>
              <a:gd name="connsiteX784" fmla="*/ 7730534 w 11240921"/>
              <a:gd name="connsiteY784" fmla="*/ 1641902 h 6858243"/>
              <a:gd name="connsiteX785" fmla="*/ 7242128 w 11240921"/>
              <a:gd name="connsiteY785" fmla="*/ 1184432 h 6858243"/>
              <a:gd name="connsiteX786" fmla="*/ 7223082 w 11240921"/>
              <a:gd name="connsiteY786" fmla="*/ 1186928 h 6858243"/>
              <a:gd name="connsiteX787" fmla="*/ 7213331 w 11240921"/>
              <a:gd name="connsiteY787" fmla="*/ 1641062 h 6858243"/>
              <a:gd name="connsiteX788" fmla="*/ 7217812 w 11240921"/>
              <a:gd name="connsiteY788" fmla="*/ 2091608 h 6858243"/>
              <a:gd name="connsiteX789" fmla="*/ 7231281 w 11240921"/>
              <a:gd name="connsiteY789" fmla="*/ 2096089 h 6858243"/>
              <a:gd name="connsiteX790" fmla="*/ 7484472 w 11240921"/>
              <a:gd name="connsiteY790" fmla="*/ 1872688 h 6858243"/>
              <a:gd name="connsiteX791" fmla="*/ 8219170 w 11240921"/>
              <a:gd name="connsiteY791" fmla="*/ 2091047 h 6858243"/>
              <a:gd name="connsiteX792" fmla="*/ 7754086 w 11240921"/>
              <a:gd name="connsiteY792" fmla="*/ 1661585 h 6858243"/>
              <a:gd name="connsiteX793" fmla="*/ 7281823 w 11240921"/>
              <a:gd name="connsiteY793" fmla="*/ 2090182 h 6858243"/>
              <a:gd name="connsiteX794" fmla="*/ 8219170 w 11240921"/>
              <a:gd name="connsiteY794" fmla="*/ 2091047 h 6858243"/>
              <a:gd name="connsiteX795" fmla="*/ 8774769 w 11240921"/>
              <a:gd name="connsiteY795" fmla="*/ 1633959 h 6858243"/>
              <a:gd name="connsiteX796" fmla="*/ 8277095 w 11240921"/>
              <a:gd name="connsiteY796" fmla="*/ 1183669 h 6858243"/>
              <a:gd name="connsiteX797" fmla="*/ 8275058 w 11240921"/>
              <a:gd name="connsiteY797" fmla="*/ 2091175 h 6858243"/>
              <a:gd name="connsiteX798" fmla="*/ 8774769 w 11240921"/>
              <a:gd name="connsiteY798" fmla="*/ 1633959 h 6858243"/>
              <a:gd name="connsiteX799" fmla="*/ 7193114 w 11240921"/>
              <a:gd name="connsiteY799" fmla="*/ 1644169 h 6858243"/>
              <a:gd name="connsiteX800" fmla="*/ 7186901 w 11240921"/>
              <a:gd name="connsiteY800" fmla="*/ 1221453 h 6858243"/>
              <a:gd name="connsiteX801" fmla="*/ 6729558 w 11240921"/>
              <a:gd name="connsiteY801" fmla="*/ 1648497 h 6858243"/>
              <a:gd name="connsiteX802" fmla="*/ 7186621 w 11240921"/>
              <a:gd name="connsiteY802" fmla="*/ 2069151 h 6858243"/>
              <a:gd name="connsiteX803" fmla="*/ 7193114 w 11240921"/>
              <a:gd name="connsiteY803" fmla="*/ 1644169 h 6858243"/>
              <a:gd name="connsiteX804" fmla="*/ 8244046 w 11240921"/>
              <a:gd name="connsiteY804" fmla="*/ 1645136 h 6858243"/>
              <a:gd name="connsiteX805" fmla="*/ 8238979 w 11240921"/>
              <a:gd name="connsiteY805" fmla="*/ 1218067 h 6858243"/>
              <a:gd name="connsiteX806" fmla="*/ 8002439 w 11240921"/>
              <a:gd name="connsiteY806" fmla="*/ 1427312 h 6858243"/>
              <a:gd name="connsiteX807" fmla="*/ 7770967 w 11240921"/>
              <a:gd name="connsiteY807" fmla="*/ 1639637 h 6858243"/>
              <a:gd name="connsiteX808" fmla="*/ 7793603 w 11240921"/>
              <a:gd name="connsiteY808" fmla="*/ 1661967 h 6858243"/>
              <a:gd name="connsiteX809" fmla="*/ 8238979 w 11240921"/>
              <a:gd name="connsiteY809" fmla="*/ 2069125 h 6858243"/>
              <a:gd name="connsiteX810" fmla="*/ 8244046 w 11240921"/>
              <a:gd name="connsiteY810" fmla="*/ 1645136 h 6858243"/>
              <a:gd name="connsiteX811" fmla="*/ 11220053 w 11240921"/>
              <a:gd name="connsiteY811" fmla="*/ 1546676 h 6858243"/>
              <a:gd name="connsiteX812" fmla="*/ 11218314 w 11240921"/>
              <a:gd name="connsiteY812" fmla="*/ 1163070 h 6858243"/>
              <a:gd name="connsiteX813" fmla="*/ 10805109 w 11240921"/>
              <a:gd name="connsiteY813" fmla="*/ 1161338 h 6858243"/>
              <a:gd name="connsiteX814" fmla="*/ 10394169 w 11240921"/>
              <a:gd name="connsiteY814" fmla="*/ 1165336 h 6858243"/>
              <a:gd name="connsiteX815" fmla="*/ 11216687 w 11240921"/>
              <a:gd name="connsiteY815" fmla="*/ 1934941 h 6858243"/>
              <a:gd name="connsiteX816" fmla="*/ 11220053 w 11240921"/>
              <a:gd name="connsiteY816" fmla="*/ 1546650 h 6858243"/>
              <a:gd name="connsiteX817" fmla="*/ 7984973 w 11240921"/>
              <a:gd name="connsiteY817" fmla="*/ 1415319 h 6858243"/>
              <a:gd name="connsiteX818" fmla="*/ 8240481 w 11240921"/>
              <a:gd name="connsiteY818" fmla="*/ 1166100 h 6858243"/>
              <a:gd name="connsiteX819" fmla="*/ 7261733 w 11240921"/>
              <a:gd name="connsiteY819" fmla="*/ 1166813 h 6858243"/>
              <a:gd name="connsiteX820" fmla="*/ 7752558 w 11240921"/>
              <a:gd name="connsiteY820" fmla="*/ 1617358 h 6858243"/>
              <a:gd name="connsiteX821" fmla="*/ 7984973 w 11240921"/>
              <a:gd name="connsiteY821" fmla="*/ 1415319 h 6858243"/>
              <a:gd name="connsiteX822" fmla="*/ 9033875 w 11240921"/>
              <a:gd name="connsiteY822" fmla="*/ 1408114 h 6858243"/>
              <a:gd name="connsiteX823" fmla="*/ 9284434 w 11240921"/>
              <a:gd name="connsiteY823" fmla="*/ 1165718 h 6858243"/>
              <a:gd name="connsiteX824" fmla="*/ 8306045 w 11240921"/>
              <a:gd name="connsiteY824" fmla="*/ 1167220 h 6858243"/>
              <a:gd name="connsiteX825" fmla="*/ 8798092 w 11240921"/>
              <a:gd name="connsiteY825" fmla="*/ 1617511 h 6858243"/>
              <a:gd name="connsiteX826" fmla="*/ 9033875 w 11240921"/>
              <a:gd name="connsiteY826" fmla="*/ 1408114 h 6858243"/>
              <a:gd name="connsiteX827" fmla="*/ 8225586 w 11240921"/>
              <a:gd name="connsiteY827" fmla="*/ 1135495 h 6858243"/>
              <a:gd name="connsiteX828" fmla="*/ 7752355 w 11240921"/>
              <a:gd name="connsiteY828" fmla="*/ 703002 h 6858243"/>
              <a:gd name="connsiteX829" fmla="*/ 7285718 w 11240921"/>
              <a:gd name="connsiteY829" fmla="*/ 1135546 h 6858243"/>
              <a:gd name="connsiteX830" fmla="*/ 8225586 w 11240921"/>
              <a:gd name="connsiteY830" fmla="*/ 1135495 h 6858243"/>
              <a:gd name="connsiteX831" fmla="*/ 9260166 w 11240921"/>
              <a:gd name="connsiteY831" fmla="*/ 1132949 h 6858243"/>
              <a:gd name="connsiteX832" fmla="*/ 8796539 w 11240921"/>
              <a:gd name="connsiteY832" fmla="*/ 703002 h 6858243"/>
              <a:gd name="connsiteX833" fmla="*/ 8329928 w 11240921"/>
              <a:gd name="connsiteY833" fmla="*/ 1135546 h 6858243"/>
              <a:gd name="connsiteX834" fmla="*/ 9260166 w 11240921"/>
              <a:gd name="connsiteY834" fmla="*/ 1132949 h 6858243"/>
              <a:gd name="connsiteX835" fmla="*/ 10318958 w 11240921"/>
              <a:gd name="connsiteY835" fmla="*/ 1133280 h 6858243"/>
              <a:gd name="connsiteX836" fmla="*/ 9853653 w 11240921"/>
              <a:gd name="connsiteY836" fmla="*/ 694855 h 6858243"/>
              <a:gd name="connsiteX837" fmla="*/ 9370199 w 11240921"/>
              <a:gd name="connsiteY837" fmla="*/ 1133382 h 6858243"/>
              <a:gd name="connsiteX838" fmla="*/ 9843456 w 11240921"/>
              <a:gd name="connsiteY838" fmla="*/ 1139492 h 6858243"/>
              <a:gd name="connsiteX839" fmla="*/ 10318958 w 11240921"/>
              <a:gd name="connsiteY839" fmla="*/ 1133280 h 6858243"/>
              <a:gd name="connsiteX840" fmla="*/ 11220241 w 11240921"/>
              <a:gd name="connsiteY840" fmla="*/ 1074463 h 6858243"/>
              <a:gd name="connsiteX841" fmla="*/ 11206767 w 11240921"/>
              <a:gd name="connsiteY841" fmla="*/ 996016 h 6858243"/>
              <a:gd name="connsiteX842" fmla="*/ 11031028 w 11240921"/>
              <a:gd name="connsiteY842" fmla="*/ 840267 h 6858243"/>
              <a:gd name="connsiteX843" fmla="*/ 10862074 w 11240921"/>
              <a:gd name="connsiteY843" fmla="*/ 706491 h 6858243"/>
              <a:gd name="connsiteX844" fmla="*/ 10399799 w 11240921"/>
              <a:gd name="connsiteY844" fmla="*/ 1133560 h 6858243"/>
              <a:gd name="connsiteX845" fmla="*/ 10809055 w 11240921"/>
              <a:gd name="connsiteY845" fmla="*/ 1137863 h 6858243"/>
              <a:gd name="connsiteX846" fmla="*/ 11218314 w 11240921"/>
              <a:gd name="connsiteY846" fmla="*/ 1136106 h 6858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Lst>
            <a:rect l="l" t="t" r="r" b="b"/>
            <a:pathLst>
              <a:path w="11240921" h="6858243">
                <a:moveTo>
                  <a:pt x="6203341" y="6853924"/>
                </a:moveTo>
                <a:cubicBezTo>
                  <a:pt x="6202908" y="6847200"/>
                  <a:pt x="5577365" y="6845504"/>
                  <a:pt x="3099406" y="6845504"/>
                </a:cubicBezTo>
                <a:cubicBezTo>
                  <a:pt x="1392555" y="6845504"/>
                  <a:pt x="-1702" y="6843230"/>
                  <a:pt x="1072" y="6840450"/>
                </a:cubicBezTo>
                <a:cubicBezTo>
                  <a:pt x="3848" y="6837672"/>
                  <a:pt x="218847" y="6833884"/>
                  <a:pt x="478810" y="6832030"/>
                </a:cubicBezTo>
                <a:lnTo>
                  <a:pt x="951507" y="6828661"/>
                </a:lnTo>
                <a:lnTo>
                  <a:pt x="954893" y="5898998"/>
                </a:lnTo>
                <a:lnTo>
                  <a:pt x="958255" y="4969315"/>
                </a:lnTo>
                <a:lnTo>
                  <a:pt x="2009747" y="4965954"/>
                </a:lnTo>
                <a:lnTo>
                  <a:pt x="3061265" y="4962593"/>
                </a:lnTo>
                <a:lnTo>
                  <a:pt x="3107833" y="4920938"/>
                </a:lnTo>
                <a:cubicBezTo>
                  <a:pt x="3133474" y="4898048"/>
                  <a:pt x="3357409" y="4693412"/>
                  <a:pt x="3605508" y="4466217"/>
                </a:cubicBezTo>
                <a:cubicBezTo>
                  <a:pt x="3903105" y="4193675"/>
                  <a:pt x="4057988" y="4047398"/>
                  <a:pt x="4060687" y="4036271"/>
                </a:cubicBezTo>
                <a:cubicBezTo>
                  <a:pt x="4063106" y="4026341"/>
                  <a:pt x="4068937" y="4020128"/>
                  <a:pt x="4074895" y="4021147"/>
                </a:cubicBezTo>
                <a:cubicBezTo>
                  <a:pt x="4080471" y="4022063"/>
                  <a:pt x="4098447" y="4011471"/>
                  <a:pt x="4114870" y="3997569"/>
                </a:cubicBezTo>
                <a:cubicBezTo>
                  <a:pt x="4160548" y="3958892"/>
                  <a:pt x="5092039" y="3107937"/>
                  <a:pt x="5113147" y="3085582"/>
                </a:cubicBezTo>
                <a:cubicBezTo>
                  <a:pt x="5125929" y="3072062"/>
                  <a:pt x="5131658" y="3058821"/>
                  <a:pt x="5131658" y="3042908"/>
                </a:cubicBezTo>
                <a:cubicBezTo>
                  <a:pt x="5131658" y="3016402"/>
                  <a:pt x="5144236" y="3004028"/>
                  <a:pt x="5149735" y="3025085"/>
                </a:cubicBezTo>
                <a:cubicBezTo>
                  <a:pt x="5151772" y="3032876"/>
                  <a:pt x="5156101" y="3039241"/>
                  <a:pt x="5159335" y="3039241"/>
                </a:cubicBezTo>
                <a:cubicBezTo>
                  <a:pt x="5162594" y="3039241"/>
                  <a:pt x="5275160" y="2938667"/>
                  <a:pt x="5409496" y="2815739"/>
                </a:cubicBezTo>
                <a:cubicBezTo>
                  <a:pt x="5575939" y="2663426"/>
                  <a:pt x="5654437" y="2587245"/>
                  <a:pt x="5655889" y="2576577"/>
                </a:cubicBezTo>
                <a:cubicBezTo>
                  <a:pt x="5657391" y="2565603"/>
                  <a:pt x="5662432" y="2560943"/>
                  <a:pt x="5672846" y="2560943"/>
                </a:cubicBezTo>
                <a:cubicBezTo>
                  <a:pt x="5689880" y="2560943"/>
                  <a:pt x="6135663" y="2157528"/>
                  <a:pt x="6156517" y="2123231"/>
                </a:cubicBezTo>
                <a:cubicBezTo>
                  <a:pt x="6163468" y="2111824"/>
                  <a:pt x="6176912" y="2099526"/>
                  <a:pt x="6186460" y="2095911"/>
                </a:cubicBezTo>
                <a:cubicBezTo>
                  <a:pt x="6199700" y="2090894"/>
                  <a:pt x="6616075" y="1716658"/>
                  <a:pt x="6691773" y="1641750"/>
                </a:cubicBezTo>
                <a:cubicBezTo>
                  <a:pt x="6699462" y="1634137"/>
                  <a:pt x="6814040" y="1529362"/>
                  <a:pt x="6946365" y="1408954"/>
                </a:cubicBezTo>
                <a:cubicBezTo>
                  <a:pt x="7107741" y="1262090"/>
                  <a:pt x="7188149" y="1184458"/>
                  <a:pt x="7190593" y="1173178"/>
                </a:cubicBezTo>
                <a:cubicBezTo>
                  <a:pt x="7197366" y="1141809"/>
                  <a:pt x="7199403" y="1139492"/>
                  <a:pt x="7219950" y="1139492"/>
                </a:cubicBezTo>
                <a:cubicBezTo>
                  <a:pt x="7242433" y="1139492"/>
                  <a:pt x="7232860" y="1147716"/>
                  <a:pt x="7572519" y="836702"/>
                </a:cubicBezTo>
                <a:cubicBezTo>
                  <a:pt x="7671896" y="745727"/>
                  <a:pt x="7757549" y="670309"/>
                  <a:pt x="7762845" y="669113"/>
                </a:cubicBezTo>
                <a:cubicBezTo>
                  <a:pt x="7768141" y="667890"/>
                  <a:pt x="7772469" y="671328"/>
                  <a:pt x="7772469" y="676700"/>
                </a:cubicBezTo>
                <a:cubicBezTo>
                  <a:pt x="7772469" y="685357"/>
                  <a:pt x="8244046" y="1121084"/>
                  <a:pt x="8268209" y="1134756"/>
                </a:cubicBezTo>
                <a:cubicBezTo>
                  <a:pt x="8273454" y="1137735"/>
                  <a:pt x="8282035" y="1137735"/>
                  <a:pt x="8287305" y="1134756"/>
                </a:cubicBezTo>
                <a:cubicBezTo>
                  <a:pt x="8292576" y="1131803"/>
                  <a:pt x="8409521" y="1026315"/>
                  <a:pt x="8547193" y="900330"/>
                </a:cubicBezTo>
                <a:cubicBezTo>
                  <a:pt x="8684838" y="774346"/>
                  <a:pt x="8801784" y="670309"/>
                  <a:pt x="8807055" y="669113"/>
                </a:cubicBezTo>
                <a:cubicBezTo>
                  <a:pt x="8812351" y="667890"/>
                  <a:pt x="8816654" y="671328"/>
                  <a:pt x="8816654" y="676700"/>
                </a:cubicBezTo>
                <a:cubicBezTo>
                  <a:pt x="8816654" y="690831"/>
                  <a:pt x="9300105" y="1139492"/>
                  <a:pt x="9315342" y="1139492"/>
                </a:cubicBezTo>
                <a:cubicBezTo>
                  <a:pt x="9322496" y="1139492"/>
                  <a:pt x="9439246" y="1038155"/>
                  <a:pt x="9585050" y="905372"/>
                </a:cubicBezTo>
                <a:cubicBezTo>
                  <a:pt x="9726451" y="776612"/>
                  <a:pt x="9847392" y="671277"/>
                  <a:pt x="9853808" y="671277"/>
                </a:cubicBezTo>
                <a:cubicBezTo>
                  <a:pt x="9860222" y="671277"/>
                  <a:pt x="9975116" y="774346"/>
                  <a:pt x="10109126" y="900330"/>
                </a:cubicBezTo>
                <a:cubicBezTo>
                  <a:pt x="10243136" y="1026315"/>
                  <a:pt x="10355814" y="1129384"/>
                  <a:pt x="10359521" y="1129384"/>
                </a:cubicBezTo>
                <a:cubicBezTo>
                  <a:pt x="10363231" y="1129384"/>
                  <a:pt x="10475685" y="1029345"/>
                  <a:pt x="10609423" y="907052"/>
                </a:cubicBezTo>
                <a:cubicBezTo>
                  <a:pt x="10743160" y="784785"/>
                  <a:pt x="10858145" y="683804"/>
                  <a:pt x="10864946" y="682659"/>
                </a:cubicBezTo>
                <a:cubicBezTo>
                  <a:pt x="10876603" y="680673"/>
                  <a:pt x="10915949" y="712881"/>
                  <a:pt x="11144933" y="911890"/>
                </a:cubicBezTo>
                <a:cubicBezTo>
                  <a:pt x="11182385" y="944431"/>
                  <a:pt x="11214973" y="971063"/>
                  <a:pt x="11217354" y="971063"/>
                </a:cubicBezTo>
                <a:cubicBezTo>
                  <a:pt x="11219735" y="971063"/>
                  <a:pt x="11221728" y="756574"/>
                  <a:pt x="11221784" y="494446"/>
                </a:cubicBezTo>
                <a:cubicBezTo>
                  <a:pt x="11221861" y="232291"/>
                  <a:pt x="11224450" y="13779"/>
                  <a:pt x="11227585" y="8839"/>
                </a:cubicBezTo>
                <a:cubicBezTo>
                  <a:pt x="11242795" y="-15171"/>
                  <a:pt x="11242128" y="-294689"/>
                  <a:pt x="11241919" y="6008458"/>
                </a:cubicBezTo>
                <a:lnTo>
                  <a:pt x="11241919" y="6845504"/>
                </a:lnTo>
                <a:lnTo>
                  <a:pt x="9750291" y="6845504"/>
                </a:lnTo>
                <a:cubicBezTo>
                  <a:pt x="8563284" y="6845504"/>
                  <a:pt x="8257973" y="6847225"/>
                  <a:pt x="8255274" y="6853924"/>
                </a:cubicBezTo>
                <a:cubicBezTo>
                  <a:pt x="8252550" y="6860662"/>
                  <a:pt x="8251761" y="6860662"/>
                  <a:pt x="8251328" y="6853924"/>
                </a:cubicBezTo>
                <a:cubicBezTo>
                  <a:pt x="8250920" y="6847228"/>
                  <a:pt x="8042007" y="6845504"/>
                  <a:pt x="7230746" y="6845504"/>
                </a:cubicBezTo>
                <a:cubicBezTo>
                  <a:pt x="6421013" y="6845504"/>
                  <a:pt x="6209986" y="6847241"/>
                  <a:pt x="6207287" y="6853924"/>
                </a:cubicBezTo>
                <a:cubicBezTo>
                  <a:pt x="6204588" y="6860662"/>
                  <a:pt x="6203799" y="6860662"/>
                  <a:pt x="6203366" y="6853924"/>
                </a:cubicBezTo>
                <a:close/>
                <a:moveTo>
                  <a:pt x="1043399" y="6816873"/>
                </a:moveTo>
                <a:cubicBezTo>
                  <a:pt x="1047473" y="6808536"/>
                  <a:pt x="1144252" y="6716831"/>
                  <a:pt x="1258449" y="6613087"/>
                </a:cubicBezTo>
                <a:cubicBezTo>
                  <a:pt x="1372670" y="6509341"/>
                  <a:pt x="1466292" y="6421243"/>
                  <a:pt x="1466496" y="6417322"/>
                </a:cubicBezTo>
                <a:cubicBezTo>
                  <a:pt x="1466954" y="6408716"/>
                  <a:pt x="991711" y="5969731"/>
                  <a:pt x="981934" y="5969731"/>
                </a:cubicBezTo>
                <a:cubicBezTo>
                  <a:pt x="974244" y="5969731"/>
                  <a:pt x="971902" y="6819859"/>
                  <a:pt x="979591" y="6827538"/>
                </a:cubicBezTo>
                <a:cubicBezTo>
                  <a:pt x="982061" y="6830008"/>
                  <a:pt x="995760" y="6832030"/>
                  <a:pt x="1010044" y="6832030"/>
                </a:cubicBezTo>
                <a:cubicBezTo>
                  <a:pt x="1030286" y="6832030"/>
                  <a:pt x="1037644" y="6828692"/>
                  <a:pt x="1043399" y="6816873"/>
                </a:cubicBezTo>
                <a:close/>
                <a:moveTo>
                  <a:pt x="2024412" y="6400874"/>
                </a:moveTo>
                <a:cubicBezTo>
                  <a:pt x="2025355" y="6165608"/>
                  <a:pt x="2024591" y="5969018"/>
                  <a:pt x="2022681" y="5964028"/>
                </a:cubicBezTo>
                <a:cubicBezTo>
                  <a:pt x="2019931" y="5956847"/>
                  <a:pt x="2015323" y="5957535"/>
                  <a:pt x="2000224" y="5967414"/>
                </a:cubicBezTo>
                <a:cubicBezTo>
                  <a:pt x="1973489" y="5984881"/>
                  <a:pt x="1062673" y="6819378"/>
                  <a:pt x="1062673" y="6826382"/>
                </a:cubicBezTo>
                <a:cubicBezTo>
                  <a:pt x="1062673" y="6829537"/>
                  <a:pt x="1278664" y="6831342"/>
                  <a:pt x="1542677" y="6830390"/>
                </a:cubicBezTo>
                <a:lnTo>
                  <a:pt x="2022656" y="6828661"/>
                </a:lnTo>
                <a:close/>
                <a:moveTo>
                  <a:pt x="2087583" y="6816873"/>
                </a:moveTo>
                <a:cubicBezTo>
                  <a:pt x="2091632" y="6808536"/>
                  <a:pt x="2186858" y="6718349"/>
                  <a:pt x="2299221" y="6616453"/>
                </a:cubicBezTo>
                <a:cubicBezTo>
                  <a:pt x="2411558" y="6514561"/>
                  <a:pt x="2503678" y="6427812"/>
                  <a:pt x="2503907" y="6423688"/>
                </a:cubicBezTo>
                <a:cubicBezTo>
                  <a:pt x="2504442" y="6414267"/>
                  <a:pt x="2063879" y="5983200"/>
                  <a:pt x="2053719" y="5983200"/>
                </a:cubicBezTo>
                <a:cubicBezTo>
                  <a:pt x="2045444" y="5983200"/>
                  <a:pt x="2042491" y="6819299"/>
                  <a:pt x="2050740" y="6827538"/>
                </a:cubicBezTo>
                <a:cubicBezTo>
                  <a:pt x="2060339" y="6837155"/>
                  <a:pt x="2080556" y="6831302"/>
                  <a:pt x="2087583" y="6816873"/>
                </a:cubicBezTo>
                <a:close/>
                <a:moveTo>
                  <a:pt x="2922015" y="6826558"/>
                </a:moveTo>
                <a:cubicBezTo>
                  <a:pt x="2922015" y="6817400"/>
                  <a:pt x="2531762" y="6440009"/>
                  <a:pt x="2524786" y="6442428"/>
                </a:cubicBezTo>
                <a:cubicBezTo>
                  <a:pt x="2514041" y="6446145"/>
                  <a:pt x="2106858" y="6820162"/>
                  <a:pt x="2106858" y="6826327"/>
                </a:cubicBezTo>
                <a:cubicBezTo>
                  <a:pt x="2106858" y="6829463"/>
                  <a:pt x="2290284" y="6832030"/>
                  <a:pt x="2514449" y="6832030"/>
                </a:cubicBezTo>
                <a:cubicBezTo>
                  <a:pt x="2738614" y="6832030"/>
                  <a:pt x="2922015" y="6829568"/>
                  <a:pt x="2922015" y="6826558"/>
                </a:cubicBezTo>
                <a:close/>
                <a:moveTo>
                  <a:pt x="3048381" y="6399194"/>
                </a:moveTo>
                <a:cubicBezTo>
                  <a:pt x="3049501" y="6120999"/>
                  <a:pt x="3047770" y="5969731"/>
                  <a:pt x="3043492" y="5969731"/>
                </a:cubicBezTo>
                <a:cubicBezTo>
                  <a:pt x="3032925" y="5969731"/>
                  <a:pt x="2551496" y="6413681"/>
                  <a:pt x="2551496" y="6423408"/>
                </a:cubicBezTo>
                <a:cubicBezTo>
                  <a:pt x="2551496" y="6428245"/>
                  <a:pt x="2644481" y="6522301"/>
                  <a:pt x="2758143" y="6632410"/>
                </a:cubicBezTo>
                <a:lnTo>
                  <a:pt x="2964790" y="6832613"/>
                </a:lnTo>
                <a:lnTo>
                  <a:pt x="3005707" y="6830637"/>
                </a:lnTo>
                <a:lnTo>
                  <a:pt x="3046649" y="6828661"/>
                </a:lnTo>
                <a:close/>
                <a:moveTo>
                  <a:pt x="3342259" y="6638348"/>
                </a:moveTo>
                <a:cubicBezTo>
                  <a:pt x="3503509" y="6495592"/>
                  <a:pt x="3561180" y="6440671"/>
                  <a:pt x="3561536" y="6429518"/>
                </a:cubicBezTo>
                <a:cubicBezTo>
                  <a:pt x="3561918" y="6416762"/>
                  <a:pt x="3565763" y="6414343"/>
                  <a:pt x="3585571" y="6414343"/>
                </a:cubicBezTo>
                <a:cubicBezTo>
                  <a:pt x="3605407" y="6414343"/>
                  <a:pt x="3609251" y="6416762"/>
                  <a:pt x="3609659" y="6429518"/>
                </a:cubicBezTo>
                <a:cubicBezTo>
                  <a:pt x="3610015" y="6440671"/>
                  <a:pt x="3667177" y="6495184"/>
                  <a:pt x="3826159" y="6635980"/>
                </a:cubicBezTo>
                <a:cubicBezTo>
                  <a:pt x="4021094" y="6808623"/>
                  <a:pt x="4044570" y="6827358"/>
                  <a:pt x="4066518" y="6827976"/>
                </a:cubicBezTo>
                <a:lnTo>
                  <a:pt x="4090834" y="6828661"/>
                </a:lnTo>
                <a:lnTo>
                  <a:pt x="4092464" y="5926217"/>
                </a:lnTo>
                <a:cubicBezTo>
                  <a:pt x="4093355" y="5429866"/>
                  <a:pt x="4091623" y="5021308"/>
                  <a:pt x="4088619" y="5018303"/>
                </a:cubicBezTo>
                <a:cubicBezTo>
                  <a:pt x="4081438" y="5011098"/>
                  <a:pt x="3089502" y="5918222"/>
                  <a:pt x="3078935" y="5941621"/>
                </a:cubicBezTo>
                <a:cubicBezTo>
                  <a:pt x="3072901" y="5955040"/>
                  <a:pt x="3070761" y="6069592"/>
                  <a:pt x="3070532" y="6391326"/>
                </a:cubicBezTo>
                <a:cubicBezTo>
                  <a:pt x="3070354" y="6628777"/>
                  <a:pt x="3072238" y="6825069"/>
                  <a:pt x="3074708" y="6827538"/>
                </a:cubicBezTo>
                <a:cubicBezTo>
                  <a:pt x="3077178" y="6830008"/>
                  <a:pt x="3089171" y="6832030"/>
                  <a:pt x="3101316" y="6832030"/>
                </a:cubicBezTo>
                <a:cubicBezTo>
                  <a:pt x="3120743" y="6832030"/>
                  <a:pt x="3150202" y="6808356"/>
                  <a:pt x="3342259" y="6638348"/>
                </a:cubicBezTo>
                <a:close/>
                <a:moveTo>
                  <a:pt x="4005512" y="6826281"/>
                </a:moveTo>
                <a:cubicBezTo>
                  <a:pt x="4001693" y="6816542"/>
                  <a:pt x="3592752" y="6455057"/>
                  <a:pt x="3585571" y="6455082"/>
                </a:cubicBezTo>
                <a:cubicBezTo>
                  <a:pt x="3578239" y="6455133"/>
                  <a:pt x="3169324" y="6816414"/>
                  <a:pt x="3165658" y="6826102"/>
                </a:cubicBezTo>
                <a:cubicBezTo>
                  <a:pt x="3164384" y="6829476"/>
                  <a:pt x="3345264" y="6832030"/>
                  <a:pt x="3585571" y="6832030"/>
                </a:cubicBezTo>
                <a:cubicBezTo>
                  <a:pt x="3817783" y="6832030"/>
                  <a:pt x="4006734" y="6829443"/>
                  <a:pt x="4005512" y="6826281"/>
                </a:cubicBezTo>
                <a:close/>
                <a:moveTo>
                  <a:pt x="5029480" y="6825316"/>
                </a:moveTo>
                <a:cubicBezTo>
                  <a:pt x="5026730" y="6817041"/>
                  <a:pt x="4619241" y="6434560"/>
                  <a:pt x="4613181" y="6434560"/>
                </a:cubicBezTo>
                <a:cubicBezTo>
                  <a:pt x="4610788" y="6434560"/>
                  <a:pt x="4518056" y="6517794"/>
                  <a:pt x="4407094" y="6619524"/>
                </a:cubicBezTo>
                <a:cubicBezTo>
                  <a:pt x="4225755" y="6785781"/>
                  <a:pt x="4188276" y="6816748"/>
                  <a:pt x="4188633" y="6800030"/>
                </a:cubicBezTo>
                <a:cubicBezTo>
                  <a:pt x="4188836" y="6790474"/>
                  <a:pt x="4199199" y="6780470"/>
                  <a:pt x="4395687" y="6600639"/>
                </a:cubicBezTo>
                <a:cubicBezTo>
                  <a:pt x="4504052" y="6501448"/>
                  <a:pt x="4592735" y="6418112"/>
                  <a:pt x="4592735" y="6415489"/>
                </a:cubicBezTo>
                <a:cubicBezTo>
                  <a:pt x="4592735" y="6410295"/>
                  <a:pt x="4129612" y="5974543"/>
                  <a:pt x="4120165" y="5970851"/>
                </a:cubicBezTo>
                <a:cubicBezTo>
                  <a:pt x="4113469" y="5968229"/>
                  <a:pt x="4112222" y="6820842"/>
                  <a:pt x="4118918" y="6827538"/>
                </a:cubicBezTo>
                <a:cubicBezTo>
                  <a:pt x="4126480" y="6835108"/>
                  <a:pt x="5032026" y="6832898"/>
                  <a:pt x="5029480" y="6825316"/>
                </a:cubicBezTo>
                <a:close/>
                <a:moveTo>
                  <a:pt x="6053473" y="6825392"/>
                </a:moveTo>
                <a:cubicBezTo>
                  <a:pt x="6050087" y="6815396"/>
                  <a:pt x="5657289" y="6454751"/>
                  <a:pt x="5649778" y="6454751"/>
                </a:cubicBezTo>
                <a:cubicBezTo>
                  <a:pt x="5646188" y="6454751"/>
                  <a:pt x="5558269" y="6532817"/>
                  <a:pt x="5454359" y="6628232"/>
                </a:cubicBezTo>
                <a:cubicBezTo>
                  <a:pt x="5350475" y="6723642"/>
                  <a:pt x="5260851" y="6802736"/>
                  <a:pt x="5255223" y="6803999"/>
                </a:cubicBezTo>
                <a:cubicBezTo>
                  <a:pt x="5229150" y="6809843"/>
                  <a:pt x="5262403" y="6775408"/>
                  <a:pt x="5439973" y="6612825"/>
                </a:cubicBezTo>
                <a:cubicBezTo>
                  <a:pt x="5544697" y="6516928"/>
                  <a:pt x="5629561" y="6436037"/>
                  <a:pt x="5628568" y="6433058"/>
                </a:cubicBezTo>
                <a:cubicBezTo>
                  <a:pt x="5624316" y="6420327"/>
                  <a:pt x="5129060" y="5969273"/>
                  <a:pt x="5121320" y="5971081"/>
                </a:cubicBezTo>
                <a:cubicBezTo>
                  <a:pt x="5112256" y="5973194"/>
                  <a:pt x="4637879" y="6404795"/>
                  <a:pt x="4634569" y="6413936"/>
                </a:cubicBezTo>
                <a:cubicBezTo>
                  <a:pt x="4632558" y="6419487"/>
                  <a:pt x="5034725" y="6800131"/>
                  <a:pt x="5064108" y="6820486"/>
                </a:cubicBezTo>
                <a:cubicBezTo>
                  <a:pt x="5079461" y="6831113"/>
                  <a:pt x="5119080" y="6832020"/>
                  <a:pt x="5568250" y="6832020"/>
                </a:cubicBezTo>
                <a:cubicBezTo>
                  <a:pt x="5884891" y="6832020"/>
                  <a:pt x="6054925" y="6829698"/>
                  <a:pt x="6053473" y="6825392"/>
                </a:cubicBezTo>
                <a:close/>
                <a:moveTo>
                  <a:pt x="6194429" y="6391861"/>
                </a:moveTo>
                <a:cubicBezTo>
                  <a:pt x="6195473" y="6128765"/>
                  <a:pt x="6193717" y="5955982"/>
                  <a:pt x="6189974" y="5957357"/>
                </a:cubicBezTo>
                <a:cubicBezTo>
                  <a:pt x="6180375" y="5960870"/>
                  <a:pt x="5670605" y="6429238"/>
                  <a:pt x="5670605" y="6434534"/>
                </a:cubicBezTo>
                <a:cubicBezTo>
                  <a:pt x="5670605" y="6440645"/>
                  <a:pt x="6072646" y="6812562"/>
                  <a:pt x="6091080" y="6823510"/>
                </a:cubicBezTo>
                <a:cubicBezTo>
                  <a:pt x="6099304" y="6828384"/>
                  <a:pt x="6123315" y="6831182"/>
                  <a:pt x="6148904" y="6830248"/>
                </a:cubicBezTo>
                <a:lnTo>
                  <a:pt x="6192698" y="6828651"/>
                </a:lnTo>
                <a:lnTo>
                  <a:pt x="6194429" y="6391861"/>
                </a:lnTo>
                <a:close/>
                <a:moveTo>
                  <a:pt x="8240685" y="6384018"/>
                </a:moveTo>
                <a:lnTo>
                  <a:pt x="8240685" y="5939406"/>
                </a:lnTo>
                <a:lnTo>
                  <a:pt x="7734048" y="5937675"/>
                </a:lnTo>
                <a:lnTo>
                  <a:pt x="7227385" y="5935943"/>
                </a:lnTo>
                <a:lnTo>
                  <a:pt x="7187869" y="5971361"/>
                </a:lnTo>
                <a:cubicBezTo>
                  <a:pt x="7166150" y="5990839"/>
                  <a:pt x="6952042" y="6185621"/>
                  <a:pt x="6712117" y="6404235"/>
                </a:cubicBezTo>
                <a:cubicBezTo>
                  <a:pt x="6472191" y="6622844"/>
                  <a:pt x="6271578" y="6802685"/>
                  <a:pt x="6266282" y="6803882"/>
                </a:cubicBezTo>
                <a:cubicBezTo>
                  <a:pt x="6250165" y="6807548"/>
                  <a:pt x="6255563" y="6793359"/>
                  <a:pt x="6278606" y="6771612"/>
                </a:cubicBezTo>
                <a:cubicBezTo>
                  <a:pt x="6290649" y="6760241"/>
                  <a:pt x="6501217" y="6568336"/>
                  <a:pt x="6746541" y="6345164"/>
                </a:cubicBezTo>
                <a:lnTo>
                  <a:pt x="7192604" y="5939406"/>
                </a:lnTo>
                <a:lnTo>
                  <a:pt x="7192859" y="5506557"/>
                </a:lnTo>
                <a:cubicBezTo>
                  <a:pt x="7193089" y="5126439"/>
                  <a:pt x="7194336" y="5073734"/>
                  <a:pt x="7203222" y="5073734"/>
                </a:cubicBezTo>
                <a:cubicBezTo>
                  <a:pt x="7212083" y="5073734"/>
                  <a:pt x="7213331" y="5124632"/>
                  <a:pt x="7213331" y="5491408"/>
                </a:cubicBezTo>
                <a:cubicBezTo>
                  <a:pt x="7213331" y="5721123"/>
                  <a:pt x="7215902" y="5909081"/>
                  <a:pt x="7219034" y="5909081"/>
                </a:cubicBezTo>
                <a:cubicBezTo>
                  <a:pt x="7227920" y="5909081"/>
                  <a:pt x="7735168" y="5445500"/>
                  <a:pt x="7737383" y="5435366"/>
                </a:cubicBezTo>
                <a:cubicBezTo>
                  <a:pt x="7739267" y="5426608"/>
                  <a:pt x="7276934" y="4996203"/>
                  <a:pt x="7257659" y="4988793"/>
                </a:cubicBezTo>
                <a:cubicBezTo>
                  <a:pt x="7251497" y="4986425"/>
                  <a:pt x="7203986" y="5025178"/>
                  <a:pt x="7127881" y="5094638"/>
                </a:cubicBezTo>
                <a:cubicBezTo>
                  <a:pt x="6548118" y="5623885"/>
                  <a:pt x="6230890" y="5918095"/>
                  <a:pt x="6224220" y="5932735"/>
                </a:cubicBezTo>
                <a:cubicBezTo>
                  <a:pt x="6218389" y="5945517"/>
                  <a:pt x="6216275" y="6066129"/>
                  <a:pt x="6216275" y="6386590"/>
                </a:cubicBezTo>
                <a:cubicBezTo>
                  <a:pt x="6216275" y="6626635"/>
                  <a:pt x="6218312" y="6825069"/>
                  <a:pt x="6220808" y="6827551"/>
                </a:cubicBezTo>
                <a:cubicBezTo>
                  <a:pt x="6223277" y="6830034"/>
                  <a:pt x="6678762" y="6831297"/>
                  <a:pt x="7232987" y="6830357"/>
                </a:cubicBezTo>
                <a:lnTo>
                  <a:pt x="8240685" y="6828651"/>
                </a:lnTo>
                <a:close/>
                <a:moveTo>
                  <a:pt x="9245859" y="6821048"/>
                </a:moveTo>
                <a:cubicBezTo>
                  <a:pt x="9248991" y="6811650"/>
                  <a:pt x="8798551" y="6397182"/>
                  <a:pt x="8786431" y="6398302"/>
                </a:cubicBezTo>
                <a:cubicBezTo>
                  <a:pt x="8781618" y="6398761"/>
                  <a:pt x="8678600" y="6489710"/>
                  <a:pt x="8557504" y="6600415"/>
                </a:cubicBezTo>
                <a:cubicBezTo>
                  <a:pt x="8436409" y="6711125"/>
                  <a:pt x="8332729" y="6802736"/>
                  <a:pt x="8327127" y="6803999"/>
                </a:cubicBezTo>
                <a:cubicBezTo>
                  <a:pt x="8321067" y="6805361"/>
                  <a:pt x="8317859" y="6802423"/>
                  <a:pt x="8319209" y="6796776"/>
                </a:cubicBezTo>
                <a:cubicBezTo>
                  <a:pt x="8320482" y="6791541"/>
                  <a:pt x="8422328" y="6695280"/>
                  <a:pt x="8545563" y="6582874"/>
                </a:cubicBezTo>
                <a:cubicBezTo>
                  <a:pt x="8763999" y="6383611"/>
                  <a:pt x="8769320" y="6378137"/>
                  <a:pt x="8757786" y="6365253"/>
                </a:cubicBezTo>
                <a:cubicBezTo>
                  <a:pt x="8729371" y="6333553"/>
                  <a:pt x="8282213" y="5925708"/>
                  <a:pt x="8273683" y="5923747"/>
                </a:cubicBezTo>
                <a:cubicBezTo>
                  <a:pt x="8265663" y="5921889"/>
                  <a:pt x="8264262" y="5989235"/>
                  <a:pt x="8264262" y="6372306"/>
                </a:cubicBezTo>
                <a:cubicBezTo>
                  <a:pt x="8264262" y="6620206"/>
                  <a:pt x="8266299" y="6825076"/>
                  <a:pt x="8268794" y="6827572"/>
                </a:cubicBezTo>
                <a:cubicBezTo>
                  <a:pt x="8277121" y="6835918"/>
                  <a:pt x="9243053" y="6829468"/>
                  <a:pt x="9245859" y="6821048"/>
                </a:cubicBezTo>
                <a:close/>
                <a:moveTo>
                  <a:pt x="9420152" y="6823358"/>
                </a:moveTo>
                <a:cubicBezTo>
                  <a:pt x="9442915" y="6810077"/>
                  <a:pt x="9833913" y="6446221"/>
                  <a:pt x="9833913" y="6438328"/>
                </a:cubicBezTo>
                <a:cubicBezTo>
                  <a:pt x="9833913" y="6428144"/>
                  <a:pt x="9325175" y="5967669"/>
                  <a:pt x="9305753" y="5960259"/>
                </a:cubicBezTo>
                <a:cubicBezTo>
                  <a:pt x="9296986" y="5956924"/>
                  <a:pt x="9284910" y="5956083"/>
                  <a:pt x="9278919" y="5958375"/>
                </a:cubicBezTo>
                <a:cubicBezTo>
                  <a:pt x="9269042" y="5962169"/>
                  <a:pt x="9268026" y="6002729"/>
                  <a:pt x="9268026" y="6392803"/>
                </a:cubicBezTo>
                <a:cubicBezTo>
                  <a:pt x="9268026" y="6629429"/>
                  <a:pt x="9270048" y="6825058"/>
                  <a:pt x="9272518" y="6827528"/>
                </a:cubicBezTo>
                <a:cubicBezTo>
                  <a:pt x="9280497" y="6835508"/>
                  <a:pt x="9405374" y="6831982"/>
                  <a:pt x="9420152" y="6823360"/>
                </a:cubicBezTo>
                <a:close/>
                <a:moveTo>
                  <a:pt x="10330800" y="6426132"/>
                </a:moveTo>
                <a:cubicBezTo>
                  <a:pt x="10331755" y="6204743"/>
                  <a:pt x="10330240" y="6023633"/>
                  <a:pt x="10327432" y="6023684"/>
                </a:cubicBezTo>
                <a:cubicBezTo>
                  <a:pt x="10320911" y="6023786"/>
                  <a:pt x="9460789" y="6816890"/>
                  <a:pt x="9457762" y="6825606"/>
                </a:cubicBezTo>
                <a:cubicBezTo>
                  <a:pt x="9456318" y="6829764"/>
                  <a:pt x="9613351" y="6831490"/>
                  <a:pt x="9892281" y="6830383"/>
                </a:cubicBezTo>
                <a:lnTo>
                  <a:pt x="10329064" y="6828649"/>
                </a:lnTo>
                <a:close/>
                <a:moveTo>
                  <a:pt x="11218314" y="6394127"/>
                </a:moveTo>
                <a:lnTo>
                  <a:pt x="11218314" y="5959623"/>
                </a:lnTo>
                <a:lnTo>
                  <a:pt x="10809351" y="5957866"/>
                </a:lnTo>
                <a:lnTo>
                  <a:pt x="10400387" y="5956135"/>
                </a:lnTo>
                <a:lnTo>
                  <a:pt x="10376514" y="5977089"/>
                </a:lnTo>
                <a:lnTo>
                  <a:pt x="10352641" y="5998070"/>
                </a:lnTo>
                <a:lnTo>
                  <a:pt x="10352641" y="6410550"/>
                </a:lnTo>
                <a:cubicBezTo>
                  <a:pt x="10352641" y="6637416"/>
                  <a:pt x="10354683" y="6825079"/>
                  <a:pt x="10357181" y="6827577"/>
                </a:cubicBezTo>
                <a:cubicBezTo>
                  <a:pt x="10359679" y="6830075"/>
                  <a:pt x="10554456" y="6831337"/>
                  <a:pt x="10790017" y="6830383"/>
                </a:cubicBezTo>
                <a:lnTo>
                  <a:pt x="11218314" y="6828649"/>
                </a:lnTo>
                <a:close/>
                <a:moveTo>
                  <a:pt x="9247815" y="6378010"/>
                </a:moveTo>
                <a:cubicBezTo>
                  <a:pt x="9247815" y="6162094"/>
                  <a:pt x="9246017" y="5983633"/>
                  <a:pt x="9243822" y="5981443"/>
                </a:cubicBezTo>
                <a:cubicBezTo>
                  <a:pt x="9238236" y="5975842"/>
                  <a:pt x="8809168" y="6368945"/>
                  <a:pt x="8811434" y="6377577"/>
                </a:cubicBezTo>
                <a:cubicBezTo>
                  <a:pt x="8814362" y="6388653"/>
                  <a:pt x="9237116" y="6776681"/>
                  <a:pt x="9242763" y="6773468"/>
                </a:cubicBezTo>
                <a:cubicBezTo>
                  <a:pt x="9245541" y="6771887"/>
                  <a:pt x="9247815" y="6593932"/>
                  <a:pt x="9247815" y="6378010"/>
                </a:cubicBezTo>
                <a:close/>
                <a:moveTo>
                  <a:pt x="10088252" y="6211719"/>
                </a:moveTo>
                <a:cubicBezTo>
                  <a:pt x="10213287" y="6096556"/>
                  <a:pt x="10319719" y="5996568"/>
                  <a:pt x="10324768" y="5989489"/>
                </a:cubicBezTo>
                <a:cubicBezTo>
                  <a:pt x="10329815" y="5982436"/>
                  <a:pt x="10332186" y="5972048"/>
                  <a:pt x="10330031" y="5966447"/>
                </a:cubicBezTo>
                <a:cubicBezTo>
                  <a:pt x="10326586" y="5957458"/>
                  <a:pt x="10268022" y="5956236"/>
                  <a:pt x="9840861" y="5956236"/>
                </a:cubicBezTo>
                <a:cubicBezTo>
                  <a:pt x="9544400" y="5956236"/>
                  <a:pt x="9355604" y="5958681"/>
                  <a:pt x="9355604" y="5962551"/>
                </a:cubicBezTo>
                <a:cubicBezTo>
                  <a:pt x="9355604" y="5966014"/>
                  <a:pt x="9436697" y="6042424"/>
                  <a:pt x="9535812" y="6132380"/>
                </a:cubicBezTo>
                <a:cubicBezTo>
                  <a:pt x="9634927" y="6222337"/>
                  <a:pt x="9746974" y="6324107"/>
                  <a:pt x="9784807" y="6358506"/>
                </a:cubicBezTo>
                <a:cubicBezTo>
                  <a:pt x="9822641" y="6392930"/>
                  <a:pt x="9855244" y="6421065"/>
                  <a:pt x="9857256" y="6421065"/>
                </a:cubicBezTo>
                <a:cubicBezTo>
                  <a:pt x="9859267" y="6421065"/>
                  <a:pt x="9963217" y="6326857"/>
                  <a:pt x="10088252" y="6211719"/>
                </a:cubicBezTo>
                <a:close/>
                <a:moveTo>
                  <a:pt x="5911244" y="6181038"/>
                </a:moveTo>
                <a:cubicBezTo>
                  <a:pt x="6051233" y="6052711"/>
                  <a:pt x="6166778" y="5945109"/>
                  <a:pt x="6168000" y="5941876"/>
                </a:cubicBezTo>
                <a:cubicBezTo>
                  <a:pt x="6171132" y="5933728"/>
                  <a:pt x="5164783" y="5934466"/>
                  <a:pt x="5151874" y="5942614"/>
                </a:cubicBezTo>
                <a:cubicBezTo>
                  <a:pt x="5139372" y="5950533"/>
                  <a:pt x="5111798" y="5923009"/>
                  <a:pt x="5403029" y="6193208"/>
                </a:cubicBezTo>
                <a:cubicBezTo>
                  <a:pt x="5533520" y="6314304"/>
                  <a:pt x="5643998" y="6413579"/>
                  <a:pt x="5648505" y="6413860"/>
                </a:cubicBezTo>
                <a:cubicBezTo>
                  <a:pt x="5653037" y="6414114"/>
                  <a:pt x="5771256" y="6309339"/>
                  <a:pt x="5911244" y="6181038"/>
                </a:cubicBezTo>
                <a:close/>
                <a:moveTo>
                  <a:pt x="2770441" y="6185239"/>
                </a:moveTo>
                <a:cubicBezTo>
                  <a:pt x="2900117" y="6066664"/>
                  <a:pt x="3007235" y="5966625"/>
                  <a:pt x="3008457" y="5962958"/>
                </a:cubicBezTo>
                <a:cubicBezTo>
                  <a:pt x="3009934" y="5958528"/>
                  <a:pt x="2849856" y="5956236"/>
                  <a:pt x="2541387" y="5956236"/>
                </a:cubicBezTo>
                <a:cubicBezTo>
                  <a:pt x="2197705" y="5956236"/>
                  <a:pt x="2072739" y="5958273"/>
                  <a:pt x="2074572" y="5963798"/>
                </a:cubicBezTo>
                <a:cubicBezTo>
                  <a:pt x="2078391" y="5975256"/>
                  <a:pt x="2519592" y="6400874"/>
                  <a:pt x="2527638" y="6400849"/>
                </a:cubicBezTo>
                <a:cubicBezTo>
                  <a:pt x="2531508" y="6400823"/>
                  <a:pt x="2640764" y="6303814"/>
                  <a:pt x="2770441" y="6185239"/>
                </a:cubicBezTo>
                <a:close/>
                <a:moveTo>
                  <a:pt x="1729872" y="6181980"/>
                </a:moveTo>
                <a:cubicBezTo>
                  <a:pt x="1857537" y="6065289"/>
                  <a:pt x="1963025" y="5966752"/>
                  <a:pt x="1964247" y="5963035"/>
                </a:cubicBezTo>
                <a:cubicBezTo>
                  <a:pt x="1965775" y="5958502"/>
                  <a:pt x="1807122" y="5956236"/>
                  <a:pt x="1490456" y="5956236"/>
                </a:cubicBezTo>
                <a:cubicBezTo>
                  <a:pt x="1188657" y="5956236"/>
                  <a:pt x="1015213" y="5958604"/>
                  <a:pt x="1016638" y="5962729"/>
                </a:cubicBezTo>
                <a:cubicBezTo>
                  <a:pt x="1021094" y="5975587"/>
                  <a:pt x="1477241" y="6393134"/>
                  <a:pt x="1487375" y="6393643"/>
                </a:cubicBezTo>
                <a:cubicBezTo>
                  <a:pt x="1493078" y="6393897"/>
                  <a:pt x="1602206" y="6298671"/>
                  <a:pt x="1729872" y="6181980"/>
                </a:cubicBezTo>
                <a:close/>
                <a:moveTo>
                  <a:pt x="4862196" y="6174367"/>
                </a:moveTo>
                <a:cubicBezTo>
                  <a:pt x="4993732" y="6053755"/>
                  <a:pt x="5101358" y="5952264"/>
                  <a:pt x="5101358" y="5948852"/>
                </a:cubicBezTo>
                <a:cubicBezTo>
                  <a:pt x="5101358" y="5938108"/>
                  <a:pt x="4604829" y="5483947"/>
                  <a:pt x="4595383" y="5486035"/>
                </a:cubicBezTo>
                <a:cubicBezTo>
                  <a:pt x="4587261" y="5487843"/>
                  <a:pt x="4213992" y="5823632"/>
                  <a:pt x="4142521" y="5893397"/>
                </a:cubicBezTo>
                <a:cubicBezTo>
                  <a:pt x="4119911" y="5915447"/>
                  <a:pt x="4114768" y="5924384"/>
                  <a:pt x="4119605" y="5933015"/>
                </a:cubicBezTo>
                <a:cubicBezTo>
                  <a:pt x="4130784" y="5953003"/>
                  <a:pt x="4602538" y="6393363"/>
                  <a:pt x="4612926" y="6393516"/>
                </a:cubicBezTo>
                <a:cubicBezTo>
                  <a:pt x="4618503" y="6393618"/>
                  <a:pt x="4730661" y="6295004"/>
                  <a:pt x="4862196" y="6174367"/>
                </a:cubicBezTo>
                <a:close/>
                <a:moveTo>
                  <a:pt x="9024243" y="6146028"/>
                </a:moveTo>
                <a:cubicBezTo>
                  <a:pt x="9149061" y="6031807"/>
                  <a:pt x="9254939" y="5933779"/>
                  <a:pt x="9259530" y="5928177"/>
                </a:cubicBezTo>
                <a:cubicBezTo>
                  <a:pt x="9266616" y="5919546"/>
                  <a:pt x="9231176" y="5884689"/>
                  <a:pt x="9025083" y="5697622"/>
                </a:cubicBezTo>
                <a:cubicBezTo>
                  <a:pt x="8891562" y="5576424"/>
                  <a:pt x="8777876" y="5475570"/>
                  <a:pt x="8772478" y="5473508"/>
                </a:cubicBezTo>
                <a:cubicBezTo>
                  <a:pt x="8766800" y="5471318"/>
                  <a:pt x="8750657" y="5480484"/>
                  <a:pt x="8734082" y="5495303"/>
                </a:cubicBezTo>
                <a:cubicBezTo>
                  <a:pt x="8562291" y="5649066"/>
                  <a:pt x="8291430" y="5899610"/>
                  <a:pt x="8292805" y="5903480"/>
                </a:cubicBezTo>
                <a:cubicBezTo>
                  <a:pt x="8296726" y="5914505"/>
                  <a:pt x="8780218" y="6353719"/>
                  <a:pt x="8788442" y="6353719"/>
                </a:cubicBezTo>
                <a:cubicBezTo>
                  <a:pt x="8793305" y="6353719"/>
                  <a:pt x="8899430" y="6260275"/>
                  <a:pt x="9024243" y="6146028"/>
                </a:cubicBezTo>
                <a:close/>
                <a:moveTo>
                  <a:pt x="2011428" y="5920412"/>
                </a:moveTo>
                <a:lnTo>
                  <a:pt x="2026119" y="5904753"/>
                </a:lnTo>
                <a:lnTo>
                  <a:pt x="2024388" y="5447155"/>
                </a:lnTo>
                <a:lnTo>
                  <a:pt x="2022656" y="4989532"/>
                </a:lnTo>
                <a:lnTo>
                  <a:pt x="1500563" y="4989532"/>
                </a:lnTo>
                <a:lnTo>
                  <a:pt x="978472" y="4989532"/>
                </a:lnTo>
                <a:lnTo>
                  <a:pt x="976715" y="5454361"/>
                </a:lnTo>
                <a:cubicBezTo>
                  <a:pt x="975772" y="5710022"/>
                  <a:pt x="976434" y="5922983"/>
                  <a:pt x="978191" y="5927617"/>
                </a:cubicBezTo>
                <a:cubicBezTo>
                  <a:pt x="980737" y="5934263"/>
                  <a:pt x="1089153" y="5936045"/>
                  <a:pt x="1489080" y="5936045"/>
                </a:cubicBezTo>
                <a:lnTo>
                  <a:pt x="1996735" y="5936045"/>
                </a:lnTo>
                <a:close/>
                <a:moveTo>
                  <a:pt x="3035421" y="5929527"/>
                </a:moveTo>
                <a:cubicBezTo>
                  <a:pt x="3034173" y="5925937"/>
                  <a:pt x="2923134" y="5821264"/>
                  <a:pt x="2788672" y="5696934"/>
                </a:cubicBezTo>
                <a:cubicBezTo>
                  <a:pt x="2620599" y="5541541"/>
                  <a:pt x="2541362" y="5472489"/>
                  <a:pt x="2535226" y="5476079"/>
                </a:cubicBezTo>
                <a:cubicBezTo>
                  <a:pt x="2524353" y="5482445"/>
                  <a:pt x="2066450" y="5900399"/>
                  <a:pt x="2054865" y="5914530"/>
                </a:cubicBezTo>
                <a:cubicBezTo>
                  <a:pt x="2050358" y="5920055"/>
                  <a:pt x="2048270" y="5927134"/>
                  <a:pt x="2050231" y="5930291"/>
                </a:cubicBezTo>
                <a:cubicBezTo>
                  <a:pt x="2055298" y="5938515"/>
                  <a:pt x="3038247" y="5937751"/>
                  <a:pt x="3035421" y="5929527"/>
                </a:cubicBezTo>
                <a:close/>
                <a:moveTo>
                  <a:pt x="10318958" y="5930545"/>
                </a:moveTo>
                <a:cubicBezTo>
                  <a:pt x="10318958" y="5918960"/>
                  <a:pt x="9812614" y="5470427"/>
                  <a:pt x="9801874" y="5472489"/>
                </a:cubicBezTo>
                <a:cubicBezTo>
                  <a:pt x="9787947" y="5475188"/>
                  <a:pt x="9309608" y="5909743"/>
                  <a:pt x="9308941" y="5920335"/>
                </a:cubicBezTo>
                <a:cubicBezTo>
                  <a:pt x="9308671" y="5924638"/>
                  <a:pt x="9312235" y="5929705"/>
                  <a:pt x="9316867" y="5931589"/>
                </a:cubicBezTo>
                <a:cubicBezTo>
                  <a:pt x="9331263" y="5937395"/>
                  <a:pt x="10318958" y="5936376"/>
                  <a:pt x="10318958" y="5930545"/>
                </a:cubicBezTo>
                <a:close/>
                <a:moveTo>
                  <a:pt x="10469205" y="5859965"/>
                </a:moveTo>
                <a:cubicBezTo>
                  <a:pt x="10514400" y="5818132"/>
                  <a:pt x="10689311" y="5657112"/>
                  <a:pt x="10857898" y="5502152"/>
                </a:cubicBezTo>
                <a:cubicBezTo>
                  <a:pt x="11026485" y="5347192"/>
                  <a:pt x="11177394" y="5207204"/>
                  <a:pt x="11193252" y="5191036"/>
                </a:cubicBezTo>
                <a:lnTo>
                  <a:pt x="11222087" y="5161678"/>
                </a:lnTo>
                <a:lnTo>
                  <a:pt x="11220201" y="5075592"/>
                </a:lnTo>
                <a:lnTo>
                  <a:pt x="11218314" y="4989532"/>
                </a:lnTo>
                <a:lnTo>
                  <a:pt x="10787161" y="4989532"/>
                </a:lnTo>
                <a:lnTo>
                  <a:pt x="10356010" y="4989532"/>
                </a:lnTo>
                <a:lnTo>
                  <a:pt x="10354266" y="5454361"/>
                </a:lnTo>
                <a:cubicBezTo>
                  <a:pt x="10353306" y="5710022"/>
                  <a:pt x="10353971" y="5922983"/>
                  <a:pt x="10355738" y="5927617"/>
                </a:cubicBezTo>
                <a:cubicBezTo>
                  <a:pt x="10363791" y="5948700"/>
                  <a:pt x="10390671" y="5932684"/>
                  <a:pt x="10469203" y="5859965"/>
                </a:cubicBezTo>
                <a:close/>
                <a:moveTo>
                  <a:pt x="11220058" y="5572656"/>
                </a:moveTo>
                <a:cubicBezTo>
                  <a:pt x="11221015" y="5374640"/>
                  <a:pt x="11219498" y="5210488"/>
                  <a:pt x="11216689" y="5207866"/>
                </a:cubicBezTo>
                <a:cubicBezTo>
                  <a:pt x="11211971" y="5203487"/>
                  <a:pt x="10432932" y="5916822"/>
                  <a:pt x="10427850" y="5930189"/>
                </a:cubicBezTo>
                <a:cubicBezTo>
                  <a:pt x="10426552" y="5933626"/>
                  <a:pt x="10594367" y="5935409"/>
                  <a:pt x="10821949" y="5934416"/>
                </a:cubicBezTo>
                <a:lnTo>
                  <a:pt x="11218314" y="5932684"/>
                </a:lnTo>
                <a:close/>
                <a:moveTo>
                  <a:pt x="5127584" y="5911907"/>
                </a:moveTo>
                <a:cubicBezTo>
                  <a:pt x="5133542" y="5896376"/>
                  <a:pt x="5132600" y="4999615"/>
                  <a:pt x="5126616" y="4999793"/>
                </a:cubicBezTo>
                <a:cubicBezTo>
                  <a:pt x="5116737" y="5000124"/>
                  <a:pt x="4623034" y="5454972"/>
                  <a:pt x="4623034" y="5463756"/>
                </a:cubicBezTo>
                <a:cubicBezTo>
                  <a:pt x="4623034" y="5474068"/>
                  <a:pt x="5104159" y="5921710"/>
                  <a:pt x="5115795" y="5922220"/>
                </a:cubicBezTo>
                <a:cubicBezTo>
                  <a:pt x="5120022" y="5922398"/>
                  <a:pt x="5125318" y="5917764"/>
                  <a:pt x="5127584" y="5911907"/>
                </a:cubicBezTo>
                <a:close/>
                <a:moveTo>
                  <a:pt x="6182208" y="5910787"/>
                </a:moveTo>
                <a:cubicBezTo>
                  <a:pt x="6181469" y="5901112"/>
                  <a:pt x="5679365" y="5474577"/>
                  <a:pt x="5668722" y="5474577"/>
                </a:cubicBezTo>
                <a:cubicBezTo>
                  <a:pt x="5658104" y="5474577"/>
                  <a:pt x="5185738" y="5901086"/>
                  <a:pt x="5185611" y="5910787"/>
                </a:cubicBezTo>
                <a:cubicBezTo>
                  <a:pt x="5185585" y="5913562"/>
                  <a:pt x="5409903" y="5915829"/>
                  <a:pt x="5684075" y="5915829"/>
                </a:cubicBezTo>
                <a:cubicBezTo>
                  <a:pt x="5958272" y="5915829"/>
                  <a:pt x="6182412" y="5913562"/>
                  <a:pt x="6182208" y="5910787"/>
                </a:cubicBezTo>
                <a:close/>
                <a:moveTo>
                  <a:pt x="8250768" y="5906281"/>
                </a:moveTo>
                <a:cubicBezTo>
                  <a:pt x="8250768" y="5890443"/>
                  <a:pt x="7767123" y="5449497"/>
                  <a:pt x="7756607" y="5455736"/>
                </a:cubicBezTo>
                <a:cubicBezTo>
                  <a:pt x="7739547" y="5465869"/>
                  <a:pt x="7260485" y="5904829"/>
                  <a:pt x="7260485" y="5910329"/>
                </a:cubicBezTo>
                <a:cubicBezTo>
                  <a:pt x="7260485" y="5913359"/>
                  <a:pt x="7483301" y="5915829"/>
                  <a:pt x="7755639" y="5915829"/>
                </a:cubicBezTo>
                <a:cubicBezTo>
                  <a:pt x="8178737" y="5915829"/>
                  <a:pt x="8250768" y="5914454"/>
                  <a:pt x="8250768" y="5906281"/>
                </a:cubicBezTo>
                <a:close/>
                <a:moveTo>
                  <a:pt x="3050010" y="5457747"/>
                </a:moveTo>
                <a:cubicBezTo>
                  <a:pt x="3050010" y="5213187"/>
                  <a:pt x="3047566" y="5013109"/>
                  <a:pt x="3044561" y="5013109"/>
                </a:cubicBezTo>
                <a:cubicBezTo>
                  <a:pt x="3033333" y="5013109"/>
                  <a:pt x="2564506" y="5446977"/>
                  <a:pt x="2566391" y="5455634"/>
                </a:cubicBezTo>
                <a:cubicBezTo>
                  <a:pt x="2568427" y="5465131"/>
                  <a:pt x="3036236" y="5901468"/>
                  <a:pt x="3044969" y="5902028"/>
                </a:cubicBezTo>
                <a:cubicBezTo>
                  <a:pt x="3047744" y="5902207"/>
                  <a:pt x="3050010" y="5702281"/>
                  <a:pt x="3050010" y="5457747"/>
                </a:cubicBezTo>
                <a:close/>
                <a:moveTo>
                  <a:pt x="3575718" y="5448453"/>
                </a:moveTo>
                <a:cubicBezTo>
                  <a:pt x="3859260" y="5189101"/>
                  <a:pt x="4065728" y="4995413"/>
                  <a:pt x="4062316" y="4992002"/>
                </a:cubicBezTo>
                <a:cubicBezTo>
                  <a:pt x="4058981" y="4988666"/>
                  <a:pt x="3841538" y="4986833"/>
                  <a:pt x="3564999" y="4987800"/>
                </a:cubicBezTo>
                <a:lnTo>
                  <a:pt x="3073588" y="4989532"/>
                </a:lnTo>
                <a:lnTo>
                  <a:pt x="3071856" y="5446519"/>
                </a:lnTo>
                <a:cubicBezTo>
                  <a:pt x="3070736" y="5739990"/>
                  <a:pt x="3072468" y="5902716"/>
                  <a:pt x="3076668" y="5901264"/>
                </a:cubicBezTo>
                <a:cubicBezTo>
                  <a:pt x="3080259" y="5900017"/>
                  <a:pt x="3304856" y="5696247"/>
                  <a:pt x="3575718" y="5448453"/>
                </a:cubicBezTo>
                <a:close/>
                <a:moveTo>
                  <a:pt x="5434830" y="5649448"/>
                </a:moveTo>
                <a:cubicBezTo>
                  <a:pt x="5547829" y="5546328"/>
                  <a:pt x="5640917" y="5457187"/>
                  <a:pt x="5641656" y="5451407"/>
                </a:cubicBezTo>
                <a:cubicBezTo>
                  <a:pt x="5642496" y="5445042"/>
                  <a:pt x="5548542" y="5359821"/>
                  <a:pt x="5403512" y="5235416"/>
                </a:cubicBezTo>
                <a:cubicBezTo>
                  <a:pt x="5271774" y="5122416"/>
                  <a:pt x="5161270" y="5028946"/>
                  <a:pt x="5157934" y="5027699"/>
                </a:cubicBezTo>
                <a:cubicBezTo>
                  <a:pt x="5150856" y="5025076"/>
                  <a:pt x="5149456" y="5890952"/>
                  <a:pt x="5156534" y="5898031"/>
                </a:cubicBezTo>
                <a:cubicBezTo>
                  <a:pt x="5159105" y="5900603"/>
                  <a:pt x="5176547" y="5887923"/>
                  <a:pt x="5195286" y="5869845"/>
                </a:cubicBezTo>
                <a:cubicBezTo>
                  <a:pt x="5214026" y="5851767"/>
                  <a:pt x="5321806" y="5752594"/>
                  <a:pt x="5434830" y="5649448"/>
                </a:cubicBezTo>
                <a:close/>
                <a:moveTo>
                  <a:pt x="6429644" y="5706228"/>
                </a:moveTo>
                <a:cubicBezTo>
                  <a:pt x="6695236" y="5463298"/>
                  <a:pt x="6699997" y="5458638"/>
                  <a:pt x="6690143" y="5452476"/>
                </a:cubicBezTo>
                <a:cubicBezTo>
                  <a:pt x="6685840" y="5449777"/>
                  <a:pt x="6572612" y="5347549"/>
                  <a:pt x="6438505" y="5225307"/>
                </a:cubicBezTo>
                <a:cubicBezTo>
                  <a:pt x="6304424" y="5103040"/>
                  <a:pt x="6190712" y="5002084"/>
                  <a:pt x="6185849" y="5000939"/>
                </a:cubicBezTo>
                <a:cubicBezTo>
                  <a:pt x="6174696" y="4998316"/>
                  <a:pt x="5689167" y="5442674"/>
                  <a:pt x="5692452" y="5452502"/>
                </a:cubicBezTo>
                <a:cubicBezTo>
                  <a:pt x="5695125" y="5460548"/>
                  <a:pt x="6203494" y="5901519"/>
                  <a:pt x="6210699" y="5902028"/>
                </a:cubicBezTo>
                <a:cubicBezTo>
                  <a:pt x="6213195" y="5902207"/>
                  <a:pt x="6311706" y="5814109"/>
                  <a:pt x="6429644" y="5706228"/>
                </a:cubicBezTo>
                <a:close/>
                <a:moveTo>
                  <a:pt x="9537663" y="5677405"/>
                </a:moveTo>
                <a:cubicBezTo>
                  <a:pt x="9671296" y="5555520"/>
                  <a:pt x="9779738" y="5451840"/>
                  <a:pt x="9778643" y="5446977"/>
                </a:cubicBezTo>
                <a:cubicBezTo>
                  <a:pt x="9776466" y="5437352"/>
                  <a:pt x="9290921" y="4999436"/>
                  <a:pt x="9283000" y="4999971"/>
                </a:cubicBezTo>
                <a:cubicBezTo>
                  <a:pt x="9275833" y="5000429"/>
                  <a:pt x="8794477" y="5439618"/>
                  <a:pt x="8791701" y="5448199"/>
                </a:cubicBezTo>
                <a:cubicBezTo>
                  <a:pt x="8788926" y="5456754"/>
                  <a:pt x="9279940" y="5904014"/>
                  <a:pt x="9288760" y="5901010"/>
                </a:cubicBezTo>
                <a:cubicBezTo>
                  <a:pt x="9292021" y="5899915"/>
                  <a:pt x="9404027" y="5799265"/>
                  <a:pt x="9537663" y="5677405"/>
                </a:cubicBezTo>
                <a:close/>
                <a:moveTo>
                  <a:pt x="10332432" y="5443870"/>
                </a:moveTo>
                <a:cubicBezTo>
                  <a:pt x="10332432" y="5136777"/>
                  <a:pt x="10330202" y="4992893"/>
                  <a:pt x="10325441" y="4992893"/>
                </a:cubicBezTo>
                <a:cubicBezTo>
                  <a:pt x="10313965" y="4992893"/>
                  <a:pt x="9830544" y="5438014"/>
                  <a:pt x="9830544" y="5448581"/>
                </a:cubicBezTo>
                <a:cubicBezTo>
                  <a:pt x="9830544" y="5459784"/>
                  <a:pt x="10319763" y="5902054"/>
                  <a:pt x="10327378" y="5897700"/>
                </a:cubicBezTo>
                <a:cubicBezTo>
                  <a:pt x="10330159" y="5896121"/>
                  <a:pt x="10332432" y="5691893"/>
                  <a:pt x="10332432" y="5443870"/>
                </a:cubicBezTo>
                <a:close/>
                <a:moveTo>
                  <a:pt x="2275719" y="5682828"/>
                </a:moveTo>
                <a:cubicBezTo>
                  <a:pt x="2395899" y="5573190"/>
                  <a:pt x="2506352" y="5471700"/>
                  <a:pt x="2521171" y="5457263"/>
                </a:cubicBezTo>
                <a:cubicBezTo>
                  <a:pt x="2535989" y="5442852"/>
                  <a:pt x="2654998" y="5333749"/>
                  <a:pt x="2785591" y="5214817"/>
                </a:cubicBezTo>
                <a:cubicBezTo>
                  <a:pt x="2916209" y="5095885"/>
                  <a:pt x="3023072" y="4995744"/>
                  <a:pt x="3023072" y="4992333"/>
                </a:cubicBezTo>
                <a:cubicBezTo>
                  <a:pt x="3023072" y="4988513"/>
                  <a:pt x="2832084" y="4986756"/>
                  <a:pt x="2536346" y="4987800"/>
                </a:cubicBezTo>
                <a:lnTo>
                  <a:pt x="2049594" y="4989532"/>
                </a:lnTo>
                <a:lnTo>
                  <a:pt x="2047863" y="5435850"/>
                </a:lnTo>
                <a:cubicBezTo>
                  <a:pt x="2046921" y="5681301"/>
                  <a:pt x="2048627" y="5882143"/>
                  <a:pt x="2051682" y="5882143"/>
                </a:cubicBezTo>
                <a:cubicBezTo>
                  <a:pt x="2054738" y="5882143"/>
                  <a:pt x="2155566" y="5792441"/>
                  <a:pt x="2275719" y="5682828"/>
                </a:cubicBezTo>
                <a:close/>
                <a:moveTo>
                  <a:pt x="4347845" y="5677252"/>
                </a:moveTo>
                <a:cubicBezTo>
                  <a:pt x="4469552" y="5566418"/>
                  <a:pt x="4571271" y="5472209"/>
                  <a:pt x="4573868" y="5467906"/>
                </a:cubicBezTo>
                <a:cubicBezTo>
                  <a:pt x="4576796" y="5463068"/>
                  <a:pt x="4492518" y="5380776"/>
                  <a:pt x="4352479" y="5251762"/>
                </a:cubicBezTo>
                <a:cubicBezTo>
                  <a:pt x="4228124" y="5137184"/>
                  <a:pt x="4123679" y="5042416"/>
                  <a:pt x="4120395" y="5041168"/>
                </a:cubicBezTo>
                <a:cubicBezTo>
                  <a:pt x="4116958" y="5039895"/>
                  <a:pt x="4114412" y="5218636"/>
                  <a:pt x="4114412" y="5461108"/>
                </a:cubicBezTo>
                <a:cubicBezTo>
                  <a:pt x="4114412" y="5708545"/>
                  <a:pt x="4116932" y="5882346"/>
                  <a:pt x="4120472" y="5881022"/>
                </a:cubicBezTo>
                <a:cubicBezTo>
                  <a:pt x="4123807" y="5879800"/>
                  <a:pt x="4226138" y="5788087"/>
                  <a:pt x="4347845" y="5677252"/>
                </a:cubicBezTo>
                <a:close/>
                <a:moveTo>
                  <a:pt x="8391189" y="5779099"/>
                </a:moveTo>
                <a:cubicBezTo>
                  <a:pt x="8452908" y="5722422"/>
                  <a:pt x="8556461" y="5627882"/>
                  <a:pt x="8621286" y="5569040"/>
                </a:cubicBezTo>
                <a:cubicBezTo>
                  <a:pt x="8686137" y="5510173"/>
                  <a:pt x="8741313" y="5458562"/>
                  <a:pt x="8743910" y="5454361"/>
                </a:cubicBezTo>
                <a:cubicBezTo>
                  <a:pt x="8746761" y="5449676"/>
                  <a:pt x="8660217" y="5366543"/>
                  <a:pt x="8521578" y="5240788"/>
                </a:cubicBezTo>
                <a:cubicBezTo>
                  <a:pt x="8396714" y="5127534"/>
                  <a:pt x="8286261" y="5026578"/>
                  <a:pt x="8276102" y="5016419"/>
                </a:cubicBezTo>
                <a:lnTo>
                  <a:pt x="8257668" y="4997934"/>
                </a:lnTo>
                <a:lnTo>
                  <a:pt x="8228947" y="5023676"/>
                </a:lnTo>
                <a:cubicBezTo>
                  <a:pt x="8000887" y="5228261"/>
                  <a:pt x="7785913" y="5428772"/>
                  <a:pt x="7787416" y="5435494"/>
                </a:cubicBezTo>
                <a:cubicBezTo>
                  <a:pt x="7789707" y="5445856"/>
                  <a:pt x="8263728" y="5882143"/>
                  <a:pt x="8272665" y="5882143"/>
                </a:cubicBezTo>
                <a:cubicBezTo>
                  <a:pt x="8276128" y="5882143"/>
                  <a:pt x="8329470" y="5835777"/>
                  <a:pt x="8391189" y="5779099"/>
                </a:cubicBezTo>
                <a:close/>
                <a:moveTo>
                  <a:pt x="4843941" y="5224976"/>
                </a:moveTo>
                <a:cubicBezTo>
                  <a:pt x="4976239" y="5104364"/>
                  <a:pt x="5084502" y="5002797"/>
                  <a:pt x="5084502" y="4999284"/>
                </a:cubicBezTo>
                <a:cubicBezTo>
                  <a:pt x="5084502" y="4995311"/>
                  <a:pt x="4901713" y="4992893"/>
                  <a:pt x="4602334" y="4992893"/>
                </a:cubicBezTo>
                <a:cubicBezTo>
                  <a:pt x="4180637" y="4992893"/>
                  <a:pt x="4120446" y="4994140"/>
                  <a:pt x="4122355" y="5002848"/>
                </a:cubicBezTo>
                <a:cubicBezTo>
                  <a:pt x="4124851" y="5014332"/>
                  <a:pt x="4585835" y="5443208"/>
                  <a:pt x="4596351" y="5443845"/>
                </a:cubicBezTo>
                <a:cubicBezTo>
                  <a:pt x="4600195" y="5444074"/>
                  <a:pt x="4711616" y="5345588"/>
                  <a:pt x="4843941" y="5224976"/>
                </a:cubicBezTo>
                <a:close/>
                <a:moveTo>
                  <a:pt x="6959248" y="5220622"/>
                </a:moveTo>
                <a:cubicBezTo>
                  <a:pt x="7093431" y="5097617"/>
                  <a:pt x="7204139" y="4994802"/>
                  <a:pt x="7205259" y="4992180"/>
                </a:cubicBezTo>
                <a:cubicBezTo>
                  <a:pt x="7206379" y="4989557"/>
                  <a:pt x="7204113" y="4985432"/>
                  <a:pt x="7200192" y="4983013"/>
                </a:cubicBezTo>
                <a:cubicBezTo>
                  <a:pt x="7196296" y="4980594"/>
                  <a:pt x="7193114" y="4966998"/>
                  <a:pt x="7193114" y="4952765"/>
                </a:cubicBezTo>
                <a:cubicBezTo>
                  <a:pt x="7193114" y="4929798"/>
                  <a:pt x="7188378" y="4922364"/>
                  <a:pt x="7151000" y="4886692"/>
                </a:cubicBezTo>
                <a:cubicBezTo>
                  <a:pt x="7058116" y="4798009"/>
                  <a:pt x="6737858" y="4505963"/>
                  <a:pt x="6730296" y="4503035"/>
                </a:cubicBezTo>
                <a:cubicBezTo>
                  <a:pt x="6725840" y="4501329"/>
                  <a:pt x="6609150" y="4603634"/>
                  <a:pt x="6470944" y="4730357"/>
                </a:cubicBezTo>
                <a:cubicBezTo>
                  <a:pt x="6235856" y="4945916"/>
                  <a:pt x="6219764" y="4962135"/>
                  <a:pt x="6221546" y="4981537"/>
                </a:cubicBezTo>
                <a:cubicBezTo>
                  <a:pt x="6222590" y="4992943"/>
                  <a:pt x="6224092" y="5002670"/>
                  <a:pt x="6224907" y="5003128"/>
                </a:cubicBezTo>
                <a:cubicBezTo>
                  <a:pt x="6232393" y="5007406"/>
                  <a:pt x="6698520" y="5434602"/>
                  <a:pt x="6700201" y="5438752"/>
                </a:cubicBezTo>
                <a:cubicBezTo>
                  <a:pt x="6701448" y="5441783"/>
                  <a:pt x="6705344" y="5444252"/>
                  <a:pt x="6708858" y="5444252"/>
                </a:cubicBezTo>
                <a:cubicBezTo>
                  <a:pt x="6712397" y="5444252"/>
                  <a:pt x="6825065" y="5343628"/>
                  <a:pt x="6959248" y="5220622"/>
                </a:cubicBezTo>
                <a:close/>
                <a:moveTo>
                  <a:pt x="5906381" y="5218356"/>
                </a:moveTo>
                <a:cubicBezTo>
                  <a:pt x="6034224" y="5101512"/>
                  <a:pt x="6139814" y="5003001"/>
                  <a:pt x="6141062" y="4999411"/>
                </a:cubicBezTo>
                <a:cubicBezTo>
                  <a:pt x="6142487" y="4995261"/>
                  <a:pt x="5966216" y="4992893"/>
                  <a:pt x="5653775" y="4992893"/>
                </a:cubicBezTo>
                <a:cubicBezTo>
                  <a:pt x="5327815" y="4992893"/>
                  <a:pt x="5164987" y="4995159"/>
                  <a:pt x="5166489" y="4999691"/>
                </a:cubicBezTo>
                <a:cubicBezTo>
                  <a:pt x="5169698" y="5009341"/>
                  <a:pt x="5659097" y="5430528"/>
                  <a:pt x="5667245" y="5430656"/>
                </a:cubicBezTo>
                <a:cubicBezTo>
                  <a:pt x="5670936" y="5430707"/>
                  <a:pt x="5778563" y="5335174"/>
                  <a:pt x="5906381" y="5218356"/>
                </a:cubicBezTo>
                <a:close/>
                <a:moveTo>
                  <a:pt x="9012251" y="5214155"/>
                </a:moveTo>
                <a:cubicBezTo>
                  <a:pt x="9143658" y="5095019"/>
                  <a:pt x="9252194" y="4994980"/>
                  <a:pt x="9253429" y="4991849"/>
                </a:cubicBezTo>
                <a:cubicBezTo>
                  <a:pt x="9254664" y="4988717"/>
                  <a:pt x="9036900" y="4986171"/>
                  <a:pt x="8769499" y="4986171"/>
                </a:cubicBezTo>
                <a:cubicBezTo>
                  <a:pt x="8423932" y="4986171"/>
                  <a:pt x="8284046" y="4988259"/>
                  <a:pt x="8285777" y="4993453"/>
                </a:cubicBezTo>
                <a:cubicBezTo>
                  <a:pt x="8289189" y="5003714"/>
                  <a:pt x="8757888" y="5429815"/>
                  <a:pt x="8766341" y="5430350"/>
                </a:cubicBezTo>
                <a:cubicBezTo>
                  <a:pt x="8770161" y="5430605"/>
                  <a:pt x="8880817" y="5333316"/>
                  <a:pt x="9012251" y="5214155"/>
                </a:cubicBezTo>
                <a:close/>
                <a:moveTo>
                  <a:pt x="10058892" y="5201984"/>
                </a:moveTo>
                <a:cubicBezTo>
                  <a:pt x="10194756" y="5077986"/>
                  <a:pt x="10305061" y="4972905"/>
                  <a:pt x="10304017" y="4968475"/>
                </a:cubicBezTo>
                <a:cubicBezTo>
                  <a:pt x="10302971" y="4964045"/>
                  <a:pt x="10203591" y="4870346"/>
                  <a:pt x="10083172" y="4760249"/>
                </a:cubicBezTo>
                <a:cubicBezTo>
                  <a:pt x="9962751" y="4650153"/>
                  <a:pt x="9853190" y="4549554"/>
                  <a:pt x="9839700" y="4536695"/>
                </a:cubicBezTo>
                <a:lnTo>
                  <a:pt x="9815170" y="4513296"/>
                </a:lnTo>
                <a:lnTo>
                  <a:pt x="9561488" y="4743877"/>
                </a:lnTo>
                <a:cubicBezTo>
                  <a:pt x="9421963" y="4870728"/>
                  <a:pt x="9308706" y="4978634"/>
                  <a:pt x="9309809" y="4983701"/>
                </a:cubicBezTo>
                <a:cubicBezTo>
                  <a:pt x="9312551" y="4996330"/>
                  <a:pt x="9794972" y="5430452"/>
                  <a:pt x="9804364" y="5428772"/>
                </a:cubicBezTo>
                <a:cubicBezTo>
                  <a:pt x="9808492" y="5428033"/>
                  <a:pt x="9923029" y="5325983"/>
                  <a:pt x="10058892" y="5201984"/>
                </a:cubicBezTo>
                <a:close/>
                <a:moveTo>
                  <a:pt x="8000836" y="5202366"/>
                </a:moveTo>
                <a:cubicBezTo>
                  <a:pt x="8126642" y="5087865"/>
                  <a:pt x="8227776" y="4992358"/>
                  <a:pt x="8225586" y="4990168"/>
                </a:cubicBezTo>
                <a:cubicBezTo>
                  <a:pt x="8219068" y="4983625"/>
                  <a:pt x="7299544" y="4985560"/>
                  <a:pt x="7302014" y="4992103"/>
                </a:cubicBezTo>
                <a:cubicBezTo>
                  <a:pt x="7306749" y="5004554"/>
                  <a:pt x="7753577" y="5410567"/>
                  <a:pt x="7762590" y="5410567"/>
                </a:cubicBezTo>
                <a:cubicBezTo>
                  <a:pt x="7767810" y="5410567"/>
                  <a:pt x="7875004" y="5316893"/>
                  <a:pt x="8000836" y="5202366"/>
                </a:cubicBezTo>
                <a:close/>
                <a:moveTo>
                  <a:pt x="5123586" y="4964605"/>
                </a:moveTo>
                <a:cubicBezTo>
                  <a:pt x="5129697" y="4958469"/>
                  <a:pt x="5131658" y="4848295"/>
                  <a:pt x="5131658" y="4509884"/>
                </a:cubicBezTo>
                <a:cubicBezTo>
                  <a:pt x="5131658" y="4264230"/>
                  <a:pt x="5129366" y="4063235"/>
                  <a:pt x="5126565" y="4063235"/>
                </a:cubicBezTo>
                <a:cubicBezTo>
                  <a:pt x="5117654" y="4063235"/>
                  <a:pt x="4650253" y="4493639"/>
                  <a:pt x="4643964" y="4507618"/>
                </a:cubicBezTo>
                <a:cubicBezTo>
                  <a:pt x="4640654" y="4515002"/>
                  <a:pt x="4631844" y="4522971"/>
                  <a:pt x="4624384" y="4525339"/>
                </a:cubicBezTo>
                <a:cubicBezTo>
                  <a:pt x="4608547" y="4530355"/>
                  <a:pt x="4141375" y="4956890"/>
                  <a:pt x="4141375" y="4966336"/>
                </a:cubicBezTo>
                <a:cubicBezTo>
                  <a:pt x="4141375" y="4976470"/>
                  <a:pt x="5113402" y="4974789"/>
                  <a:pt x="5123586" y="4964605"/>
                </a:cubicBezTo>
                <a:close/>
                <a:moveTo>
                  <a:pt x="6148904" y="4966871"/>
                </a:moveTo>
                <a:cubicBezTo>
                  <a:pt x="6148904" y="4959869"/>
                  <a:pt x="5664495" y="4517955"/>
                  <a:pt x="5656805" y="4517955"/>
                </a:cubicBezTo>
                <a:cubicBezTo>
                  <a:pt x="5648938" y="4517955"/>
                  <a:pt x="5165343" y="4959411"/>
                  <a:pt x="5165343" y="4966616"/>
                </a:cubicBezTo>
                <a:cubicBezTo>
                  <a:pt x="5165343" y="4970181"/>
                  <a:pt x="5369266" y="4972701"/>
                  <a:pt x="5657136" y="4972701"/>
                </a:cubicBezTo>
                <a:cubicBezTo>
                  <a:pt x="5928253" y="4972701"/>
                  <a:pt x="6148904" y="4970079"/>
                  <a:pt x="6148904" y="4966871"/>
                </a:cubicBezTo>
                <a:close/>
                <a:moveTo>
                  <a:pt x="4032451" y="4960200"/>
                </a:moveTo>
                <a:cubicBezTo>
                  <a:pt x="4028300" y="4949582"/>
                  <a:pt x="3576023" y="4534811"/>
                  <a:pt x="3568614" y="4534811"/>
                </a:cubicBezTo>
                <a:cubicBezTo>
                  <a:pt x="3559372" y="4534811"/>
                  <a:pt x="3103913" y="4951314"/>
                  <a:pt x="3103913" y="4959767"/>
                </a:cubicBezTo>
                <a:cubicBezTo>
                  <a:pt x="3103913" y="4963459"/>
                  <a:pt x="3290674" y="4965954"/>
                  <a:pt x="3569302" y="4965954"/>
                </a:cubicBezTo>
                <a:cubicBezTo>
                  <a:pt x="3825268" y="4965954"/>
                  <a:pt x="4033698" y="4963357"/>
                  <a:pt x="4032451" y="4960200"/>
                </a:cubicBezTo>
                <a:close/>
                <a:moveTo>
                  <a:pt x="4133049" y="4937310"/>
                </a:moveTo>
                <a:cubicBezTo>
                  <a:pt x="4251446" y="4835285"/>
                  <a:pt x="4599559" y="4510266"/>
                  <a:pt x="4598005" y="4503239"/>
                </a:cubicBezTo>
                <a:cubicBezTo>
                  <a:pt x="4595663" y="4492774"/>
                  <a:pt x="4110007" y="4043018"/>
                  <a:pt x="4101069" y="4043018"/>
                </a:cubicBezTo>
                <a:cubicBezTo>
                  <a:pt x="4082635" y="4043018"/>
                  <a:pt x="4080904" y="4082662"/>
                  <a:pt x="4080726" y="4512303"/>
                </a:cubicBezTo>
                <a:cubicBezTo>
                  <a:pt x="4080624" y="4756252"/>
                  <a:pt x="4080573" y="4958112"/>
                  <a:pt x="4080624" y="4960913"/>
                </a:cubicBezTo>
                <a:cubicBezTo>
                  <a:pt x="4080853" y="4973389"/>
                  <a:pt x="4102521" y="4963637"/>
                  <a:pt x="4133049" y="4937310"/>
                </a:cubicBezTo>
                <a:close/>
                <a:moveTo>
                  <a:pt x="7226800" y="4959207"/>
                </a:moveTo>
                <a:cubicBezTo>
                  <a:pt x="7226800" y="4955515"/>
                  <a:pt x="7223592" y="4952485"/>
                  <a:pt x="7219670" y="4952485"/>
                </a:cubicBezTo>
                <a:cubicBezTo>
                  <a:pt x="7215724" y="4952485"/>
                  <a:pt x="7214400" y="4955515"/>
                  <a:pt x="7216691" y="4959207"/>
                </a:cubicBezTo>
                <a:cubicBezTo>
                  <a:pt x="7218983" y="4962924"/>
                  <a:pt x="7222191" y="4965954"/>
                  <a:pt x="7223821" y="4965954"/>
                </a:cubicBezTo>
                <a:cubicBezTo>
                  <a:pt x="7225450" y="4965954"/>
                  <a:pt x="7226800" y="4962924"/>
                  <a:pt x="7226800" y="4959207"/>
                </a:cubicBezTo>
                <a:close/>
                <a:moveTo>
                  <a:pt x="8235669" y="4526383"/>
                </a:moveTo>
                <a:cubicBezTo>
                  <a:pt x="8236840" y="4231766"/>
                  <a:pt x="8235159" y="4090173"/>
                  <a:pt x="8230500" y="4090173"/>
                </a:cubicBezTo>
                <a:cubicBezTo>
                  <a:pt x="8221843" y="4090173"/>
                  <a:pt x="7280676" y="4952307"/>
                  <a:pt x="7280676" y="4960225"/>
                </a:cubicBezTo>
                <a:cubicBezTo>
                  <a:pt x="7280676" y="4963459"/>
                  <a:pt x="7493587" y="4965267"/>
                  <a:pt x="7757320" y="4964325"/>
                </a:cubicBezTo>
                <a:lnTo>
                  <a:pt x="8233938" y="4962593"/>
                </a:lnTo>
                <a:close/>
                <a:moveTo>
                  <a:pt x="9239955" y="4960225"/>
                </a:moveTo>
                <a:cubicBezTo>
                  <a:pt x="9237434" y="4953783"/>
                  <a:pt x="8786125" y="4547618"/>
                  <a:pt x="8773165" y="4540107"/>
                </a:cubicBezTo>
                <a:cubicBezTo>
                  <a:pt x="8764865" y="4535295"/>
                  <a:pt x="8304670" y="4947698"/>
                  <a:pt x="8304670" y="4959971"/>
                </a:cubicBezTo>
                <a:cubicBezTo>
                  <a:pt x="8304670" y="4963408"/>
                  <a:pt x="8504442" y="4965954"/>
                  <a:pt x="8773445" y="4965954"/>
                </a:cubicBezTo>
                <a:cubicBezTo>
                  <a:pt x="9031258" y="4965954"/>
                  <a:pt x="9241192" y="4963382"/>
                  <a:pt x="9239955" y="4960225"/>
                </a:cubicBezTo>
                <a:close/>
                <a:moveTo>
                  <a:pt x="11220216" y="4890995"/>
                </a:moveTo>
                <a:lnTo>
                  <a:pt x="11222118" y="4819422"/>
                </a:lnTo>
                <a:lnTo>
                  <a:pt x="11048428" y="4660184"/>
                </a:lnTo>
                <a:cubicBezTo>
                  <a:pt x="10952899" y="4572622"/>
                  <a:pt x="10858064" y="4484702"/>
                  <a:pt x="10837687" y="4464817"/>
                </a:cubicBezTo>
                <a:cubicBezTo>
                  <a:pt x="10755130" y="4384281"/>
                  <a:pt x="10361202" y="4024253"/>
                  <a:pt x="10347758" y="4017073"/>
                </a:cubicBezTo>
                <a:cubicBezTo>
                  <a:pt x="10337270" y="4011446"/>
                  <a:pt x="10197766" y="4009332"/>
                  <a:pt x="9838203" y="4009332"/>
                </a:cubicBezTo>
                <a:cubicBezTo>
                  <a:pt x="9387159" y="4009332"/>
                  <a:pt x="9342102" y="4010325"/>
                  <a:pt x="9331981" y="4020459"/>
                </a:cubicBezTo>
                <a:cubicBezTo>
                  <a:pt x="9321656" y="4030771"/>
                  <a:pt x="9321980" y="4032630"/>
                  <a:pt x="9336551" y="4046583"/>
                </a:cubicBezTo>
                <a:cubicBezTo>
                  <a:pt x="9345178" y="4054858"/>
                  <a:pt x="9449242" y="4150212"/>
                  <a:pt x="9567810" y="4258501"/>
                </a:cubicBezTo>
                <a:cubicBezTo>
                  <a:pt x="9686377" y="4366815"/>
                  <a:pt x="9798544" y="4469400"/>
                  <a:pt x="9817070" y="4486510"/>
                </a:cubicBezTo>
                <a:cubicBezTo>
                  <a:pt x="9835596" y="4503621"/>
                  <a:pt x="9960653" y="4618529"/>
                  <a:pt x="10094974" y="4741840"/>
                </a:cubicBezTo>
                <a:lnTo>
                  <a:pt x="10339195" y="4966056"/>
                </a:lnTo>
                <a:lnTo>
                  <a:pt x="10778753" y="4964325"/>
                </a:lnTo>
                <a:lnTo>
                  <a:pt x="11218311" y="4962593"/>
                </a:lnTo>
                <a:close/>
                <a:moveTo>
                  <a:pt x="6448817" y="4721827"/>
                </a:moveTo>
                <a:cubicBezTo>
                  <a:pt x="6591428" y="4591285"/>
                  <a:pt x="6707355" y="4482386"/>
                  <a:pt x="6706413" y="4479839"/>
                </a:cubicBezTo>
                <a:cubicBezTo>
                  <a:pt x="6705471" y="4477293"/>
                  <a:pt x="6592523" y="4372213"/>
                  <a:pt x="6455437" y="4246305"/>
                </a:cubicBezTo>
                <a:cubicBezTo>
                  <a:pt x="6265697" y="4072044"/>
                  <a:pt x="6203774" y="4018804"/>
                  <a:pt x="6196084" y="4023285"/>
                </a:cubicBezTo>
                <a:cubicBezTo>
                  <a:pt x="6175562" y="4035252"/>
                  <a:pt x="5680714" y="4491628"/>
                  <a:pt x="5680714" y="4498579"/>
                </a:cubicBezTo>
                <a:cubicBezTo>
                  <a:pt x="5680714" y="4506727"/>
                  <a:pt x="6174900" y="4959207"/>
                  <a:pt x="6183786" y="4959207"/>
                </a:cubicBezTo>
                <a:cubicBezTo>
                  <a:pt x="6186944" y="4959207"/>
                  <a:pt x="6306206" y="4852395"/>
                  <a:pt x="6448817" y="4721827"/>
                </a:cubicBezTo>
                <a:close/>
                <a:moveTo>
                  <a:pt x="9288235" y="4514595"/>
                </a:moveTo>
                <a:cubicBezTo>
                  <a:pt x="9288235" y="4240677"/>
                  <a:pt x="9285796" y="4069956"/>
                  <a:pt x="9281885" y="4069956"/>
                </a:cubicBezTo>
                <a:cubicBezTo>
                  <a:pt x="9271436" y="4069956"/>
                  <a:pt x="8793076" y="4508815"/>
                  <a:pt x="8793076" y="4518414"/>
                </a:cubicBezTo>
                <a:cubicBezTo>
                  <a:pt x="8793076" y="4528878"/>
                  <a:pt x="9267550" y="4958163"/>
                  <a:pt x="9279815" y="4958800"/>
                </a:cubicBezTo>
                <a:cubicBezTo>
                  <a:pt x="9286471" y="4959131"/>
                  <a:pt x="9288235" y="4866017"/>
                  <a:pt x="9288235" y="4514595"/>
                </a:cubicBezTo>
                <a:close/>
                <a:moveTo>
                  <a:pt x="8368935" y="4867163"/>
                </a:moveTo>
                <a:cubicBezTo>
                  <a:pt x="8420673" y="4820237"/>
                  <a:pt x="8543322" y="4708536"/>
                  <a:pt x="8641503" y="4618937"/>
                </a:cubicBezTo>
                <a:cubicBezTo>
                  <a:pt x="8739709" y="4529337"/>
                  <a:pt x="8923873" y="4361468"/>
                  <a:pt x="9050767" y="4245872"/>
                </a:cubicBezTo>
                <a:cubicBezTo>
                  <a:pt x="9177670" y="4130250"/>
                  <a:pt x="9281500" y="4033139"/>
                  <a:pt x="9281500" y="4030058"/>
                </a:cubicBezTo>
                <a:cubicBezTo>
                  <a:pt x="9281500" y="4023413"/>
                  <a:pt x="8804254" y="3584911"/>
                  <a:pt x="8791854" y="3580150"/>
                </a:cubicBezTo>
                <a:cubicBezTo>
                  <a:pt x="8784776" y="3577425"/>
                  <a:pt x="8340775" y="3976028"/>
                  <a:pt x="8282773" y="4037162"/>
                </a:cubicBezTo>
                <a:lnTo>
                  <a:pt x="8264262" y="4056717"/>
                </a:lnTo>
                <a:lnTo>
                  <a:pt x="8264262" y="4504588"/>
                </a:lnTo>
                <a:cubicBezTo>
                  <a:pt x="8264262" y="4750930"/>
                  <a:pt x="8266656" y="4952485"/>
                  <a:pt x="8269584" y="4952485"/>
                </a:cubicBezTo>
                <a:cubicBezTo>
                  <a:pt x="8272512" y="4952485"/>
                  <a:pt x="8317223" y="4914089"/>
                  <a:pt x="8368935" y="4867163"/>
                </a:cubicBezTo>
                <a:close/>
                <a:moveTo>
                  <a:pt x="4060535" y="4517242"/>
                </a:moveTo>
                <a:cubicBezTo>
                  <a:pt x="4060535" y="4142064"/>
                  <a:pt x="4059287" y="4089206"/>
                  <a:pt x="4050579" y="4092541"/>
                </a:cubicBezTo>
                <a:cubicBezTo>
                  <a:pt x="4034130" y="4098856"/>
                  <a:pt x="3588373" y="4509477"/>
                  <a:pt x="3590638" y="4516249"/>
                </a:cubicBezTo>
                <a:cubicBezTo>
                  <a:pt x="3593363" y="4524499"/>
                  <a:pt x="4048924" y="4945127"/>
                  <a:pt x="4055468" y="4945483"/>
                </a:cubicBezTo>
                <a:cubicBezTo>
                  <a:pt x="4058243" y="4945636"/>
                  <a:pt x="4060535" y="4752916"/>
                  <a:pt x="4060535" y="4517242"/>
                </a:cubicBezTo>
                <a:close/>
                <a:moveTo>
                  <a:pt x="7501964" y="4722897"/>
                </a:moveTo>
                <a:cubicBezTo>
                  <a:pt x="7635918" y="4600324"/>
                  <a:pt x="7745531" y="4496313"/>
                  <a:pt x="7745531" y="4491730"/>
                </a:cubicBezTo>
                <a:cubicBezTo>
                  <a:pt x="7745531" y="4481952"/>
                  <a:pt x="7258245" y="4033877"/>
                  <a:pt x="7244317" y="4030847"/>
                </a:cubicBezTo>
                <a:cubicBezTo>
                  <a:pt x="7239098" y="4029727"/>
                  <a:pt x="7229982" y="4035711"/>
                  <a:pt x="7224075" y="4044138"/>
                </a:cubicBezTo>
                <a:cubicBezTo>
                  <a:pt x="7214501" y="4057811"/>
                  <a:pt x="7213331" y="4106469"/>
                  <a:pt x="7213331" y="4486077"/>
                </a:cubicBezTo>
                <a:lnTo>
                  <a:pt x="7213331" y="4912663"/>
                </a:lnTo>
                <a:lnTo>
                  <a:pt x="7229855" y="4929213"/>
                </a:lnTo>
                <a:cubicBezTo>
                  <a:pt x="7238945" y="4938303"/>
                  <a:pt x="7249104" y="4945738"/>
                  <a:pt x="7252414" y="4945738"/>
                </a:cubicBezTo>
                <a:cubicBezTo>
                  <a:pt x="7255699" y="4945738"/>
                  <a:pt x="7368010" y="4845469"/>
                  <a:pt x="7501964" y="4722897"/>
                </a:cubicBezTo>
                <a:close/>
                <a:moveTo>
                  <a:pt x="9652019" y="4633246"/>
                </a:moveTo>
                <a:cubicBezTo>
                  <a:pt x="9727977" y="4564117"/>
                  <a:pt x="9791050" y="4504868"/>
                  <a:pt x="9792181" y="4501533"/>
                </a:cubicBezTo>
                <a:cubicBezTo>
                  <a:pt x="9794134" y="4495804"/>
                  <a:pt x="9320442" y="4056487"/>
                  <a:pt x="9312314" y="4056487"/>
                </a:cubicBezTo>
                <a:cubicBezTo>
                  <a:pt x="9307026" y="4056487"/>
                  <a:pt x="9307380" y="4928958"/>
                  <a:pt x="9312671" y="4934254"/>
                </a:cubicBezTo>
                <a:cubicBezTo>
                  <a:pt x="9314993" y="4936571"/>
                  <a:pt x="9361226" y="4898073"/>
                  <a:pt x="9415406" y="4848677"/>
                </a:cubicBezTo>
                <a:cubicBezTo>
                  <a:pt x="9469589" y="4799307"/>
                  <a:pt x="9576067" y="4702349"/>
                  <a:pt x="9652022" y="4633246"/>
                </a:cubicBezTo>
                <a:close/>
                <a:moveTo>
                  <a:pt x="5399515" y="4719001"/>
                </a:moveTo>
                <a:cubicBezTo>
                  <a:pt x="5528224" y="4601699"/>
                  <a:pt x="5634475" y="4503442"/>
                  <a:pt x="5635596" y="4500667"/>
                </a:cubicBezTo>
                <a:cubicBezTo>
                  <a:pt x="5638014" y="4494683"/>
                  <a:pt x="5166897" y="4063235"/>
                  <a:pt x="5157960" y="4063235"/>
                </a:cubicBezTo>
                <a:cubicBezTo>
                  <a:pt x="5154395" y="4063235"/>
                  <a:pt x="5151874" y="4243402"/>
                  <a:pt x="5151874" y="4497739"/>
                </a:cubicBezTo>
                <a:cubicBezTo>
                  <a:pt x="5151874" y="4785634"/>
                  <a:pt x="5154166" y="4932268"/>
                  <a:pt x="5158673" y="4932268"/>
                </a:cubicBezTo>
                <a:cubicBezTo>
                  <a:pt x="5162415" y="4932268"/>
                  <a:pt x="5270806" y="4836303"/>
                  <a:pt x="5399515" y="4719001"/>
                </a:cubicBezTo>
                <a:close/>
                <a:moveTo>
                  <a:pt x="7193114" y="4480349"/>
                </a:moveTo>
                <a:cubicBezTo>
                  <a:pt x="7193114" y="4248112"/>
                  <a:pt x="7190567" y="4076526"/>
                  <a:pt x="7187130" y="4077824"/>
                </a:cubicBezTo>
                <a:cubicBezTo>
                  <a:pt x="7176742" y="4081746"/>
                  <a:pt x="6748476" y="4475791"/>
                  <a:pt x="6748476" y="4481443"/>
                </a:cubicBezTo>
                <a:cubicBezTo>
                  <a:pt x="6748476" y="4488471"/>
                  <a:pt x="7179670" y="4885113"/>
                  <a:pt x="7187309" y="4885113"/>
                </a:cubicBezTo>
                <a:cubicBezTo>
                  <a:pt x="7190491" y="4885113"/>
                  <a:pt x="7193114" y="4702960"/>
                  <a:pt x="7193114" y="4480349"/>
                </a:cubicBezTo>
                <a:close/>
                <a:moveTo>
                  <a:pt x="11221683" y="4497357"/>
                </a:moveTo>
                <a:cubicBezTo>
                  <a:pt x="11221683" y="4301684"/>
                  <a:pt x="11219503" y="4218169"/>
                  <a:pt x="11214395" y="4218169"/>
                </a:cubicBezTo>
                <a:cubicBezTo>
                  <a:pt x="11203816" y="4218169"/>
                  <a:pt x="10897540" y="4481952"/>
                  <a:pt x="10899900" y="4489031"/>
                </a:cubicBezTo>
                <a:cubicBezTo>
                  <a:pt x="10903544" y="4499954"/>
                  <a:pt x="11211498" y="4782248"/>
                  <a:pt x="11216628" y="4779371"/>
                </a:cubicBezTo>
                <a:cubicBezTo>
                  <a:pt x="11219409" y="4777818"/>
                  <a:pt x="11221683" y="4650891"/>
                  <a:pt x="11221683" y="4497357"/>
                </a:cubicBezTo>
                <a:close/>
                <a:moveTo>
                  <a:pt x="4873884" y="4260919"/>
                </a:moveTo>
                <a:cubicBezTo>
                  <a:pt x="5010104" y="4136234"/>
                  <a:pt x="5121549" y="4032095"/>
                  <a:pt x="5121549" y="4029523"/>
                </a:cubicBezTo>
                <a:cubicBezTo>
                  <a:pt x="5121549" y="4026977"/>
                  <a:pt x="5012420" y="3925334"/>
                  <a:pt x="4879027" y="3803703"/>
                </a:cubicBezTo>
                <a:cubicBezTo>
                  <a:pt x="4745658" y="3682047"/>
                  <a:pt x="4635485" y="3578240"/>
                  <a:pt x="4634213" y="3572995"/>
                </a:cubicBezTo>
                <a:cubicBezTo>
                  <a:pt x="4632863" y="3567368"/>
                  <a:pt x="4636071" y="3564414"/>
                  <a:pt x="4642106" y="3565789"/>
                </a:cubicBezTo>
                <a:cubicBezTo>
                  <a:pt x="4647707" y="3567037"/>
                  <a:pt x="4757065" y="3663562"/>
                  <a:pt x="4885112" y="3780253"/>
                </a:cubicBezTo>
                <a:cubicBezTo>
                  <a:pt x="5013159" y="3896919"/>
                  <a:pt x="5121015" y="3993444"/>
                  <a:pt x="5124783" y="3994692"/>
                </a:cubicBezTo>
                <a:cubicBezTo>
                  <a:pt x="5129417" y="3996245"/>
                  <a:pt x="5131658" y="3851164"/>
                  <a:pt x="5131658" y="3551225"/>
                </a:cubicBezTo>
                <a:cubicBezTo>
                  <a:pt x="5131658" y="3276901"/>
                  <a:pt x="5129239" y="3106359"/>
                  <a:pt x="5125343" y="3107733"/>
                </a:cubicBezTo>
                <a:cubicBezTo>
                  <a:pt x="5120200" y="3109567"/>
                  <a:pt x="4796302" y="3403573"/>
                  <a:pt x="4646892" y="3542034"/>
                </a:cubicBezTo>
                <a:cubicBezTo>
                  <a:pt x="4626370" y="3561053"/>
                  <a:pt x="4501048" y="3675860"/>
                  <a:pt x="4368392" y="3797134"/>
                </a:cubicBezTo>
                <a:cubicBezTo>
                  <a:pt x="4234845" y="3919223"/>
                  <a:pt x="4128110" y="4021834"/>
                  <a:pt x="4129230" y="4027003"/>
                </a:cubicBezTo>
                <a:cubicBezTo>
                  <a:pt x="4131293" y="4036551"/>
                  <a:pt x="4612239" y="4486357"/>
                  <a:pt x="4621253" y="4487172"/>
                </a:cubicBezTo>
                <a:cubicBezTo>
                  <a:pt x="4623977" y="4487427"/>
                  <a:pt x="4737663" y="4385605"/>
                  <a:pt x="4873884" y="4260919"/>
                </a:cubicBezTo>
                <a:close/>
                <a:moveTo>
                  <a:pt x="5919927" y="4244650"/>
                </a:moveTo>
                <a:cubicBezTo>
                  <a:pt x="6062538" y="4114693"/>
                  <a:pt x="6179229" y="4004902"/>
                  <a:pt x="6179229" y="4000650"/>
                </a:cubicBezTo>
                <a:cubicBezTo>
                  <a:pt x="6179229" y="3993699"/>
                  <a:pt x="5698792" y="3545446"/>
                  <a:pt x="5690822" y="3544962"/>
                </a:cubicBezTo>
                <a:cubicBezTo>
                  <a:pt x="5684915" y="3544605"/>
                  <a:pt x="5169698" y="4019110"/>
                  <a:pt x="5167100" y="4027308"/>
                </a:cubicBezTo>
                <a:cubicBezTo>
                  <a:pt x="5164936" y="4034081"/>
                  <a:pt x="5647588" y="4480908"/>
                  <a:pt x="5657086" y="4480908"/>
                </a:cubicBezTo>
                <a:cubicBezTo>
                  <a:pt x="5659021" y="4480908"/>
                  <a:pt x="5777290" y="4374581"/>
                  <a:pt x="5919927" y="4244650"/>
                </a:cubicBezTo>
                <a:close/>
                <a:moveTo>
                  <a:pt x="8007736" y="4259544"/>
                </a:moveTo>
                <a:cubicBezTo>
                  <a:pt x="8210411" y="4073623"/>
                  <a:pt x="8237808" y="4046125"/>
                  <a:pt x="8236000" y="4030491"/>
                </a:cubicBezTo>
                <a:lnTo>
                  <a:pt x="8233938" y="4012693"/>
                </a:lnTo>
                <a:lnTo>
                  <a:pt x="7759000" y="4010962"/>
                </a:lnTo>
                <a:cubicBezTo>
                  <a:pt x="7497789" y="4009994"/>
                  <a:pt x="7280142" y="4010707"/>
                  <a:pt x="7275355" y="4012541"/>
                </a:cubicBezTo>
                <a:cubicBezTo>
                  <a:pt x="7270314" y="4014475"/>
                  <a:pt x="7371702" y="4112274"/>
                  <a:pt x="7516757" y="4245388"/>
                </a:cubicBezTo>
                <a:cubicBezTo>
                  <a:pt x="7654327" y="4371627"/>
                  <a:pt x="7769236" y="4473983"/>
                  <a:pt x="7772164" y="4472863"/>
                </a:cubicBezTo>
                <a:cubicBezTo>
                  <a:pt x="7775067" y="4471717"/>
                  <a:pt x="7881089" y="4375726"/>
                  <a:pt x="8007736" y="4259544"/>
                </a:cubicBezTo>
                <a:close/>
                <a:moveTo>
                  <a:pt x="11055665" y="4316248"/>
                </a:moveTo>
                <a:lnTo>
                  <a:pt x="11222075" y="4175164"/>
                </a:lnTo>
                <a:lnTo>
                  <a:pt x="11220193" y="4093941"/>
                </a:lnTo>
                <a:lnTo>
                  <a:pt x="11218311" y="4012693"/>
                </a:lnTo>
                <a:lnTo>
                  <a:pt x="10801740" y="4010962"/>
                </a:lnTo>
                <a:cubicBezTo>
                  <a:pt x="10532564" y="4009842"/>
                  <a:pt x="10385968" y="4011548"/>
                  <a:pt x="10387430" y="4015825"/>
                </a:cubicBezTo>
                <a:cubicBezTo>
                  <a:pt x="10388675" y="4019441"/>
                  <a:pt x="10498229" y="4122586"/>
                  <a:pt x="10630884" y="4245057"/>
                </a:cubicBezTo>
                <a:cubicBezTo>
                  <a:pt x="10792525" y="4394262"/>
                  <a:pt x="10874909" y="4465988"/>
                  <a:pt x="10880666" y="4462525"/>
                </a:cubicBezTo>
                <a:cubicBezTo>
                  <a:pt x="10885389" y="4459673"/>
                  <a:pt x="10964140" y="4393855"/>
                  <a:pt x="11055665" y="4316248"/>
                </a:cubicBezTo>
                <a:close/>
                <a:moveTo>
                  <a:pt x="6941934" y="4271486"/>
                </a:moveTo>
                <a:cubicBezTo>
                  <a:pt x="7197111" y="4038664"/>
                  <a:pt x="7193114" y="4042764"/>
                  <a:pt x="7193114" y="4013355"/>
                </a:cubicBezTo>
                <a:cubicBezTo>
                  <a:pt x="7193114" y="4000624"/>
                  <a:pt x="7191332" y="3985551"/>
                  <a:pt x="7189142" y="3979873"/>
                </a:cubicBezTo>
                <a:cubicBezTo>
                  <a:pt x="7183693" y="3965665"/>
                  <a:pt x="6731060" y="3551225"/>
                  <a:pt x="6721003" y="3551225"/>
                </a:cubicBezTo>
                <a:cubicBezTo>
                  <a:pt x="6716572" y="3551225"/>
                  <a:pt x="6700404" y="3562607"/>
                  <a:pt x="6685102" y="3576509"/>
                </a:cubicBezTo>
                <a:cubicBezTo>
                  <a:pt x="6365150" y="3866976"/>
                  <a:pt x="6222845" y="3998562"/>
                  <a:pt x="6224449" y="4002534"/>
                </a:cubicBezTo>
                <a:cubicBezTo>
                  <a:pt x="6228675" y="4013152"/>
                  <a:pt x="6718711" y="4460208"/>
                  <a:pt x="6726350" y="4460438"/>
                </a:cubicBezTo>
                <a:cubicBezTo>
                  <a:pt x="6730857" y="4460565"/>
                  <a:pt x="6827866" y="4375548"/>
                  <a:pt x="6941934" y="4271486"/>
                </a:cubicBezTo>
                <a:close/>
                <a:moveTo>
                  <a:pt x="5415606" y="3766275"/>
                </a:moveTo>
                <a:cubicBezTo>
                  <a:pt x="5551445" y="3642429"/>
                  <a:pt x="5664240" y="3537476"/>
                  <a:pt x="5666277" y="3532995"/>
                </a:cubicBezTo>
                <a:cubicBezTo>
                  <a:pt x="5671548" y="3521333"/>
                  <a:pt x="5181690" y="3071400"/>
                  <a:pt x="5166820" y="3074251"/>
                </a:cubicBezTo>
                <a:cubicBezTo>
                  <a:pt x="5156025" y="3076339"/>
                  <a:pt x="5155133" y="3107759"/>
                  <a:pt x="5153504" y="3536738"/>
                </a:cubicBezTo>
                <a:cubicBezTo>
                  <a:pt x="5152129" y="3902698"/>
                  <a:pt x="5153504" y="3996449"/>
                  <a:pt x="5160200" y="3994208"/>
                </a:cubicBezTo>
                <a:cubicBezTo>
                  <a:pt x="5164834" y="3992655"/>
                  <a:pt x="5279768" y="3890095"/>
                  <a:pt x="5415606" y="3766275"/>
                </a:cubicBezTo>
                <a:close/>
                <a:moveTo>
                  <a:pt x="8530719" y="3780253"/>
                </a:moveTo>
                <a:cubicBezTo>
                  <a:pt x="8660192" y="3661653"/>
                  <a:pt x="8766876" y="3562377"/>
                  <a:pt x="8767767" y="3559627"/>
                </a:cubicBezTo>
                <a:cubicBezTo>
                  <a:pt x="8769397" y="3554637"/>
                  <a:pt x="8282060" y="3105289"/>
                  <a:pt x="8270373" y="3100986"/>
                </a:cubicBezTo>
                <a:cubicBezTo>
                  <a:pt x="8266732" y="3099662"/>
                  <a:pt x="8264262" y="3278276"/>
                  <a:pt x="8264262" y="3539233"/>
                </a:cubicBezTo>
                <a:cubicBezTo>
                  <a:pt x="8264262" y="3985602"/>
                  <a:pt x="8264772" y="3995863"/>
                  <a:pt x="8287865" y="3995863"/>
                </a:cubicBezTo>
                <a:cubicBezTo>
                  <a:pt x="8291939" y="3995863"/>
                  <a:pt x="8401220" y="3898828"/>
                  <a:pt x="8530719" y="3780253"/>
                </a:cubicBezTo>
                <a:close/>
                <a:moveTo>
                  <a:pt x="9288235" y="3557565"/>
                </a:moveTo>
                <a:cubicBezTo>
                  <a:pt x="9288235" y="3267404"/>
                  <a:pt x="9285977" y="3126829"/>
                  <a:pt x="9281320" y="3126829"/>
                </a:cubicBezTo>
                <a:cubicBezTo>
                  <a:pt x="9270422" y="3126829"/>
                  <a:pt x="8809244" y="3552600"/>
                  <a:pt x="8811816" y="3560290"/>
                </a:cubicBezTo>
                <a:cubicBezTo>
                  <a:pt x="8815661" y="3571773"/>
                  <a:pt x="9277758" y="3994182"/>
                  <a:pt x="9283183" y="3991153"/>
                </a:cubicBezTo>
                <a:cubicBezTo>
                  <a:pt x="9285961" y="3989600"/>
                  <a:pt x="9288235" y="3794486"/>
                  <a:pt x="9288235" y="3557565"/>
                </a:cubicBezTo>
                <a:close/>
                <a:moveTo>
                  <a:pt x="7500080" y="3759757"/>
                </a:moveTo>
                <a:cubicBezTo>
                  <a:pt x="7631564" y="3639628"/>
                  <a:pt x="7738325" y="3538061"/>
                  <a:pt x="7737281" y="3534039"/>
                </a:cubicBezTo>
                <a:cubicBezTo>
                  <a:pt x="7733997" y="3521282"/>
                  <a:pt x="7248340" y="3079675"/>
                  <a:pt x="7237595" y="3079675"/>
                </a:cubicBezTo>
                <a:cubicBezTo>
                  <a:pt x="7231917" y="3079675"/>
                  <a:pt x="7224126" y="3085531"/>
                  <a:pt x="7220281" y="3092686"/>
                </a:cubicBezTo>
                <a:cubicBezTo>
                  <a:pt x="7215699" y="3101292"/>
                  <a:pt x="7213331" y="3251643"/>
                  <a:pt x="7213331" y="3533962"/>
                </a:cubicBezTo>
                <a:cubicBezTo>
                  <a:pt x="7213331" y="3955430"/>
                  <a:pt x="7213534" y="3962381"/>
                  <a:pt x="7227004" y="3975876"/>
                </a:cubicBezTo>
                <a:cubicBezTo>
                  <a:pt x="7236221" y="3985093"/>
                  <a:pt x="7244012" y="3987690"/>
                  <a:pt x="7250835" y="3983871"/>
                </a:cubicBezTo>
                <a:cubicBezTo>
                  <a:pt x="7256437" y="3980739"/>
                  <a:pt x="7368596" y="3879911"/>
                  <a:pt x="7500080" y="3759757"/>
                </a:cubicBezTo>
                <a:close/>
                <a:moveTo>
                  <a:pt x="8229456" y="3983208"/>
                </a:moveTo>
                <a:cubicBezTo>
                  <a:pt x="8224924" y="3971318"/>
                  <a:pt x="7769007" y="3557973"/>
                  <a:pt x="7760401" y="3557973"/>
                </a:cubicBezTo>
                <a:cubicBezTo>
                  <a:pt x="7750139" y="3557973"/>
                  <a:pt x="7294171" y="3973584"/>
                  <a:pt x="7294171" y="3982928"/>
                </a:cubicBezTo>
                <a:cubicBezTo>
                  <a:pt x="7294171" y="3986646"/>
                  <a:pt x="7482257" y="3989116"/>
                  <a:pt x="7762921" y="3989116"/>
                </a:cubicBezTo>
                <a:cubicBezTo>
                  <a:pt x="8029174" y="3989116"/>
                  <a:pt x="8230729" y="3986570"/>
                  <a:pt x="8229456" y="3983208"/>
                </a:cubicBezTo>
                <a:close/>
                <a:moveTo>
                  <a:pt x="9342316" y="3977556"/>
                </a:moveTo>
                <a:cubicBezTo>
                  <a:pt x="9376903" y="3953546"/>
                  <a:pt x="9807552" y="3556369"/>
                  <a:pt x="9805541" y="3550334"/>
                </a:cubicBezTo>
                <a:cubicBezTo>
                  <a:pt x="9802651" y="3541652"/>
                  <a:pt x="9320307" y="3099866"/>
                  <a:pt x="9313727" y="3099866"/>
                </a:cubicBezTo>
                <a:cubicBezTo>
                  <a:pt x="9307336" y="3099866"/>
                  <a:pt x="9306552" y="3978244"/>
                  <a:pt x="9312938" y="3984634"/>
                </a:cubicBezTo>
                <a:cubicBezTo>
                  <a:pt x="9319627" y="3991331"/>
                  <a:pt x="9324009" y="3990262"/>
                  <a:pt x="9342316" y="3977556"/>
                </a:cubicBezTo>
                <a:close/>
                <a:moveTo>
                  <a:pt x="10605227" y="3762252"/>
                </a:moveTo>
                <a:cubicBezTo>
                  <a:pt x="10740489" y="3637464"/>
                  <a:pt x="10851161" y="3531874"/>
                  <a:pt x="10851161" y="3527597"/>
                </a:cubicBezTo>
                <a:cubicBezTo>
                  <a:pt x="10851161" y="3523319"/>
                  <a:pt x="10827665" y="3498901"/>
                  <a:pt x="10798952" y="3473312"/>
                </a:cubicBezTo>
                <a:cubicBezTo>
                  <a:pt x="10770236" y="3447749"/>
                  <a:pt x="10662803" y="3350230"/>
                  <a:pt x="10560213" y="3256608"/>
                </a:cubicBezTo>
                <a:cubicBezTo>
                  <a:pt x="10457625" y="3162985"/>
                  <a:pt x="10369691" y="3086396"/>
                  <a:pt x="10364804" y="3086396"/>
                </a:cubicBezTo>
                <a:cubicBezTo>
                  <a:pt x="10355633" y="3086396"/>
                  <a:pt x="9380939" y="3970478"/>
                  <a:pt x="9376936" y="3982419"/>
                </a:cubicBezTo>
                <a:cubicBezTo>
                  <a:pt x="9375459" y="3986824"/>
                  <a:pt x="9543440" y="3989116"/>
                  <a:pt x="9866990" y="3989116"/>
                </a:cubicBezTo>
                <a:lnTo>
                  <a:pt x="10359289" y="3989116"/>
                </a:lnTo>
                <a:close/>
                <a:moveTo>
                  <a:pt x="11220063" y="3615236"/>
                </a:moveTo>
                <a:cubicBezTo>
                  <a:pt x="11221026" y="3411441"/>
                  <a:pt x="11220325" y="3240822"/>
                  <a:pt x="11218502" y="3236060"/>
                </a:cubicBezTo>
                <a:cubicBezTo>
                  <a:pt x="11215531" y="3228320"/>
                  <a:pt x="10406796" y="3967270"/>
                  <a:pt x="10400904" y="3983132"/>
                </a:cubicBezTo>
                <a:cubicBezTo>
                  <a:pt x="10399567" y="3986748"/>
                  <a:pt x="10566252" y="3988530"/>
                  <a:pt x="10808475" y="3987486"/>
                </a:cubicBezTo>
                <a:lnTo>
                  <a:pt x="11218311" y="3985755"/>
                </a:lnTo>
                <a:close/>
                <a:moveTo>
                  <a:pt x="6452738" y="3758382"/>
                </a:moveTo>
                <a:cubicBezTo>
                  <a:pt x="6587558" y="3635198"/>
                  <a:pt x="6711277" y="3522275"/>
                  <a:pt x="6727648" y="3507457"/>
                </a:cubicBezTo>
                <a:cubicBezTo>
                  <a:pt x="7025143" y="3238199"/>
                  <a:pt x="7186290" y="3089579"/>
                  <a:pt x="7189371" y="3081584"/>
                </a:cubicBezTo>
                <a:cubicBezTo>
                  <a:pt x="7191433" y="3076161"/>
                  <a:pt x="7191459" y="3068955"/>
                  <a:pt x="7189371" y="3065594"/>
                </a:cubicBezTo>
                <a:cubicBezTo>
                  <a:pt x="7187156" y="3062004"/>
                  <a:pt x="6986263" y="3059458"/>
                  <a:pt x="6704809" y="3059458"/>
                </a:cubicBezTo>
                <a:lnTo>
                  <a:pt x="6224067" y="3059458"/>
                </a:lnTo>
                <a:lnTo>
                  <a:pt x="6196466" y="3081355"/>
                </a:lnTo>
                <a:cubicBezTo>
                  <a:pt x="6133067" y="3131616"/>
                  <a:pt x="5711879" y="3521562"/>
                  <a:pt x="5713076" y="3528870"/>
                </a:cubicBezTo>
                <a:cubicBezTo>
                  <a:pt x="5714425" y="3536967"/>
                  <a:pt x="6196033" y="3982318"/>
                  <a:pt x="6203519" y="3982369"/>
                </a:cubicBezTo>
                <a:cubicBezTo>
                  <a:pt x="6205760" y="3982369"/>
                  <a:pt x="6317893" y="3881591"/>
                  <a:pt x="6452738" y="3758382"/>
                </a:cubicBezTo>
                <a:close/>
                <a:moveTo>
                  <a:pt x="8237298" y="3538164"/>
                </a:moveTo>
                <a:cubicBezTo>
                  <a:pt x="8237298" y="3312369"/>
                  <a:pt x="8235032" y="3126320"/>
                  <a:pt x="8232257" y="3124767"/>
                </a:cubicBezTo>
                <a:cubicBezTo>
                  <a:pt x="8224542" y="3120388"/>
                  <a:pt x="7778860" y="3531773"/>
                  <a:pt x="7783392" y="3539080"/>
                </a:cubicBezTo>
                <a:cubicBezTo>
                  <a:pt x="7790395" y="3550410"/>
                  <a:pt x="8226655" y="3948708"/>
                  <a:pt x="8232079" y="3948708"/>
                </a:cubicBezTo>
                <a:cubicBezTo>
                  <a:pt x="8234956" y="3948708"/>
                  <a:pt x="8237298" y="3763958"/>
                  <a:pt x="8237298" y="3538164"/>
                </a:cubicBezTo>
                <a:close/>
                <a:moveTo>
                  <a:pt x="7193114" y="3531034"/>
                </a:moveTo>
                <a:cubicBezTo>
                  <a:pt x="7193114" y="3309161"/>
                  <a:pt x="7190848" y="3126270"/>
                  <a:pt x="7188047" y="3124614"/>
                </a:cubicBezTo>
                <a:cubicBezTo>
                  <a:pt x="7181350" y="3120642"/>
                  <a:pt x="6740430" y="3523778"/>
                  <a:pt x="6743078" y="3531492"/>
                </a:cubicBezTo>
                <a:cubicBezTo>
                  <a:pt x="6746796" y="3542441"/>
                  <a:pt x="7182904" y="3940102"/>
                  <a:pt x="7188047" y="3937250"/>
                </a:cubicBezTo>
                <a:cubicBezTo>
                  <a:pt x="7190848" y="3935697"/>
                  <a:pt x="7193114" y="3752907"/>
                  <a:pt x="7193114" y="3531034"/>
                </a:cubicBezTo>
                <a:close/>
                <a:moveTo>
                  <a:pt x="9041812" y="3311707"/>
                </a:moveTo>
                <a:cubicBezTo>
                  <a:pt x="9177344" y="3187377"/>
                  <a:pt x="9288235" y="3083392"/>
                  <a:pt x="9288235" y="3080642"/>
                </a:cubicBezTo>
                <a:cubicBezTo>
                  <a:pt x="9288235" y="3060247"/>
                  <a:pt x="9269432" y="3059458"/>
                  <a:pt x="8786685" y="3059560"/>
                </a:cubicBezTo>
                <a:cubicBezTo>
                  <a:pt x="8519719" y="3059610"/>
                  <a:pt x="8297133" y="3062284"/>
                  <a:pt x="8292066" y="3065518"/>
                </a:cubicBezTo>
                <a:cubicBezTo>
                  <a:pt x="8286974" y="3068726"/>
                  <a:pt x="8283944" y="3074480"/>
                  <a:pt x="8285319" y="3078300"/>
                </a:cubicBezTo>
                <a:cubicBezTo>
                  <a:pt x="8289393" y="3089528"/>
                  <a:pt x="8778869" y="3537043"/>
                  <a:pt x="8787500" y="3537425"/>
                </a:cubicBezTo>
                <a:cubicBezTo>
                  <a:pt x="8791829" y="3537603"/>
                  <a:pt x="8906279" y="3436037"/>
                  <a:pt x="9041812" y="3311707"/>
                </a:cubicBezTo>
                <a:close/>
                <a:moveTo>
                  <a:pt x="10086136" y="3303483"/>
                </a:moveTo>
                <a:cubicBezTo>
                  <a:pt x="10223006" y="3178517"/>
                  <a:pt x="10336183" y="3072494"/>
                  <a:pt x="10337642" y="3067886"/>
                </a:cubicBezTo>
                <a:cubicBezTo>
                  <a:pt x="10339745" y="3061189"/>
                  <a:pt x="10238446" y="3059483"/>
                  <a:pt x="9846261" y="3059560"/>
                </a:cubicBezTo>
                <a:cubicBezTo>
                  <a:pt x="9543715" y="3059610"/>
                  <a:pt x="9348320" y="3062157"/>
                  <a:pt x="9342130" y="3066103"/>
                </a:cubicBezTo>
                <a:cubicBezTo>
                  <a:pt x="9334318" y="3071094"/>
                  <a:pt x="9333715" y="3075270"/>
                  <a:pt x="9339469" y="3084538"/>
                </a:cubicBezTo>
                <a:cubicBezTo>
                  <a:pt x="9352760" y="3105925"/>
                  <a:pt x="9816757" y="3530092"/>
                  <a:pt x="9827176" y="3530372"/>
                </a:cubicBezTo>
                <a:cubicBezTo>
                  <a:pt x="9832734" y="3530525"/>
                  <a:pt x="9949264" y="3428423"/>
                  <a:pt x="10086136" y="3303483"/>
                </a:cubicBezTo>
                <a:close/>
                <a:moveTo>
                  <a:pt x="7997016" y="3305061"/>
                </a:moveTo>
                <a:cubicBezTo>
                  <a:pt x="8124808" y="3188192"/>
                  <a:pt x="8231111" y="3087950"/>
                  <a:pt x="8233276" y="3082323"/>
                </a:cubicBezTo>
                <a:cubicBezTo>
                  <a:pt x="8235745" y="3075881"/>
                  <a:pt x="8226579" y="3061139"/>
                  <a:pt x="8208629" y="3042730"/>
                </a:cubicBezTo>
                <a:cubicBezTo>
                  <a:pt x="8144618" y="2977115"/>
                  <a:pt x="7750521" y="2621567"/>
                  <a:pt x="7741788" y="2621567"/>
                </a:cubicBezTo>
                <a:cubicBezTo>
                  <a:pt x="7729465" y="2621567"/>
                  <a:pt x="7263846" y="3046243"/>
                  <a:pt x="7263846" y="3057472"/>
                </a:cubicBezTo>
                <a:cubicBezTo>
                  <a:pt x="7263846" y="3065747"/>
                  <a:pt x="7750852" y="3517005"/>
                  <a:pt x="7760171" y="3517387"/>
                </a:cubicBezTo>
                <a:cubicBezTo>
                  <a:pt x="7762667" y="3517488"/>
                  <a:pt x="7869250" y="3421931"/>
                  <a:pt x="7997016" y="3305061"/>
                </a:cubicBezTo>
                <a:close/>
                <a:moveTo>
                  <a:pt x="5936477" y="3288741"/>
                </a:moveTo>
                <a:cubicBezTo>
                  <a:pt x="6068139" y="3168460"/>
                  <a:pt x="6175868" y="3067682"/>
                  <a:pt x="6175868" y="3064754"/>
                </a:cubicBezTo>
                <a:cubicBezTo>
                  <a:pt x="6175868" y="3061851"/>
                  <a:pt x="6172914" y="3059458"/>
                  <a:pt x="6169350" y="3059458"/>
                </a:cubicBezTo>
                <a:cubicBezTo>
                  <a:pt x="6165759" y="3059458"/>
                  <a:pt x="6158936" y="3052176"/>
                  <a:pt x="6154174" y="3043315"/>
                </a:cubicBezTo>
                <a:cubicBezTo>
                  <a:pt x="6143022" y="3022437"/>
                  <a:pt x="5685908" y="2599594"/>
                  <a:pt x="5677659" y="2602497"/>
                </a:cubicBezTo>
                <a:cubicBezTo>
                  <a:pt x="5661694" y="2608175"/>
                  <a:pt x="5192308" y="3043672"/>
                  <a:pt x="5193860" y="3051336"/>
                </a:cubicBezTo>
                <a:cubicBezTo>
                  <a:pt x="5196127" y="3062284"/>
                  <a:pt x="5684940" y="3511683"/>
                  <a:pt x="5691943" y="3509239"/>
                </a:cubicBezTo>
                <a:cubicBezTo>
                  <a:pt x="5694794" y="3508246"/>
                  <a:pt x="5804840" y="3409022"/>
                  <a:pt x="5936477" y="3288741"/>
                </a:cubicBezTo>
                <a:close/>
                <a:moveTo>
                  <a:pt x="11055181" y="3346844"/>
                </a:moveTo>
                <a:lnTo>
                  <a:pt x="11222146" y="3192343"/>
                </a:lnTo>
                <a:lnTo>
                  <a:pt x="11220229" y="3127594"/>
                </a:lnTo>
                <a:lnTo>
                  <a:pt x="11218311" y="3062819"/>
                </a:lnTo>
                <a:lnTo>
                  <a:pt x="10807759" y="3061087"/>
                </a:lnTo>
                <a:cubicBezTo>
                  <a:pt x="10581957" y="3060120"/>
                  <a:pt x="10394765" y="3061801"/>
                  <a:pt x="10391779" y="3064779"/>
                </a:cubicBezTo>
                <a:cubicBezTo>
                  <a:pt x="10386737" y="3069821"/>
                  <a:pt x="10513992" y="3189847"/>
                  <a:pt x="10605761" y="3266614"/>
                </a:cubicBezTo>
                <a:cubicBezTo>
                  <a:pt x="10627722" y="3284972"/>
                  <a:pt x="10696833" y="3347379"/>
                  <a:pt x="10759341" y="3405304"/>
                </a:cubicBezTo>
                <a:cubicBezTo>
                  <a:pt x="10825498" y="3466591"/>
                  <a:pt x="10876175" y="3508679"/>
                  <a:pt x="10880603" y="3505980"/>
                </a:cubicBezTo>
                <a:cubicBezTo>
                  <a:pt x="10884789" y="3503433"/>
                  <a:pt x="10963348" y="3431835"/>
                  <a:pt x="11055178" y="3346844"/>
                </a:cubicBezTo>
                <a:close/>
                <a:moveTo>
                  <a:pt x="6454572" y="2815993"/>
                </a:moveTo>
                <a:cubicBezTo>
                  <a:pt x="6586132" y="2696094"/>
                  <a:pt x="6693199" y="2594654"/>
                  <a:pt x="6692486" y="2590606"/>
                </a:cubicBezTo>
                <a:cubicBezTo>
                  <a:pt x="6691798" y="2586532"/>
                  <a:pt x="6582466" y="2483463"/>
                  <a:pt x="6449530" y="2361552"/>
                </a:cubicBezTo>
                <a:cubicBezTo>
                  <a:pt x="6290776" y="2215963"/>
                  <a:pt x="6202934" y="2139883"/>
                  <a:pt x="6193538" y="2139883"/>
                </a:cubicBezTo>
                <a:lnTo>
                  <a:pt x="6179229" y="2139883"/>
                </a:lnTo>
                <a:lnTo>
                  <a:pt x="6177497" y="2580396"/>
                </a:lnTo>
                <a:cubicBezTo>
                  <a:pt x="6175689" y="3039368"/>
                  <a:pt x="6175970" y="3044308"/>
                  <a:pt x="6203544" y="3037103"/>
                </a:cubicBezTo>
                <a:cubicBezTo>
                  <a:pt x="6210037" y="3035397"/>
                  <a:pt x="6322986" y="2935918"/>
                  <a:pt x="6454572" y="2815993"/>
                </a:cubicBezTo>
                <a:close/>
                <a:moveTo>
                  <a:pt x="7175011" y="3034200"/>
                </a:moveTo>
                <a:cubicBezTo>
                  <a:pt x="7177684" y="3029617"/>
                  <a:pt x="6727954" y="2613573"/>
                  <a:pt x="6716369" y="2609881"/>
                </a:cubicBezTo>
                <a:cubicBezTo>
                  <a:pt x="6710946" y="2608175"/>
                  <a:pt x="6254723" y="3023124"/>
                  <a:pt x="6251082" y="3033105"/>
                </a:cubicBezTo>
                <a:cubicBezTo>
                  <a:pt x="6248383" y="3040514"/>
                  <a:pt x="7170733" y="3041609"/>
                  <a:pt x="7175011" y="3034200"/>
                </a:cubicBezTo>
                <a:close/>
                <a:moveTo>
                  <a:pt x="7482893" y="2820678"/>
                </a:moveTo>
                <a:cubicBezTo>
                  <a:pt x="7612799" y="2702332"/>
                  <a:pt x="7718185" y="2601631"/>
                  <a:pt x="7717141" y="2596921"/>
                </a:cubicBezTo>
                <a:cubicBezTo>
                  <a:pt x="7714341" y="2584546"/>
                  <a:pt x="7231867" y="2143498"/>
                  <a:pt x="7225425" y="2147471"/>
                </a:cubicBezTo>
                <a:cubicBezTo>
                  <a:pt x="7218830" y="2151545"/>
                  <a:pt x="7218168" y="3028394"/>
                  <a:pt x="7224788" y="3034989"/>
                </a:cubicBezTo>
                <a:cubicBezTo>
                  <a:pt x="7227385" y="3037586"/>
                  <a:pt x="7233369" y="3038860"/>
                  <a:pt x="7238105" y="3037790"/>
                </a:cubicBezTo>
                <a:cubicBezTo>
                  <a:pt x="7242866" y="3036746"/>
                  <a:pt x="7353013" y="2939049"/>
                  <a:pt x="7482893" y="2820678"/>
                </a:cubicBezTo>
                <a:close/>
                <a:moveTo>
                  <a:pt x="8305561" y="3020705"/>
                </a:moveTo>
                <a:cubicBezTo>
                  <a:pt x="8375810" y="2961914"/>
                  <a:pt x="8760409" y="2605374"/>
                  <a:pt x="8765476" y="2594349"/>
                </a:cubicBezTo>
                <a:cubicBezTo>
                  <a:pt x="8773318" y="2577315"/>
                  <a:pt x="8799365" y="2577315"/>
                  <a:pt x="8807207" y="2594323"/>
                </a:cubicBezTo>
                <a:cubicBezTo>
                  <a:pt x="8814082" y="2609219"/>
                  <a:pt x="9266285" y="3025772"/>
                  <a:pt x="9275586" y="3025772"/>
                </a:cubicBezTo>
                <a:cubicBezTo>
                  <a:pt x="9279064" y="3025772"/>
                  <a:pt x="9280867" y="2837890"/>
                  <a:pt x="9279863" y="2579454"/>
                </a:cubicBezTo>
                <a:lnTo>
                  <a:pt x="9278132" y="2133161"/>
                </a:lnTo>
                <a:lnTo>
                  <a:pt x="8782968" y="2133161"/>
                </a:lnTo>
                <a:cubicBezTo>
                  <a:pt x="8510655" y="2133161"/>
                  <a:pt x="8282518" y="2135326"/>
                  <a:pt x="8276051" y="2137999"/>
                </a:cubicBezTo>
                <a:cubicBezTo>
                  <a:pt x="8264975" y="2142531"/>
                  <a:pt x="8264262" y="2170310"/>
                  <a:pt x="8264262" y="2586558"/>
                </a:cubicBezTo>
                <a:cubicBezTo>
                  <a:pt x="8264262" y="2830583"/>
                  <a:pt x="8266274" y="3032290"/>
                  <a:pt x="8268743" y="3034760"/>
                </a:cubicBezTo>
                <a:cubicBezTo>
                  <a:pt x="8276331" y="3042322"/>
                  <a:pt x="8282595" y="3039954"/>
                  <a:pt x="8305561" y="3020705"/>
                </a:cubicBezTo>
                <a:close/>
                <a:moveTo>
                  <a:pt x="9241080" y="3033589"/>
                </a:moveTo>
                <a:cubicBezTo>
                  <a:pt x="9241080" y="3025136"/>
                  <a:pt x="8790250" y="2613471"/>
                  <a:pt x="8783757" y="2616017"/>
                </a:cubicBezTo>
                <a:cubicBezTo>
                  <a:pt x="8772707" y="2620320"/>
                  <a:pt x="8331609" y="3027351"/>
                  <a:pt x="8331609" y="3033232"/>
                </a:cubicBezTo>
                <a:cubicBezTo>
                  <a:pt x="8331609" y="3036695"/>
                  <a:pt x="8524379" y="3039241"/>
                  <a:pt x="8786354" y="3039241"/>
                </a:cubicBezTo>
                <a:cubicBezTo>
                  <a:pt x="9036449" y="3039241"/>
                  <a:pt x="9241080" y="3036695"/>
                  <a:pt x="9241080" y="3033589"/>
                </a:cubicBezTo>
                <a:close/>
                <a:moveTo>
                  <a:pt x="9360597" y="3017344"/>
                </a:moveTo>
                <a:cubicBezTo>
                  <a:pt x="9419694" y="2969604"/>
                  <a:pt x="9820438" y="2597735"/>
                  <a:pt x="9820438" y="2590657"/>
                </a:cubicBezTo>
                <a:cubicBezTo>
                  <a:pt x="9820438" y="2579250"/>
                  <a:pt x="9315647" y="2121958"/>
                  <a:pt x="9308174" y="2126592"/>
                </a:cubicBezTo>
                <a:cubicBezTo>
                  <a:pt x="9300836" y="2131124"/>
                  <a:pt x="9298888" y="3027452"/>
                  <a:pt x="9306201" y="3034760"/>
                </a:cubicBezTo>
                <a:cubicBezTo>
                  <a:pt x="9315805" y="3044359"/>
                  <a:pt x="9334619" y="3038350"/>
                  <a:pt x="9360597" y="3017344"/>
                </a:cubicBezTo>
                <a:close/>
                <a:moveTo>
                  <a:pt x="10311098" y="3033538"/>
                </a:moveTo>
                <a:cubicBezTo>
                  <a:pt x="10309863" y="3030381"/>
                  <a:pt x="10204984" y="2933219"/>
                  <a:pt x="10078032" y="2817597"/>
                </a:cubicBezTo>
                <a:cubicBezTo>
                  <a:pt x="9928141" y="2681097"/>
                  <a:pt x="9844288" y="2609168"/>
                  <a:pt x="9838878" y="2612452"/>
                </a:cubicBezTo>
                <a:cubicBezTo>
                  <a:pt x="9821765" y="2622841"/>
                  <a:pt x="9382550" y="3028165"/>
                  <a:pt x="9382550" y="3033589"/>
                </a:cubicBezTo>
                <a:cubicBezTo>
                  <a:pt x="9382550" y="3036695"/>
                  <a:pt x="9591978" y="3039241"/>
                  <a:pt x="9847947" y="3039241"/>
                </a:cubicBezTo>
                <a:cubicBezTo>
                  <a:pt x="10103916" y="3039241"/>
                  <a:pt x="10312333" y="3036669"/>
                  <a:pt x="10311098" y="3033538"/>
                </a:cubicBezTo>
                <a:close/>
                <a:moveTo>
                  <a:pt x="10784039" y="2668774"/>
                </a:moveTo>
                <a:cubicBezTo>
                  <a:pt x="11000660" y="2471852"/>
                  <a:pt x="11187849" y="2300266"/>
                  <a:pt x="11200020" y="2287459"/>
                </a:cubicBezTo>
                <a:lnTo>
                  <a:pt x="11222148" y="2264212"/>
                </a:lnTo>
                <a:lnTo>
                  <a:pt x="11220229" y="2195313"/>
                </a:lnTo>
                <a:lnTo>
                  <a:pt x="11218311" y="2126414"/>
                </a:lnTo>
                <a:lnTo>
                  <a:pt x="10798018" y="2124683"/>
                </a:lnTo>
                <a:cubicBezTo>
                  <a:pt x="10493180" y="2123409"/>
                  <a:pt x="10375203" y="2125039"/>
                  <a:pt x="10368550" y="2130564"/>
                </a:cubicBezTo>
                <a:cubicBezTo>
                  <a:pt x="10360980" y="2136828"/>
                  <a:pt x="10359379" y="2216090"/>
                  <a:pt x="10359379" y="2584215"/>
                </a:cubicBezTo>
                <a:cubicBezTo>
                  <a:pt x="10359379" y="2829539"/>
                  <a:pt x="10361293" y="3032163"/>
                  <a:pt x="10363633" y="3034505"/>
                </a:cubicBezTo>
                <a:cubicBezTo>
                  <a:pt x="10365973" y="3036848"/>
                  <a:pt x="10372904" y="3036084"/>
                  <a:pt x="10379038" y="3032799"/>
                </a:cubicBezTo>
                <a:cubicBezTo>
                  <a:pt x="10385169" y="3029515"/>
                  <a:pt x="10567421" y="2865720"/>
                  <a:pt x="10784039" y="2668774"/>
                </a:cubicBezTo>
                <a:close/>
                <a:moveTo>
                  <a:pt x="11220058" y="2675852"/>
                </a:moveTo>
                <a:cubicBezTo>
                  <a:pt x="11221015" y="2477836"/>
                  <a:pt x="11219498" y="2313736"/>
                  <a:pt x="11216689" y="2311139"/>
                </a:cubicBezTo>
                <a:cubicBezTo>
                  <a:pt x="11211505" y="2306377"/>
                  <a:pt x="10425818" y="3018439"/>
                  <a:pt x="10421301" y="3031985"/>
                </a:cubicBezTo>
                <a:cubicBezTo>
                  <a:pt x="10419542" y="3037281"/>
                  <a:pt x="10531958" y="3038860"/>
                  <a:pt x="10818580" y="3037612"/>
                </a:cubicBezTo>
                <a:lnTo>
                  <a:pt x="11218314" y="3035880"/>
                </a:lnTo>
                <a:close/>
                <a:moveTo>
                  <a:pt x="8244046" y="2597430"/>
                </a:moveTo>
                <a:cubicBezTo>
                  <a:pt x="8244046" y="2337033"/>
                  <a:pt x="8241576" y="2163257"/>
                  <a:pt x="8237884" y="2164581"/>
                </a:cubicBezTo>
                <a:cubicBezTo>
                  <a:pt x="8221283" y="2170615"/>
                  <a:pt x="7765722" y="2592465"/>
                  <a:pt x="7767275" y="2600333"/>
                </a:cubicBezTo>
                <a:cubicBezTo>
                  <a:pt x="7769643" y="2612095"/>
                  <a:pt x="8224516" y="3031399"/>
                  <a:pt x="8235618" y="3032036"/>
                </a:cubicBezTo>
                <a:cubicBezTo>
                  <a:pt x="8242263" y="3032418"/>
                  <a:pt x="8244046" y="2941265"/>
                  <a:pt x="8244046" y="2597430"/>
                </a:cubicBezTo>
                <a:close/>
                <a:moveTo>
                  <a:pt x="10337532" y="2572732"/>
                </a:moveTo>
                <a:lnTo>
                  <a:pt x="10335801" y="2126414"/>
                </a:lnTo>
                <a:lnTo>
                  <a:pt x="9845126" y="2124683"/>
                </a:lnTo>
                <a:cubicBezTo>
                  <a:pt x="9575255" y="2123740"/>
                  <a:pt x="9355469" y="2125523"/>
                  <a:pt x="9356712" y="2128680"/>
                </a:cubicBezTo>
                <a:cubicBezTo>
                  <a:pt x="9357954" y="2131812"/>
                  <a:pt x="9466592" y="2232156"/>
                  <a:pt x="9598127" y="2351648"/>
                </a:cubicBezTo>
                <a:cubicBezTo>
                  <a:pt x="9729662" y="2471165"/>
                  <a:pt x="9863048" y="2592694"/>
                  <a:pt x="9894545" y="2621771"/>
                </a:cubicBezTo>
                <a:cubicBezTo>
                  <a:pt x="10085276" y="2797788"/>
                  <a:pt x="10329815" y="3018668"/>
                  <a:pt x="10334164" y="3018846"/>
                </a:cubicBezTo>
                <a:cubicBezTo>
                  <a:pt x="10336970" y="3018948"/>
                  <a:pt x="10338485" y="2818183"/>
                  <a:pt x="10337532" y="2572732"/>
                </a:cubicBezTo>
                <a:close/>
                <a:moveTo>
                  <a:pt x="7193114" y="2591242"/>
                </a:moveTo>
                <a:cubicBezTo>
                  <a:pt x="7193114" y="2363386"/>
                  <a:pt x="7190797" y="2176929"/>
                  <a:pt x="7187996" y="2176929"/>
                </a:cubicBezTo>
                <a:cubicBezTo>
                  <a:pt x="7179797" y="2176929"/>
                  <a:pt x="6738368" y="2583426"/>
                  <a:pt x="6738368" y="2590937"/>
                </a:cubicBezTo>
                <a:cubicBezTo>
                  <a:pt x="6738368" y="2598576"/>
                  <a:pt x="7179543" y="3005555"/>
                  <a:pt x="7187818" y="3005555"/>
                </a:cubicBezTo>
                <a:cubicBezTo>
                  <a:pt x="7190721" y="3005555"/>
                  <a:pt x="7193114" y="2819125"/>
                  <a:pt x="7193114" y="2591242"/>
                </a:cubicBezTo>
                <a:close/>
                <a:moveTo>
                  <a:pt x="6155651" y="2583961"/>
                </a:moveTo>
                <a:cubicBezTo>
                  <a:pt x="6155651" y="2314932"/>
                  <a:pt x="6153309" y="2169877"/>
                  <a:pt x="6149031" y="2171328"/>
                </a:cubicBezTo>
                <a:cubicBezTo>
                  <a:pt x="6132354" y="2176981"/>
                  <a:pt x="5703731" y="2576525"/>
                  <a:pt x="5705590" y="2584699"/>
                </a:cubicBezTo>
                <a:cubicBezTo>
                  <a:pt x="5707805" y="2594527"/>
                  <a:pt x="6142055" y="2998553"/>
                  <a:pt x="6150610" y="2998732"/>
                </a:cubicBezTo>
                <a:cubicBezTo>
                  <a:pt x="6153385" y="2998783"/>
                  <a:pt x="6155651" y="2812123"/>
                  <a:pt x="6155651" y="2583961"/>
                </a:cubicBezTo>
                <a:close/>
                <a:moveTo>
                  <a:pt x="7995158" y="2353990"/>
                </a:moveTo>
                <a:cubicBezTo>
                  <a:pt x="8128348" y="2232691"/>
                  <a:pt x="8237298" y="2131099"/>
                  <a:pt x="8237298" y="2128247"/>
                </a:cubicBezTo>
                <a:cubicBezTo>
                  <a:pt x="8237298" y="2122264"/>
                  <a:pt x="7258016" y="2121016"/>
                  <a:pt x="7252058" y="2126974"/>
                </a:cubicBezTo>
                <a:cubicBezTo>
                  <a:pt x="7245743" y="2133288"/>
                  <a:pt x="7734506" y="2580625"/>
                  <a:pt x="7744232" y="2577442"/>
                </a:cubicBezTo>
                <a:cubicBezTo>
                  <a:pt x="7749070" y="2575838"/>
                  <a:pt x="7861993" y="2475290"/>
                  <a:pt x="7995158" y="2353990"/>
                </a:cubicBezTo>
                <a:close/>
                <a:moveTo>
                  <a:pt x="6953341" y="2358828"/>
                </a:moveTo>
                <a:cubicBezTo>
                  <a:pt x="7081337" y="2242112"/>
                  <a:pt x="7186137" y="2142836"/>
                  <a:pt x="7186214" y="2138202"/>
                </a:cubicBezTo>
                <a:cubicBezTo>
                  <a:pt x="7186341" y="2131557"/>
                  <a:pt x="7086862" y="2129775"/>
                  <a:pt x="6710869" y="2129775"/>
                </a:cubicBezTo>
                <a:cubicBezTo>
                  <a:pt x="6449352" y="2129775"/>
                  <a:pt x="6236390" y="2132295"/>
                  <a:pt x="6237612" y="2135376"/>
                </a:cubicBezTo>
                <a:cubicBezTo>
                  <a:pt x="6241406" y="2144848"/>
                  <a:pt x="6711124" y="2574005"/>
                  <a:pt x="6716013" y="2572477"/>
                </a:cubicBezTo>
                <a:cubicBezTo>
                  <a:pt x="6718558" y="2571688"/>
                  <a:pt x="6825345" y="2475545"/>
                  <a:pt x="6953341" y="2358828"/>
                </a:cubicBezTo>
                <a:close/>
                <a:moveTo>
                  <a:pt x="7179645" y="2103498"/>
                </a:moveTo>
                <a:cubicBezTo>
                  <a:pt x="7179645" y="2092549"/>
                  <a:pt x="6707457" y="1663724"/>
                  <a:pt x="6699233" y="1667237"/>
                </a:cubicBezTo>
                <a:cubicBezTo>
                  <a:pt x="6688132" y="1671998"/>
                  <a:pt x="6226918" y="2095147"/>
                  <a:pt x="6224143" y="2103116"/>
                </a:cubicBezTo>
                <a:cubicBezTo>
                  <a:pt x="6222717" y="2107190"/>
                  <a:pt x="6398479" y="2109583"/>
                  <a:pt x="6700761" y="2109583"/>
                </a:cubicBezTo>
                <a:cubicBezTo>
                  <a:pt x="6980254" y="2109583"/>
                  <a:pt x="7179645" y="2107037"/>
                  <a:pt x="7179645" y="2103498"/>
                </a:cubicBezTo>
                <a:close/>
                <a:moveTo>
                  <a:pt x="9286600" y="1659319"/>
                </a:moveTo>
                <a:cubicBezTo>
                  <a:pt x="9287759" y="1360754"/>
                  <a:pt x="9286076" y="1213179"/>
                  <a:pt x="9281531" y="1214706"/>
                </a:cubicBezTo>
                <a:cubicBezTo>
                  <a:pt x="9277788" y="1215954"/>
                  <a:pt x="9173179" y="1309296"/>
                  <a:pt x="9049063" y="1422143"/>
                </a:cubicBezTo>
                <a:cubicBezTo>
                  <a:pt x="8877915" y="1577739"/>
                  <a:pt x="8823401" y="1631056"/>
                  <a:pt x="8823401" y="1642769"/>
                </a:cubicBezTo>
                <a:cubicBezTo>
                  <a:pt x="8823401" y="1654761"/>
                  <a:pt x="8819633" y="1658224"/>
                  <a:pt x="8806520" y="1658224"/>
                </a:cubicBezTo>
                <a:cubicBezTo>
                  <a:pt x="8793764" y="1658224"/>
                  <a:pt x="8730670" y="1711948"/>
                  <a:pt x="8548822" y="1877729"/>
                </a:cubicBezTo>
                <a:cubicBezTo>
                  <a:pt x="8416396" y="1998469"/>
                  <a:pt x="8307013" y="2100035"/>
                  <a:pt x="8305790" y="2103447"/>
                </a:cubicBezTo>
                <a:cubicBezTo>
                  <a:pt x="8304415" y="2107216"/>
                  <a:pt x="8497288" y="2108973"/>
                  <a:pt x="8794197" y="2107928"/>
                </a:cubicBezTo>
                <a:lnTo>
                  <a:pt x="9284867" y="2106197"/>
                </a:lnTo>
                <a:close/>
                <a:moveTo>
                  <a:pt x="10311098" y="2096852"/>
                </a:moveTo>
                <a:cubicBezTo>
                  <a:pt x="10309863" y="2093542"/>
                  <a:pt x="10201233" y="1991466"/>
                  <a:pt x="10069698" y="1869989"/>
                </a:cubicBezTo>
                <a:cubicBezTo>
                  <a:pt x="9938163" y="1748511"/>
                  <a:pt x="9828466" y="1646002"/>
                  <a:pt x="9825928" y="1642183"/>
                </a:cubicBezTo>
                <a:cubicBezTo>
                  <a:pt x="9823389" y="1638364"/>
                  <a:pt x="9823389" y="1631845"/>
                  <a:pt x="9825928" y="1627670"/>
                </a:cubicBezTo>
                <a:cubicBezTo>
                  <a:pt x="9828466" y="1623494"/>
                  <a:pt x="9941745" y="1518312"/>
                  <a:pt x="10077658" y="1393931"/>
                </a:cubicBezTo>
                <a:cubicBezTo>
                  <a:pt x="10213567" y="1269525"/>
                  <a:pt x="10322956" y="1165947"/>
                  <a:pt x="10320740" y="1163732"/>
                </a:cubicBezTo>
                <a:cubicBezTo>
                  <a:pt x="10318525" y="1161517"/>
                  <a:pt x="10097841" y="1159683"/>
                  <a:pt x="9830330" y="1159683"/>
                </a:cubicBezTo>
                <a:cubicBezTo>
                  <a:pt x="9348470" y="1159683"/>
                  <a:pt x="9343782" y="1159811"/>
                  <a:pt x="9326196" y="1173662"/>
                </a:cubicBezTo>
                <a:lnTo>
                  <a:pt x="9308447" y="1187615"/>
                </a:lnTo>
                <a:lnTo>
                  <a:pt x="9308447" y="1638160"/>
                </a:lnTo>
                <a:cubicBezTo>
                  <a:pt x="9308447" y="2060137"/>
                  <a:pt x="9309193" y="2089137"/>
                  <a:pt x="9320235" y="2095554"/>
                </a:cubicBezTo>
                <a:cubicBezTo>
                  <a:pt x="9335202" y="2104287"/>
                  <a:pt x="10314362" y="2105561"/>
                  <a:pt x="10311098" y="2096852"/>
                </a:cubicBezTo>
                <a:close/>
                <a:moveTo>
                  <a:pt x="11220325" y="2049010"/>
                </a:moveTo>
                <a:cubicBezTo>
                  <a:pt x="11221433" y="2021282"/>
                  <a:pt x="11220771" y="1992332"/>
                  <a:pt x="11218854" y="1984694"/>
                </a:cubicBezTo>
                <a:cubicBezTo>
                  <a:pt x="11215905" y="1972956"/>
                  <a:pt x="10386536" y="1184789"/>
                  <a:pt x="10363842" y="1172185"/>
                </a:cubicBezTo>
                <a:cubicBezTo>
                  <a:pt x="10355396" y="1167475"/>
                  <a:pt x="9858827" y="1617536"/>
                  <a:pt x="9855598" y="1632813"/>
                </a:cubicBezTo>
                <a:cubicBezTo>
                  <a:pt x="9854557" y="1637752"/>
                  <a:pt x="9966026" y="1745532"/>
                  <a:pt x="10103305" y="1872357"/>
                </a:cubicBezTo>
                <a:lnTo>
                  <a:pt x="10352909" y="2102938"/>
                </a:lnTo>
                <a:lnTo>
                  <a:pt x="10785610" y="2101206"/>
                </a:lnTo>
                <a:lnTo>
                  <a:pt x="11218314" y="2099475"/>
                </a:lnTo>
                <a:close/>
                <a:moveTo>
                  <a:pt x="7484472" y="1872688"/>
                </a:moveTo>
                <a:cubicBezTo>
                  <a:pt x="7618783" y="1749784"/>
                  <a:pt x="7729516" y="1645952"/>
                  <a:pt x="7730534" y="1641902"/>
                </a:cubicBezTo>
                <a:cubicBezTo>
                  <a:pt x="7732189" y="1635435"/>
                  <a:pt x="7265909" y="1198665"/>
                  <a:pt x="7242128" y="1184432"/>
                </a:cubicBezTo>
                <a:cubicBezTo>
                  <a:pt x="7236679" y="1181148"/>
                  <a:pt x="7228786" y="1182192"/>
                  <a:pt x="7223082" y="1186928"/>
                </a:cubicBezTo>
                <a:cubicBezTo>
                  <a:pt x="7214731" y="1193853"/>
                  <a:pt x="7213331" y="1259977"/>
                  <a:pt x="7213331" y="1641062"/>
                </a:cubicBezTo>
                <a:cubicBezTo>
                  <a:pt x="7213331" y="1886386"/>
                  <a:pt x="7215342" y="2089137"/>
                  <a:pt x="7217812" y="2091608"/>
                </a:cubicBezTo>
                <a:cubicBezTo>
                  <a:pt x="7220281" y="2094077"/>
                  <a:pt x="7226341" y="2096089"/>
                  <a:pt x="7231281" y="2096089"/>
                </a:cubicBezTo>
                <a:cubicBezTo>
                  <a:pt x="7236221" y="2096089"/>
                  <a:pt x="7350162" y="1995566"/>
                  <a:pt x="7484472" y="1872688"/>
                </a:cubicBezTo>
                <a:close/>
                <a:moveTo>
                  <a:pt x="8219170" y="2091047"/>
                </a:moveTo>
                <a:cubicBezTo>
                  <a:pt x="8222734" y="2084758"/>
                  <a:pt x="7764449" y="1661585"/>
                  <a:pt x="7754086" y="1661585"/>
                </a:cubicBezTo>
                <a:cubicBezTo>
                  <a:pt x="7746371" y="1661585"/>
                  <a:pt x="7285871" y="2079513"/>
                  <a:pt x="7281823" y="2090182"/>
                </a:cubicBezTo>
                <a:cubicBezTo>
                  <a:pt x="7279073" y="2097387"/>
                  <a:pt x="8215070" y="2098253"/>
                  <a:pt x="8219170" y="2091047"/>
                </a:cubicBezTo>
                <a:close/>
                <a:moveTo>
                  <a:pt x="8774769" y="1633959"/>
                </a:moveTo>
                <a:cubicBezTo>
                  <a:pt x="8771688" y="1620999"/>
                  <a:pt x="8283740" y="1179543"/>
                  <a:pt x="8277095" y="1183669"/>
                </a:cubicBezTo>
                <a:cubicBezTo>
                  <a:pt x="8270373" y="1187819"/>
                  <a:pt x="8268362" y="2084478"/>
                  <a:pt x="8275058" y="2091175"/>
                </a:cubicBezTo>
                <a:cubicBezTo>
                  <a:pt x="8281016" y="2097158"/>
                  <a:pt x="8777035" y="1643328"/>
                  <a:pt x="8774769" y="1633959"/>
                </a:cubicBezTo>
                <a:close/>
                <a:moveTo>
                  <a:pt x="7193114" y="1644169"/>
                </a:moveTo>
                <a:cubicBezTo>
                  <a:pt x="7193114" y="1387337"/>
                  <a:pt x="7190644" y="1220079"/>
                  <a:pt x="7186901" y="1221453"/>
                </a:cubicBezTo>
                <a:cubicBezTo>
                  <a:pt x="7169358" y="1227768"/>
                  <a:pt x="6727725" y="1640171"/>
                  <a:pt x="6729558" y="1648497"/>
                </a:cubicBezTo>
                <a:cubicBezTo>
                  <a:pt x="6731977" y="1659700"/>
                  <a:pt x="7176895" y="2069151"/>
                  <a:pt x="7186621" y="2069151"/>
                </a:cubicBezTo>
                <a:cubicBezTo>
                  <a:pt x="7190721" y="2069151"/>
                  <a:pt x="7193114" y="1912637"/>
                  <a:pt x="7193114" y="1644169"/>
                </a:cubicBezTo>
                <a:close/>
                <a:moveTo>
                  <a:pt x="8244046" y="1645136"/>
                </a:moveTo>
                <a:cubicBezTo>
                  <a:pt x="8244046" y="1411933"/>
                  <a:pt x="8241780" y="1219748"/>
                  <a:pt x="8238979" y="1218067"/>
                </a:cubicBezTo>
                <a:cubicBezTo>
                  <a:pt x="8236203" y="1216361"/>
                  <a:pt x="8129774" y="1310544"/>
                  <a:pt x="8002439" y="1427312"/>
                </a:cubicBezTo>
                <a:lnTo>
                  <a:pt x="7770967" y="1639637"/>
                </a:lnTo>
                <a:lnTo>
                  <a:pt x="7793603" y="1661967"/>
                </a:lnTo>
                <a:cubicBezTo>
                  <a:pt x="7850331" y="1717906"/>
                  <a:pt x="8234497" y="2069099"/>
                  <a:pt x="8238979" y="2069125"/>
                </a:cubicBezTo>
                <a:cubicBezTo>
                  <a:pt x="8241780" y="2069151"/>
                  <a:pt x="8244046" y="1878340"/>
                  <a:pt x="8244046" y="1645136"/>
                </a:cubicBezTo>
                <a:close/>
                <a:moveTo>
                  <a:pt x="11220053" y="1546676"/>
                </a:moveTo>
                <a:lnTo>
                  <a:pt x="11218314" y="1163070"/>
                </a:lnTo>
                <a:lnTo>
                  <a:pt x="10805109" y="1161338"/>
                </a:lnTo>
                <a:cubicBezTo>
                  <a:pt x="10577848" y="1160371"/>
                  <a:pt x="10392924" y="1162179"/>
                  <a:pt x="10394169" y="1165336"/>
                </a:cubicBezTo>
                <a:cubicBezTo>
                  <a:pt x="10399514" y="1178881"/>
                  <a:pt x="11212066" y="1939143"/>
                  <a:pt x="11216687" y="1934941"/>
                </a:cubicBezTo>
                <a:cubicBezTo>
                  <a:pt x="11219495" y="1932370"/>
                  <a:pt x="11221010" y="1757652"/>
                  <a:pt x="11220053" y="1546650"/>
                </a:cubicBezTo>
                <a:close/>
                <a:moveTo>
                  <a:pt x="7984973" y="1415319"/>
                </a:moveTo>
                <a:cubicBezTo>
                  <a:pt x="8226604" y="1194974"/>
                  <a:pt x="8246388" y="1175674"/>
                  <a:pt x="8240481" y="1166100"/>
                </a:cubicBezTo>
                <a:cubicBezTo>
                  <a:pt x="8234676" y="1156755"/>
                  <a:pt x="7258601" y="1157443"/>
                  <a:pt x="7261733" y="1166813"/>
                </a:cubicBezTo>
                <a:cubicBezTo>
                  <a:pt x="7266138" y="1180078"/>
                  <a:pt x="7742068" y="1616950"/>
                  <a:pt x="7752558" y="1617358"/>
                </a:cubicBezTo>
                <a:cubicBezTo>
                  <a:pt x="7758287" y="1617587"/>
                  <a:pt x="7862884" y="1526688"/>
                  <a:pt x="7984973" y="1415319"/>
                </a:cubicBezTo>
                <a:close/>
                <a:moveTo>
                  <a:pt x="9033875" y="1408114"/>
                </a:moveTo>
                <a:cubicBezTo>
                  <a:pt x="9281954" y="1182726"/>
                  <a:pt x="9290081" y="1174859"/>
                  <a:pt x="9284434" y="1165718"/>
                </a:cubicBezTo>
                <a:cubicBezTo>
                  <a:pt x="9278641" y="1156348"/>
                  <a:pt x="8302939" y="1157825"/>
                  <a:pt x="8306045" y="1167220"/>
                </a:cubicBezTo>
                <a:cubicBezTo>
                  <a:pt x="8309049" y="1176157"/>
                  <a:pt x="8790836" y="1617078"/>
                  <a:pt x="8798092" y="1617511"/>
                </a:cubicBezTo>
                <a:cubicBezTo>
                  <a:pt x="8800842" y="1617663"/>
                  <a:pt x="8906941" y="1523430"/>
                  <a:pt x="9033875" y="1408114"/>
                </a:cubicBezTo>
                <a:close/>
                <a:moveTo>
                  <a:pt x="8225586" y="1135495"/>
                </a:moveTo>
                <a:cubicBezTo>
                  <a:pt x="8230424" y="1130657"/>
                  <a:pt x="7759433" y="700202"/>
                  <a:pt x="7752355" y="703002"/>
                </a:cubicBezTo>
                <a:cubicBezTo>
                  <a:pt x="7739751" y="707993"/>
                  <a:pt x="7282230" y="1132058"/>
                  <a:pt x="7285718" y="1135546"/>
                </a:cubicBezTo>
                <a:cubicBezTo>
                  <a:pt x="7290912" y="1140740"/>
                  <a:pt x="8220392" y="1140689"/>
                  <a:pt x="8225586" y="1135495"/>
                </a:cubicBezTo>
                <a:close/>
                <a:moveTo>
                  <a:pt x="9260166" y="1132949"/>
                </a:moveTo>
                <a:cubicBezTo>
                  <a:pt x="9256533" y="1122356"/>
                  <a:pt x="8802013" y="700838"/>
                  <a:pt x="8796539" y="703002"/>
                </a:cubicBezTo>
                <a:cubicBezTo>
                  <a:pt x="8783936" y="707993"/>
                  <a:pt x="8326440" y="1132058"/>
                  <a:pt x="8329928" y="1135546"/>
                </a:cubicBezTo>
                <a:cubicBezTo>
                  <a:pt x="8336981" y="1142599"/>
                  <a:pt x="9262593" y="1140002"/>
                  <a:pt x="9260166" y="1132949"/>
                </a:cubicBezTo>
                <a:close/>
                <a:moveTo>
                  <a:pt x="10318958" y="1133280"/>
                </a:moveTo>
                <a:cubicBezTo>
                  <a:pt x="10318958" y="1125132"/>
                  <a:pt x="9862315" y="694855"/>
                  <a:pt x="9853653" y="694855"/>
                </a:cubicBezTo>
                <a:cubicBezTo>
                  <a:pt x="9846374" y="694855"/>
                  <a:pt x="9373860" y="1123477"/>
                  <a:pt x="9370199" y="1133382"/>
                </a:cubicBezTo>
                <a:cubicBezTo>
                  <a:pt x="9368875" y="1136997"/>
                  <a:pt x="9562995" y="1139492"/>
                  <a:pt x="9843456" y="1139492"/>
                </a:cubicBezTo>
                <a:cubicBezTo>
                  <a:pt x="10128563" y="1139492"/>
                  <a:pt x="10318958" y="1136997"/>
                  <a:pt x="10318958" y="1133280"/>
                </a:cubicBezTo>
                <a:close/>
                <a:moveTo>
                  <a:pt x="11220241" y="1074463"/>
                </a:moveTo>
                <a:cubicBezTo>
                  <a:pt x="11222001" y="1018168"/>
                  <a:pt x="11220827" y="1011344"/>
                  <a:pt x="11206767" y="996016"/>
                </a:cubicBezTo>
                <a:cubicBezTo>
                  <a:pt x="11198296" y="986773"/>
                  <a:pt x="11119214" y="916677"/>
                  <a:pt x="11031028" y="840267"/>
                </a:cubicBezTo>
                <a:cubicBezTo>
                  <a:pt x="10924580" y="747994"/>
                  <a:pt x="10867795" y="703053"/>
                  <a:pt x="10862074" y="706491"/>
                </a:cubicBezTo>
                <a:cubicBezTo>
                  <a:pt x="10844149" y="717312"/>
                  <a:pt x="10399799" y="1127806"/>
                  <a:pt x="10399799" y="1133560"/>
                </a:cubicBezTo>
                <a:cubicBezTo>
                  <a:pt x="10399799" y="1137048"/>
                  <a:pt x="10571658" y="1138856"/>
                  <a:pt x="10809055" y="1137863"/>
                </a:cubicBezTo>
                <a:lnTo>
                  <a:pt x="11218314" y="1136106"/>
                </a:lnTo>
                <a:close/>
              </a:path>
            </a:pathLst>
          </a:custGeom>
          <a:gradFill flip="none" rotWithShape="1">
            <a:gsLst>
              <a:gs pos="30000">
                <a:schemeClr val="accent2"/>
              </a:gs>
              <a:gs pos="44000">
                <a:schemeClr val="accent4">
                  <a:lumMod val="75000"/>
                </a:schemeClr>
              </a:gs>
              <a:gs pos="9000">
                <a:schemeClr val="accent1"/>
              </a:gs>
              <a:gs pos="64000">
                <a:schemeClr val="bg1">
                  <a:alpha val="0"/>
                </a:schemeClr>
              </a:gs>
            </a:gsLst>
            <a:lin ang="13500000" scaled="1"/>
            <a:tileRect/>
          </a:gradFill>
          <a:ln w="6735" cap="flat">
            <a:noFill/>
            <a:prstDash val="solid"/>
            <a:miter/>
          </a:ln>
        </p:spPr>
        <p:txBody>
          <a:bodyPr rtlCol="0" anchor="ctr"/>
          <a:lstStyle/>
          <a:p>
            <a:endParaRPr lang="en-US"/>
          </a:p>
        </p:txBody>
      </p:sp>
    </p:spTree>
    <p:extLst>
      <p:ext uri="{BB962C8B-B14F-4D97-AF65-F5344CB8AC3E}">
        <p14:creationId xmlns:p14="http://schemas.microsoft.com/office/powerpoint/2010/main" val="7138945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pic>
        <p:nvPicPr>
          <p:cNvPr id="1026" name="Picture 2" descr="What is Finance and Its Features?">
            <a:extLst>
              <a:ext uri="{FF2B5EF4-FFF2-40B4-BE49-F238E27FC236}">
                <a16:creationId xmlns:a16="http://schemas.microsoft.com/office/drawing/2014/main" id="{C85962E2-F60C-FA67-EE7C-B2A7E374C76E}"/>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32700"/>
          <a:stretch>
            <a:fillRect/>
          </a:stretch>
        </p:blipFill>
        <p:spPr bwMode="auto">
          <a:xfrm>
            <a:off x="3986744" y="0"/>
            <a:ext cx="8205255" cy="6858000"/>
          </a:xfrm>
          <a:prstGeom prst="rect">
            <a:avLst/>
          </a:prstGeom>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B1C47F6A-82C0-C447-51C2-44EFA266EF75}"/>
              </a:ext>
            </a:extLst>
          </p:cNvPr>
          <p:cNvSpPr/>
          <p:nvPr userDrawn="1"/>
        </p:nvSpPr>
        <p:spPr>
          <a:xfrm>
            <a:off x="3924299" y="0"/>
            <a:ext cx="8267701" cy="6858000"/>
          </a:xfrm>
          <a:prstGeom prst="rect">
            <a:avLst/>
          </a:prstGeom>
          <a:gradFill flip="none" rotWithShape="1">
            <a:gsLst>
              <a:gs pos="39000">
                <a:srgbClr val="FFFFFF">
                  <a:alpha val="79000"/>
                </a:srgbClr>
              </a:gs>
              <a:gs pos="49000">
                <a:srgbClr val="FFFFFF">
                  <a:alpha val="54000"/>
                </a:srgbClr>
              </a:gs>
              <a:gs pos="20000">
                <a:srgbClr val="FFFFFF"/>
              </a:gs>
              <a:gs pos="69000">
                <a:schemeClr val="bg1">
                  <a:alpha val="0"/>
                </a:schemeClr>
              </a:gs>
              <a:gs pos="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Rectangle 2">
            <a:extLst>
              <a:ext uri="{FF2B5EF4-FFF2-40B4-BE49-F238E27FC236}">
                <a16:creationId xmlns:a16="http://schemas.microsoft.com/office/drawing/2014/main" id="{7F2B18F4-94E7-B218-C7DC-EEB8F8D8AB6C}"/>
              </a:ext>
            </a:extLst>
          </p:cNvPr>
          <p:cNvSpPr/>
          <p:nvPr userDrawn="1"/>
        </p:nvSpPr>
        <p:spPr>
          <a:xfrm rot="16200000">
            <a:off x="4629150" y="-704850"/>
            <a:ext cx="6857999" cy="8267700"/>
          </a:xfrm>
          <a:prstGeom prst="rect">
            <a:avLst/>
          </a:prstGeom>
          <a:gradFill flip="none" rotWithShape="1">
            <a:gsLst>
              <a:gs pos="48000">
                <a:srgbClr val="FFFFFF">
                  <a:alpha val="0"/>
                </a:srgbClr>
              </a:gs>
              <a:gs pos="32000">
                <a:srgbClr val="FFFFFF">
                  <a:alpha val="54000"/>
                </a:srgbClr>
              </a:gs>
              <a:gs pos="14000">
                <a:srgbClr val="FFFFFF">
                  <a:alpha val="95000"/>
                </a:srgbClr>
              </a:gs>
              <a:gs pos="100000">
                <a:schemeClr val="bg1">
                  <a:alpha val="0"/>
                </a:schemeClr>
              </a:gs>
              <a:gs pos="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7" name="Graphic 6">
            <a:extLst>
              <a:ext uri="{FF2B5EF4-FFF2-40B4-BE49-F238E27FC236}">
                <a16:creationId xmlns:a16="http://schemas.microsoft.com/office/drawing/2014/main" id="{A7546B44-A4DB-A559-3AFA-D65E306EAA66}"/>
              </a:ext>
            </a:extLst>
          </p:cNvPr>
          <p:cNvPicPr>
            <a:picLocks noChangeAspect="1"/>
          </p:cNvPicPr>
          <p:nvPr userDrawn="1"/>
        </p:nvPicPr>
        <p:blipFill rotWithShape="1">
          <a:blip r:embed="rId3">
            <a:clrChange>
              <a:clrFrom>
                <a:srgbClr val="000000">
                  <a:alpha val="0"/>
                </a:srgbClr>
              </a:clrFrom>
              <a:clrTo>
                <a:srgbClr val="000000">
                  <a:alpha val="0"/>
                </a:srgbClr>
              </a:clrTo>
            </a:clrChange>
            <a:alphaModFix amt="20000"/>
            <a:extLst>
              <a:ext uri="{28A0092B-C50C-407E-A947-70E740481C1C}">
                <a14:useLocalDpi xmlns:a14="http://schemas.microsoft.com/office/drawing/2010/main" val="0"/>
              </a:ext>
              <a:ext uri="{96DAC541-7B7A-43D3-8B79-37D633B846F1}">
                <asvg:svgBlip xmlns:asvg="http://schemas.microsoft.com/office/drawing/2016/SVG/main" r:embed="rId4"/>
              </a:ext>
            </a:extLst>
          </a:blip>
          <a:srcRect l="16571" t="20619" r="69795" b="11829"/>
          <a:stretch/>
        </p:blipFill>
        <p:spPr>
          <a:xfrm>
            <a:off x="-9625" y="0"/>
            <a:ext cx="3996370" cy="4973177"/>
          </a:xfrm>
          <a:prstGeom prst="rect">
            <a:avLst/>
          </a:prstGeom>
        </p:spPr>
      </p:pic>
      <p:sp>
        <p:nvSpPr>
          <p:cNvPr id="6" name="Title 1">
            <a:extLst>
              <a:ext uri="{FF2B5EF4-FFF2-40B4-BE49-F238E27FC236}">
                <a16:creationId xmlns:a16="http://schemas.microsoft.com/office/drawing/2014/main" id="{7E25DBC3-3A26-A12A-26D7-F7527D68CAF3}"/>
              </a:ext>
            </a:extLst>
          </p:cNvPr>
          <p:cNvSpPr>
            <a:spLocks noGrp="1"/>
          </p:cNvSpPr>
          <p:nvPr>
            <p:ph type="ctrTitle" hasCustomPrompt="1"/>
          </p:nvPr>
        </p:nvSpPr>
        <p:spPr>
          <a:xfrm>
            <a:off x="424895" y="5197106"/>
            <a:ext cx="7322105" cy="410273"/>
          </a:xfrm>
          <a:prstGeom prst="rect">
            <a:avLst/>
          </a:prstGeom>
        </p:spPr>
        <p:txBody>
          <a:bodyPr vert="horz" lIns="36000" tIns="36000" rIns="36000" bIns="36000" anchor="ctr" anchorCtr="0">
            <a:noAutofit/>
          </a:bodyPr>
          <a:lstStyle>
            <a:lvl1pPr algn="l">
              <a:defRPr sz="2800">
                <a:solidFill>
                  <a:schemeClr val="bg2"/>
                </a:solidFill>
              </a:defRPr>
            </a:lvl1pPr>
          </a:lstStyle>
          <a:p>
            <a:r>
              <a:rPr lang="en-US" dirty="0"/>
              <a:t>Master title</a:t>
            </a:r>
          </a:p>
        </p:txBody>
      </p:sp>
      <p:sp>
        <p:nvSpPr>
          <p:cNvPr id="9" name="Subtitle 2">
            <a:extLst>
              <a:ext uri="{FF2B5EF4-FFF2-40B4-BE49-F238E27FC236}">
                <a16:creationId xmlns:a16="http://schemas.microsoft.com/office/drawing/2014/main" id="{AE520E1F-5F91-3342-7F05-F6A37B0756E3}"/>
              </a:ext>
            </a:extLst>
          </p:cNvPr>
          <p:cNvSpPr>
            <a:spLocks noGrp="1"/>
          </p:cNvSpPr>
          <p:nvPr>
            <p:ph type="subTitle" idx="1" hasCustomPrompt="1"/>
          </p:nvPr>
        </p:nvSpPr>
        <p:spPr>
          <a:xfrm>
            <a:off x="424896" y="5634890"/>
            <a:ext cx="7322104" cy="303692"/>
          </a:xfrm>
        </p:spPr>
        <p:txBody>
          <a:bodyPr lIns="36000" tIns="36000" rIns="36000" bIns="36000" anchor="ctr"/>
          <a:lstStyle>
            <a:lvl1pPr marL="0" indent="0" algn="l">
              <a:buNone/>
              <a:defRPr sz="1400" b="1">
                <a:solidFill>
                  <a:schemeClr val="tx2"/>
                </a:solidFill>
                <a:latin typeface="Segoe UI Semibold" panose="020B0702040204020203" pitchFamily="34" charset="0"/>
                <a:cs typeface="Segoe UI Semibold" panose="020B0702040204020203"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Master subtitle</a:t>
            </a:r>
          </a:p>
        </p:txBody>
      </p:sp>
      <p:sp>
        <p:nvSpPr>
          <p:cNvPr id="10" name="Content Placeholder 4">
            <a:extLst>
              <a:ext uri="{FF2B5EF4-FFF2-40B4-BE49-F238E27FC236}">
                <a16:creationId xmlns:a16="http://schemas.microsoft.com/office/drawing/2014/main" id="{7E0347D4-172F-8DFD-91F6-8BAA0836A630}"/>
              </a:ext>
            </a:extLst>
          </p:cNvPr>
          <p:cNvSpPr>
            <a:spLocks noGrp="1"/>
          </p:cNvSpPr>
          <p:nvPr>
            <p:ph sz="quarter" idx="10" hasCustomPrompt="1"/>
          </p:nvPr>
        </p:nvSpPr>
        <p:spPr>
          <a:xfrm>
            <a:off x="424895" y="5955480"/>
            <a:ext cx="7320358" cy="269899"/>
          </a:xfrm>
        </p:spPr>
        <p:txBody>
          <a:bodyPr lIns="36000" tIns="36000" rIns="36000" bIns="36000" anchor="ctr"/>
          <a:lstStyle>
            <a:lvl1pPr marL="0" indent="0" algn="l">
              <a:buNone/>
              <a:defRPr sz="1200" b="0" i="1">
                <a:solidFill>
                  <a:schemeClr val="tx2"/>
                </a:solidFill>
              </a:defRPr>
            </a:lvl1pPr>
          </a:lstStyle>
          <a:p>
            <a:pPr lvl="0"/>
            <a:r>
              <a:rPr lang="en-US"/>
              <a:t>Date</a:t>
            </a:r>
          </a:p>
        </p:txBody>
      </p:sp>
    </p:spTree>
    <p:extLst>
      <p:ext uri="{BB962C8B-B14F-4D97-AF65-F5344CB8AC3E}">
        <p14:creationId xmlns:p14="http://schemas.microsoft.com/office/powerpoint/2010/main" val="121014784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General Sl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50D20B1-6B26-45B9-ACA1-0D8BC03871D8}"/>
              </a:ext>
            </a:extLst>
          </p:cNvPr>
          <p:cNvSpPr>
            <a:spLocks noGrp="1"/>
          </p:cNvSpPr>
          <p:nvPr>
            <p:ph type="title"/>
          </p:nvPr>
        </p:nvSpPr>
        <p:spPr>
          <a:xfrm>
            <a:off x="344487" y="88836"/>
            <a:ext cx="11504613" cy="408795"/>
          </a:xfrm>
        </p:spPr>
        <p:txBody>
          <a:bodyPr/>
          <a:lstStyle/>
          <a:p>
            <a:r>
              <a:rPr lang="en-US"/>
              <a:t>Click to edit Master title style</a:t>
            </a:r>
          </a:p>
        </p:txBody>
      </p:sp>
      <p:sp>
        <p:nvSpPr>
          <p:cNvPr id="6" name="Text Placeholder 7">
            <a:extLst>
              <a:ext uri="{FF2B5EF4-FFF2-40B4-BE49-F238E27FC236}">
                <a16:creationId xmlns:a16="http://schemas.microsoft.com/office/drawing/2014/main" id="{9B6ACBC5-8B35-4F11-B076-8EC2B9686C41}"/>
              </a:ext>
            </a:extLst>
          </p:cNvPr>
          <p:cNvSpPr>
            <a:spLocks noGrp="1"/>
          </p:cNvSpPr>
          <p:nvPr>
            <p:ph type="body" sz="quarter" idx="10"/>
          </p:nvPr>
        </p:nvSpPr>
        <p:spPr>
          <a:xfrm>
            <a:off x="344488" y="487848"/>
            <a:ext cx="11504612" cy="281861"/>
          </a:xfrm>
        </p:spPr>
        <p:txBody>
          <a:bodyPr anchor="ctr"/>
          <a:lstStyle>
            <a:lvl1pPr marL="0" indent="0" algn="l" defTabSz="914400" rtl="0" eaLnBrk="1" latinLnBrk="0" hangingPunct="1">
              <a:lnSpc>
                <a:spcPct val="90000"/>
              </a:lnSpc>
              <a:spcBef>
                <a:spcPct val="0"/>
              </a:spcBef>
              <a:buNone/>
              <a:defRPr lang="en-US" sz="1400" b="1" i="0" kern="1200" dirty="0" smtClean="0">
                <a:solidFill>
                  <a:srgbClr val="595959"/>
                </a:solidFill>
                <a:latin typeface="Segoe UI Semibold" panose="020B0702040204020203" pitchFamily="34" charset="0"/>
                <a:ea typeface="+mj-ea"/>
                <a:cs typeface="Segoe UI Semibold" panose="020B0702040204020203" pitchFamily="34" charset="0"/>
              </a:defRPr>
            </a:lvl1pPr>
            <a:lvl2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2pPr>
            <a:lvl3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3pPr>
            <a:lvl4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4pPr>
            <a:lvl5pPr marL="0" indent="0" algn="l" defTabSz="914400" rtl="0" eaLnBrk="1" latinLnBrk="0" hangingPunct="1">
              <a:lnSpc>
                <a:spcPct val="90000"/>
              </a:lnSpc>
              <a:spcBef>
                <a:spcPct val="0"/>
              </a:spcBef>
              <a:buNone/>
              <a:defRPr lang="en-IN" sz="1400" b="1" i="1" kern="1200" dirty="0">
                <a:solidFill>
                  <a:schemeClr val="bg1">
                    <a:lumMod val="50000"/>
                  </a:schemeClr>
                </a:solidFill>
                <a:latin typeface="+mj-lt"/>
                <a:ea typeface="+mj-ea"/>
                <a:cs typeface="+mj-cs"/>
              </a:defRPr>
            </a:lvl5pPr>
          </a:lstStyle>
          <a:p>
            <a:pPr lvl="0"/>
            <a:r>
              <a:rPr lang="en-US"/>
              <a:t>Click to edit Master text styles</a:t>
            </a:r>
          </a:p>
        </p:txBody>
      </p:sp>
      <p:sp>
        <p:nvSpPr>
          <p:cNvPr id="2" name="Text Placeholder 5">
            <a:extLst>
              <a:ext uri="{FF2B5EF4-FFF2-40B4-BE49-F238E27FC236}">
                <a16:creationId xmlns:a16="http://schemas.microsoft.com/office/drawing/2014/main" id="{1AAF154C-D019-928E-124D-92A3C02B9976}"/>
              </a:ext>
            </a:extLst>
          </p:cNvPr>
          <p:cNvSpPr>
            <a:spLocks noGrp="1"/>
          </p:cNvSpPr>
          <p:nvPr>
            <p:ph type="body" sz="quarter" idx="11" hasCustomPrompt="1"/>
          </p:nvPr>
        </p:nvSpPr>
        <p:spPr>
          <a:xfrm>
            <a:off x="3319462" y="6637956"/>
            <a:ext cx="7318058" cy="157512"/>
          </a:xfrm>
        </p:spPr>
        <p:txBody>
          <a:bodyPr lIns="36000" anchor="ctr"/>
          <a:lstStyle>
            <a:lvl1pPr marL="0" indent="0">
              <a:buNone/>
              <a:defRPr sz="800">
                <a:solidFill>
                  <a:schemeClr val="bg1"/>
                </a:solidFill>
              </a:defRPr>
            </a:lvl1pPr>
          </a:lstStyle>
          <a:p>
            <a:pPr lvl="0"/>
            <a:r>
              <a:rPr lang="en-US"/>
              <a:t>Footnotes</a:t>
            </a:r>
            <a:endParaRPr lang="en-IN"/>
          </a:p>
        </p:txBody>
      </p:sp>
    </p:spTree>
    <p:extLst>
      <p:ext uri="{BB962C8B-B14F-4D97-AF65-F5344CB8AC3E}">
        <p14:creationId xmlns:p14="http://schemas.microsoft.com/office/powerpoint/2010/main" val="127888673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Header - Vertical">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50D20B1-6B26-45B9-ACA1-0D8BC03871D8}"/>
              </a:ext>
            </a:extLst>
          </p:cNvPr>
          <p:cNvSpPr>
            <a:spLocks noGrp="1"/>
          </p:cNvSpPr>
          <p:nvPr>
            <p:ph type="title"/>
          </p:nvPr>
        </p:nvSpPr>
        <p:spPr>
          <a:xfrm>
            <a:off x="344487" y="88836"/>
            <a:ext cx="11504613" cy="408795"/>
          </a:xfrm>
        </p:spPr>
        <p:txBody>
          <a:bodyPr/>
          <a:lstStyle/>
          <a:p>
            <a:r>
              <a:rPr lang="en-US"/>
              <a:t>Click to edit Master title style</a:t>
            </a:r>
          </a:p>
        </p:txBody>
      </p:sp>
      <p:sp>
        <p:nvSpPr>
          <p:cNvPr id="6" name="Text Placeholder 7">
            <a:extLst>
              <a:ext uri="{FF2B5EF4-FFF2-40B4-BE49-F238E27FC236}">
                <a16:creationId xmlns:a16="http://schemas.microsoft.com/office/drawing/2014/main" id="{9B6ACBC5-8B35-4F11-B076-8EC2B9686C41}"/>
              </a:ext>
            </a:extLst>
          </p:cNvPr>
          <p:cNvSpPr>
            <a:spLocks noGrp="1"/>
          </p:cNvSpPr>
          <p:nvPr>
            <p:ph type="body" sz="quarter" idx="10"/>
          </p:nvPr>
        </p:nvSpPr>
        <p:spPr>
          <a:xfrm>
            <a:off x="344488" y="487848"/>
            <a:ext cx="11504612" cy="281861"/>
          </a:xfrm>
        </p:spPr>
        <p:txBody>
          <a:bodyPr anchor="ctr"/>
          <a:lstStyle>
            <a:lvl1pPr marL="0" indent="0" algn="l" defTabSz="914400" rtl="0" eaLnBrk="1" latinLnBrk="0" hangingPunct="1">
              <a:lnSpc>
                <a:spcPct val="90000"/>
              </a:lnSpc>
              <a:spcBef>
                <a:spcPct val="0"/>
              </a:spcBef>
              <a:buNone/>
              <a:defRPr lang="en-US" sz="1400" b="1" i="0" kern="1200" dirty="0" smtClean="0">
                <a:solidFill>
                  <a:srgbClr val="595959"/>
                </a:solidFill>
                <a:latin typeface="Segoe UI Semibold" panose="020B0702040204020203" pitchFamily="34" charset="0"/>
                <a:ea typeface="+mj-ea"/>
                <a:cs typeface="Segoe UI Semibold" panose="020B0702040204020203" pitchFamily="34" charset="0"/>
              </a:defRPr>
            </a:lvl1pPr>
            <a:lvl2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2pPr>
            <a:lvl3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3pPr>
            <a:lvl4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4pPr>
            <a:lvl5pPr marL="0" indent="0" algn="l" defTabSz="914400" rtl="0" eaLnBrk="1" latinLnBrk="0" hangingPunct="1">
              <a:lnSpc>
                <a:spcPct val="90000"/>
              </a:lnSpc>
              <a:spcBef>
                <a:spcPct val="0"/>
              </a:spcBef>
              <a:buNone/>
              <a:defRPr lang="en-IN" sz="1400" b="1" i="1" kern="1200" dirty="0">
                <a:solidFill>
                  <a:schemeClr val="bg1">
                    <a:lumMod val="50000"/>
                  </a:schemeClr>
                </a:solidFill>
                <a:latin typeface="+mj-lt"/>
                <a:ea typeface="+mj-ea"/>
                <a:cs typeface="+mj-cs"/>
              </a:defRPr>
            </a:lvl5pPr>
          </a:lstStyle>
          <a:p>
            <a:pPr lvl="0"/>
            <a:r>
              <a:rPr lang="en-US"/>
              <a:t>Click to edit Master text styles</a:t>
            </a:r>
          </a:p>
        </p:txBody>
      </p:sp>
      <p:sp>
        <p:nvSpPr>
          <p:cNvPr id="2" name="Text Placeholder 5">
            <a:extLst>
              <a:ext uri="{FF2B5EF4-FFF2-40B4-BE49-F238E27FC236}">
                <a16:creationId xmlns:a16="http://schemas.microsoft.com/office/drawing/2014/main" id="{1AAF154C-D019-928E-124D-92A3C02B9976}"/>
              </a:ext>
            </a:extLst>
          </p:cNvPr>
          <p:cNvSpPr>
            <a:spLocks noGrp="1"/>
          </p:cNvSpPr>
          <p:nvPr>
            <p:ph type="body" sz="quarter" idx="11" hasCustomPrompt="1"/>
          </p:nvPr>
        </p:nvSpPr>
        <p:spPr>
          <a:xfrm>
            <a:off x="3319462" y="6637956"/>
            <a:ext cx="7318058" cy="157512"/>
          </a:xfrm>
        </p:spPr>
        <p:txBody>
          <a:bodyPr lIns="36000" anchor="ctr"/>
          <a:lstStyle>
            <a:lvl1pPr marL="0" indent="0">
              <a:buNone/>
              <a:defRPr sz="800">
                <a:solidFill>
                  <a:schemeClr val="bg1"/>
                </a:solidFill>
              </a:defRPr>
            </a:lvl1pPr>
          </a:lstStyle>
          <a:p>
            <a:pPr lvl="0"/>
            <a:r>
              <a:rPr lang="en-US"/>
              <a:t>Footnotes</a:t>
            </a:r>
            <a:endParaRPr lang="en-IN"/>
          </a:p>
        </p:txBody>
      </p:sp>
      <p:sp>
        <p:nvSpPr>
          <p:cNvPr id="17" name="Text Placeholder 2">
            <a:extLst>
              <a:ext uri="{FF2B5EF4-FFF2-40B4-BE49-F238E27FC236}">
                <a16:creationId xmlns:a16="http://schemas.microsoft.com/office/drawing/2014/main" id="{DE9CA1BB-81C1-3DDE-F8A7-05DEAC433832}"/>
              </a:ext>
            </a:extLst>
          </p:cNvPr>
          <p:cNvSpPr>
            <a:spLocks noGrp="1"/>
          </p:cNvSpPr>
          <p:nvPr>
            <p:ph type="body" idx="1"/>
          </p:nvPr>
        </p:nvSpPr>
        <p:spPr>
          <a:xfrm>
            <a:off x="344487" y="896797"/>
            <a:ext cx="5157787"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19" name="Group 18">
            <a:extLst>
              <a:ext uri="{FF2B5EF4-FFF2-40B4-BE49-F238E27FC236}">
                <a16:creationId xmlns:a16="http://schemas.microsoft.com/office/drawing/2014/main" id="{1C437E69-259A-4D93-85B7-739A88FCFC39}"/>
              </a:ext>
            </a:extLst>
          </p:cNvPr>
          <p:cNvGrpSpPr/>
          <p:nvPr userDrawn="1"/>
        </p:nvGrpSpPr>
        <p:grpSpPr>
          <a:xfrm>
            <a:off x="344487" y="1214416"/>
            <a:ext cx="5561013" cy="55768"/>
            <a:chOff x="344487" y="1214416"/>
            <a:chExt cx="5561013" cy="55768"/>
          </a:xfrm>
        </p:grpSpPr>
        <p:cxnSp>
          <p:nvCxnSpPr>
            <p:cNvPr id="8" name="Straight Connector 7">
              <a:extLst>
                <a:ext uri="{FF2B5EF4-FFF2-40B4-BE49-F238E27FC236}">
                  <a16:creationId xmlns:a16="http://schemas.microsoft.com/office/drawing/2014/main" id="{CBC944B2-5B81-4284-24E4-CF9E3058C579}"/>
                </a:ext>
              </a:extLst>
            </p:cNvPr>
            <p:cNvCxnSpPr>
              <a:cxnSpLocks/>
            </p:cNvCxnSpPr>
            <p:nvPr/>
          </p:nvCxnSpPr>
          <p:spPr>
            <a:xfrm>
              <a:off x="398568" y="1242300"/>
              <a:ext cx="5506932"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CA5B0CB2-7B37-3A9F-911D-9B5245C564E4}"/>
                </a:ext>
              </a:extLst>
            </p:cNvPr>
            <p:cNvSpPr/>
            <p:nvPr/>
          </p:nvSpPr>
          <p:spPr>
            <a:xfrm>
              <a:off x="344487" y="1214416"/>
              <a:ext cx="545724" cy="55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prstClr val="white"/>
                </a:solidFill>
                <a:effectLst/>
                <a:uLnTx/>
                <a:uFillTx/>
                <a:latin typeface="Segoe UI"/>
                <a:ea typeface="+mn-ea"/>
                <a:cs typeface="+mn-cs"/>
              </a:endParaRPr>
            </a:p>
          </p:txBody>
        </p:sp>
      </p:grpSp>
      <p:sp>
        <p:nvSpPr>
          <p:cNvPr id="18" name="Text Placeholder 2">
            <a:extLst>
              <a:ext uri="{FF2B5EF4-FFF2-40B4-BE49-F238E27FC236}">
                <a16:creationId xmlns:a16="http://schemas.microsoft.com/office/drawing/2014/main" id="{CE4CC8C8-0E01-4E7E-59CB-54EBC3FCD14F}"/>
              </a:ext>
            </a:extLst>
          </p:cNvPr>
          <p:cNvSpPr>
            <a:spLocks noGrp="1"/>
          </p:cNvSpPr>
          <p:nvPr>
            <p:ph type="body" idx="12"/>
          </p:nvPr>
        </p:nvSpPr>
        <p:spPr>
          <a:xfrm>
            <a:off x="6288087" y="896797"/>
            <a:ext cx="5157787"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11" name="Group 10">
            <a:extLst>
              <a:ext uri="{FF2B5EF4-FFF2-40B4-BE49-F238E27FC236}">
                <a16:creationId xmlns:a16="http://schemas.microsoft.com/office/drawing/2014/main" id="{E12FE721-4FA0-4493-AE93-A96BE344DB84}"/>
              </a:ext>
            </a:extLst>
          </p:cNvPr>
          <p:cNvGrpSpPr/>
          <p:nvPr/>
        </p:nvGrpSpPr>
        <p:grpSpPr>
          <a:xfrm>
            <a:off x="6288087" y="1214416"/>
            <a:ext cx="5561013" cy="55768"/>
            <a:chOff x="671913" y="1348872"/>
            <a:chExt cx="4897195" cy="89815"/>
          </a:xfrm>
        </p:grpSpPr>
        <p:cxnSp>
          <p:nvCxnSpPr>
            <p:cNvPr id="13" name="Straight Connector 12">
              <a:extLst>
                <a:ext uri="{FF2B5EF4-FFF2-40B4-BE49-F238E27FC236}">
                  <a16:creationId xmlns:a16="http://schemas.microsoft.com/office/drawing/2014/main" id="{BE5167E5-F310-164C-669A-06765F060FF5}"/>
                </a:ext>
              </a:extLst>
            </p:cNvPr>
            <p:cNvCxnSpPr>
              <a:cxnSpLocks/>
            </p:cNvCxnSpPr>
            <p:nvPr/>
          </p:nvCxnSpPr>
          <p:spPr>
            <a:xfrm>
              <a:off x="719538" y="1393780"/>
              <a:ext cx="4849570"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DF8EAF54-BCC1-349D-7040-16DAD0F1F9BD}"/>
                </a:ext>
              </a:extLst>
            </p:cNvPr>
            <p:cNvSpPr/>
            <p:nvPr/>
          </p:nvSpPr>
          <p:spPr>
            <a:xfrm>
              <a:off x="671913" y="1348872"/>
              <a:ext cx="480581" cy="898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5" name="Text Placeholder 2">
            <a:extLst>
              <a:ext uri="{FF2B5EF4-FFF2-40B4-BE49-F238E27FC236}">
                <a16:creationId xmlns:a16="http://schemas.microsoft.com/office/drawing/2014/main" id="{B649D142-DF3F-46EA-7F65-9AB5205769D7}"/>
              </a:ext>
            </a:extLst>
          </p:cNvPr>
          <p:cNvSpPr>
            <a:spLocks noGrp="1"/>
          </p:cNvSpPr>
          <p:nvPr>
            <p:ph idx="15"/>
          </p:nvPr>
        </p:nvSpPr>
        <p:spPr>
          <a:xfrm>
            <a:off x="343500" y="1325880"/>
            <a:ext cx="5562000" cy="4997918"/>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3764688D-FB67-7AFC-446D-F869973432AB}"/>
              </a:ext>
            </a:extLst>
          </p:cNvPr>
          <p:cNvSpPr>
            <a:spLocks noGrp="1"/>
          </p:cNvSpPr>
          <p:nvPr>
            <p:ph idx="16"/>
          </p:nvPr>
        </p:nvSpPr>
        <p:spPr>
          <a:xfrm>
            <a:off x="6287100" y="1325880"/>
            <a:ext cx="5562000" cy="4997918"/>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4029084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Header - Horizontal">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50D20B1-6B26-45B9-ACA1-0D8BC03871D8}"/>
              </a:ext>
            </a:extLst>
          </p:cNvPr>
          <p:cNvSpPr>
            <a:spLocks noGrp="1"/>
          </p:cNvSpPr>
          <p:nvPr>
            <p:ph type="title"/>
          </p:nvPr>
        </p:nvSpPr>
        <p:spPr>
          <a:xfrm>
            <a:off x="344487" y="88836"/>
            <a:ext cx="11504613" cy="408795"/>
          </a:xfrm>
        </p:spPr>
        <p:txBody>
          <a:bodyPr/>
          <a:lstStyle/>
          <a:p>
            <a:r>
              <a:rPr lang="en-US"/>
              <a:t>Click to edit Master title style</a:t>
            </a:r>
          </a:p>
        </p:txBody>
      </p:sp>
      <p:sp>
        <p:nvSpPr>
          <p:cNvPr id="6" name="Text Placeholder 7">
            <a:extLst>
              <a:ext uri="{FF2B5EF4-FFF2-40B4-BE49-F238E27FC236}">
                <a16:creationId xmlns:a16="http://schemas.microsoft.com/office/drawing/2014/main" id="{9B6ACBC5-8B35-4F11-B076-8EC2B9686C41}"/>
              </a:ext>
            </a:extLst>
          </p:cNvPr>
          <p:cNvSpPr>
            <a:spLocks noGrp="1"/>
          </p:cNvSpPr>
          <p:nvPr>
            <p:ph type="body" sz="quarter" idx="10"/>
          </p:nvPr>
        </p:nvSpPr>
        <p:spPr>
          <a:xfrm>
            <a:off x="344488" y="487848"/>
            <a:ext cx="11504612" cy="281861"/>
          </a:xfrm>
        </p:spPr>
        <p:txBody>
          <a:bodyPr anchor="ctr"/>
          <a:lstStyle>
            <a:lvl1pPr marL="0" indent="0" algn="l" defTabSz="914400" rtl="0" eaLnBrk="1" latinLnBrk="0" hangingPunct="1">
              <a:lnSpc>
                <a:spcPct val="90000"/>
              </a:lnSpc>
              <a:spcBef>
                <a:spcPct val="0"/>
              </a:spcBef>
              <a:buNone/>
              <a:defRPr lang="en-US" sz="1400" b="1" i="0" kern="1200" dirty="0" smtClean="0">
                <a:solidFill>
                  <a:srgbClr val="595959"/>
                </a:solidFill>
                <a:latin typeface="Segoe UI Semibold" panose="020B0702040204020203" pitchFamily="34" charset="0"/>
                <a:ea typeface="+mj-ea"/>
                <a:cs typeface="Segoe UI Semibold" panose="020B0702040204020203" pitchFamily="34" charset="0"/>
              </a:defRPr>
            </a:lvl1pPr>
            <a:lvl2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2pPr>
            <a:lvl3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3pPr>
            <a:lvl4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4pPr>
            <a:lvl5pPr marL="0" indent="0" algn="l" defTabSz="914400" rtl="0" eaLnBrk="1" latinLnBrk="0" hangingPunct="1">
              <a:lnSpc>
                <a:spcPct val="90000"/>
              </a:lnSpc>
              <a:spcBef>
                <a:spcPct val="0"/>
              </a:spcBef>
              <a:buNone/>
              <a:defRPr lang="en-IN" sz="1400" b="1" i="1" kern="1200" dirty="0">
                <a:solidFill>
                  <a:schemeClr val="bg1">
                    <a:lumMod val="50000"/>
                  </a:schemeClr>
                </a:solidFill>
                <a:latin typeface="+mj-lt"/>
                <a:ea typeface="+mj-ea"/>
                <a:cs typeface="+mj-cs"/>
              </a:defRPr>
            </a:lvl5pPr>
          </a:lstStyle>
          <a:p>
            <a:pPr lvl="0"/>
            <a:r>
              <a:rPr lang="en-US"/>
              <a:t>Click to edit Master text styles</a:t>
            </a:r>
          </a:p>
        </p:txBody>
      </p:sp>
      <p:sp>
        <p:nvSpPr>
          <p:cNvPr id="2" name="Text Placeholder 5">
            <a:extLst>
              <a:ext uri="{FF2B5EF4-FFF2-40B4-BE49-F238E27FC236}">
                <a16:creationId xmlns:a16="http://schemas.microsoft.com/office/drawing/2014/main" id="{1AAF154C-D019-928E-124D-92A3C02B9976}"/>
              </a:ext>
            </a:extLst>
          </p:cNvPr>
          <p:cNvSpPr>
            <a:spLocks noGrp="1"/>
          </p:cNvSpPr>
          <p:nvPr>
            <p:ph type="body" sz="quarter" idx="11" hasCustomPrompt="1"/>
          </p:nvPr>
        </p:nvSpPr>
        <p:spPr>
          <a:xfrm>
            <a:off x="3319462" y="6637956"/>
            <a:ext cx="7318058" cy="157512"/>
          </a:xfrm>
        </p:spPr>
        <p:txBody>
          <a:bodyPr lIns="36000" anchor="ctr"/>
          <a:lstStyle>
            <a:lvl1pPr marL="0" indent="0">
              <a:buNone/>
              <a:defRPr sz="800">
                <a:solidFill>
                  <a:schemeClr val="bg1"/>
                </a:solidFill>
              </a:defRPr>
            </a:lvl1pPr>
          </a:lstStyle>
          <a:p>
            <a:pPr lvl="0"/>
            <a:r>
              <a:rPr lang="en-US"/>
              <a:t>Footnotes</a:t>
            </a:r>
            <a:endParaRPr lang="en-IN"/>
          </a:p>
        </p:txBody>
      </p:sp>
      <p:sp>
        <p:nvSpPr>
          <p:cNvPr id="17" name="Text Placeholder 2">
            <a:extLst>
              <a:ext uri="{FF2B5EF4-FFF2-40B4-BE49-F238E27FC236}">
                <a16:creationId xmlns:a16="http://schemas.microsoft.com/office/drawing/2014/main" id="{DE9CA1BB-81C1-3DDE-F8A7-05DEAC433832}"/>
              </a:ext>
            </a:extLst>
          </p:cNvPr>
          <p:cNvSpPr>
            <a:spLocks noGrp="1"/>
          </p:cNvSpPr>
          <p:nvPr>
            <p:ph type="body" idx="1"/>
          </p:nvPr>
        </p:nvSpPr>
        <p:spPr>
          <a:xfrm>
            <a:off x="344486" y="896797"/>
            <a:ext cx="11203200"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19" name="Group 18">
            <a:extLst>
              <a:ext uri="{FF2B5EF4-FFF2-40B4-BE49-F238E27FC236}">
                <a16:creationId xmlns:a16="http://schemas.microsoft.com/office/drawing/2014/main" id="{1C437E69-259A-4D93-85B7-739A88FCFC39}"/>
              </a:ext>
            </a:extLst>
          </p:cNvPr>
          <p:cNvGrpSpPr/>
          <p:nvPr userDrawn="1"/>
        </p:nvGrpSpPr>
        <p:grpSpPr>
          <a:xfrm>
            <a:off x="344486" y="1214416"/>
            <a:ext cx="11505600" cy="55768"/>
            <a:chOff x="344487" y="1214416"/>
            <a:chExt cx="5561013" cy="55768"/>
          </a:xfrm>
        </p:grpSpPr>
        <p:cxnSp>
          <p:nvCxnSpPr>
            <p:cNvPr id="8" name="Straight Connector 7">
              <a:extLst>
                <a:ext uri="{FF2B5EF4-FFF2-40B4-BE49-F238E27FC236}">
                  <a16:creationId xmlns:a16="http://schemas.microsoft.com/office/drawing/2014/main" id="{CBC944B2-5B81-4284-24E4-CF9E3058C579}"/>
                </a:ext>
              </a:extLst>
            </p:cNvPr>
            <p:cNvCxnSpPr>
              <a:cxnSpLocks/>
            </p:cNvCxnSpPr>
            <p:nvPr/>
          </p:nvCxnSpPr>
          <p:spPr>
            <a:xfrm>
              <a:off x="398568" y="1242300"/>
              <a:ext cx="5506932"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CA5B0CB2-7B37-3A9F-911D-9B5245C564E4}"/>
                </a:ext>
              </a:extLst>
            </p:cNvPr>
            <p:cNvSpPr/>
            <p:nvPr/>
          </p:nvSpPr>
          <p:spPr>
            <a:xfrm>
              <a:off x="344487" y="1214416"/>
              <a:ext cx="264479" cy="55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prstClr val="white"/>
                </a:solidFill>
                <a:effectLst/>
                <a:uLnTx/>
                <a:uFillTx/>
                <a:latin typeface="Segoe UI"/>
                <a:ea typeface="+mn-ea"/>
                <a:cs typeface="+mn-cs"/>
              </a:endParaRPr>
            </a:p>
          </p:txBody>
        </p:sp>
      </p:grpSp>
      <p:sp>
        <p:nvSpPr>
          <p:cNvPr id="7" name="Text Placeholder 2">
            <a:extLst>
              <a:ext uri="{FF2B5EF4-FFF2-40B4-BE49-F238E27FC236}">
                <a16:creationId xmlns:a16="http://schemas.microsoft.com/office/drawing/2014/main" id="{8A0CA280-7199-E0B4-DCEC-E0B35AF66275}"/>
              </a:ext>
            </a:extLst>
          </p:cNvPr>
          <p:cNvSpPr>
            <a:spLocks noGrp="1"/>
          </p:cNvSpPr>
          <p:nvPr>
            <p:ph type="body" idx="13"/>
          </p:nvPr>
        </p:nvSpPr>
        <p:spPr>
          <a:xfrm>
            <a:off x="344486" y="3800417"/>
            <a:ext cx="11203200"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10" name="Group 9">
            <a:extLst>
              <a:ext uri="{FF2B5EF4-FFF2-40B4-BE49-F238E27FC236}">
                <a16:creationId xmlns:a16="http://schemas.microsoft.com/office/drawing/2014/main" id="{EBA14E75-9C64-2489-C60B-F72B47940F86}"/>
              </a:ext>
            </a:extLst>
          </p:cNvPr>
          <p:cNvGrpSpPr/>
          <p:nvPr userDrawn="1"/>
        </p:nvGrpSpPr>
        <p:grpSpPr>
          <a:xfrm>
            <a:off x="344486" y="4118036"/>
            <a:ext cx="11505600" cy="55768"/>
            <a:chOff x="344487" y="1214416"/>
            <a:chExt cx="5561013" cy="55768"/>
          </a:xfrm>
        </p:grpSpPr>
        <p:cxnSp>
          <p:nvCxnSpPr>
            <p:cNvPr id="12" name="Straight Connector 11">
              <a:extLst>
                <a:ext uri="{FF2B5EF4-FFF2-40B4-BE49-F238E27FC236}">
                  <a16:creationId xmlns:a16="http://schemas.microsoft.com/office/drawing/2014/main" id="{7002CF5F-A64F-6BF3-4035-5277E5E64224}"/>
                </a:ext>
              </a:extLst>
            </p:cNvPr>
            <p:cNvCxnSpPr>
              <a:cxnSpLocks/>
            </p:cNvCxnSpPr>
            <p:nvPr/>
          </p:nvCxnSpPr>
          <p:spPr>
            <a:xfrm>
              <a:off x="398568" y="1242300"/>
              <a:ext cx="5506932"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D4F36BCE-12B0-9512-5EB7-DD45DB107594}"/>
                </a:ext>
              </a:extLst>
            </p:cNvPr>
            <p:cNvSpPr/>
            <p:nvPr/>
          </p:nvSpPr>
          <p:spPr>
            <a:xfrm>
              <a:off x="344487" y="1214416"/>
              <a:ext cx="264479" cy="55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prstClr val="white"/>
                </a:solidFill>
                <a:effectLst/>
                <a:uLnTx/>
                <a:uFillTx/>
                <a:latin typeface="Segoe UI"/>
                <a:ea typeface="+mn-ea"/>
                <a:cs typeface="+mn-cs"/>
              </a:endParaRPr>
            </a:p>
          </p:txBody>
        </p:sp>
      </p:grpSp>
      <p:sp>
        <p:nvSpPr>
          <p:cNvPr id="25" name="Text Placeholder 2">
            <a:extLst>
              <a:ext uri="{FF2B5EF4-FFF2-40B4-BE49-F238E27FC236}">
                <a16:creationId xmlns:a16="http://schemas.microsoft.com/office/drawing/2014/main" id="{B649D142-DF3F-46EA-7F65-9AB5205769D7}"/>
              </a:ext>
            </a:extLst>
          </p:cNvPr>
          <p:cNvSpPr>
            <a:spLocks noGrp="1"/>
          </p:cNvSpPr>
          <p:nvPr>
            <p:ph idx="15"/>
          </p:nvPr>
        </p:nvSpPr>
        <p:spPr>
          <a:xfrm>
            <a:off x="343500" y="1325880"/>
            <a:ext cx="11505600" cy="2286000"/>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 Placeholder 2">
            <a:extLst>
              <a:ext uri="{FF2B5EF4-FFF2-40B4-BE49-F238E27FC236}">
                <a16:creationId xmlns:a16="http://schemas.microsoft.com/office/drawing/2014/main" id="{000EC6B4-8CBA-98FE-E605-7612ED3494CF}"/>
              </a:ext>
            </a:extLst>
          </p:cNvPr>
          <p:cNvSpPr>
            <a:spLocks noGrp="1"/>
          </p:cNvSpPr>
          <p:nvPr>
            <p:ph idx="17"/>
          </p:nvPr>
        </p:nvSpPr>
        <p:spPr>
          <a:xfrm>
            <a:off x="343500" y="4229500"/>
            <a:ext cx="11505600" cy="2286000"/>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3082035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Header - 3">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50D20B1-6B26-45B9-ACA1-0D8BC03871D8}"/>
              </a:ext>
            </a:extLst>
          </p:cNvPr>
          <p:cNvSpPr>
            <a:spLocks noGrp="1"/>
          </p:cNvSpPr>
          <p:nvPr>
            <p:ph type="title"/>
          </p:nvPr>
        </p:nvSpPr>
        <p:spPr>
          <a:xfrm>
            <a:off x="344487" y="88836"/>
            <a:ext cx="11504613" cy="408795"/>
          </a:xfrm>
        </p:spPr>
        <p:txBody>
          <a:bodyPr/>
          <a:lstStyle/>
          <a:p>
            <a:r>
              <a:rPr lang="en-US"/>
              <a:t>Click to edit Master title style</a:t>
            </a:r>
          </a:p>
        </p:txBody>
      </p:sp>
      <p:sp>
        <p:nvSpPr>
          <p:cNvPr id="6" name="Text Placeholder 7">
            <a:extLst>
              <a:ext uri="{FF2B5EF4-FFF2-40B4-BE49-F238E27FC236}">
                <a16:creationId xmlns:a16="http://schemas.microsoft.com/office/drawing/2014/main" id="{9B6ACBC5-8B35-4F11-B076-8EC2B9686C41}"/>
              </a:ext>
            </a:extLst>
          </p:cNvPr>
          <p:cNvSpPr>
            <a:spLocks noGrp="1"/>
          </p:cNvSpPr>
          <p:nvPr>
            <p:ph type="body" sz="quarter" idx="10"/>
          </p:nvPr>
        </p:nvSpPr>
        <p:spPr>
          <a:xfrm>
            <a:off x="344488" y="487848"/>
            <a:ext cx="11504612" cy="281861"/>
          </a:xfrm>
        </p:spPr>
        <p:txBody>
          <a:bodyPr anchor="ctr"/>
          <a:lstStyle>
            <a:lvl1pPr marL="0" indent="0" algn="l" defTabSz="914400" rtl="0" eaLnBrk="1" latinLnBrk="0" hangingPunct="1">
              <a:lnSpc>
                <a:spcPct val="90000"/>
              </a:lnSpc>
              <a:spcBef>
                <a:spcPct val="0"/>
              </a:spcBef>
              <a:buNone/>
              <a:defRPr lang="en-US" sz="1400" b="1" i="0" kern="1200" dirty="0" smtClean="0">
                <a:solidFill>
                  <a:srgbClr val="595959"/>
                </a:solidFill>
                <a:latin typeface="Segoe UI Semibold" panose="020B0702040204020203" pitchFamily="34" charset="0"/>
                <a:ea typeface="+mj-ea"/>
                <a:cs typeface="Segoe UI Semibold" panose="020B0702040204020203" pitchFamily="34" charset="0"/>
              </a:defRPr>
            </a:lvl1pPr>
            <a:lvl2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2pPr>
            <a:lvl3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3pPr>
            <a:lvl4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4pPr>
            <a:lvl5pPr marL="0" indent="0" algn="l" defTabSz="914400" rtl="0" eaLnBrk="1" latinLnBrk="0" hangingPunct="1">
              <a:lnSpc>
                <a:spcPct val="90000"/>
              </a:lnSpc>
              <a:spcBef>
                <a:spcPct val="0"/>
              </a:spcBef>
              <a:buNone/>
              <a:defRPr lang="en-IN" sz="1400" b="1" i="1" kern="1200" dirty="0">
                <a:solidFill>
                  <a:schemeClr val="bg1">
                    <a:lumMod val="50000"/>
                  </a:schemeClr>
                </a:solidFill>
                <a:latin typeface="+mj-lt"/>
                <a:ea typeface="+mj-ea"/>
                <a:cs typeface="+mj-cs"/>
              </a:defRPr>
            </a:lvl5pPr>
          </a:lstStyle>
          <a:p>
            <a:pPr lvl="0"/>
            <a:r>
              <a:rPr lang="en-US"/>
              <a:t>Click to edit Master text styles</a:t>
            </a:r>
          </a:p>
        </p:txBody>
      </p:sp>
      <p:sp>
        <p:nvSpPr>
          <p:cNvPr id="2" name="Text Placeholder 5">
            <a:extLst>
              <a:ext uri="{FF2B5EF4-FFF2-40B4-BE49-F238E27FC236}">
                <a16:creationId xmlns:a16="http://schemas.microsoft.com/office/drawing/2014/main" id="{1AAF154C-D019-928E-124D-92A3C02B9976}"/>
              </a:ext>
            </a:extLst>
          </p:cNvPr>
          <p:cNvSpPr>
            <a:spLocks noGrp="1"/>
          </p:cNvSpPr>
          <p:nvPr>
            <p:ph type="body" sz="quarter" idx="11" hasCustomPrompt="1"/>
          </p:nvPr>
        </p:nvSpPr>
        <p:spPr>
          <a:xfrm>
            <a:off x="3319462" y="6637956"/>
            <a:ext cx="7318058" cy="157512"/>
          </a:xfrm>
        </p:spPr>
        <p:txBody>
          <a:bodyPr lIns="36000" anchor="ctr"/>
          <a:lstStyle>
            <a:lvl1pPr marL="0" indent="0">
              <a:buNone/>
              <a:defRPr sz="800">
                <a:solidFill>
                  <a:schemeClr val="bg1"/>
                </a:solidFill>
              </a:defRPr>
            </a:lvl1pPr>
          </a:lstStyle>
          <a:p>
            <a:pPr lvl="0"/>
            <a:r>
              <a:rPr lang="en-US"/>
              <a:t>Footnotes</a:t>
            </a:r>
            <a:endParaRPr lang="en-IN"/>
          </a:p>
        </p:txBody>
      </p:sp>
      <p:sp>
        <p:nvSpPr>
          <p:cNvPr id="17" name="Text Placeholder 2">
            <a:extLst>
              <a:ext uri="{FF2B5EF4-FFF2-40B4-BE49-F238E27FC236}">
                <a16:creationId xmlns:a16="http://schemas.microsoft.com/office/drawing/2014/main" id="{DE9CA1BB-81C1-3DDE-F8A7-05DEAC433832}"/>
              </a:ext>
            </a:extLst>
          </p:cNvPr>
          <p:cNvSpPr>
            <a:spLocks noGrp="1"/>
          </p:cNvSpPr>
          <p:nvPr>
            <p:ph type="body" idx="1"/>
          </p:nvPr>
        </p:nvSpPr>
        <p:spPr>
          <a:xfrm>
            <a:off x="344487" y="896797"/>
            <a:ext cx="7281863"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19" name="Group 18">
            <a:extLst>
              <a:ext uri="{FF2B5EF4-FFF2-40B4-BE49-F238E27FC236}">
                <a16:creationId xmlns:a16="http://schemas.microsoft.com/office/drawing/2014/main" id="{1C437E69-259A-4D93-85B7-739A88FCFC39}"/>
              </a:ext>
            </a:extLst>
          </p:cNvPr>
          <p:cNvGrpSpPr/>
          <p:nvPr userDrawn="1"/>
        </p:nvGrpSpPr>
        <p:grpSpPr>
          <a:xfrm>
            <a:off x="344486" y="1214416"/>
            <a:ext cx="7653600" cy="55768"/>
            <a:chOff x="344487" y="1214416"/>
            <a:chExt cx="5561013" cy="55768"/>
          </a:xfrm>
        </p:grpSpPr>
        <p:cxnSp>
          <p:nvCxnSpPr>
            <p:cNvPr id="8" name="Straight Connector 7">
              <a:extLst>
                <a:ext uri="{FF2B5EF4-FFF2-40B4-BE49-F238E27FC236}">
                  <a16:creationId xmlns:a16="http://schemas.microsoft.com/office/drawing/2014/main" id="{CBC944B2-5B81-4284-24E4-CF9E3058C579}"/>
                </a:ext>
              </a:extLst>
            </p:cNvPr>
            <p:cNvCxnSpPr>
              <a:cxnSpLocks/>
            </p:cNvCxnSpPr>
            <p:nvPr/>
          </p:nvCxnSpPr>
          <p:spPr>
            <a:xfrm>
              <a:off x="398568" y="1242300"/>
              <a:ext cx="5506932"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CA5B0CB2-7B37-3A9F-911D-9B5245C564E4}"/>
                </a:ext>
              </a:extLst>
            </p:cNvPr>
            <p:cNvSpPr/>
            <p:nvPr/>
          </p:nvSpPr>
          <p:spPr>
            <a:xfrm>
              <a:off x="344487" y="1214416"/>
              <a:ext cx="397589" cy="55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prstClr val="white"/>
                </a:solidFill>
                <a:effectLst/>
                <a:uLnTx/>
                <a:uFillTx/>
                <a:latin typeface="Segoe UI"/>
                <a:ea typeface="+mn-ea"/>
                <a:cs typeface="+mn-cs"/>
              </a:endParaRPr>
            </a:p>
          </p:txBody>
        </p:sp>
      </p:grpSp>
      <p:sp>
        <p:nvSpPr>
          <p:cNvPr id="18" name="Text Placeholder 2">
            <a:extLst>
              <a:ext uri="{FF2B5EF4-FFF2-40B4-BE49-F238E27FC236}">
                <a16:creationId xmlns:a16="http://schemas.microsoft.com/office/drawing/2014/main" id="{CE4CC8C8-0E01-4E7E-59CB-54EBC3FCD14F}"/>
              </a:ext>
            </a:extLst>
          </p:cNvPr>
          <p:cNvSpPr>
            <a:spLocks noGrp="1"/>
          </p:cNvSpPr>
          <p:nvPr>
            <p:ph type="body" idx="12"/>
          </p:nvPr>
        </p:nvSpPr>
        <p:spPr>
          <a:xfrm>
            <a:off x="8231099" y="896797"/>
            <a:ext cx="3369600"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11" name="Group 10">
            <a:extLst>
              <a:ext uri="{FF2B5EF4-FFF2-40B4-BE49-F238E27FC236}">
                <a16:creationId xmlns:a16="http://schemas.microsoft.com/office/drawing/2014/main" id="{E12FE721-4FA0-4493-AE93-A96BE344DB84}"/>
              </a:ext>
            </a:extLst>
          </p:cNvPr>
          <p:cNvGrpSpPr/>
          <p:nvPr/>
        </p:nvGrpSpPr>
        <p:grpSpPr>
          <a:xfrm>
            <a:off x="8231099" y="1214416"/>
            <a:ext cx="3618001" cy="55768"/>
            <a:chOff x="671912" y="1348872"/>
            <a:chExt cx="4897196" cy="89815"/>
          </a:xfrm>
        </p:grpSpPr>
        <p:cxnSp>
          <p:nvCxnSpPr>
            <p:cNvPr id="13" name="Straight Connector 12">
              <a:extLst>
                <a:ext uri="{FF2B5EF4-FFF2-40B4-BE49-F238E27FC236}">
                  <a16:creationId xmlns:a16="http://schemas.microsoft.com/office/drawing/2014/main" id="{BE5167E5-F310-164C-669A-06765F060FF5}"/>
                </a:ext>
              </a:extLst>
            </p:cNvPr>
            <p:cNvCxnSpPr>
              <a:cxnSpLocks/>
            </p:cNvCxnSpPr>
            <p:nvPr/>
          </p:nvCxnSpPr>
          <p:spPr>
            <a:xfrm>
              <a:off x="719538" y="1393780"/>
              <a:ext cx="4849570"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DF8EAF54-BCC1-349D-7040-16DAD0F1F9BD}"/>
                </a:ext>
              </a:extLst>
            </p:cNvPr>
            <p:cNvSpPr/>
            <p:nvPr/>
          </p:nvSpPr>
          <p:spPr>
            <a:xfrm>
              <a:off x="671912" y="1348872"/>
              <a:ext cx="740670" cy="898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prstClr val="white"/>
                </a:solidFill>
                <a:effectLst/>
                <a:uLnTx/>
                <a:uFillTx/>
                <a:latin typeface="Segoe UI"/>
                <a:ea typeface="+mn-ea"/>
                <a:cs typeface="+mn-cs"/>
              </a:endParaRPr>
            </a:p>
          </p:txBody>
        </p:sp>
      </p:grpSp>
      <p:sp>
        <p:nvSpPr>
          <p:cNvPr id="25" name="Text Placeholder 2">
            <a:extLst>
              <a:ext uri="{FF2B5EF4-FFF2-40B4-BE49-F238E27FC236}">
                <a16:creationId xmlns:a16="http://schemas.microsoft.com/office/drawing/2014/main" id="{B649D142-DF3F-46EA-7F65-9AB5205769D7}"/>
              </a:ext>
            </a:extLst>
          </p:cNvPr>
          <p:cNvSpPr>
            <a:spLocks noGrp="1"/>
          </p:cNvSpPr>
          <p:nvPr>
            <p:ph idx="15"/>
          </p:nvPr>
        </p:nvSpPr>
        <p:spPr>
          <a:xfrm>
            <a:off x="343500" y="1325879"/>
            <a:ext cx="7655094" cy="5184241"/>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3764688D-FB67-7AFC-446D-F869973432AB}"/>
              </a:ext>
            </a:extLst>
          </p:cNvPr>
          <p:cNvSpPr>
            <a:spLocks noGrp="1"/>
          </p:cNvSpPr>
          <p:nvPr>
            <p:ph idx="16"/>
          </p:nvPr>
        </p:nvSpPr>
        <p:spPr>
          <a:xfrm>
            <a:off x="8229600" y="1325879"/>
            <a:ext cx="3619500" cy="5184241"/>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1896271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wo Header - 3">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50D20B1-6B26-45B9-ACA1-0D8BC03871D8}"/>
              </a:ext>
            </a:extLst>
          </p:cNvPr>
          <p:cNvSpPr>
            <a:spLocks noGrp="1"/>
          </p:cNvSpPr>
          <p:nvPr>
            <p:ph type="title"/>
          </p:nvPr>
        </p:nvSpPr>
        <p:spPr>
          <a:xfrm>
            <a:off x="344487" y="88836"/>
            <a:ext cx="11504613" cy="408795"/>
          </a:xfrm>
        </p:spPr>
        <p:txBody>
          <a:bodyPr/>
          <a:lstStyle/>
          <a:p>
            <a:r>
              <a:rPr lang="en-US"/>
              <a:t>Click to edit Master title style</a:t>
            </a:r>
          </a:p>
        </p:txBody>
      </p:sp>
      <p:sp>
        <p:nvSpPr>
          <p:cNvPr id="6" name="Text Placeholder 7">
            <a:extLst>
              <a:ext uri="{FF2B5EF4-FFF2-40B4-BE49-F238E27FC236}">
                <a16:creationId xmlns:a16="http://schemas.microsoft.com/office/drawing/2014/main" id="{9B6ACBC5-8B35-4F11-B076-8EC2B9686C41}"/>
              </a:ext>
            </a:extLst>
          </p:cNvPr>
          <p:cNvSpPr>
            <a:spLocks noGrp="1"/>
          </p:cNvSpPr>
          <p:nvPr>
            <p:ph type="body" sz="quarter" idx="10"/>
          </p:nvPr>
        </p:nvSpPr>
        <p:spPr>
          <a:xfrm>
            <a:off x="344488" y="487848"/>
            <a:ext cx="11504612" cy="281861"/>
          </a:xfrm>
        </p:spPr>
        <p:txBody>
          <a:bodyPr anchor="ctr"/>
          <a:lstStyle>
            <a:lvl1pPr marL="0" indent="0" algn="l" defTabSz="914400" rtl="0" eaLnBrk="1" latinLnBrk="0" hangingPunct="1">
              <a:lnSpc>
                <a:spcPct val="90000"/>
              </a:lnSpc>
              <a:spcBef>
                <a:spcPct val="0"/>
              </a:spcBef>
              <a:buNone/>
              <a:defRPr lang="en-US" sz="1400" b="1" i="0" kern="1200" dirty="0" smtClean="0">
                <a:solidFill>
                  <a:srgbClr val="595959"/>
                </a:solidFill>
                <a:latin typeface="Segoe UI Semibold" panose="020B0702040204020203" pitchFamily="34" charset="0"/>
                <a:ea typeface="+mj-ea"/>
                <a:cs typeface="Segoe UI Semibold" panose="020B0702040204020203" pitchFamily="34" charset="0"/>
              </a:defRPr>
            </a:lvl1pPr>
            <a:lvl2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2pPr>
            <a:lvl3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3pPr>
            <a:lvl4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4pPr>
            <a:lvl5pPr marL="0" indent="0" algn="l" defTabSz="914400" rtl="0" eaLnBrk="1" latinLnBrk="0" hangingPunct="1">
              <a:lnSpc>
                <a:spcPct val="90000"/>
              </a:lnSpc>
              <a:spcBef>
                <a:spcPct val="0"/>
              </a:spcBef>
              <a:buNone/>
              <a:defRPr lang="en-IN" sz="1400" b="1" i="1" kern="1200" dirty="0">
                <a:solidFill>
                  <a:schemeClr val="bg1">
                    <a:lumMod val="50000"/>
                  </a:schemeClr>
                </a:solidFill>
                <a:latin typeface="+mj-lt"/>
                <a:ea typeface="+mj-ea"/>
                <a:cs typeface="+mj-cs"/>
              </a:defRPr>
            </a:lvl5pPr>
          </a:lstStyle>
          <a:p>
            <a:pPr lvl="0"/>
            <a:r>
              <a:rPr lang="en-US"/>
              <a:t>Click to edit Master text styles</a:t>
            </a:r>
          </a:p>
        </p:txBody>
      </p:sp>
      <p:sp>
        <p:nvSpPr>
          <p:cNvPr id="2" name="Text Placeholder 5">
            <a:extLst>
              <a:ext uri="{FF2B5EF4-FFF2-40B4-BE49-F238E27FC236}">
                <a16:creationId xmlns:a16="http://schemas.microsoft.com/office/drawing/2014/main" id="{1AAF154C-D019-928E-124D-92A3C02B9976}"/>
              </a:ext>
            </a:extLst>
          </p:cNvPr>
          <p:cNvSpPr>
            <a:spLocks noGrp="1"/>
          </p:cNvSpPr>
          <p:nvPr>
            <p:ph type="body" sz="quarter" idx="11" hasCustomPrompt="1"/>
          </p:nvPr>
        </p:nvSpPr>
        <p:spPr>
          <a:xfrm>
            <a:off x="3319462" y="6637956"/>
            <a:ext cx="7318058" cy="157512"/>
          </a:xfrm>
        </p:spPr>
        <p:txBody>
          <a:bodyPr lIns="36000" anchor="ctr"/>
          <a:lstStyle>
            <a:lvl1pPr marL="0" indent="0">
              <a:buNone/>
              <a:defRPr sz="800">
                <a:solidFill>
                  <a:schemeClr val="bg1"/>
                </a:solidFill>
              </a:defRPr>
            </a:lvl1pPr>
          </a:lstStyle>
          <a:p>
            <a:pPr lvl="0"/>
            <a:r>
              <a:rPr lang="en-US"/>
              <a:t>Footnotes</a:t>
            </a:r>
            <a:endParaRPr lang="en-IN"/>
          </a:p>
        </p:txBody>
      </p:sp>
      <p:sp>
        <p:nvSpPr>
          <p:cNvPr id="17" name="Text Placeholder 2">
            <a:extLst>
              <a:ext uri="{FF2B5EF4-FFF2-40B4-BE49-F238E27FC236}">
                <a16:creationId xmlns:a16="http://schemas.microsoft.com/office/drawing/2014/main" id="{DE9CA1BB-81C1-3DDE-F8A7-05DEAC433832}"/>
              </a:ext>
            </a:extLst>
          </p:cNvPr>
          <p:cNvSpPr>
            <a:spLocks noGrp="1"/>
          </p:cNvSpPr>
          <p:nvPr>
            <p:ph type="body" idx="1"/>
          </p:nvPr>
        </p:nvSpPr>
        <p:spPr>
          <a:xfrm>
            <a:off x="4194993" y="896797"/>
            <a:ext cx="7281863"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19" name="Group 18">
            <a:extLst>
              <a:ext uri="{FF2B5EF4-FFF2-40B4-BE49-F238E27FC236}">
                <a16:creationId xmlns:a16="http://schemas.microsoft.com/office/drawing/2014/main" id="{1C437E69-259A-4D93-85B7-739A88FCFC39}"/>
              </a:ext>
            </a:extLst>
          </p:cNvPr>
          <p:cNvGrpSpPr/>
          <p:nvPr userDrawn="1"/>
        </p:nvGrpSpPr>
        <p:grpSpPr>
          <a:xfrm>
            <a:off x="4194992" y="1214416"/>
            <a:ext cx="7653600" cy="55768"/>
            <a:chOff x="344487" y="1214416"/>
            <a:chExt cx="5561013" cy="55768"/>
          </a:xfrm>
        </p:grpSpPr>
        <p:cxnSp>
          <p:nvCxnSpPr>
            <p:cNvPr id="8" name="Straight Connector 7">
              <a:extLst>
                <a:ext uri="{FF2B5EF4-FFF2-40B4-BE49-F238E27FC236}">
                  <a16:creationId xmlns:a16="http://schemas.microsoft.com/office/drawing/2014/main" id="{CBC944B2-5B81-4284-24E4-CF9E3058C579}"/>
                </a:ext>
              </a:extLst>
            </p:cNvPr>
            <p:cNvCxnSpPr>
              <a:cxnSpLocks/>
            </p:cNvCxnSpPr>
            <p:nvPr/>
          </p:nvCxnSpPr>
          <p:spPr>
            <a:xfrm>
              <a:off x="398568" y="1242300"/>
              <a:ext cx="5506932"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CA5B0CB2-7B37-3A9F-911D-9B5245C564E4}"/>
                </a:ext>
              </a:extLst>
            </p:cNvPr>
            <p:cNvSpPr/>
            <p:nvPr/>
          </p:nvSpPr>
          <p:spPr>
            <a:xfrm>
              <a:off x="344487" y="1214416"/>
              <a:ext cx="397589" cy="55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prstClr val="white"/>
                </a:solidFill>
                <a:effectLst/>
                <a:uLnTx/>
                <a:uFillTx/>
                <a:latin typeface="Segoe UI"/>
                <a:ea typeface="+mn-ea"/>
                <a:cs typeface="+mn-cs"/>
              </a:endParaRPr>
            </a:p>
          </p:txBody>
        </p:sp>
      </p:grpSp>
      <p:sp>
        <p:nvSpPr>
          <p:cNvPr id="18" name="Text Placeholder 2">
            <a:extLst>
              <a:ext uri="{FF2B5EF4-FFF2-40B4-BE49-F238E27FC236}">
                <a16:creationId xmlns:a16="http://schemas.microsoft.com/office/drawing/2014/main" id="{CE4CC8C8-0E01-4E7E-59CB-54EBC3FCD14F}"/>
              </a:ext>
            </a:extLst>
          </p:cNvPr>
          <p:cNvSpPr>
            <a:spLocks noGrp="1"/>
          </p:cNvSpPr>
          <p:nvPr>
            <p:ph type="body" idx="12"/>
          </p:nvPr>
        </p:nvSpPr>
        <p:spPr>
          <a:xfrm>
            <a:off x="344488" y="896797"/>
            <a:ext cx="3369600"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11" name="Group 10">
            <a:extLst>
              <a:ext uri="{FF2B5EF4-FFF2-40B4-BE49-F238E27FC236}">
                <a16:creationId xmlns:a16="http://schemas.microsoft.com/office/drawing/2014/main" id="{E12FE721-4FA0-4493-AE93-A96BE344DB84}"/>
              </a:ext>
            </a:extLst>
          </p:cNvPr>
          <p:cNvGrpSpPr/>
          <p:nvPr/>
        </p:nvGrpSpPr>
        <p:grpSpPr>
          <a:xfrm>
            <a:off x="344488" y="1214416"/>
            <a:ext cx="3618001" cy="55768"/>
            <a:chOff x="671912" y="1348872"/>
            <a:chExt cx="4897196" cy="89815"/>
          </a:xfrm>
        </p:grpSpPr>
        <p:cxnSp>
          <p:nvCxnSpPr>
            <p:cNvPr id="13" name="Straight Connector 12">
              <a:extLst>
                <a:ext uri="{FF2B5EF4-FFF2-40B4-BE49-F238E27FC236}">
                  <a16:creationId xmlns:a16="http://schemas.microsoft.com/office/drawing/2014/main" id="{BE5167E5-F310-164C-669A-06765F060FF5}"/>
                </a:ext>
              </a:extLst>
            </p:cNvPr>
            <p:cNvCxnSpPr>
              <a:cxnSpLocks/>
            </p:cNvCxnSpPr>
            <p:nvPr/>
          </p:nvCxnSpPr>
          <p:spPr>
            <a:xfrm>
              <a:off x="719538" y="1393780"/>
              <a:ext cx="4849570"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DF8EAF54-BCC1-349D-7040-16DAD0F1F9BD}"/>
                </a:ext>
              </a:extLst>
            </p:cNvPr>
            <p:cNvSpPr/>
            <p:nvPr/>
          </p:nvSpPr>
          <p:spPr>
            <a:xfrm>
              <a:off x="671912" y="1348872"/>
              <a:ext cx="740670" cy="898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prstClr val="white"/>
                </a:solidFill>
                <a:effectLst/>
                <a:uLnTx/>
                <a:uFillTx/>
                <a:latin typeface="Segoe UI"/>
                <a:ea typeface="+mn-ea"/>
                <a:cs typeface="+mn-cs"/>
              </a:endParaRPr>
            </a:p>
          </p:txBody>
        </p:sp>
      </p:grpSp>
      <p:sp>
        <p:nvSpPr>
          <p:cNvPr id="25" name="Text Placeholder 2">
            <a:extLst>
              <a:ext uri="{FF2B5EF4-FFF2-40B4-BE49-F238E27FC236}">
                <a16:creationId xmlns:a16="http://schemas.microsoft.com/office/drawing/2014/main" id="{B649D142-DF3F-46EA-7F65-9AB5205769D7}"/>
              </a:ext>
            </a:extLst>
          </p:cNvPr>
          <p:cNvSpPr>
            <a:spLocks noGrp="1"/>
          </p:cNvSpPr>
          <p:nvPr>
            <p:ph idx="15"/>
          </p:nvPr>
        </p:nvSpPr>
        <p:spPr>
          <a:xfrm>
            <a:off x="4194006" y="1325880"/>
            <a:ext cx="7655094" cy="5189620"/>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3764688D-FB67-7AFC-446D-F869973432AB}"/>
              </a:ext>
            </a:extLst>
          </p:cNvPr>
          <p:cNvSpPr>
            <a:spLocks noGrp="1"/>
          </p:cNvSpPr>
          <p:nvPr>
            <p:ph idx="16"/>
          </p:nvPr>
        </p:nvSpPr>
        <p:spPr>
          <a:xfrm>
            <a:off x="344488" y="1325880"/>
            <a:ext cx="3619500" cy="5189620"/>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1471476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ree Header Vertical">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50D20B1-6B26-45B9-ACA1-0D8BC03871D8}"/>
              </a:ext>
            </a:extLst>
          </p:cNvPr>
          <p:cNvSpPr>
            <a:spLocks noGrp="1"/>
          </p:cNvSpPr>
          <p:nvPr>
            <p:ph type="title"/>
          </p:nvPr>
        </p:nvSpPr>
        <p:spPr>
          <a:xfrm>
            <a:off x="344487" y="88836"/>
            <a:ext cx="11504613" cy="408795"/>
          </a:xfrm>
        </p:spPr>
        <p:txBody>
          <a:bodyPr/>
          <a:lstStyle/>
          <a:p>
            <a:r>
              <a:rPr lang="en-US"/>
              <a:t>Click to edit Master title style</a:t>
            </a:r>
          </a:p>
        </p:txBody>
      </p:sp>
      <p:sp>
        <p:nvSpPr>
          <p:cNvPr id="6" name="Text Placeholder 7">
            <a:extLst>
              <a:ext uri="{FF2B5EF4-FFF2-40B4-BE49-F238E27FC236}">
                <a16:creationId xmlns:a16="http://schemas.microsoft.com/office/drawing/2014/main" id="{9B6ACBC5-8B35-4F11-B076-8EC2B9686C41}"/>
              </a:ext>
            </a:extLst>
          </p:cNvPr>
          <p:cNvSpPr>
            <a:spLocks noGrp="1"/>
          </p:cNvSpPr>
          <p:nvPr>
            <p:ph type="body" sz="quarter" idx="10"/>
          </p:nvPr>
        </p:nvSpPr>
        <p:spPr>
          <a:xfrm>
            <a:off x="344488" y="487848"/>
            <a:ext cx="11504612" cy="281861"/>
          </a:xfrm>
        </p:spPr>
        <p:txBody>
          <a:bodyPr anchor="ctr"/>
          <a:lstStyle>
            <a:lvl1pPr marL="0" indent="0" algn="l" defTabSz="914400" rtl="0" eaLnBrk="1" latinLnBrk="0" hangingPunct="1">
              <a:lnSpc>
                <a:spcPct val="90000"/>
              </a:lnSpc>
              <a:spcBef>
                <a:spcPct val="0"/>
              </a:spcBef>
              <a:buNone/>
              <a:defRPr lang="en-US" sz="1400" b="1" i="0" kern="1200" dirty="0" smtClean="0">
                <a:solidFill>
                  <a:srgbClr val="595959"/>
                </a:solidFill>
                <a:latin typeface="Segoe UI Semibold" panose="020B0702040204020203" pitchFamily="34" charset="0"/>
                <a:ea typeface="+mj-ea"/>
                <a:cs typeface="Segoe UI Semibold" panose="020B0702040204020203" pitchFamily="34" charset="0"/>
              </a:defRPr>
            </a:lvl1pPr>
            <a:lvl2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2pPr>
            <a:lvl3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3pPr>
            <a:lvl4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4pPr>
            <a:lvl5pPr marL="0" indent="0" algn="l" defTabSz="914400" rtl="0" eaLnBrk="1" latinLnBrk="0" hangingPunct="1">
              <a:lnSpc>
                <a:spcPct val="90000"/>
              </a:lnSpc>
              <a:spcBef>
                <a:spcPct val="0"/>
              </a:spcBef>
              <a:buNone/>
              <a:defRPr lang="en-IN" sz="1400" b="1" i="1" kern="1200" dirty="0">
                <a:solidFill>
                  <a:schemeClr val="bg1">
                    <a:lumMod val="50000"/>
                  </a:schemeClr>
                </a:solidFill>
                <a:latin typeface="+mj-lt"/>
                <a:ea typeface="+mj-ea"/>
                <a:cs typeface="+mj-cs"/>
              </a:defRPr>
            </a:lvl5pPr>
          </a:lstStyle>
          <a:p>
            <a:pPr lvl="0"/>
            <a:r>
              <a:rPr lang="en-US"/>
              <a:t>Click to edit Master text styles</a:t>
            </a:r>
          </a:p>
        </p:txBody>
      </p:sp>
      <p:sp>
        <p:nvSpPr>
          <p:cNvPr id="17" name="Text Placeholder 2">
            <a:extLst>
              <a:ext uri="{FF2B5EF4-FFF2-40B4-BE49-F238E27FC236}">
                <a16:creationId xmlns:a16="http://schemas.microsoft.com/office/drawing/2014/main" id="{DE9CA1BB-81C1-3DDE-F8A7-05DEAC433832}"/>
              </a:ext>
            </a:extLst>
          </p:cNvPr>
          <p:cNvSpPr>
            <a:spLocks noGrp="1"/>
          </p:cNvSpPr>
          <p:nvPr>
            <p:ph type="body" idx="1"/>
          </p:nvPr>
        </p:nvSpPr>
        <p:spPr>
          <a:xfrm>
            <a:off x="344487" y="896797"/>
            <a:ext cx="3370263"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19" name="Group 18">
            <a:extLst>
              <a:ext uri="{FF2B5EF4-FFF2-40B4-BE49-F238E27FC236}">
                <a16:creationId xmlns:a16="http://schemas.microsoft.com/office/drawing/2014/main" id="{1C437E69-259A-4D93-85B7-739A88FCFC39}"/>
              </a:ext>
            </a:extLst>
          </p:cNvPr>
          <p:cNvGrpSpPr/>
          <p:nvPr userDrawn="1"/>
        </p:nvGrpSpPr>
        <p:grpSpPr>
          <a:xfrm>
            <a:off x="344486" y="1214416"/>
            <a:ext cx="3618001" cy="55768"/>
            <a:chOff x="344485" y="1214416"/>
            <a:chExt cx="5561015" cy="55768"/>
          </a:xfrm>
        </p:grpSpPr>
        <p:cxnSp>
          <p:nvCxnSpPr>
            <p:cNvPr id="8" name="Straight Connector 7">
              <a:extLst>
                <a:ext uri="{FF2B5EF4-FFF2-40B4-BE49-F238E27FC236}">
                  <a16:creationId xmlns:a16="http://schemas.microsoft.com/office/drawing/2014/main" id="{CBC944B2-5B81-4284-24E4-CF9E3058C579}"/>
                </a:ext>
              </a:extLst>
            </p:cNvPr>
            <p:cNvCxnSpPr>
              <a:cxnSpLocks/>
            </p:cNvCxnSpPr>
            <p:nvPr/>
          </p:nvCxnSpPr>
          <p:spPr>
            <a:xfrm>
              <a:off x="398568" y="1242300"/>
              <a:ext cx="5506932"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CA5B0CB2-7B37-3A9F-911D-9B5245C564E4}"/>
                </a:ext>
              </a:extLst>
            </p:cNvPr>
            <p:cNvSpPr/>
            <p:nvPr/>
          </p:nvSpPr>
          <p:spPr>
            <a:xfrm>
              <a:off x="344485" y="1214416"/>
              <a:ext cx="841069" cy="55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prstClr val="white"/>
                </a:solidFill>
                <a:effectLst/>
                <a:uLnTx/>
                <a:uFillTx/>
                <a:latin typeface="Segoe UI"/>
                <a:ea typeface="+mn-ea"/>
                <a:cs typeface="+mn-cs"/>
              </a:endParaRPr>
            </a:p>
          </p:txBody>
        </p:sp>
      </p:grpSp>
      <p:sp>
        <p:nvSpPr>
          <p:cNvPr id="18" name="Text Placeholder 2">
            <a:extLst>
              <a:ext uri="{FF2B5EF4-FFF2-40B4-BE49-F238E27FC236}">
                <a16:creationId xmlns:a16="http://schemas.microsoft.com/office/drawing/2014/main" id="{CE4CC8C8-0E01-4E7E-59CB-54EBC3FCD14F}"/>
              </a:ext>
            </a:extLst>
          </p:cNvPr>
          <p:cNvSpPr>
            <a:spLocks noGrp="1"/>
          </p:cNvSpPr>
          <p:nvPr>
            <p:ph type="body" idx="12"/>
          </p:nvPr>
        </p:nvSpPr>
        <p:spPr>
          <a:xfrm>
            <a:off x="4287300" y="896797"/>
            <a:ext cx="3370263"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11" name="Group 10">
            <a:extLst>
              <a:ext uri="{FF2B5EF4-FFF2-40B4-BE49-F238E27FC236}">
                <a16:creationId xmlns:a16="http://schemas.microsoft.com/office/drawing/2014/main" id="{E12FE721-4FA0-4493-AE93-A96BE344DB84}"/>
              </a:ext>
            </a:extLst>
          </p:cNvPr>
          <p:cNvGrpSpPr/>
          <p:nvPr/>
        </p:nvGrpSpPr>
        <p:grpSpPr>
          <a:xfrm>
            <a:off x="4287299" y="1214416"/>
            <a:ext cx="3618001" cy="55768"/>
            <a:chOff x="671912" y="1348872"/>
            <a:chExt cx="4897196" cy="89815"/>
          </a:xfrm>
        </p:grpSpPr>
        <p:cxnSp>
          <p:nvCxnSpPr>
            <p:cNvPr id="13" name="Straight Connector 12">
              <a:extLst>
                <a:ext uri="{FF2B5EF4-FFF2-40B4-BE49-F238E27FC236}">
                  <a16:creationId xmlns:a16="http://schemas.microsoft.com/office/drawing/2014/main" id="{BE5167E5-F310-164C-669A-06765F060FF5}"/>
                </a:ext>
              </a:extLst>
            </p:cNvPr>
            <p:cNvCxnSpPr>
              <a:cxnSpLocks/>
            </p:cNvCxnSpPr>
            <p:nvPr/>
          </p:nvCxnSpPr>
          <p:spPr>
            <a:xfrm>
              <a:off x="719538" y="1393780"/>
              <a:ext cx="4849570"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DF8EAF54-BCC1-349D-7040-16DAD0F1F9BD}"/>
                </a:ext>
              </a:extLst>
            </p:cNvPr>
            <p:cNvSpPr/>
            <p:nvPr/>
          </p:nvSpPr>
          <p:spPr>
            <a:xfrm>
              <a:off x="671912" y="1348872"/>
              <a:ext cx="740670" cy="898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prstClr val="white"/>
                </a:solidFill>
                <a:effectLst/>
                <a:uLnTx/>
                <a:uFillTx/>
                <a:latin typeface="Segoe UI"/>
                <a:ea typeface="+mn-ea"/>
                <a:cs typeface="+mn-cs"/>
              </a:endParaRPr>
            </a:p>
          </p:txBody>
        </p:sp>
      </p:grpSp>
      <p:sp>
        <p:nvSpPr>
          <p:cNvPr id="25" name="Text Placeholder 2">
            <a:extLst>
              <a:ext uri="{FF2B5EF4-FFF2-40B4-BE49-F238E27FC236}">
                <a16:creationId xmlns:a16="http://schemas.microsoft.com/office/drawing/2014/main" id="{B649D142-DF3F-46EA-7F65-9AB5205769D7}"/>
              </a:ext>
            </a:extLst>
          </p:cNvPr>
          <p:cNvSpPr>
            <a:spLocks noGrp="1"/>
          </p:cNvSpPr>
          <p:nvPr>
            <p:ph idx="15"/>
          </p:nvPr>
        </p:nvSpPr>
        <p:spPr>
          <a:xfrm>
            <a:off x="343500" y="1325878"/>
            <a:ext cx="3618900" cy="5189619"/>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3764688D-FB67-7AFC-446D-F869973432AB}"/>
              </a:ext>
            </a:extLst>
          </p:cNvPr>
          <p:cNvSpPr>
            <a:spLocks noGrp="1"/>
          </p:cNvSpPr>
          <p:nvPr>
            <p:ph idx="16"/>
          </p:nvPr>
        </p:nvSpPr>
        <p:spPr>
          <a:xfrm>
            <a:off x="4287300" y="1325878"/>
            <a:ext cx="3618000" cy="5189619"/>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20D6939C-5DEC-2D11-AA0E-C305757D107E}"/>
              </a:ext>
            </a:extLst>
          </p:cNvPr>
          <p:cNvSpPr>
            <a:spLocks noGrp="1"/>
          </p:cNvSpPr>
          <p:nvPr>
            <p:ph idx="19"/>
          </p:nvPr>
        </p:nvSpPr>
        <p:spPr>
          <a:xfrm>
            <a:off x="8230200" y="1325878"/>
            <a:ext cx="3618900" cy="5189619"/>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Text Placeholder 2">
            <a:extLst>
              <a:ext uri="{FF2B5EF4-FFF2-40B4-BE49-F238E27FC236}">
                <a16:creationId xmlns:a16="http://schemas.microsoft.com/office/drawing/2014/main" id="{702A8BC5-AA83-7195-747D-0A9E46C2B000}"/>
              </a:ext>
            </a:extLst>
          </p:cNvPr>
          <p:cNvSpPr>
            <a:spLocks noGrp="1"/>
          </p:cNvSpPr>
          <p:nvPr>
            <p:ph type="body" idx="21"/>
          </p:nvPr>
        </p:nvSpPr>
        <p:spPr>
          <a:xfrm>
            <a:off x="8230200" y="896797"/>
            <a:ext cx="3370263"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30" name="Group 29">
            <a:extLst>
              <a:ext uri="{FF2B5EF4-FFF2-40B4-BE49-F238E27FC236}">
                <a16:creationId xmlns:a16="http://schemas.microsoft.com/office/drawing/2014/main" id="{63E159CC-B1C4-FE46-4D0B-691DD4065477}"/>
              </a:ext>
            </a:extLst>
          </p:cNvPr>
          <p:cNvGrpSpPr/>
          <p:nvPr userDrawn="1"/>
        </p:nvGrpSpPr>
        <p:grpSpPr>
          <a:xfrm>
            <a:off x="8230199" y="1214416"/>
            <a:ext cx="3618001" cy="55768"/>
            <a:chOff x="671912" y="1348872"/>
            <a:chExt cx="4897196" cy="89815"/>
          </a:xfrm>
        </p:grpSpPr>
        <p:cxnSp>
          <p:nvCxnSpPr>
            <p:cNvPr id="31" name="Straight Connector 30">
              <a:extLst>
                <a:ext uri="{FF2B5EF4-FFF2-40B4-BE49-F238E27FC236}">
                  <a16:creationId xmlns:a16="http://schemas.microsoft.com/office/drawing/2014/main" id="{50477659-ED86-DCF4-C29E-348CC84BAF00}"/>
                </a:ext>
              </a:extLst>
            </p:cNvPr>
            <p:cNvCxnSpPr>
              <a:cxnSpLocks/>
            </p:cNvCxnSpPr>
            <p:nvPr/>
          </p:nvCxnSpPr>
          <p:spPr>
            <a:xfrm>
              <a:off x="719538" y="1393780"/>
              <a:ext cx="4849570"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03202133-62F1-5B1C-8121-F5BBEE137447}"/>
                </a:ext>
              </a:extLst>
            </p:cNvPr>
            <p:cNvSpPr/>
            <p:nvPr/>
          </p:nvSpPr>
          <p:spPr>
            <a:xfrm>
              <a:off x="671912" y="1348872"/>
              <a:ext cx="740670" cy="898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prstClr val="white"/>
                </a:solidFill>
                <a:effectLst/>
                <a:uLnTx/>
                <a:uFillTx/>
                <a:latin typeface="Segoe UI"/>
                <a:ea typeface="+mn-ea"/>
                <a:cs typeface="+mn-cs"/>
              </a:endParaRPr>
            </a:p>
          </p:txBody>
        </p:sp>
      </p:grpSp>
      <p:sp>
        <p:nvSpPr>
          <p:cNvPr id="37" name="Text Placeholder 5">
            <a:extLst>
              <a:ext uri="{FF2B5EF4-FFF2-40B4-BE49-F238E27FC236}">
                <a16:creationId xmlns:a16="http://schemas.microsoft.com/office/drawing/2014/main" id="{7ADBDE9C-BB7F-A493-6992-C2F568EA2D6C}"/>
              </a:ext>
            </a:extLst>
          </p:cNvPr>
          <p:cNvSpPr>
            <a:spLocks noGrp="1"/>
          </p:cNvSpPr>
          <p:nvPr>
            <p:ph type="body" sz="quarter" idx="11" hasCustomPrompt="1"/>
          </p:nvPr>
        </p:nvSpPr>
        <p:spPr>
          <a:xfrm>
            <a:off x="3319462" y="6637956"/>
            <a:ext cx="7318058" cy="157512"/>
          </a:xfrm>
        </p:spPr>
        <p:txBody>
          <a:bodyPr lIns="36000" anchor="ctr"/>
          <a:lstStyle>
            <a:lvl1pPr marL="0" indent="0">
              <a:buNone/>
              <a:defRPr sz="800">
                <a:solidFill>
                  <a:schemeClr val="bg1"/>
                </a:solidFill>
              </a:defRPr>
            </a:lvl1pPr>
          </a:lstStyle>
          <a:p>
            <a:pPr lvl="0"/>
            <a:r>
              <a:rPr lang="en-US"/>
              <a:t>Footnotes</a:t>
            </a:r>
            <a:endParaRPr lang="en-IN"/>
          </a:p>
        </p:txBody>
      </p:sp>
    </p:spTree>
    <p:extLst>
      <p:ext uri="{BB962C8B-B14F-4D97-AF65-F5344CB8AC3E}">
        <p14:creationId xmlns:p14="http://schemas.microsoft.com/office/powerpoint/2010/main" val="131496564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28_Title Slide">
    <p:spTree>
      <p:nvGrpSpPr>
        <p:cNvPr id="1" name=""/>
        <p:cNvGrpSpPr/>
        <p:nvPr/>
      </p:nvGrpSpPr>
      <p:grpSpPr>
        <a:xfrm>
          <a:off x="0" y="0"/>
          <a:ext cx="0" cy="0"/>
          <a:chOff x="0" y="0"/>
          <a:chExt cx="0" cy="0"/>
        </a:xfrm>
      </p:grpSpPr>
      <p:sp>
        <p:nvSpPr>
          <p:cNvPr id="4948" name="Rectangle 4947">
            <a:extLst>
              <a:ext uri="{FF2B5EF4-FFF2-40B4-BE49-F238E27FC236}">
                <a16:creationId xmlns:a16="http://schemas.microsoft.com/office/drawing/2014/main" id="{B7DA9399-B5B2-4449-A3E0-CB7701795380}"/>
              </a:ext>
            </a:extLst>
          </p:cNvPr>
          <p:cNvSpPr/>
          <p:nvPr userDrawn="1"/>
        </p:nvSpPr>
        <p:spPr>
          <a:xfrm>
            <a:off x="0" y="2313972"/>
            <a:ext cx="8853295" cy="1802394"/>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a:extLst>
              <a:ext uri="{FF2B5EF4-FFF2-40B4-BE49-F238E27FC236}">
                <a16:creationId xmlns:a16="http://schemas.microsoft.com/office/drawing/2014/main" id="{09E5C80A-33BF-4E0B-83E6-7F9FD87354A1}"/>
              </a:ext>
            </a:extLst>
          </p:cNvPr>
          <p:cNvSpPr>
            <a:spLocks noGrp="1"/>
          </p:cNvSpPr>
          <p:nvPr>
            <p:ph type="ctrTitle"/>
          </p:nvPr>
        </p:nvSpPr>
        <p:spPr>
          <a:xfrm>
            <a:off x="340265" y="3048970"/>
            <a:ext cx="7444846" cy="332399"/>
          </a:xfrm>
        </p:spPr>
        <p:txBody>
          <a:bodyPr wrap="square" lIns="0" tIns="0" rIns="0" bIns="0" anchor="b" anchorCtr="0">
            <a:spAutoFit/>
          </a:bodyPr>
          <a:lstStyle>
            <a:lvl1pPr algn="l">
              <a:defRPr sz="2400" b="1">
                <a:solidFill>
                  <a:schemeClr val="accent1"/>
                </a:solidFill>
              </a:defRPr>
            </a:lvl1pPr>
          </a:lstStyle>
          <a:p>
            <a:endParaRPr lang="en-US"/>
          </a:p>
        </p:txBody>
      </p:sp>
      <p:sp>
        <p:nvSpPr>
          <p:cNvPr id="5081" name="Right Triangle 5080">
            <a:extLst>
              <a:ext uri="{FF2B5EF4-FFF2-40B4-BE49-F238E27FC236}">
                <a16:creationId xmlns:a16="http://schemas.microsoft.com/office/drawing/2014/main" id="{50C799E3-6D7D-41D2-9B0B-2FFFE99E5C8C}"/>
              </a:ext>
            </a:extLst>
          </p:cNvPr>
          <p:cNvSpPr/>
          <p:nvPr userDrawn="1"/>
        </p:nvSpPr>
        <p:spPr>
          <a:xfrm flipH="1">
            <a:off x="7999464" y="2313972"/>
            <a:ext cx="853829" cy="1802393"/>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83" name="Right Triangle 5082">
            <a:extLst>
              <a:ext uri="{FF2B5EF4-FFF2-40B4-BE49-F238E27FC236}">
                <a16:creationId xmlns:a16="http://schemas.microsoft.com/office/drawing/2014/main" id="{559D7921-56CD-4782-9767-D5790B4A421D}"/>
              </a:ext>
            </a:extLst>
          </p:cNvPr>
          <p:cNvSpPr/>
          <p:nvPr userDrawn="1"/>
        </p:nvSpPr>
        <p:spPr>
          <a:xfrm flipH="1" flipV="1">
            <a:off x="7999464" y="2313972"/>
            <a:ext cx="853829" cy="1802393"/>
          </a:xfrm>
          <a:prstGeom prst="r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4" name="Freeform: Shape 203">
            <a:extLst>
              <a:ext uri="{FF2B5EF4-FFF2-40B4-BE49-F238E27FC236}">
                <a16:creationId xmlns:a16="http://schemas.microsoft.com/office/drawing/2014/main" id="{8356AA88-7ECD-4545-B19D-7FDCD096D4D6}"/>
              </a:ext>
            </a:extLst>
          </p:cNvPr>
          <p:cNvSpPr>
            <a:spLocks noChangeAspect="1"/>
          </p:cNvSpPr>
          <p:nvPr userDrawn="1"/>
        </p:nvSpPr>
        <p:spPr>
          <a:xfrm>
            <a:off x="7575892" y="4041648"/>
            <a:ext cx="4616108" cy="2816352"/>
          </a:xfrm>
          <a:custGeom>
            <a:avLst/>
            <a:gdLst>
              <a:gd name="connsiteX0" fmla="*/ 6203341 w 11240921"/>
              <a:gd name="connsiteY0" fmla="*/ 6853924 h 6858243"/>
              <a:gd name="connsiteX1" fmla="*/ 3099406 w 11240921"/>
              <a:gd name="connsiteY1" fmla="*/ 6845504 h 6858243"/>
              <a:gd name="connsiteX2" fmla="*/ 1072 w 11240921"/>
              <a:gd name="connsiteY2" fmla="*/ 6840450 h 6858243"/>
              <a:gd name="connsiteX3" fmla="*/ 478810 w 11240921"/>
              <a:gd name="connsiteY3" fmla="*/ 6832030 h 6858243"/>
              <a:gd name="connsiteX4" fmla="*/ 951507 w 11240921"/>
              <a:gd name="connsiteY4" fmla="*/ 6828661 h 6858243"/>
              <a:gd name="connsiteX5" fmla="*/ 954893 w 11240921"/>
              <a:gd name="connsiteY5" fmla="*/ 5898998 h 6858243"/>
              <a:gd name="connsiteX6" fmla="*/ 958255 w 11240921"/>
              <a:gd name="connsiteY6" fmla="*/ 4969315 h 6858243"/>
              <a:gd name="connsiteX7" fmla="*/ 2009747 w 11240921"/>
              <a:gd name="connsiteY7" fmla="*/ 4965954 h 6858243"/>
              <a:gd name="connsiteX8" fmla="*/ 3061265 w 11240921"/>
              <a:gd name="connsiteY8" fmla="*/ 4962593 h 6858243"/>
              <a:gd name="connsiteX9" fmla="*/ 3107833 w 11240921"/>
              <a:gd name="connsiteY9" fmla="*/ 4920938 h 6858243"/>
              <a:gd name="connsiteX10" fmla="*/ 3605508 w 11240921"/>
              <a:gd name="connsiteY10" fmla="*/ 4466217 h 6858243"/>
              <a:gd name="connsiteX11" fmla="*/ 4060687 w 11240921"/>
              <a:gd name="connsiteY11" fmla="*/ 4036271 h 6858243"/>
              <a:gd name="connsiteX12" fmla="*/ 4074895 w 11240921"/>
              <a:gd name="connsiteY12" fmla="*/ 4021147 h 6858243"/>
              <a:gd name="connsiteX13" fmla="*/ 4114870 w 11240921"/>
              <a:gd name="connsiteY13" fmla="*/ 3997569 h 6858243"/>
              <a:gd name="connsiteX14" fmla="*/ 5113147 w 11240921"/>
              <a:gd name="connsiteY14" fmla="*/ 3085582 h 6858243"/>
              <a:gd name="connsiteX15" fmla="*/ 5131658 w 11240921"/>
              <a:gd name="connsiteY15" fmla="*/ 3042908 h 6858243"/>
              <a:gd name="connsiteX16" fmla="*/ 5149735 w 11240921"/>
              <a:gd name="connsiteY16" fmla="*/ 3025085 h 6858243"/>
              <a:gd name="connsiteX17" fmla="*/ 5159335 w 11240921"/>
              <a:gd name="connsiteY17" fmla="*/ 3039241 h 6858243"/>
              <a:gd name="connsiteX18" fmla="*/ 5409496 w 11240921"/>
              <a:gd name="connsiteY18" fmla="*/ 2815739 h 6858243"/>
              <a:gd name="connsiteX19" fmla="*/ 5655889 w 11240921"/>
              <a:gd name="connsiteY19" fmla="*/ 2576577 h 6858243"/>
              <a:gd name="connsiteX20" fmla="*/ 5672846 w 11240921"/>
              <a:gd name="connsiteY20" fmla="*/ 2560943 h 6858243"/>
              <a:gd name="connsiteX21" fmla="*/ 6156517 w 11240921"/>
              <a:gd name="connsiteY21" fmla="*/ 2123231 h 6858243"/>
              <a:gd name="connsiteX22" fmla="*/ 6186460 w 11240921"/>
              <a:gd name="connsiteY22" fmla="*/ 2095911 h 6858243"/>
              <a:gd name="connsiteX23" fmla="*/ 6691773 w 11240921"/>
              <a:gd name="connsiteY23" fmla="*/ 1641750 h 6858243"/>
              <a:gd name="connsiteX24" fmla="*/ 6946365 w 11240921"/>
              <a:gd name="connsiteY24" fmla="*/ 1408954 h 6858243"/>
              <a:gd name="connsiteX25" fmla="*/ 7190593 w 11240921"/>
              <a:gd name="connsiteY25" fmla="*/ 1173178 h 6858243"/>
              <a:gd name="connsiteX26" fmla="*/ 7219950 w 11240921"/>
              <a:gd name="connsiteY26" fmla="*/ 1139492 h 6858243"/>
              <a:gd name="connsiteX27" fmla="*/ 7572519 w 11240921"/>
              <a:gd name="connsiteY27" fmla="*/ 836702 h 6858243"/>
              <a:gd name="connsiteX28" fmla="*/ 7762845 w 11240921"/>
              <a:gd name="connsiteY28" fmla="*/ 669113 h 6858243"/>
              <a:gd name="connsiteX29" fmla="*/ 7772469 w 11240921"/>
              <a:gd name="connsiteY29" fmla="*/ 676700 h 6858243"/>
              <a:gd name="connsiteX30" fmla="*/ 8268209 w 11240921"/>
              <a:gd name="connsiteY30" fmla="*/ 1134756 h 6858243"/>
              <a:gd name="connsiteX31" fmla="*/ 8287305 w 11240921"/>
              <a:gd name="connsiteY31" fmla="*/ 1134756 h 6858243"/>
              <a:gd name="connsiteX32" fmla="*/ 8547193 w 11240921"/>
              <a:gd name="connsiteY32" fmla="*/ 900330 h 6858243"/>
              <a:gd name="connsiteX33" fmla="*/ 8807055 w 11240921"/>
              <a:gd name="connsiteY33" fmla="*/ 669113 h 6858243"/>
              <a:gd name="connsiteX34" fmla="*/ 8816654 w 11240921"/>
              <a:gd name="connsiteY34" fmla="*/ 676700 h 6858243"/>
              <a:gd name="connsiteX35" fmla="*/ 9315342 w 11240921"/>
              <a:gd name="connsiteY35" fmla="*/ 1139492 h 6858243"/>
              <a:gd name="connsiteX36" fmla="*/ 9585050 w 11240921"/>
              <a:gd name="connsiteY36" fmla="*/ 905372 h 6858243"/>
              <a:gd name="connsiteX37" fmla="*/ 9853808 w 11240921"/>
              <a:gd name="connsiteY37" fmla="*/ 671277 h 6858243"/>
              <a:gd name="connsiteX38" fmla="*/ 10109126 w 11240921"/>
              <a:gd name="connsiteY38" fmla="*/ 900330 h 6858243"/>
              <a:gd name="connsiteX39" fmla="*/ 10359521 w 11240921"/>
              <a:gd name="connsiteY39" fmla="*/ 1129384 h 6858243"/>
              <a:gd name="connsiteX40" fmla="*/ 10609423 w 11240921"/>
              <a:gd name="connsiteY40" fmla="*/ 907052 h 6858243"/>
              <a:gd name="connsiteX41" fmla="*/ 10864946 w 11240921"/>
              <a:gd name="connsiteY41" fmla="*/ 682659 h 6858243"/>
              <a:gd name="connsiteX42" fmla="*/ 11144933 w 11240921"/>
              <a:gd name="connsiteY42" fmla="*/ 911890 h 6858243"/>
              <a:gd name="connsiteX43" fmla="*/ 11217354 w 11240921"/>
              <a:gd name="connsiteY43" fmla="*/ 971063 h 6858243"/>
              <a:gd name="connsiteX44" fmla="*/ 11221784 w 11240921"/>
              <a:gd name="connsiteY44" fmla="*/ 494446 h 6858243"/>
              <a:gd name="connsiteX45" fmla="*/ 11227585 w 11240921"/>
              <a:gd name="connsiteY45" fmla="*/ 8839 h 6858243"/>
              <a:gd name="connsiteX46" fmla="*/ 11241919 w 11240921"/>
              <a:gd name="connsiteY46" fmla="*/ 6008458 h 6858243"/>
              <a:gd name="connsiteX47" fmla="*/ 11241919 w 11240921"/>
              <a:gd name="connsiteY47" fmla="*/ 6845504 h 6858243"/>
              <a:gd name="connsiteX48" fmla="*/ 9750291 w 11240921"/>
              <a:gd name="connsiteY48" fmla="*/ 6845504 h 6858243"/>
              <a:gd name="connsiteX49" fmla="*/ 8255274 w 11240921"/>
              <a:gd name="connsiteY49" fmla="*/ 6853924 h 6858243"/>
              <a:gd name="connsiteX50" fmla="*/ 8251328 w 11240921"/>
              <a:gd name="connsiteY50" fmla="*/ 6853924 h 6858243"/>
              <a:gd name="connsiteX51" fmla="*/ 7230746 w 11240921"/>
              <a:gd name="connsiteY51" fmla="*/ 6845504 h 6858243"/>
              <a:gd name="connsiteX52" fmla="*/ 6207287 w 11240921"/>
              <a:gd name="connsiteY52" fmla="*/ 6853924 h 6858243"/>
              <a:gd name="connsiteX53" fmla="*/ 6203366 w 11240921"/>
              <a:gd name="connsiteY53" fmla="*/ 6853924 h 6858243"/>
              <a:gd name="connsiteX54" fmla="*/ 1043399 w 11240921"/>
              <a:gd name="connsiteY54" fmla="*/ 6816873 h 6858243"/>
              <a:gd name="connsiteX55" fmla="*/ 1258449 w 11240921"/>
              <a:gd name="connsiteY55" fmla="*/ 6613087 h 6858243"/>
              <a:gd name="connsiteX56" fmla="*/ 1466496 w 11240921"/>
              <a:gd name="connsiteY56" fmla="*/ 6417322 h 6858243"/>
              <a:gd name="connsiteX57" fmla="*/ 981934 w 11240921"/>
              <a:gd name="connsiteY57" fmla="*/ 5969731 h 6858243"/>
              <a:gd name="connsiteX58" fmla="*/ 979591 w 11240921"/>
              <a:gd name="connsiteY58" fmla="*/ 6827538 h 6858243"/>
              <a:gd name="connsiteX59" fmla="*/ 1010044 w 11240921"/>
              <a:gd name="connsiteY59" fmla="*/ 6832030 h 6858243"/>
              <a:gd name="connsiteX60" fmla="*/ 1043399 w 11240921"/>
              <a:gd name="connsiteY60" fmla="*/ 6816873 h 6858243"/>
              <a:gd name="connsiteX61" fmla="*/ 2024412 w 11240921"/>
              <a:gd name="connsiteY61" fmla="*/ 6400874 h 6858243"/>
              <a:gd name="connsiteX62" fmla="*/ 2022681 w 11240921"/>
              <a:gd name="connsiteY62" fmla="*/ 5964028 h 6858243"/>
              <a:gd name="connsiteX63" fmla="*/ 2000224 w 11240921"/>
              <a:gd name="connsiteY63" fmla="*/ 5967414 h 6858243"/>
              <a:gd name="connsiteX64" fmla="*/ 1062673 w 11240921"/>
              <a:gd name="connsiteY64" fmla="*/ 6826382 h 6858243"/>
              <a:gd name="connsiteX65" fmla="*/ 1542677 w 11240921"/>
              <a:gd name="connsiteY65" fmla="*/ 6830390 h 6858243"/>
              <a:gd name="connsiteX66" fmla="*/ 2022656 w 11240921"/>
              <a:gd name="connsiteY66" fmla="*/ 6828661 h 6858243"/>
              <a:gd name="connsiteX67" fmla="*/ 2087583 w 11240921"/>
              <a:gd name="connsiteY67" fmla="*/ 6816873 h 6858243"/>
              <a:gd name="connsiteX68" fmla="*/ 2299221 w 11240921"/>
              <a:gd name="connsiteY68" fmla="*/ 6616453 h 6858243"/>
              <a:gd name="connsiteX69" fmla="*/ 2503907 w 11240921"/>
              <a:gd name="connsiteY69" fmla="*/ 6423688 h 6858243"/>
              <a:gd name="connsiteX70" fmla="*/ 2053719 w 11240921"/>
              <a:gd name="connsiteY70" fmla="*/ 5983200 h 6858243"/>
              <a:gd name="connsiteX71" fmla="*/ 2050740 w 11240921"/>
              <a:gd name="connsiteY71" fmla="*/ 6827538 h 6858243"/>
              <a:gd name="connsiteX72" fmla="*/ 2087583 w 11240921"/>
              <a:gd name="connsiteY72" fmla="*/ 6816873 h 6858243"/>
              <a:gd name="connsiteX73" fmla="*/ 2922015 w 11240921"/>
              <a:gd name="connsiteY73" fmla="*/ 6826558 h 6858243"/>
              <a:gd name="connsiteX74" fmla="*/ 2524786 w 11240921"/>
              <a:gd name="connsiteY74" fmla="*/ 6442428 h 6858243"/>
              <a:gd name="connsiteX75" fmla="*/ 2106858 w 11240921"/>
              <a:gd name="connsiteY75" fmla="*/ 6826327 h 6858243"/>
              <a:gd name="connsiteX76" fmla="*/ 2514449 w 11240921"/>
              <a:gd name="connsiteY76" fmla="*/ 6832030 h 6858243"/>
              <a:gd name="connsiteX77" fmla="*/ 2922015 w 11240921"/>
              <a:gd name="connsiteY77" fmla="*/ 6826558 h 6858243"/>
              <a:gd name="connsiteX78" fmla="*/ 3048381 w 11240921"/>
              <a:gd name="connsiteY78" fmla="*/ 6399194 h 6858243"/>
              <a:gd name="connsiteX79" fmla="*/ 3043492 w 11240921"/>
              <a:gd name="connsiteY79" fmla="*/ 5969731 h 6858243"/>
              <a:gd name="connsiteX80" fmla="*/ 2551496 w 11240921"/>
              <a:gd name="connsiteY80" fmla="*/ 6423408 h 6858243"/>
              <a:gd name="connsiteX81" fmla="*/ 2758143 w 11240921"/>
              <a:gd name="connsiteY81" fmla="*/ 6632410 h 6858243"/>
              <a:gd name="connsiteX82" fmla="*/ 2964790 w 11240921"/>
              <a:gd name="connsiteY82" fmla="*/ 6832613 h 6858243"/>
              <a:gd name="connsiteX83" fmla="*/ 3005707 w 11240921"/>
              <a:gd name="connsiteY83" fmla="*/ 6830637 h 6858243"/>
              <a:gd name="connsiteX84" fmla="*/ 3046649 w 11240921"/>
              <a:gd name="connsiteY84" fmla="*/ 6828661 h 6858243"/>
              <a:gd name="connsiteX85" fmla="*/ 3342259 w 11240921"/>
              <a:gd name="connsiteY85" fmla="*/ 6638348 h 6858243"/>
              <a:gd name="connsiteX86" fmla="*/ 3561536 w 11240921"/>
              <a:gd name="connsiteY86" fmla="*/ 6429518 h 6858243"/>
              <a:gd name="connsiteX87" fmla="*/ 3585571 w 11240921"/>
              <a:gd name="connsiteY87" fmla="*/ 6414343 h 6858243"/>
              <a:gd name="connsiteX88" fmla="*/ 3609659 w 11240921"/>
              <a:gd name="connsiteY88" fmla="*/ 6429518 h 6858243"/>
              <a:gd name="connsiteX89" fmla="*/ 3826159 w 11240921"/>
              <a:gd name="connsiteY89" fmla="*/ 6635980 h 6858243"/>
              <a:gd name="connsiteX90" fmla="*/ 4066518 w 11240921"/>
              <a:gd name="connsiteY90" fmla="*/ 6827976 h 6858243"/>
              <a:gd name="connsiteX91" fmla="*/ 4090834 w 11240921"/>
              <a:gd name="connsiteY91" fmla="*/ 6828661 h 6858243"/>
              <a:gd name="connsiteX92" fmla="*/ 4092464 w 11240921"/>
              <a:gd name="connsiteY92" fmla="*/ 5926217 h 6858243"/>
              <a:gd name="connsiteX93" fmla="*/ 4088619 w 11240921"/>
              <a:gd name="connsiteY93" fmla="*/ 5018303 h 6858243"/>
              <a:gd name="connsiteX94" fmla="*/ 3078935 w 11240921"/>
              <a:gd name="connsiteY94" fmla="*/ 5941621 h 6858243"/>
              <a:gd name="connsiteX95" fmla="*/ 3070532 w 11240921"/>
              <a:gd name="connsiteY95" fmla="*/ 6391326 h 6858243"/>
              <a:gd name="connsiteX96" fmla="*/ 3074708 w 11240921"/>
              <a:gd name="connsiteY96" fmla="*/ 6827538 h 6858243"/>
              <a:gd name="connsiteX97" fmla="*/ 3101316 w 11240921"/>
              <a:gd name="connsiteY97" fmla="*/ 6832030 h 6858243"/>
              <a:gd name="connsiteX98" fmla="*/ 3342259 w 11240921"/>
              <a:gd name="connsiteY98" fmla="*/ 6638348 h 6858243"/>
              <a:gd name="connsiteX99" fmla="*/ 4005512 w 11240921"/>
              <a:gd name="connsiteY99" fmla="*/ 6826281 h 6858243"/>
              <a:gd name="connsiteX100" fmla="*/ 3585571 w 11240921"/>
              <a:gd name="connsiteY100" fmla="*/ 6455082 h 6858243"/>
              <a:gd name="connsiteX101" fmla="*/ 3165658 w 11240921"/>
              <a:gd name="connsiteY101" fmla="*/ 6826102 h 6858243"/>
              <a:gd name="connsiteX102" fmla="*/ 3585571 w 11240921"/>
              <a:gd name="connsiteY102" fmla="*/ 6832030 h 6858243"/>
              <a:gd name="connsiteX103" fmla="*/ 4005512 w 11240921"/>
              <a:gd name="connsiteY103" fmla="*/ 6826281 h 6858243"/>
              <a:gd name="connsiteX104" fmla="*/ 5029480 w 11240921"/>
              <a:gd name="connsiteY104" fmla="*/ 6825316 h 6858243"/>
              <a:gd name="connsiteX105" fmla="*/ 4613181 w 11240921"/>
              <a:gd name="connsiteY105" fmla="*/ 6434560 h 6858243"/>
              <a:gd name="connsiteX106" fmla="*/ 4407094 w 11240921"/>
              <a:gd name="connsiteY106" fmla="*/ 6619524 h 6858243"/>
              <a:gd name="connsiteX107" fmla="*/ 4188633 w 11240921"/>
              <a:gd name="connsiteY107" fmla="*/ 6800030 h 6858243"/>
              <a:gd name="connsiteX108" fmla="*/ 4395687 w 11240921"/>
              <a:gd name="connsiteY108" fmla="*/ 6600639 h 6858243"/>
              <a:gd name="connsiteX109" fmla="*/ 4592735 w 11240921"/>
              <a:gd name="connsiteY109" fmla="*/ 6415489 h 6858243"/>
              <a:gd name="connsiteX110" fmla="*/ 4120165 w 11240921"/>
              <a:gd name="connsiteY110" fmla="*/ 5970851 h 6858243"/>
              <a:gd name="connsiteX111" fmla="*/ 4118918 w 11240921"/>
              <a:gd name="connsiteY111" fmla="*/ 6827538 h 6858243"/>
              <a:gd name="connsiteX112" fmla="*/ 5029480 w 11240921"/>
              <a:gd name="connsiteY112" fmla="*/ 6825316 h 6858243"/>
              <a:gd name="connsiteX113" fmla="*/ 6053473 w 11240921"/>
              <a:gd name="connsiteY113" fmla="*/ 6825392 h 6858243"/>
              <a:gd name="connsiteX114" fmla="*/ 5649778 w 11240921"/>
              <a:gd name="connsiteY114" fmla="*/ 6454751 h 6858243"/>
              <a:gd name="connsiteX115" fmla="*/ 5454359 w 11240921"/>
              <a:gd name="connsiteY115" fmla="*/ 6628232 h 6858243"/>
              <a:gd name="connsiteX116" fmla="*/ 5255223 w 11240921"/>
              <a:gd name="connsiteY116" fmla="*/ 6803999 h 6858243"/>
              <a:gd name="connsiteX117" fmla="*/ 5439973 w 11240921"/>
              <a:gd name="connsiteY117" fmla="*/ 6612825 h 6858243"/>
              <a:gd name="connsiteX118" fmla="*/ 5628568 w 11240921"/>
              <a:gd name="connsiteY118" fmla="*/ 6433058 h 6858243"/>
              <a:gd name="connsiteX119" fmla="*/ 5121320 w 11240921"/>
              <a:gd name="connsiteY119" fmla="*/ 5971081 h 6858243"/>
              <a:gd name="connsiteX120" fmla="*/ 4634569 w 11240921"/>
              <a:gd name="connsiteY120" fmla="*/ 6413936 h 6858243"/>
              <a:gd name="connsiteX121" fmla="*/ 5064108 w 11240921"/>
              <a:gd name="connsiteY121" fmla="*/ 6820486 h 6858243"/>
              <a:gd name="connsiteX122" fmla="*/ 5568250 w 11240921"/>
              <a:gd name="connsiteY122" fmla="*/ 6832020 h 6858243"/>
              <a:gd name="connsiteX123" fmla="*/ 6053473 w 11240921"/>
              <a:gd name="connsiteY123" fmla="*/ 6825392 h 6858243"/>
              <a:gd name="connsiteX124" fmla="*/ 6194429 w 11240921"/>
              <a:gd name="connsiteY124" fmla="*/ 6391861 h 6858243"/>
              <a:gd name="connsiteX125" fmla="*/ 6189974 w 11240921"/>
              <a:gd name="connsiteY125" fmla="*/ 5957357 h 6858243"/>
              <a:gd name="connsiteX126" fmla="*/ 5670605 w 11240921"/>
              <a:gd name="connsiteY126" fmla="*/ 6434534 h 6858243"/>
              <a:gd name="connsiteX127" fmla="*/ 6091080 w 11240921"/>
              <a:gd name="connsiteY127" fmla="*/ 6823510 h 6858243"/>
              <a:gd name="connsiteX128" fmla="*/ 6148904 w 11240921"/>
              <a:gd name="connsiteY128" fmla="*/ 6830248 h 6858243"/>
              <a:gd name="connsiteX129" fmla="*/ 6192698 w 11240921"/>
              <a:gd name="connsiteY129" fmla="*/ 6828651 h 6858243"/>
              <a:gd name="connsiteX130" fmla="*/ 6194429 w 11240921"/>
              <a:gd name="connsiteY130" fmla="*/ 6391861 h 6858243"/>
              <a:gd name="connsiteX131" fmla="*/ 8240685 w 11240921"/>
              <a:gd name="connsiteY131" fmla="*/ 6384018 h 6858243"/>
              <a:gd name="connsiteX132" fmla="*/ 8240685 w 11240921"/>
              <a:gd name="connsiteY132" fmla="*/ 5939406 h 6858243"/>
              <a:gd name="connsiteX133" fmla="*/ 7734048 w 11240921"/>
              <a:gd name="connsiteY133" fmla="*/ 5937675 h 6858243"/>
              <a:gd name="connsiteX134" fmla="*/ 7227385 w 11240921"/>
              <a:gd name="connsiteY134" fmla="*/ 5935943 h 6858243"/>
              <a:gd name="connsiteX135" fmla="*/ 7187869 w 11240921"/>
              <a:gd name="connsiteY135" fmla="*/ 5971361 h 6858243"/>
              <a:gd name="connsiteX136" fmla="*/ 6712117 w 11240921"/>
              <a:gd name="connsiteY136" fmla="*/ 6404235 h 6858243"/>
              <a:gd name="connsiteX137" fmla="*/ 6266282 w 11240921"/>
              <a:gd name="connsiteY137" fmla="*/ 6803882 h 6858243"/>
              <a:gd name="connsiteX138" fmla="*/ 6278606 w 11240921"/>
              <a:gd name="connsiteY138" fmla="*/ 6771612 h 6858243"/>
              <a:gd name="connsiteX139" fmla="*/ 6746541 w 11240921"/>
              <a:gd name="connsiteY139" fmla="*/ 6345164 h 6858243"/>
              <a:gd name="connsiteX140" fmla="*/ 7192604 w 11240921"/>
              <a:gd name="connsiteY140" fmla="*/ 5939406 h 6858243"/>
              <a:gd name="connsiteX141" fmla="*/ 7192859 w 11240921"/>
              <a:gd name="connsiteY141" fmla="*/ 5506557 h 6858243"/>
              <a:gd name="connsiteX142" fmla="*/ 7203222 w 11240921"/>
              <a:gd name="connsiteY142" fmla="*/ 5073734 h 6858243"/>
              <a:gd name="connsiteX143" fmla="*/ 7213331 w 11240921"/>
              <a:gd name="connsiteY143" fmla="*/ 5491408 h 6858243"/>
              <a:gd name="connsiteX144" fmla="*/ 7219034 w 11240921"/>
              <a:gd name="connsiteY144" fmla="*/ 5909081 h 6858243"/>
              <a:gd name="connsiteX145" fmla="*/ 7737383 w 11240921"/>
              <a:gd name="connsiteY145" fmla="*/ 5435366 h 6858243"/>
              <a:gd name="connsiteX146" fmla="*/ 7257659 w 11240921"/>
              <a:gd name="connsiteY146" fmla="*/ 4988793 h 6858243"/>
              <a:gd name="connsiteX147" fmla="*/ 7127881 w 11240921"/>
              <a:gd name="connsiteY147" fmla="*/ 5094638 h 6858243"/>
              <a:gd name="connsiteX148" fmla="*/ 6224220 w 11240921"/>
              <a:gd name="connsiteY148" fmla="*/ 5932735 h 6858243"/>
              <a:gd name="connsiteX149" fmla="*/ 6216275 w 11240921"/>
              <a:gd name="connsiteY149" fmla="*/ 6386590 h 6858243"/>
              <a:gd name="connsiteX150" fmla="*/ 6220808 w 11240921"/>
              <a:gd name="connsiteY150" fmla="*/ 6827551 h 6858243"/>
              <a:gd name="connsiteX151" fmla="*/ 7232987 w 11240921"/>
              <a:gd name="connsiteY151" fmla="*/ 6830357 h 6858243"/>
              <a:gd name="connsiteX152" fmla="*/ 8240685 w 11240921"/>
              <a:gd name="connsiteY152" fmla="*/ 6828651 h 6858243"/>
              <a:gd name="connsiteX153" fmla="*/ 9245859 w 11240921"/>
              <a:gd name="connsiteY153" fmla="*/ 6821048 h 6858243"/>
              <a:gd name="connsiteX154" fmla="*/ 8786431 w 11240921"/>
              <a:gd name="connsiteY154" fmla="*/ 6398302 h 6858243"/>
              <a:gd name="connsiteX155" fmla="*/ 8557504 w 11240921"/>
              <a:gd name="connsiteY155" fmla="*/ 6600415 h 6858243"/>
              <a:gd name="connsiteX156" fmla="*/ 8327127 w 11240921"/>
              <a:gd name="connsiteY156" fmla="*/ 6803999 h 6858243"/>
              <a:gd name="connsiteX157" fmla="*/ 8319209 w 11240921"/>
              <a:gd name="connsiteY157" fmla="*/ 6796776 h 6858243"/>
              <a:gd name="connsiteX158" fmla="*/ 8545563 w 11240921"/>
              <a:gd name="connsiteY158" fmla="*/ 6582874 h 6858243"/>
              <a:gd name="connsiteX159" fmla="*/ 8757786 w 11240921"/>
              <a:gd name="connsiteY159" fmla="*/ 6365253 h 6858243"/>
              <a:gd name="connsiteX160" fmla="*/ 8273683 w 11240921"/>
              <a:gd name="connsiteY160" fmla="*/ 5923747 h 6858243"/>
              <a:gd name="connsiteX161" fmla="*/ 8264262 w 11240921"/>
              <a:gd name="connsiteY161" fmla="*/ 6372306 h 6858243"/>
              <a:gd name="connsiteX162" fmla="*/ 8268794 w 11240921"/>
              <a:gd name="connsiteY162" fmla="*/ 6827572 h 6858243"/>
              <a:gd name="connsiteX163" fmla="*/ 9245859 w 11240921"/>
              <a:gd name="connsiteY163" fmla="*/ 6821048 h 6858243"/>
              <a:gd name="connsiteX164" fmla="*/ 9420152 w 11240921"/>
              <a:gd name="connsiteY164" fmla="*/ 6823358 h 6858243"/>
              <a:gd name="connsiteX165" fmla="*/ 9833913 w 11240921"/>
              <a:gd name="connsiteY165" fmla="*/ 6438328 h 6858243"/>
              <a:gd name="connsiteX166" fmla="*/ 9305753 w 11240921"/>
              <a:gd name="connsiteY166" fmla="*/ 5960259 h 6858243"/>
              <a:gd name="connsiteX167" fmla="*/ 9278919 w 11240921"/>
              <a:gd name="connsiteY167" fmla="*/ 5958375 h 6858243"/>
              <a:gd name="connsiteX168" fmla="*/ 9268026 w 11240921"/>
              <a:gd name="connsiteY168" fmla="*/ 6392803 h 6858243"/>
              <a:gd name="connsiteX169" fmla="*/ 9272518 w 11240921"/>
              <a:gd name="connsiteY169" fmla="*/ 6827528 h 6858243"/>
              <a:gd name="connsiteX170" fmla="*/ 9420152 w 11240921"/>
              <a:gd name="connsiteY170" fmla="*/ 6823360 h 6858243"/>
              <a:gd name="connsiteX171" fmla="*/ 10330800 w 11240921"/>
              <a:gd name="connsiteY171" fmla="*/ 6426132 h 6858243"/>
              <a:gd name="connsiteX172" fmla="*/ 10327432 w 11240921"/>
              <a:gd name="connsiteY172" fmla="*/ 6023684 h 6858243"/>
              <a:gd name="connsiteX173" fmla="*/ 9457762 w 11240921"/>
              <a:gd name="connsiteY173" fmla="*/ 6825606 h 6858243"/>
              <a:gd name="connsiteX174" fmla="*/ 9892281 w 11240921"/>
              <a:gd name="connsiteY174" fmla="*/ 6830383 h 6858243"/>
              <a:gd name="connsiteX175" fmla="*/ 10329064 w 11240921"/>
              <a:gd name="connsiteY175" fmla="*/ 6828649 h 6858243"/>
              <a:gd name="connsiteX176" fmla="*/ 11218314 w 11240921"/>
              <a:gd name="connsiteY176" fmla="*/ 6394127 h 6858243"/>
              <a:gd name="connsiteX177" fmla="*/ 11218314 w 11240921"/>
              <a:gd name="connsiteY177" fmla="*/ 5959623 h 6858243"/>
              <a:gd name="connsiteX178" fmla="*/ 10809351 w 11240921"/>
              <a:gd name="connsiteY178" fmla="*/ 5957866 h 6858243"/>
              <a:gd name="connsiteX179" fmla="*/ 10400387 w 11240921"/>
              <a:gd name="connsiteY179" fmla="*/ 5956135 h 6858243"/>
              <a:gd name="connsiteX180" fmla="*/ 10376514 w 11240921"/>
              <a:gd name="connsiteY180" fmla="*/ 5977089 h 6858243"/>
              <a:gd name="connsiteX181" fmla="*/ 10352641 w 11240921"/>
              <a:gd name="connsiteY181" fmla="*/ 5998070 h 6858243"/>
              <a:gd name="connsiteX182" fmla="*/ 10352641 w 11240921"/>
              <a:gd name="connsiteY182" fmla="*/ 6410550 h 6858243"/>
              <a:gd name="connsiteX183" fmla="*/ 10357181 w 11240921"/>
              <a:gd name="connsiteY183" fmla="*/ 6827577 h 6858243"/>
              <a:gd name="connsiteX184" fmla="*/ 10790017 w 11240921"/>
              <a:gd name="connsiteY184" fmla="*/ 6830383 h 6858243"/>
              <a:gd name="connsiteX185" fmla="*/ 11218314 w 11240921"/>
              <a:gd name="connsiteY185" fmla="*/ 6828649 h 6858243"/>
              <a:gd name="connsiteX186" fmla="*/ 9247815 w 11240921"/>
              <a:gd name="connsiteY186" fmla="*/ 6378010 h 6858243"/>
              <a:gd name="connsiteX187" fmla="*/ 9243822 w 11240921"/>
              <a:gd name="connsiteY187" fmla="*/ 5981443 h 6858243"/>
              <a:gd name="connsiteX188" fmla="*/ 8811434 w 11240921"/>
              <a:gd name="connsiteY188" fmla="*/ 6377577 h 6858243"/>
              <a:gd name="connsiteX189" fmla="*/ 9242763 w 11240921"/>
              <a:gd name="connsiteY189" fmla="*/ 6773468 h 6858243"/>
              <a:gd name="connsiteX190" fmla="*/ 9247815 w 11240921"/>
              <a:gd name="connsiteY190" fmla="*/ 6378010 h 6858243"/>
              <a:gd name="connsiteX191" fmla="*/ 10088252 w 11240921"/>
              <a:gd name="connsiteY191" fmla="*/ 6211719 h 6858243"/>
              <a:gd name="connsiteX192" fmla="*/ 10324768 w 11240921"/>
              <a:gd name="connsiteY192" fmla="*/ 5989489 h 6858243"/>
              <a:gd name="connsiteX193" fmla="*/ 10330031 w 11240921"/>
              <a:gd name="connsiteY193" fmla="*/ 5966447 h 6858243"/>
              <a:gd name="connsiteX194" fmla="*/ 9840861 w 11240921"/>
              <a:gd name="connsiteY194" fmla="*/ 5956236 h 6858243"/>
              <a:gd name="connsiteX195" fmla="*/ 9355604 w 11240921"/>
              <a:gd name="connsiteY195" fmla="*/ 5962551 h 6858243"/>
              <a:gd name="connsiteX196" fmla="*/ 9535812 w 11240921"/>
              <a:gd name="connsiteY196" fmla="*/ 6132380 h 6858243"/>
              <a:gd name="connsiteX197" fmla="*/ 9784807 w 11240921"/>
              <a:gd name="connsiteY197" fmla="*/ 6358506 h 6858243"/>
              <a:gd name="connsiteX198" fmla="*/ 9857256 w 11240921"/>
              <a:gd name="connsiteY198" fmla="*/ 6421065 h 6858243"/>
              <a:gd name="connsiteX199" fmla="*/ 10088252 w 11240921"/>
              <a:gd name="connsiteY199" fmla="*/ 6211719 h 6858243"/>
              <a:gd name="connsiteX200" fmla="*/ 5911244 w 11240921"/>
              <a:gd name="connsiteY200" fmla="*/ 6181038 h 6858243"/>
              <a:gd name="connsiteX201" fmla="*/ 6168000 w 11240921"/>
              <a:gd name="connsiteY201" fmla="*/ 5941876 h 6858243"/>
              <a:gd name="connsiteX202" fmla="*/ 5151874 w 11240921"/>
              <a:gd name="connsiteY202" fmla="*/ 5942614 h 6858243"/>
              <a:gd name="connsiteX203" fmla="*/ 5403029 w 11240921"/>
              <a:gd name="connsiteY203" fmla="*/ 6193208 h 6858243"/>
              <a:gd name="connsiteX204" fmla="*/ 5648505 w 11240921"/>
              <a:gd name="connsiteY204" fmla="*/ 6413860 h 6858243"/>
              <a:gd name="connsiteX205" fmla="*/ 5911244 w 11240921"/>
              <a:gd name="connsiteY205" fmla="*/ 6181038 h 6858243"/>
              <a:gd name="connsiteX206" fmla="*/ 2770441 w 11240921"/>
              <a:gd name="connsiteY206" fmla="*/ 6185239 h 6858243"/>
              <a:gd name="connsiteX207" fmla="*/ 3008457 w 11240921"/>
              <a:gd name="connsiteY207" fmla="*/ 5962958 h 6858243"/>
              <a:gd name="connsiteX208" fmla="*/ 2541387 w 11240921"/>
              <a:gd name="connsiteY208" fmla="*/ 5956236 h 6858243"/>
              <a:gd name="connsiteX209" fmla="*/ 2074572 w 11240921"/>
              <a:gd name="connsiteY209" fmla="*/ 5963798 h 6858243"/>
              <a:gd name="connsiteX210" fmla="*/ 2527638 w 11240921"/>
              <a:gd name="connsiteY210" fmla="*/ 6400849 h 6858243"/>
              <a:gd name="connsiteX211" fmla="*/ 2770441 w 11240921"/>
              <a:gd name="connsiteY211" fmla="*/ 6185239 h 6858243"/>
              <a:gd name="connsiteX212" fmla="*/ 1729872 w 11240921"/>
              <a:gd name="connsiteY212" fmla="*/ 6181980 h 6858243"/>
              <a:gd name="connsiteX213" fmla="*/ 1964247 w 11240921"/>
              <a:gd name="connsiteY213" fmla="*/ 5963035 h 6858243"/>
              <a:gd name="connsiteX214" fmla="*/ 1490456 w 11240921"/>
              <a:gd name="connsiteY214" fmla="*/ 5956236 h 6858243"/>
              <a:gd name="connsiteX215" fmla="*/ 1016638 w 11240921"/>
              <a:gd name="connsiteY215" fmla="*/ 5962729 h 6858243"/>
              <a:gd name="connsiteX216" fmla="*/ 1487375 w 11240921"/>
              <a:gd name="connsiteY216" fmla="*/ 6393643 h 6858243"/>
              <a:gd name="connsiteX217" fmla="*/ 1729872 w 11240921"/>
              <a:gd name="connsiteY217" fmla="*/ 6181980 h 6858243"/>
              <a:gd name="connsiteX218" fmla="*/ 4862196 w 11240921"/>
              <a:gd name="connsiteY218" fmla="*/ 6174367 h 6858243"/>
              <a:gd name="connsiteX219" fmla="*/ 5101358 w 11240921"/>
              <a:gd name="connsiteY219" fmla="*/ 5948852 h 6858243"/>
              <a:gd name="connsiteX220" fmla="*/ 4595383 w 11240921"/>
              <a:gd name="connsiteY220" fmla="*/ 5486035 h 6858243"/>
              <a:gd name="connsiteX221" fmla="*/ 4142521 w 11240921"/>
              <a:gd name="connsiteY221" fmla="*/ 5893397 h 6858243"/>
              <a:gd name="connsiteX222" fmla="*/ 4119605 w 11240921"/>
              <a:gd name="connsiteY222" fmla="*/ 5933015 h 6858243"/>
              <a:gd name="connsiteX223" fmla="*/ 4612926 w 11240921"/>
              <a:gd name="connsiteY223" fmla="*/ 6393516 h 6858243"/>
              <a:gd name="connsiteX224" fmla="*/ 4862196 w 11240921"/>
              <a:gd name="connsiteY224" fmla="*/ 6174367 h 6858243"/>
              <a:gd name="connsiteX225" fmla="*/ 9024243 w 11240921"/>
              <a:gd name="connsiteY225" fmla="*/ 6146028 h 6858243"/>
              <a:gd name="connsiteX226" fmla="*/ 9259530 w 11240921"/>
              <a:gd name="connsiteY226" fmla="*/ 5928177 h 6858243"/>
              <a:gd name="connsiteX227" fmla="*/ 9025083 w 11240921"/>
              <a:gd name="connsiteY227" fmla="*/ 5697622 h 6858243"/>
              <a:gd name="connsiteX228" fmla="*/ 8772478 w 11240921"/>
              <a:gd name="connsiteY228" fmla="*/ 5473508 h 6858243"/>
              <a:gd name="connsiteX229" fmla="*/ 8734082 w 11240921"/>
              <a:gd name="connsiteY229" fmla="*/ 5495303 h 6858243"/>
              <a:gd name="connsiteX230" fmla="*/ 8292805 w 11240921"/>
              <a:gd name="connsiteY230" fmla="*/ 5903480 h 6858243"/>
              <a:gd name="connsiteX231" fmla="*/ 8788442 w 11240921"/>
              <a:gd name="connsiteY231" fmla="*/ 6353719 h 6858243"/>
              <a:gd name="connsiteX232" fmla="*/ 9024243 w 11240921"/>
              <a:gd name="connsiteY232" fmla="*/ 6146028 h 6858243"/>
              <a:gd name="connsiteX233" fmla="*/ 2011428 w 11240921"/>
              <a:gd name="connsiteY233" fmla="*/ 5920412 h 6858243"/>
              <a:gd name="connsiteX234" fmla="*/ 2026119 w 11240921"/>
              <a:gd name="connsiteY234" fmla="*/ 5904753 h 6858243"/>
              <a:gd name="connsiteX235" fmla="*/ 2024388 w 11240921"/>
              <a:gd name="connsiteY235" fmla="*/ 5447155 h 6858243"/>
              <a:gd name="connsiteX236" fmla="*/ 2022656 w 11240921"/>
              <a:gd name="connsiteY236" fmla="*/ 4989532 h 6858243"/>
              <a:gd name="connsiteX237" fmla="*/ 1500563 w 11240921"/>
              <a:gd name="connsiteY237" fmla="*/ 4989532 h 6858243"/>
              <a:gd name="connsiteX238" fmla="*/ 978472 w 11240921"/>
              <a:gd name="connsiteY238" fmla="*/ 4989532 h 6858243"/>
              <a:gd name="connsiteX239" fmla="*/ 976715 w 11240921"/>
              <a:gd name="connsiteY239" fmla="*/ 5454361 h 6858243"/>
              <a:gd name="connsiteX240" fmla="*/ 978191 w 11240921"/>
              <a:gd name="connsiteY240" fmla="*/ 5927617 h 6858243"/>
              <a:gd name="connsiteX241" fmla="*/ 1489080 w 11240921"/>
              <a:gd name="connsiteY241" fmla="*/ 5936045 h 6858243"/>
              <a:gd name="connsiteX242" fmla="*/ 1996735 w 11240921"/>
              <a:gd name="connsiteY242" fmla="*/ 5936045 h 6858243"/>
              <a:gd name="connsiteX243" fmla="*/ 3035421 w 11240921"/>
              <a:gd name="connsiteY243" fmla="*/ 5929527 h 6858243"/>
              <a:gd name="connsiteX244" fmla="*/ 2788672 w 11240921"/>
              <a:gd name="connsiteY244" fmla="*/ 5696934 h 6858243"/>
              <a:gd name="connsiteX245" fmla="*/ 2535226 w 11240921"/>
              <a:gd name="connsiteY245" fmla="*/ 5476079 h 6858243"/>
              <a:gd name="connsiteX246" fmla="*/ 2054865 w 11240921"/>
              <a:gd name="connsiteY246" fmla="*/ 5914530 h 6858243"/>
              <a:gd name="connsiteX247" fmla="*/ 2050231 w 11240921"/>
              <a:gd name="connsiteY247" fmla="*/ 5930291 h 6858243"/>
              <a:gd name="connsiteX248" fmla="*/ 3035421 w 11240921"/>
              <a:gd name="connsiteY248" fmla="*/ 5929527 h 6858243"/>
              <a:gd name="connsiteX249" fmla="*/ 10318958 w 11240921"/>
              <a:gd name="connsiteY249" fmla="*/ 5930545 h 6858243"/>
              <a:gd name="connsiteX250" fmla="*/ 9801874 w 11240921"/>
              <a:gd name="connsiteY250" fmla="*/ 5472489 h 6858243"/>
              <a:gd name="connsiteX251" fmla="*/ 9308941 w 11240921"/>
              <a:gd name="connsiteY251" fmla="*/ 5920335 h 6858243"/>
              <a:gd name="connsiteX252" fmla="*/ 9316867 w 11240921"/>
              <a:gd name="connsiteY252" fmla="*/ 5931589 h 6858243"/>
              <a:gd name="connsiteX253" fmla="*/ 10318958 w 11240921"/>
              <a:gd name="connsiteY253" fmla="*/ 5930545 h 6858243"/>
              <a:gd name="connsiteX254" fmla="*/ 10469205 w 11240921"/>
              <a:gd name="connsiteY254" fmla="*/ 5859965 h 6858243"/>
              <a:gd name="connsiteX255" fmla="*/ 10857898 w 11240921"/>
              <a:gd name="connsiteY255" fmla="*/ 5502152 h 6858243"/>
              <a:gd name="connsiteX256" fmla="*/ 11193252 w 11240921"/>
              <a:gd name="connsiteY256" fmla="*/ 5191036 h 6858243"/>
              <a:gd name="connsiteX257" fmla="*/ 11222087 w 11240921"/>
              <a:gd name="connsiteY257" fmla="*/ 5161678 h 6858243"/>
              <a:gd name="connsiteX258" fmla="*/ 11220201 w 11240921"/>
              <a:gd name="connsiteY258" fmla="*/ 5075592 h 6858243"/>
              <a:gd name="connsiteX259" fmla="*/ 11218314 w 11240921"/>
              <a:gd name="connsiteY259" fmla="*/ 4989532 h 6858243"/>
              <a:gd name="connsiteX260" fmla="*/ 10787161 w 11240921"/>
              <a:gd name="connsiteY260" fmla="*/ 4989532 h 6858243"/>
              <a:gd name="connsiteX261" fmla="*/ 10356010 w 11240921"/>
              <a:gd name="connsiteY261" fmla="*/ 4989532 h 6858243"/>
              <a:gd name="connsiteX262" fmla="*/ 10354266 w 11240921"/>
              <a:gd name="connsiteY262" fmla="*/ 5454361 h 6858243"/>
              <a:gd name="connsiteX263" fmla="*/ 10355738 w 11240921"/>
              <a:gd name="connsiteY263" fmla="*/ 5927617 h 6858243"/>
              <a:gd name="connsiteX264" fmla="*/ 10469203 w 11240921"/>
              <a:gd name="connsiteY264" fmla="*/ 5859965 h 6858243"/>
              <a:gd name="connsiteX265" fmla="*/ 11220058 w 11240921"/>
              <a:gd name="connsiteY265" fmla="*/ 5572656 h 6858243"/>
              <a:gd name="connsiteX266" fmla="*/ 11216689 w 11240921"/>
              <a:gd name="connsiteY266" fmla="*/ 5207866 h 6858243"/>
              <a:gd name="connsiteX267" fmla="*/ 10427850 w 11240921"/>
              <a:gd name="connsiteY267" fmla="*/ 5930189 h 6858243"/>
              <a:gd name="connsiteX268" fmla="*/ 10821949 w 11240921"/>
              <a:gd name="connsiteY268" fmla="*/ 5934416 h 6858243"/>
              <a:gd name="connsiteX269" fmla="*/ 11218314 w 11240921"/>
              <a:gd name="connsiteY269" fmla="*/ 5932684 h 6858243"/>
              <a:gd name="connsiteX270" fmla="*/ 5127584 w 11240921"/>
              <a:gd name="connsiteY270" fmla="*/ 5911907 h 6858243"/>
              <a:gd name="connsiteX271" fmla="*/ 5126616 w 11240921"/>
              <a:gd name="connsiteY271" fmla="*/ 4999793 h 6858243"/>
              <a:gd name="connsiteX272" fmla="*/ 4623034 w 11240921"/>
              <a:gd name="connsiteY272" fmla="*/ 5463756 h 6858243"/>
              <a:gd name="connsiteX273" fmla="*/ 5115795 w 11240921"/>
              <a:gd name="connsiteY273" fmla="*/ 5922220 h 6858243"/>
              <a:gd name="connsiteX274" fmla="*/ 5127584 w 11240921"/>
              <a:gd name="connsiteY274" fmla="*/ 5911907 h 6858243"/>
              <a:gd name="connsiteX275" fmla="*/ 6182208 w 11240921"/>
              <a:gd name="connsiteY275" fmla="*/ 5910787 h 6858243"/>
              <a:gd name="connsiteX276" fmla="*/ 5668722 w 11240921"/>
              <a:gd name="connsiteY276" fmla="*/ 5474577 h 6858243"/>
              <a:gd name="connsiteX277" fmla="*/ 5185611 w 11240921"/>
              <a:gd name="connsiteY277" fmla="*/ 5910787 h 6858243"/>
              <a:gd name="connsiteX278" fmla="*/ 5684075 w 11240921"/>
              <a:gd name="connsiteY278" fmla="*/ 5915829 h 6858243"/>
              <a:gd name="connsiteX279" fmla="*/ 6182208 w 11240921"/>
              <a:gd name="connsiteY279" fmla="*/ 5910787 h 6858243"/>
              <a:gd name="connsiteX280" fmla="*/ 8250768 w 11240921"/>
              <a:gd name="connsiteY280" fmla="*/ 5906281 h 6858243"/>
              <a:gd name="connsiteX281" fmla="*/ 7756607 w 11240921"/>
              <a:gd name="connsiteY281" fmla="*/ 5455736 h 6858243"/>
              <a:gd name="connsiteX282" fmla="*/ 7260485 w 11240921"/>
              <a:gd name="connsiteY282" fmla="*/ 5910329 h 6858243"/>
              <a:gd name="connsiteX283" fmla="*/ 7755639 w 11240921"/>
              <a:gd name="connsiteY283" fmla="*/ 5915829 h 6858243"/>
              <a:gd name="connsiteX284" fmla="*/ 8250768 w 11240921"/>
              <a:gd name="connsiteY284" fmla="*/ 5906281 h 6858243"/>
              <a:gd name="connsiteX285" fmla="*/ 3050010 w 11240921"/>
              <a:gd name="connsiteY285" fmla="*/ 5457747 h 6858243"/>
              <a:gd name="connsiteX286" fmla="*/ 3044561 w 11240921"/>
              <a:gd name="connsiteY286" fmla="*/ 5013109 h 6858243"/>
              <a:gd name="connsiteX287" fmla="*/ 2566391 w 11240921"/>
              <a:gd name="connsiteY287" fmla="*/ 5455634 h 6858243"/>
              <a:gd name="connsiteX288" fmla="*/ 3044969 w 11240921"/>
              <a:gd name="connsiteY288" fmla="*/ 5902028 h 6858243"/>
              <a:gd name="connsiteX289" fmla="*/ 3050010 w 11240921"/>
              <a:gd name="connsiteY289" fmla="*/ 5457747 h 6858243"/>
              <a:gd name="connsiteX290" fmla="*/ 3575718 w 11240921"/>
              <a:gd name="connsiteY290" fmla="*/ 5448453 h 6858243"/>
              <a:gd name="connsiteX291" fmla="*/ 4062316 w 11240921"/>
              <a:gd name="connsiteY291" fmla="*/ 4992002 h 6858243"/>
              <a:gd name="connsiteX292" fmla="*/ 3564999 w 11240921"/>
              <a:gd name="connsiteY292" fmla="*/ 4987800 h 6858243"/>
              <a:gd name="connsiteX293" fmla="*/ 3073588 w 11240921"/>
              <a:gd name="connsiteY293" fmla="*/ 4989532 h 6858243"/>
              <a:gd name="connsiteX294" fmla="*/ 3071856 w 11240921"/>
              <a:gd name="connsiteY294" fmla="*/ 5446519 h 6858243"/>
              <a:gd name="connsiteX295" fmla="*/ 3076668 w 11240921"/>
              <a:gd name="connsiteY295" fmla="*/ 5901264 h 6858243"/>
              <a:gd name="connsiteX296" fmla="*/ 3575718 w 11240921"/>
              <a:gd name="connsiteY296" fmla="*/ 5448453 h 6858243"/>
              <a:gd name="connsiteX297" fmla="*/ 5434830 w 11240921"/>
              <a:gd name="connsiteY297" fmla="*/ 5649448 h 6858243"/>
              <a:gd name="connsiteX298" fmla="*/ 5641656 w 11240921"/>
              <a:gd name="connsiteY298" fmla="*/ 5451407 h 6858243"/>
              <a:gd name="connsiteX299" fmla="*/ 5403512 w 11240921"/>
              <a:gd name="connsiteY299" fmla="*/ 5235416 h 6858243"/>
              <a:gd name="connsiteX300" fmla="*/ 5157934 w 11240921"/>
              <a:gd name="connsiteY300" fmla="*/ 5027699 h 6858243"/>
              <a:gd name="connsiteX301" fmla="*/ 5156534 w 11240921"/>
              <a:gd name="connsiteY301" fmla="*/ 5898031 h 6858243"/>
              <a:gd name="connsiteX302" fmla="*/ 5195286 w 11240921"/>
              <a:gd name="connsiteY302" fmla="*/ 5869845 h 6858243"/>
              <a:gd name="connsiteX303" fmla="*/ 5434830 w 11240921"/>
              <a:gd name="connsiteY303" fmla="*/ 5649448 h 6858243"/>
              <a:gd name="connsiteX304" fmla="*/ 6429644 w 11240921"/>
              <a:gd name="connsiteY304" fmla="*/ 5706228 h 6858243"/>
              <a:gd name="connsiteX305" fmla="*/ 6690143 w 11240921"/>
              <a:gd name="connsiteY305" fmla="*/ 5452476 h 6858243"/>
              <a:gd name="connsiteX306" fmla="*/ 6438505 w 11240921"/>
              <a:gd name="connsiteY306" fmla="*/ 5225307 h 6858243"/>
              <a:gd name="connsiteX307" fmla="*/ 6185849 w 11240921"/>
              <a:gd name="connsiteY307" fmla="*/ 5000939 h 6858243"/>
              <a:gd name="connsiteX308" fmla="*/ 5692452 w 11240921"/>
              <a:gd name="connsiteY308" fmla="*/ 5452502 h 6858243"/>
              <a:gd name="connsiteX309" fmla="*/ 6210699 w 11240921"/>
              <a:gd name="connsiteY309" fmla="*/ 5902028 h 6858243"/>
              <a:gd name="connsiteX310" fmla="*/ 6429644 w 11240921"/>
              <a:gd name="connsiteY310" fmla="*/ 5706228 h 6858243"/>
              <a:gd name="connsiteX311" fmla="*/ 9537663 w 11240921"/>
              <a:gd name="connsiteY311" fmla="*/ 5677405 h 6858243"/>
              <a:gd name="connsiteX312" fmla="*/ 9778643 w 11240921"/>
              <a:gd name="connsiteY312" fmla="*/ 5446977 h 6858243"/>
              <a:gd name="connsiteX313" fmla="*/ 9283000 w 11240921"/>
              <a:gd name="connsiteY313" fmla="*/ 4999971 h 6858243"/>
              <a:gd name="connsiteX314" fmla="*/ 8791701 w 11240921"/>
              <a:gd name="connsiteY314" fmla="*/ 5448199 h 6858243"/>
              <a:gd name="connsiteX315" fmla="*/ 9288760 w 11240921"/>
              <a:gd name="connsiteY315" fmla="*/ 5901010 h 6858243"/>
              <a:gd name="connsiteX316" fmla="*/ 9537663 w 11240921"/>
              <a:gd name="connsiteY316" fmla="*/ 5677405 h 6858243"/>
              <a:gd name="connsiteX317" fmla="*/ 10332432 w 11240921"/>
              <a:gd name="connsiteY317" fmla="*/ 5443870 h 6858243"/>
              <a:gd name="connsiteX318" fmla="*/ 10325441 w 11240921"/>
              <a:gd name="connsiteY318" fmla="*/ 4992893 h 6858243"/>
              <a:gd name="connsiteX319" fmla="*/ 9830544 w 11240921"/>
              <a:gd name="connsiteY319" fmla="*/ 5448581 h 6858243"/>
              <a:gd name="connsiteX320" fmla="*/ 10327378 w 11240921"/>
              <a:gd name="connsiteY320" fmla="*/ 5897700 h 6858243"/>
              <a:gd name="connsiteX321" fmla="*/ 10332432 w 11240921"/>
              <a:gd name="connsiteY321" fmla="*/ 5443870 h 6858243"/>
              <a:gd name="connsiteX322" fmla="*/ 2275719 w 11240921"/>
              <a:gd name="connsiteY322" fmla="*/ 5682828 h 6858243"/>
              <a:gd name="connsiteX323" fmla="*/ 2521171 w 11240921"/>
              <a:gd name="connsiteY323" fmla="*/ 5457263 h 6858243"/>
              <a:gd name="connsiteX324" fmla="*/ 2785591 w 11240921"/>
              <a:gd name="connsiteY324" fmla="*/ 5214817 h 6858243"/>
              <a:gd name="connsiteX325" fmla="*/ 3023072 w 11240921"/>
              <a:gd name="connsiteY325" fmla="*/ 4992333 h 6858243"/>
              <a:gd name="connsiteX326" fmla="*/ 2536346 w 11240921"/>
              <a:gd name="connsiteY326" fmla="*/ 4987800 h 6858243"/>
              <a:gd name="connsiteX327" fmla="*/ 2049594 w 11240921"/>
              <a:gd name="connsiteY327" fmla="*/ 4989532 h 6858243"/>
              <a:gd name="connsiteX328" fmla="*/ 2047863 w 11240921"/>
              <a:gd name="connsiteY328" fmla="*/ 5435850 h 6858243"/>
              <a:gd name="connsiteX329" fmla="*/ 2051682 w 11240921"/>
              <a:gd name="connsiteY329" fmla="*/ 5882143 h 6858243"/>
              <a:gd name="connsiteX330" fmla="*/ 2275719 w 11240921"/>
              <a:gd name="connsiteY330" fmla="*/ 5682828 h 6858243"/>
              <a:gd name="connsiteX331" fmla="*/ 4347845 w 11240921"/>
              <a:gd name="connsiteY331" fmla="*/ 5677252 h 6858243"/>
              <a:gd name="connsiteX332" fmla="*/ 4573868 w 11240921"/>
              <a:gd name="connsiteY332" fmla="*/ 5467906 h 6858243"/>
              <a:gd name="connsiteX333" fmla="*/ 4352479 w 11240921"/>
              <a:gd name="connsiteY333" fmla="*/ 5251762 h 6858243"/>
              <a:gd name="connsiteX334" fmla="*/ 4120395 w 11240921"/>
              <a:gd name="connsiteY334" fmla="*/ 5041168 h 6858243"/>
              <a:gd name="connsiteX335" fmla="*/ 4114412 w 11240921"/>
              <a:gd name="connsiteY335" fmla="*/ 5461108 h 6858243"/>
              <a:gd name="connsiteX336" fmla="*/ 4120472 w 11240921"/>
              <a:gd name="connsiteY336" fmla="*/ 5881022 h 6858243"/>
              <a:gd name="connsiteX337" fmla="*/ 4347845 w 11240921"/>
              <a:gd name="connsiteY337" fmla="*/ 5677252 h 6858243"/>
              <a:gd name="connsiteX338" fmla="*/ 8391189 w 11240921"/>
              <a:gd name="connsiteY338" fmla="*/ 5779099 h 6858243"/>
              <a:gd name="connsiteX339" fmla="*/ 8621286 w 11240921"/>
              <a:gd name="connsiteY339" fmla="*/ 5569040 h 6858243"/>
              <a:gd name="connsiteX340" fmla="*/ 8743910 w 11240921"/>
              <a:gd name="connsiteY340" fmla="*/ 5454361 h 6858243"/>
              <a:gd name="connsiteX341" fmla="*/ 8521578 w 11240921"/>
              <a:gd name="connsiteY341" fmla="*/ 5240788 h 6858243"/>
              <a:gd name="connsiteX342" fmla="*/ 8276102 w 11240921"/>
              <a:gd name="connsiteY342" fmla="*/ 5016419 h 6858243"/>
              <a:gd name="connsiteX343" fmla="*/ 8257668 w 11240921"/>
              <a:gd name="connsiteY343" fmla="*/ 4997934 h 6858243"/>
              <a:gd name="connsiteX344" fmla="*/ 8228947 w 11240921"/>
              <a:gd name="connsiteY344" fmla="*/ 5023676 h 6858243"/>
              <a:gd name="connsiteX345" fmla="*/ 7787416 w 11240921"/>
              <a:gd name="connsiteY345" fmla="*/ 5435494 h 6858243"/>
              <a:gd name="connsiteX346" fmla="*/ 8272665 w 11240921"/>
              <a:gd name="connsiteY346" fmla="*/ 5882143 h 6858243"/>
              <a:gd name="connsiteX347" fmla="*/ 8391189 w 11240921"/>
              <a:gd name="connsiteY347" fmla="*/ 5779099 h 6858243"/>
              <a:gd name="connsiteX348" fmla="*/ 4843941 w 11240921"/>
              <a:gd name="connsiteY348" fmla="*/ 5224976 h 6858243"/>
              <a:gd name="connsiteX349" fmla="*/ 5084502 w 11240921"/>
              <a:gd name="connsiteY349" fmla="*/ 4999284 h 6858243"/>
              <a:gd name="connsiteX350" fmla="*/ 4602334 w 11240921"/>
              <a:gd name="connsiteY350" fmla="*/ 4992893 h 6858243"/>
              <a:gd name="connsiteX351" fmla="*/ 4122355 w 11240921"/>
              <a:gd name="connsiteY351" fmla="*/ 5002848 h 6858243"/>
              <a:gd name="connsiteX352" fmla="*/ 4596351 w 11240921"/>
              <a:gd name="connsiteY352" fmla="*/ 5443845 h 6858243"/>
              <a:gd name="connsiteX353" fmla="*/ 4843941 w 11240921"/>
              <a:gd name="connsiteY353" fmla="*/ 5224976 h 6858243"/>
              <a:gd name="connsiteX354" fmla="*/ 6959248 w 11240921"/>
              <a:gd name="connsiteY354" fmla="*/ 5220622 h 6858243"/>
              <a:gd name="connsiteX355" fmla="*/ 7205259 w 11240921"/>
              <a:gd name="connsiteY355" fmla="*/ 4992180 h 6858243"/>
              <a:gd name="connsiteX356" fmla="*/ 7200192 w 11240921"/>
              <a:gd name="connsiteY356" fmla="*/ 4983013 h 6858243"/>
              <a:gd name="connsiteX357" fmla="*/ 7193114 w 11240921"/>
              <a:gd name="connsiteY357" fmla="*/ 4952765 h 6858243"/>
              <a:gd name="connsiteX358" fmla="*/ 7151000 w 11240921"/>
              <a:gd name="connsiteY358" fmla="*/ 4886692 h 6858243"/>
              <a:gd name="connsiteX359" fmla="*/ 6730296 w 11240921"/>
              <a:gd name="connsiteY359" fmla="*/ 4503035 h 6858243"/>
              <a:gd name="connsiteX360" fmla="*/ 6470944 w 11240921"/>
              <a:gd name="connsiteY360" fmla="*/ 4730357 h 6858243"/>
              <a:gd name="connsiteX361" fmla="*/ 6221546 w 11240921"/>
              <a:gd name="connsiteY361" fmla="*/ 4981537 h 6858243"/>
              <a:gd name="connsiteX362" fmla="*/ 6224907 w 11240921"/>
              <a:gd name="connsiteY362" fmla="*/ 5003128 h 6858243"/>
              <a:gd name="connsiteX363" fmla="*/ 6700201 w 11240921"/>
              <a:gd name="connsiteY363" fmla="*/ 5438752 h 6858243"/>
              <a:gd name="connsiteX364" fmla="*/ 6708858 w 11240921"/>
              <a:gd name="connsiteY364" fmla="*/ 5444252 h 6858243"/>
              <a:gd name="connsiteX365" fmla="*/ 6959248 w 11240921"/>
              <a:gd name="connsiteY365" fmla="*/ 5220622 h 6858243"/>
              <a:gd name="connsiteX366" fmla="*/ 5906381 w 11240921"/>
              <a:gd name="connsiteY366" fmla="*/ 5218356 h 6858243"/>
              <a:gd name="connsiteX367" fmla="*/ 6141062 w 11240921"/>
              <a:gd name="connsiteY367" fmla="*/ 4999411 h 6858243"/>
              <a:gd name="connsiteX368" fmla="*/ 5653775 w 11240921"/>
              <a:gd name="connsiteY368" fmla="*/ 4992893 h 6858243"/>
              <a:gd name="connsiteX369" fmla="*/ 5166489 w 11240921"/>
              <a:gd name="connsiteY369" fmla="*/ 4999691 h 6858243"/>
              <a:gd name="connsiteX370" fmla="*/ 5667245 w 11240921"/>
              <a:gd name="connsiteY370" fmla="*/ 5430656 h 6858243"/>
              <a:gd name="connsiteX371" fmla="*/ 5906381 w 11240921"/>
              <a:gd name="connsiteY371" fmla="*/ 5218356 h 6858243"/>
              <a:gd name="connsiteX372" fmla="*/ 9012251 w 11240921"/>
              <a:gd name="connsiteY372" fmla="*/ 5214155 h 6858243"/>
              <a:gd name="connsiteX373" fmla="*/ 9253429 w 11240921"/>
              <a:gd name="connsiteY373" fmla="*/ 4991849 h 6858243"/>
              <a:gd name="connsiteX374" fmla="*/ 8769499 w 11240921"/>
              <a:gd name="connsiteY374" fmla="*/ 4986171 h 6858243"/>
              <a:gd name="connsiteX375" fmla="*/ 8285777 w 11240921"/>
              <a:gd name="connsiteY375" fmla="*/ 4993453 h 6858243"/>
              <a:gd name="connsiteX376" fmla="*/ 8766341 w 11240921"/>
              <a:gd name="connsiteY376" fmla="*/ 5430350 h 6858243"/>
              <a:gd name="connsiteX377" fmla="*/ 9012251 w 11240921"/>
              <a:gd name="connsiteY377" fmla="*/ 5214155 h 6858243"/>
              <a:gd name="connsiteX378" fmla="*/ 10058892 w 11240921"/>
              <a:gd name="connsiteY378" fmla="*/ 5201984 h 6858243"/>
              <a:gd name="connsiteX379" fmla="*/ 10304017 w 11240921"/>
              <a:gd name="connsiteY379" fmla="*/ 4968475 h 6858243"/>
              <a:gd name="connsiteX380" fmla="*/ 10083172 w 11240921"/>
              <a:gd name="connsiteY380" fmla="*/ 4760249 h 6858243"/>
              <a:gd name="connsiteX381" fmla="*/ 9839700 w 11240921"/>
              <a:gd name="connsiteY381" fmla="*/ 4536695 h 6858243"/>
              <a:gd name="connsiteX382" fmla="*/ 9815170 w 11240921"/>
              <a:gd name="connsiteY382" fmla="*/ 4513296 h 6858243"/>
              <a:gd name="connsiteX383" fmla="*/ 9561488 w 11240921"/>
              <a:gd name="connsiteY383" fmla="*/ 4743877 h 6858243"/>
              <a:gd name="connsiteX384" fmla="*/ 9309809 w 11240921"/>
              <a:gd name="connsiteY384" fmla="*/ 4983701 h 6858243"/>
              <a:gd name="connsiteX385" fmla="*/ 9804364 w 11240921"/>
              <a:gd name="connsiteY385" fmla="*/ 5428772 h 6858243"/>
              <a:gd name="connsiteX386" fmla="*/ 10058892 w 11240921"/>
              <a:gd name="connsiteY386" fmla="*/ 5201984 h 6858243"/>
              <a:gd name="connsiteX387" fmla="*/ 8000836 w 11240921"/>
              <a:gd name="connsiteY387" fmla="*/ 5202366 h 6858243"/>
              <a:gd name="connsiteX388" fmla="*/ 8225586 w 11240921"/>
              <a:gd name="connsiteY388" fmla="*/ 4990168 h 6858243"/>
              <a:gd name="connsiteX389" fmla="*/ 7302014 w 11240921"/>
              <a:gd name="connsiteY389" fmla="*/ 4992103 h 6858243"/>
              <a:gd name="connsiteX390" fmla="*/ 7762590 w 11240921"/>
              <a:gd name="connsiteY390" fmla="*/ 5410567 h 6858243"/>
              <a:gd name="connsiteX391" fmla="*/ 8000836 w 11240921"/>
              <a:gd name="connsiteY391" fmla="*/ 5202366 h 6858243"/>
              <a:gd name="connsiteX392" fmla="*/ 5123586 w 11240921"/>
              <a:gd name="connsiteY392" fmla="*/ 4964605 h 6858243"/>
              <a:gd name="connsiteX393" fmla="*/ 5131658 w 11240921"/>
              <a:gd name="connsiteY393" fmla="*/ 4509884 h 6858243"/>
              <a:gd name="connsiteX394" fmla="*/ 5126565 w 11240921"/>
              <a:gd name="connsiteY394" fmla="*/ 4063235 h 6858243"/>
              <a:gd name="connsiteX395" fmla="*/ 4643964 w 11240921"/>
              <a:gd name="connsiteY395" fmla="*/ 4507618 h 6858243"/>
              <a:gd name="connsiteX396" fmla="*/ 4624384 w 11240921"/>
              <a:gd name="connsiteY396" fmla="*/ 4525339 h 6858243"/>
              <a:gd name="connsiteX397" fmla="*/ 4141375 w 11240921"/>
              <a:gd name="connsiteY397" fmla="*/ 4966336 h 6858243"/>
              <a:gd name="connsiteX398" fmla="*/ 5123586 w 11240921"/>
              <a:gd name="connsiteY398" fmla="*/ 4964605 h 6858243"/>
              <a:gd name="connsiteX399" fmla="*/ 6148904 w 11240921"/>
              <a:gd name="connsiteY399" fmla="*/ 4966871 h 6858243"/>
              <a:gd name="connsiteX400" fmla="*/ 5656805 w 11240921"/>
              <a:gd name="connsiteY400" fmla="*/ 4517955 h 6858243"/>
              <a:gd name="connsiteX401" fmla="*/ 5165343 w 11240921"/>
              <a:gd name="connsiteY401" fmla="*/ 4966616 h 6858243"/>
              <a:gd name="connsiteX402" fmla="*/ 5657136 w 11240921"/>
              <a:gd name="connsiteY402" fmla="*/ 4972701 h 6858243"/>
              <a:gd name="connsiteX403" fmla="*/ 6148904 w 11240921"/>
              <a:gd name="connsiteY403" fmla="*/ 4966871 h 6858243"/>
              <a:gd name="connsiteX404" fmla="*/ 4032451 w 11240921"/>
              <a:gd name="connsiteY404" fmla="*/ 4960200 h 6858243"/>
              <a:gd name="connsiteX405" fmla="*/ 3568614 w 11240921"/>
              <a:gd name="connsiteY405" fmla="*/ 4534811 h 6858243"/>
              <a:gd name="connsiteX406" fmla="*/ 3103913 w 11240921"/>
              <a:gd name="connsiteY406" fmla="*/ 4959767 h 6858243"/>
              <a:gd name="connsiteX407" fmla="*/ 3569302 w 11240921"/>
              <a:gd name="connsiteY407" fmla="*/ 4965954 h 6858243"/>
              <a:gd name="connsiteX408" fmla="*/ 4032451 w 11240921"/>
              <a:gd name="connsiteY408" fmla="*/ 4960200 h 6858243"/>
              <a:gd name="connsiteX409" fmla="*/ 4133049 w 11240921"/>
              <a:gd name="connsiteY409" fmla="*/ 4937310 h 6858243"/>
              <a:gd name="connsiteX410" fmla="*/ 4598005 w 11240921"/>
              <a:gd name="connsiteY410" fmla="*/ 4503239 h 6858243"/>
              <a:gd name="connsiteX411" fmla="*/ 4101069 w 11240921"/>
              <a:gd name="connsiteY411" fmla="*/ 4043018 h 6858243"/>
              <a:gd name="connsiteX412" fmla="*/ 4080726 w 11240921"/>
              <a:gd name="connsiteY412" fmla="*/ 4512303 h 6858243"/>
              <a:gd name="connsiteX413" fmla="*/ 4080624 w 11240921"/>
              <a:gd name="connsiteY413" fmla="*/ 4960913 h 6858243"/>
              <a:gd name="connsiteX414" fmla="*/ 4133049 w 11240921"/>
              <a:gd name="connsiteY414" fmla="*/ 4937310 h 6858243"/>
              <a:gd name="connsiteX415" fmla="*/ 7226800 w 11240921"/>
              <a:gd name="connsiteY415" fmla="*/ 4959207 h 6858243"/>
              <a:gd name="connsiteX416" fmla="*/ 7219670 w 11240921"/>
              <a:gd name="connsiteY416" fmla="*/ 4952485 h 6858243"/>
              <a:gd name="connsiteX417" fmla="*/ 7216691 w 11240921"/>
              <a:gd name="connsiteY417" fmla="*/ 4959207 h 6858243"/>
              <a:gd name="connsiteX418" fmla="*/ 7223821 w 11240921"/>
              <a:gd name="connsiteY418" fmla="*/ 4965954 h 6858243"/>
              <a:gd name="connsiteX419" fmla="*/ 7226800 w 11240921"/>
              <a:gd name="connsiteY419" fmla="*/ 4959207 h 6858243"/>
              <a:gd name="connsiteX420" fmla="*/ 8235669 w 11240921"/>
              <a:gd name="connsiteY420" fmla="*/ 4526383 h 6858243"/>
              <a:gd name="connsiteX421" fmla="*/ 8230500 w 11240921"/>
              <a:gd name="connsiteY421" fmla="*/ 4090173 h 6858243"/>
              <a:gd name="connsiteX422" fmla="*/ 7280676 w 11240921"/>
              <a:gd name="connsiteY422" fmla="*/ 4960225 h 6858243"/>
              <a:gd name="connsiteX423" fmla="*/ 7757320 w 11240921"/>
              <a:gd name="connsiteY423" fmla="*/ 4964325 h 6858243"/>
              <a:gd name="connsiteX424" fmla="*/ 8233938 w 11240921"/>
              <a:gd name="connsiteY424" fmla="*/ 4962593 h 6858243"/>
              <a:gd name="connsiteX425" fmla="*/ 9239955 w 11240921"/>
              <a:gd name="connsiteY425" fmla="*/ 4960225 h 6858243"/>
              <a:gd name="connsiteX426" fmla="*/ 8773165 w 11240921"/>
              <a:gd name="connsiteY426" fmla="*/ 4540107 h 6858243"/>
              <a:gd name="connsiteX427" fmla="*/ 8304670 w 11240921"/>
              <a:gd name="connsiteY427" fmla="*/ 4959971 h 6858243"/>
              <a:gd name="connsiteX428" fmla="*/ 8773445 w 11240921"/>
              <a:gd name="connsiteY428" fmla="*/ 4965954 h 6858243"/>
              <a:gd name="connsiteX429" fmla="*/ 9239955 w 11240921"/>
              <a:gd name="connsiteY429" fmla="*/ 4960225 h 6858243"/>
              <a:gd name="connsiteX430" fmla="*/ 11220216 w 11240921"/>
              <a:gd name="connsiteY430" fmla="*/ 4890995 h 6858243"/>
              <a:gd name="connsiteX431" fmla="*/ 11222118 w 11240921"/>
              <a:gd name="connsiteY431" fmla="*/ 4819422 h 6858243"/>
              <a:gd name="connsiteX432" fmla="*/ 11048428 w 11240921"/>
              <a:gd name="connsiteY432" fmla="*/ 4660184 h 6858243"/>
              <a:gd name="connsiteX433" fmla="*/ 10837687 w 11240921"/>
              <a:gd name="connsiteY433" fmla="*/ 4464817 h 6858243"/>
              <a:gd name="connsiteX434" fmla="*/ 10347758 w 11240921"/>
              <a:gd name="connsiteY434" fmla="*/ 4017073 h 6858243"/>
              <a:gd name="connsiteX435" fmla="*/ 9838203 w 11240921"/>
              <a:gd name="connsiteY435" fmla="*/ 4009332 h 6858243"/>
              <a:gd name="connsiteX436" fmla="*/ 9331981 w 11240921"/>
              <a:gd name="connsiteY436" fmla="*/ 4020459 h 6858243"/>
              <a:gd name="connsiteX437" fmla="*/ 9336551 w 11240921"/>
              <a:gd name="connsiteY437" fmla="*/ 4046583 h 6858243"/>
              <a:gd name="connsiteX438" fmla="*/ 9567810 w 11240921"/>
              <a:gd name="connsiteY438" fmla="*/ 4258501 h 6858243"/>
              <a:gd name="connsiteX439" fmla="*/ 9817070 w 11240921"/>
              <a:gd name="connsiteY439" fmla="*/ 4486510 h 6858243"/>
              <a:gd name="connsiteX440" fmla="*/ 10094974 w 11240921"/>
              <a:gd name="connsiteY440" fmla="*/ 4741840 h 6858243"/>
              <a:gd name="connsiteX441" fmla="*/ 10339195 w 11240921"/>
              <a:gd name="connsiteY441" fmla="*/ 4966056 h 6858243"/>
              <a:gd name="connsiteX442" fmla="*/ 10778753 w 11240921"/>
              <a:gd name="connsiteY442" fmla="*/ 4964325 h 6858243"/>
              <a:gd name="connsiteX443" fmla="*/ 11218311 w 11240921"/>
              <a:gd name="connsiteY443" fmla="*/ 4962593 h 6858243"/>
              <a:gd name="connsiteX444" fmla="*/ 6448817 w 11240921"/>
              <a:gd name="connsiteY444" fmla="*/ 4721827 h 6858243"/>
              <a:gd name="connsiteX445" fmla="*/ 6706413 w 11240921"/>
              <a:gd name="connsiteY445" fmla="*/ 4479839 h 6858243"/>
              <a:gd name="connsiteX446" fmla="*/ 6455437 w 11240921"/>
              <a:gd name="connsiteY446" fmla="*/ 4246305 h 6858243"/>
              <a:gd name="connsiteX447" fmla="*/ 6196084 w 11240921"/>
              <a:gd name="connsiteY447" fmla="*/ 4023285 h 6858243"/>
              <a:gd name="connsiteX448" fmla="*/ 5680714 w 11240921"/>
              <a:gd name="connsiteY448" fmla="*/ 4498579 h 6858243"/>
              <a:gd name="connsiteX449" fmla="*/ 6183786 w 11240921"/>
              <a:gd name="connsiteY449" fmla="*/ 4959207 h 6858243"/>
              <a:gd name="connsiteX450" fmla="*/ 6448817 w 11240921"/>
              <a:gd name="connsiteY450" fmla="*/ 4721827 h 6858243"/>
              <a:gd name="connsiteX451" fmla="*/ 9288235 w 11240921"/>
              <a:gd name="connsiteY451" fmla="*/ 4514595 h 6858243"/>
              <a:gd name="connsiteX452" fmla="*/ 9281885 w 11240921"/>
              <a:gd name="connsiteY452" fmla="*/ 4069956 h 6858243"/>
              <a:gd name="connsiteX453" fmla="*/ 8793076 w 11240921"/>
              <a:gd name="connsiteY453" fmla="*/ 4518414 h 6858243"/>
              <a:gd name="connsiteX454" fmla="*/ 9279815 w 11240921"/>
              <a:gd name="connsiteY454" fmla="*/ 4958800 h 6858243"/>
              <a:gd name="connsiteX455" fmla="*/ 9288235 w 11240921"/>
              <a:gd name="connsiteY455" fmla="*/ 4514595 h 6858243"/>
              <a:gd name="connsiteX456" fmla="*/ 8368935 w 11240921"/>
              <a:gd name="connsiteY456" fmla="*/ 4867163 h 6858243"/>
              <a:gd name="connsiteX457" fmla="*/ 8641503 w 11240921"/>
              <a:gd name="connsiteY457" fmla="*/ 4618937 h 6858243"/>
              <a:gd name="connsiteX458" fmla="*/ 9050767 w 11240921"/>
              <a:gd name="connsiteY458" fmla="*/ 4245872 h 6858243"/>
              <a:gd name="connsiteX459" fmla="*/ 9281500 w 11240921"/>
              <a:gd name="connsiteY459" fmla="*/ 4030058 h 6858243"/>
              <a:gd name="connsiteX460" fmla="*/ 8791854 w 11240921"/>
              <a:gd name="connsiteY460" fmla="*/ 3580150 h 6858243"/>
              <a:gd name="connsiteX461" fmla="*/ 8282773 w 11240921"/>
              <a:gd name="connsiteY461" fmla="*/ 4037162 h 6858243"/>
              <a:gd name="connsiteX462" fmla="*/ 8264262 w 11240921"/>
              <a:gd name="connsiteY462" fmla="*/ 4056717 h 6858243"/>
              <a:gd name="connsiteX463" fmla="*/ 8264262 w 11240921"/>
              <a:gd name="connsiteY463" fmla="*/ 4504588 h 6858243"/>
              <a:gd name="connsiteX464" fmla="*/ 8269584 w 11240921"/>
              <a:gd name="connsiteY464" fmla="*/ 4952485 h 6858243"/>
              <a:gd name="connsiteX465" fmla="*/ 8368935 w 11240921"/>
              <a:gd name="connsiteY465" fmla="*/ 4867163 h 6858243"/>
              <a:gd name="connsiteX466" fmla="*/ 4060535 w 11240921"/>
              <a:gd name="connsiteY466" fmla="*/ 4517242 h 6858243"/>
              <a:gd name="connsiteX467" fmla="*/ 4050579 w 11240921"/>
              <a:gd name="connsiteY467" fmla="*/ 4092541 h 6858243"/>
              <a:gd name="connsiteX468" fmla="*/ 3590638 w 11240921"/>
              <a:gd name="connsiteY468" fmla="*/ 4516249 h 6858243"/>
              <a:gd name="connsiteX469" fmla="*/ 4055468 w 11240921"/>
              <a:gd name="connsiteY469" fmla="*/ 4945483 h 6858243"/>
              <a:gd name="connsiteX470" fmla="*/ 4060535 w 11240921"/>
              <a:gd name="connsiteY470" fmla="*/ 4517242 h 6858243"/>
              <a:gd name="connsiteX471" fmla="*/ 7501964 w 11240921"/>
              <a:gd name="connsiteY471" fmla="*/ 4722897 h 6858243"/>
              <a:gd name="connsiteX472" fmla="*/ 7745531 w 11240921"/>
              <a:gd name="connsiteY472" fmla="*/ 4491730 h 6858243"/>
              <a:gd name="connsiteX473" fmla="*/ 7244317 w 11240921"/>
              <a:gd name="connsiteY473" fmla="*/ 4030847 h 6858243"/>
              <a:gd name="connsiteX474" fmla="*/ 7224075 w 11240921"/>
              <a:gd name="connsiteY474" fmla="*/ 4044138 h 6858243"/>
              <a:gd name="connsiteX475" fmla="*/ 7213331 w 11240921"/>
              <a:gd name="connsiteY475" fmla="*/ 4486077 h 6858243"/>
              <a:gd name="connsiteX476" fmla="*/ 7213331 w 11240921"/>
              <a:gd name="connsiteY476" fmla="*/ 4912663 h 6858243"/>
              <a:gd name="connsiteX477" fmla="*/ 7229855 w 11240921"/>
              <a:gd name="connsiteY477" fmla="*/ 4929213 h 6858243"/>
              <a:gd name="connsiteX478" fmla="*/ 7252414 w 11240921"/>
              <a:gd name="connsiteY478" fmla="*/ 4945738 h 6858243"/>
              <a:gd name="connsiteX479" fmla="*/ 7501964 w 11240921"/>
              <a:gd name="connsiteY479" fmla="*/ 4722897 h 6858243"/>
              <a:gd name="connsiteX480" fmla="*/ 9652019 w 11240921"/>
              <a:gd name="connsiteY480" fmla="*/ 4633246 h 6858243"/>
              <a:gd name="connsiteX481" fmla="*/ 9792181 w 11240921"/>
              <a:gd name="connsiteY481" fmla="*/ 4501533 h 6858243"/>
              <a:gd name="connsiteX482" fmla="*/ 9312314 w 11240921"/>
              <a:gd name="connsiteY482" fmla="*/ 4056487 h 6858243"/>
              <a:gd name="connsiteX483" fmla="*/ 9312671 w 11240921"/>
              <a:gd name="connsiteY483" fmla="*/ 4934254 h 6858243"/>
              <a:gd name="connsiteX484" fmla="*/ 9415406 w 11240921"/>
              <a:gd name="connsiteY484" fmla="*/ 4848677 h 6858243"/>
              <a:gd name="connsiteX485" fmla="*/ 9652022 w 11240921"/>
              <a:gd name="connsiteY485" fmla="*/ 4633246 h 6858243"/>
              <a:gd name="connsiteX486" fmla="*/ 5399515 w 11240921"/>
              <a:gd name="connsiteY486" fmla="*/ 4719001 h 6858243"/>
              <a:gd name="connsiteX487" fmla="*/ 5635596 w 11240921"/>
              <a:gd name="connsiteY487" fmla="*/ 4500667 h 6858243"/>
              <a:gd name="connsiteX488" fmla="*/ 5157960 w 11240921"/>
              <a:gd name="connsiteY488" fmla="*/ 4063235 h 6858243"/>
              <a:gd name="connsiteX489" fmla="*/ 5151874 w 11240921"/>
              <a:gd name="connsiteY489" fmla="*/ 4497739 h 6858243"/>
              <a:gd name="connsiteX490" fmla="*/ 5158673 w 11240921"/>
              <a:gd name="connsiteY490" fmla="*/ 4932268 h 6858243"/>
              <a:gd name="connsiteX491" fmla="*/ 5399515 w 11240921"/>
              <a:gd name="connsiteY491" fmla="*/ 4719001 h 6858243"/>
              <a:gd name="connsiteX492" fmla="*/ 7193114 w 11240921"/>
              <a:gd name="connsiteY492" fmla="*/ 4480349 h 6858243"/>
              <a:gd name="connsiteX493" fmla="*/ 7187130 w 11240921"/>
              <a:gd name="connsiteY493" fmla="*/ 4077824 h 6858243"/>
              <a:gd name="connsiteX494" fmla="*/ 6748476 w 11240921"/>
              <a:gd name="connsiteY494" fmla="*/ 4481443 h 6858243"/>
              <a:gd name="connsiteX495" fmla="*/ 7187309 w 11240921"/>
              <a:gd name="connsiteY495" fmla="*/ 4885113 h 6858243"/>
              <a:gd name="connsiteX496" fmla="*/ 7193114 w 11240921"/>
              <a:gd name="connsiteY496" fmla="*/ 4480349 h 6858243"/>
              <a:gd name="connsiteX497" fmla="*/ 11221683 w 11240921"/>
              <a:gd name="connsiteY497" fmla="*/ 4497357 h 6858243"/>
              <a:gd name="connsiteX498" fmla="*/ 11214395 w 11240921"/>
              <a:gd name="connsiteY498" fmla="*/ 4218169 h 6858243"/>
              <a:gd name="connsiteX499" fmla="*/ 10899900 w 11240921"/>
              <a:gd name="connsiteY499" fmla="*/ 4489031 h 6858243"/>
              <a:gd name="connsiteX500" fmla="*/ 11216628 w 11240921"/>
              <a:gd name="connsiteY500" fmla="*/ 4779371 h 6858243"/>
              <a:gd name="connsiteX501" fmla="*/ 11221683 w 11240921"/>
              <a:gd name="connsiteY501" fmla="*/ 4497357 h 6858243"/>
              <a:gd name="connsiteX502" fmla="*/ 4873884 w 11240921"/>
              <a:gd name="connsiteY502" fmla="*/ 4260919 h 6858243"/>
              <a:gd name="connsiteX503" fmla="*/ 5121549 w 11240921"/>
              <a:gd name="connsiteY503" fmla="*/ 4029523 h 6858243"/>
              <a:gd name="connsiteX504" fmla="*/ 4879027 w 11240921"/>
              <a:gd name="connsiteY504" fmla="*/ 3803703 h 6858243"/>
              <a:gd name="connsiteX505" fmla="*/ 4634213 w 11240921"/>
              <a:gd name="connsiteY505" fmla="*/ 3572995 h 6858243"/>
              <a:gd name="connsiteX506" fmla="*/ 4642106 w 11240921"/>
              <a:gd name="connsiteY506" fmla="*/ 3565789 h 6858243"/>
              <a:gd name="connsiteX507" fmla="*/ 4885112 w 11240921"/>
              <a:gd name="connsiteY507" fmla="*/ 3780253 h 6858243"/>
              <a:gd name="connsiteX508" fmla="*/ 5124783 w 11240921"/>
              <a:gd name="connsiteY508" fmla="*/ 3994692 h 6858243"/>
              <a:gd name="connsiteX509" fmla="*/ 5131658 w 11240921"/>
              <a:gd name="connsiteY509" fmla="*/ 3551225 h 6858243"/>
              <a:gd name="connsiteX510" fmla="*/ 5125343 w 11240921"/>
              <a:gd name="connsiteY510" fmla="*/ 3107733 h 6858243"/>
              <a:gd name="connsiteX511" fmla="*/ 4646892 w 11240921"/>
              <a:gd name="connsiteY511" fmla="*/ 3542034 h 6858243"/>
              <a:gd name="connsiteX512" fmla="*/ 4368392 w 11240921"/>
              <a:gd name="connsiteY512" fmla="*/ 3797134 h 6858243"/>
              <a:gd name="connsiteX513" fmla="*/ 4129230 w 11240921"/>
              <a:gd name="connsiteY513" fmla="*/ 4027003 h 6858243"/>
              <a:gd name="connsiteX514" fmla="*/ 4621253 w 11240921"/>
              <a:gd name="connsiteY514" fmla="*/ 4487172 h 6858243"/>
              <a:gd name="connsiteX515" fmla="*/ 4873884 w 11240921"/>
              <a:gd name="connsiteY515" fmla="*/ 4260919 h 6858243"/>
              <a:gd name="connsiteX516" fmla="*/ 5919927 w 11240921"/>
              <a:gd name="connsiteY516" fmla="*/ 4244650 h 6858243"/>
              <a:gd name="connsiteX517" fmla="*/ 6179229 w 11240921"/>
              <a:gd name="connsiteY517" fmla="*/ 4000650 h 6858243"/>
              <a:gd name="connsiteX518" fmla="*/ 5690822 w 11240921"/>
              <a:gd name="connsiteY518" fmla="*/ 3544962 h 6858243"/>
              <a:gd name="connsiteX519" fmla="*/ 5167100 w 11240921"/>
              <a:gd name="connsiteY519" fmla="*/ 4027308 h 6858243"/>
              <a:gd name="connsiteX520" fmla="*/ 5657086 w 11240921"/>
              <a:gd name="connsiteY520" fmla="*/ 4480908 h 6858243"/>
              <a:gd name="connsiteX521" fmla="*/ 5919927 w 11240921"/>
              <a:gd name="connsiteY521" fmla="*/ 4244650 h 6858243"/>
              <a:gd name="connsiteX522" fmla="*/ 8007736 w 11240921"/>
              <a:gd name="connsiteY522" fmla="*/ 4259544 h 6858243"/>
              <a:gd name="connsiteX523" fmla="*/ 8236000 w 11240921"/>
              <a:gd name="connsiteY523" fmla="*/ 4030491 h 6858243"/>
              <a:gd name="connsiteX524" fmla="*/ 8233938 w 11240921"/>
              <a:gd name="connsiteY524" fmla="*/ 4012693 h 6858243"/>
              <a:gd name="connsiteX525" fmla="*/ 7759000 w 11240921"/>
              <a:gd name="connsiteY525" fmla="*/ 4010962 h 6858243"/>
              <a:gd name="connsiteX526" fmla="*/ 7275355 w 11240921"/>
              <a:gd name="connsiteY526" fmla="*/ 4012541 h 6858243"/>
              <a:gd name="connsiteX527" fmla="*/ 7516757 w 11240921"/>
              <a:gd name="connsiteY527" fmla="*/ 4245388 h 6858243"/>
              <a:gd name="connsiteX528" fmla="*/ 7772164 w 11240921"/>
              <a:gd name="connsiteY528" fmla="*/ 4472863 h 6858243"/>
              <a:gd name="connsiteX529" fmla="*/ 8007736 w 11240921"/>
              <a:gd name="connsiteY529" fmla="*/ 4259544 h 6858243"/>
              <a:gd name="connsiteX530" fmla="*/ 11055665 w 11240921"/>
              <a:gd name="connsiteY530" fmla="*/ 4316248 h 6858243"/>
              <a:gd name="connsiteX531" fmla="*/ 11222075 w 11240921"/>
              <a:gd name="connsiteY531" fmla="*/ 4175164 h 6858243"/>
              <a:gd name="connsiteX532" fmla="*/ 11220193 w 11240921"/>
              <a:gd name="connsiteY532" fmla="*/ 4093941 h 6858243"/>
              <a:gd name="connsiteX533" fmla="*/ 11218311 w 11240921"/>
              <a:gd name="connsiteY533" fmla="*/ 4012693 h 6858243"/>
              <a:gd name="connsiteX534" fmla="*/ 10801740 w 11240921"/>
              <a:gd name="connsiteY534" fmla="*/ 4010962 h 6858243"/>
              <a:gd name="connsiteX535" fmla="*/ 10387430 w 11240921"/>
              <a:gd name="connsiteY535" fmla="*/ 4015825 h 6858243"/>
              <a:gd name="connsiteX536" fmla="*/ 10630884 w 11240921"/>
              <a:gd name="connsiteY536" fmla="*/ 4245057 h 6858243"/>
              <a:gd name="connsiteX537" fmla="*/ 10880666 w 11240921"/>
              <a:gd name="connsiteY537" fmla="*/ 4462525 h 6858243"/>
              <a:gd name="connsiteX538" fmla="*/ 11055665 w 11240921"/>
              <a:gd name="connsiteY538" fmla="*/ 4316248 h 6858243"/>
              <a:gd name="connsiteX539" fmla="*/ 6941934 w 11240921"/>
              <a:gd name="connsiteY539" fmla="*/ 4271486 h 6858243"/>
              <a:gd name="connsiteX540" fmla="*/ 7193114 w 11240921"/>
              <a:gd name="connsiteY540" fmla="*/ 4013355 h 6858243"/>
              <a:gd name="connsiteX541" fmla="*/ 7189142 w 11240921"/>
              <a:gd name="connsiteY541" fmla="*/ 3979873 h 6858243"/>
              <a:gd name="connsiteX542" fmla="*/ 6721003 w 11240921"/>
              <a:gd name="connsiteY542" fmla="*/ 3551225 h 6858243"/>
              <a:gd name="connsiteX543" fmla="*/ 6685102 w 11240921"/>
              <a:gd name="connsiteY543" fmla="*/ 3576509 h 6858243"/>
              <a:gd name="connsiteX544" fmla="*/ 6224449 w 11240921"/>
              <a:gd name="connsiteY544" fmla="*/ 4002534 h 6858243"/>
              <a:gd name="connsiteX545" fmla="*/ 6726350 w 11240921"/>
              <a:gd name="connsiteY545" fmla="*/ 4460438 h 6858243"/>
              <a:gd name="connsiteX546" fmla="*/ 6941934 w 11240921"/>
              <a:gd name="connsiteY546" fmla="*/ 4271486 h 6858243"/>
              <a:gd name="connsiteX547" fmla="*/ 5415606 w 11240921"/>
              <a:gd name="connsiteY547" fmla="*/ 3766275 h 6858243"/>
              <a:gd name="connsiteX548" fmla="*/ 5666277 w 11240921"/>
              <a:gd name="connsiteY548" fmla="*/ 3532995 h 6858243"/>
              <a:gd name="connsiteX549" fmla="*/ 5166820 w 11240921"/>
              <a:gd name="connsiteY549" fmla="*/ 3074251 h 6858243"/>
              <a:gd name="connsiteX550" fmla="*/ 5153504 w 11240921"/>
              <a:gd name="connsiteY550" fmla="*/ 3536738 h 6858243"/>
              <a:gd name="connsiteX551" fmla="*/ 5160200 w 11240921"/>
              <a:gd name="connsiteY551" fmla="*/ 3994208 h 6858243"/>
              <a:gd name="connsiteX552" fmla="*/ 5415606 w 11240921"/>
              <a:gd name="connsiteY552" fmla="*/ 3766275 h 6858243"/>
              <a:gd name="connsiteX553" fmla="*/ 8530719 w 11240921"/>
              <a:gd name="connsiteY553" fmla="*/ 3780253 h 6858243"/>
              <a:gd name="connsiteX554" fmla="*/ 8767767 w 11240921"/>
              <a:gd name="connsiteY554" fmla="*/ 3559627 h 6858243"/>
              <a:gd name="connsiteX555" fmla="*/ 8270373 w 11240921"/>
              <a:gd name="connsiteY555" fmla="*/ 3100986 h 6858243"/>
              <a:gd name="connsiteX556" fmla="*/ 8264262 w 11240921"/>
              <a:gd name="connsiteY556" fmla="*/ 3539233 h 6858243"/>
              <a:gd name="connsiteX557" fmla="*/ 8287865 w 11240921"/>
              <a:gd name="connsiteY557" fmla="*/ 3995863 h 6858243"/>
              <a:gd name="connsiteX558" fmla="*/ 8530719 w 11240921"/>
              <a:gd name="connsiteY558" fmla="*/ 3780253 h 6858243"/>
              <a:gd name="connsiteX559" fmla="*/ 9288235 w 11240921"/>
              <a:gd name="connsiteY559" fmla="*/ 3557565 h 6858243"/>
              <a:gd name="connsiteX560" fmla="*/ 9281320 w 11240921"/>
              <a:gd name="connsiteY560" fmla="*/ 3126829 h 6858243"/>
              <a:gd name="connsiteX561" fmla="*/ 8811816 w 11240921"/>
              <a:gd name="connsiteY561" fmla="*/ 3560290 h 6858243"/>
              <a:gd name="connsiteX562" fmla="*/ 9283183 w 11240921"/>
              <a:gd name="connsiteY562" fmla="*/ 3991153 h 6858243"/>
              <a:gd name="connsiteX563" fmla="*/ 9288235 w 11240921"/>
              <a:gd name="connsiteY563" fmla="*/ 3557565 h 6858243"/>
              <a:gd name="connsiteX564" fmla="*/ 7500080 w 11240921"/>
              <a:gd name="connsiteY564" fmla="*/ 3759757 h 6858243"/>
              <a:gd name="connsiteX565" fmla="*/ 7737281 w 11240921"/>
              <a:gd name="connsiteY565" fmla="*/ 3534039 h 6858243"/>
              <a:gd name="connsiteX566" fmla="*/ 7237595 w 11240921"/>
              <a:gd name="connsiteY566" fmla="*/ 3079675 h 6858243"/>
              <a:gd name="connsiteX567" fmla="*/ 7220281 w 11240921"/>
              <a:gd name="connsiteY567" fmla="*/ 3092686 h 6858243"/>
              <a:gd name="connsiteX568" fmla="*/ 7213331 w 11240921"/>
              <a:gd name="connsiteY568" fmla="*/ 3533962 h 6858243"/>
              <a:gd name="connsiteX569" fmla="*/ 7227004 w 11240921"/>
              <a:gd name="connsiteY569" fmla="*/ 3975876 h 6858243"/>
              <a:gd name="connsiteX570" fmla="*/ 7250835 w 11240921"/>
              <a:gd name="connsiteY570" fmla="*/ 3983871 h 6858243"/>
              <a:gd name="connsiteX571" fmla="*/ 7500080 w 11240921"/>
              <a:gd name="connsiteY571" fmla="*/ 3759757 h 6858243"/>
              <a:gd name="connsiteX572" fmla="*/ 8229456 w 11240921"/>
              <a:gd name="connsiteY572" fmla="*/ 3983208 h 6858243"/>
              <a:gd name="connsiteX573" fmla="*/ 7760401 w 11240921"/>
              <a:gd name="connsiteY573" fmla="*/ 3557973 h 6858243"/>
              <a:gd name="connsiteX574" fmla="*/ 7294171 w 11240921"/>
              <a:gd name="connsiteY574" fmla="*/ 3982928 h 6858243"/>
              <a:gd name="connsiteX575" fmla="*/ 7762921 w 11240921"/>
              <a:gd name="connsiteY575" fmla="*/ 3989116 h 6858243"/>
              <a:gd name="connsiteX576" fmla="*/ 8229456 w 11240921"/>
              <a:gd name="connsiteY576" fmla="*/ 3983208 h 6858243"/>
              <a:gd name="connsiteX577" fmla="*/ 9342316 w 11240921"/>
              <a:gd name="connsiteY577" fmla="*/ 3977556 h 6858243"/>
              <a:gd name="connsiteX578" fmla="*/ 9805541 w 11240921"/>
              <a:gd name="connsiteY578" fmla="*/ 3550334 h 6858243"/>
              <a:gd name="connsiteX579" fmla="*/ 9313727 w 11240921"/>
              <a:gd name="connsiteY579" fmla="*/ 3099866 h 6858243"/>
              <a:gd name="connsiteX580" fmla="*/ 9312938 w 11240921"/>
              <a:gd name="connsiteY580" fmla="*/ 3984634 h 6858243"/>
              <a:gd name="connsiteX581" fmla="*/ 9342316 w 11240921"/>
              <a:gd name="connsiteY581" fmla="*/ 3977556 h 6858243"/>
              <a:gd name="connsiteX582" fmla="*/ 10605227 w 11240921"/>
              <a:gd name="connsiteY582" fmla="*/ 3762252 h 6858243"/>
              <a:gd name="connsiteX583" fmla="*/ 10851161 w 11240921"/>
              <a:gd name="connsiteY583" fmla="*/ 3527597 h 6858243"/>
              <a:gd name="connsiteX584" fmla="*/ 10798952 w 11240921"/>
              <a:gd name="connsiteY584" fmla="*/ 3473312 h 6858243"/>
              <a:gd name="connsiteX585" fmla="*/ 10560213 w 11240921"/>
              <a:gd name="connsiteY585" fmla="*/ 3256608 h 6858243"/>
              <a:gd name="connsiteX586" fmla="*/ 10364804 w 11240921"/>
              <a:gd name="connsiteY586" fmla="*/ 3086396 h 6858243"/>
              <a:gd name="connsiteX587" fmla="*/ 9376936 w 11240921"/>
              <a:gd name="connsiteY587" fmla="*/ 3982419 h 6858243"/>
              <a:gd name="connsiteX588" fmla="*/ 9866990 w 11240921"/>
              <a:gd name="connsiteY588" fmla="*/ 3989116 h 6858243"/>
              <a:gd name="connsiteX589" fmla="*/ 10359289 w 11240921"/>
              <a:gd name="connsiteY589" fmla="*/ 3989116 h 6858243"/>
              <a:gd name="connsiteX590" fmla="*/ 11220063 w 11240921"/>
              <a:gd name="connsiteY590" fmla="*/ 3615236 h 6858243"/>
              <a:gd name="connsiteX591" fmla="*/ 11218502 w 11240921"/>
              <a:gd name="connsiteY591" fmla="*/ 3236060 h 6858243"/>
              <a:gd name="connsiteX592" fmla="*/ 10400904 w 11240921"/>
              <a:gd name="connsiteY592" fmla="*/ 3983132 h 6858243"/>
              <a:gd name="connsiteX593" fmla="*/ 10808475 w 11240921"/>
              <a:gd name="connsiteY593" fmla="*/ 3987486 h 6858243"/>
              <a:gd name="connsiteX594" fmla="*/ 11218311 w 11240921"/>
              <a:gd name="connsiteY594" fmla="*/ 3985755 h 6858243"/>
              <a:gd name="connsiteX595" fmla="*/ 6452738 w 11240921"/>
              <a:gd name="connsiteY595" fmla="*/ 3758382 h 6858243"/>
              <a:gd name="connsiteX596" fmla="*/ 6727648 w 11240921"/>
              <a:gd name="connsiteY596" fmla="*/ 3507457 h 6858243"/>
              <a:gd name="connsiteX597" fmla="*/ 7189371 w 11240921"/>
              <a:gd name="connsiteY597" fmla="*/ 3081584 h 6858243"/>
              <a:gd name="connsiteX598" fmla="*/ 7189371 w 11240921"/>
              <a:gd name="connsiteY598" fmla="*/ 3065594 h 6858243"/>
              <a:gd name="connsiteX599" fmla="*/ 6704809 w 11240921"/>
              <a:gd name="connsiteY599" fmla="*/ 3059458 h 6858243"/>
              <a:gd name="connsiteX600" fmla="*/ 6224067 w 11240921"/>
              <a:gd name="connsiteY600" fmla="*/ 3059458 h 6858243"/>
              <a:gd name="connsiteX601" fmla="*/ 6196466 w 11240921"/>
              <a:gd name="connsiteY601" fmla="*/ 3081355 h 6858243"/>
              <a:gd name="connsiteX602" fmla="*/ 5713076 w 11240921"/>
              <a:gd name="connsiteY602" fmla="*/ 3528870 h 6858243"/>
              <a:gd name="connsiteX603" fmla="*/ 6203519 w 11240921"/>
              <a:gd name="connsiteY603" fmla="*/ 3982369 h 6858243"/>
              <a:gd name="connsiteX604" fmla="*/ 6452738 w 11240921"/>
              <a:gd name="connsiteY604" fmla="*/ 3758382 h 6858243"/>
              <a:gd name="connsiteX605" fmla="*/ 8237298 w 11240921"/>
              <a:gd name="connsiteY605" fmla="*/ 3538164 h 6858243"/>
              <a:gd name="connsiteX606" fmla="*/ 8232257 w 11240921"/>
              <a:gd name="connsiteY606" fmla="*/ 3124767 h 6858243"/>
              <a:gd name="connsiteX607" fmla="*/ 7783392 w 11240921"/>
              <a:gd name="connsiteY607" fmla="*/ 3539080 h 6858243"/>
              <a:gd name="connsiteX608" fmla="*/ 8232079 w 11240921"/>
              <a:gd name="connsiteY608" fmla="*/ 3948708 h 6858243"/>
              <a:gd name="connsiteX609" fmla="*/ 8237298 w 11240921"/>
              <a:gd name="connsiteY609" fmla="*/ 3538164 h 6858243"/>
              <a:gd name="connsiteX610" fmla="*/ 7193114 w 11240921"/>
              <a:gd name="connsiteY610" fmla="*/ 3531034 h 6858243"/>
              <a:gd name="connsiteX611" fmla="*/ 7188047 w 11240921"/>
              <a:gd name="connsiteY611" fmla="*/ 3124614 h 6858243"/>
              <a:gd name="connsiteX612" fmla="*/ 6743078 w 11240921"/>
              <a:gd name="connsiteY612" fmla="*/ 3531492 h 6858243"/>
              <a:gd name="connsiteX613" fmla="*/ 7188047 w 11240921"/>
              <a:gd name="connsiteY613" fmla="*/ 3937250 h 6858243"/>
              <a:gd name="connsiteX614" fmla="*/ 7193114 w 11240921"/>
              <a:gd name="connsiteY614" fmla="*/ 3531034 h 6858243"/>
              <a:gd name="connsiteX615" fmla="*/ 9041812 w 11240921"/>
              <a:gd name="connsiteY615" fmla="*/ 3311707 h 6858243"/>
              <a:gd name="connsiteX616" fmla="*/ 9288235 w 11240921"/>
              <a:gd name="connsiteY616" fmla="*/ 3080642 h 6858243"/>
              <a:gd name="connsiteX617" fmla="*/ 8786685 w 11240921"/>
              <a:gd name="connsiteY617" fmla="*/ 3059560 h 6858243"/>
              <a:gd name="connsiteX618" fmla="*/ 8292066 w 11240921"/>
              <a:gd name="connsiteY618" fmla="*/ 3065518 h 6858243"/>
              <a:gd name="connsiteX619" fmla="*/ 8285319 w 11240921"/>
              <a:gd name="connsiteY619" fmla="*/ 3078300 h 6858243"/>
              <a:gd name="connsiteX620" fmla="*/ 8787500 w 11240921"/>
              <a:gd name="connsiteY620" fmla="*/ 3537425 h 6858243"/>
              <a:gd name="connsiteX621" fmla="*/ 9041812 w 11240921"/>
              <a:gd name="connsiteY621" fmla="*/ 3311707 h 6858243"/>
              <a:gd name="connsiteX622" fmla="*/ 10086136 w 11240921"/>
              <a:gd name="connsiteY622" fmla="*/ 3303483 h 6858243"/>
              <a:gd name="connsiteX623" fmla="*/ 10337642 w 11240921"/>
              <a:gd name="connsiteY623" fmla="*/ 3067886 h 6858243"/>
              <a:gd name="connsiteX624" fmla="*/ 9846261 w 11240921"/>
              <a:gd name="connsiteY624" fmla="*/ 3059560 h 6858243"/>
              <a:gd name="connsiteX625" fmla="*/ 9342130 w 11240921"/>
              <a:gd name="connsiteY625" fmla="*/ 3066103 h 6858243"/>
              <a:gd name="connsiteX626" fmla="*/ 9339469 w 11240921"/>
              <a:gd name="connsiteY626" fmla="*/ 3084538 h 6858243"/>
              <a:gd name="connsiteX627" fmla="*/ 9827176 w 11240921"/>
              <a:gd name="connsiteY627" fmla="*/ 3530372 h 6858243"/>
              <a:gd name="connsiteX628" fmla="*/ 10086136 w 11240921"/>
              <a:gd name="connsiteY628" fmla="*/ 3303483 h 6858243"/>
              <a:gd name="connsiteX629" fmla="*/ 7997016 w 11240921"/>
              <a:gd name="connsiteY629" fmla="*/ 3305061 h 6858243"/>
              <a:gd name="connsiteX630" fmla="*/ 8233276 w 11240921"/>
              <a:gd name="connsiteY630" fmla="*/ 3082323 h 6858243"/>
              <a:gd name="connsiteX631" fmla="*/ 8208629 w 11240921"/>
              <a:gd name="connsiteY631" fmla="*/ 3042730 h 6858243"/>
              <a:gd name="connsiteX632" fmla="*/ 7741788 w 11240921"/>
              <a:gd name="connsiteY632" fmla="*/ 2621567 h 6858243"/>
              <a:gd name="connsiteX633" fmla="*/ 7263846 w 11240921"/>
              <a:gd name="connsiteY633" fmla="*/ 3057472 h 6858243"/>
              <a:gd name="connsiteX634" fmla="*/ 7760171 w 11240921"/>
              <a:gd name="connsiteY634" fmla="*/ 3517387 h 6858243"/>
              <a:gd name="connsiteX635" fmla="*/ 7997016 w 11240921"/>
              <a:gd name="connsiteY635" fmla="*/ 3305061 h 6858243"/>
              <a:gd name="connsiteX636" fmla="*/ 5936477 w 11240921"/>
              <a:gd name="connsiteY636" fmla="*/ 3288741 h 6858243"/>
              <a:gd name="connsiteX637" fmla="*/ 6175868 w 11240921"/>
              <a:gd name="connsiteY637" fmla="*/ 3064754 h 6858243"/>
              <a:gd name="connsiteX638" fmla="*/ 6169350 w 11240921"/>
              <a:gd name="connsiteY638" fmla="*/ 3059458 h 6858243"/>
              <a:gd name="connsiteX639" fmla="*/ 6154174 w 11240921"/>
              <a:gd name="connsiteY639" fmla="*/ 3043315 h 6858243"/>
              <a:gd name="connsiteX640" fmla="*/ 5677659 w 11240921"/>
              <a:gd name="connsiteY640" fmla="*/ 2602497 h 6858243"/>
              <a:gd name="connsiteX641" fmla="*/ 5193860 w 11240921"/>
              <a:gd name="connsiteY641" fmla="*/ 3051336 h 6858243"/>
              <a:gd name="connsiteX642" fmla="*/ 5691943 w 11240921"/>
              <a:gd name="connsiteY642" fmla="*/ 3509239 h 6858243"/>
              <a:gd name="connsiteX643" fmla="*/ 5936477 w 11240921"/>
              <a:gd name="connsiteY643" fmla="*/ 3288741 h 6858243"/>
              <a:gd name="connsiteX644" fmla="*/ 11055181 w 11240921"/>
              <a:gd name="connsiteY644" fmla="*/ 3346844 h 6858243"/>
              <a:gd name="connsiteX645" fmla="*/ 11222146 w 11240921"/>
              <a:gd name="connsiteY645" fmla="*/ 3192343 h 6858243"/>
              <a:gd name="connsiteX646" fmla="*/ 11220229 w 11240921"/>
              <a:gd name="connsiteY646" fmla="*/ 3127594 h 6858243"/>
              <a:gd name="connsiteX647" fmla="*/ 11218311 w 11240921"/>
              <a:gd name="connsiteY647" fmla="*/ 3062819 h 6858243"/>
              <a:gd name="connsiteX648" fmla="*/ 10807759 w 11240921"/>
              <a:gd name="connsiteY648" fmla="*/ 3061087 h 6858243"/>
              <a:gd name="connsiteX649" fmla="*/ 10391779 w 11240921"/>
              <a:gd name="connsiteY649" fmla="*/ 3064779 h 6858243"/>
              <a:gd name="connsiteX650" fmla="*/ 10605761 w 11240921"/>
              <a:gd name="connsiteY650" fmla="*/ 3266614 h 6858243"/>
              <a:gd name="connsiteX651" fmla="*/ 10759341 w 11240921"/>
              <a:gd name="connsiteY651" fmla="*/ 3405304 h 6858243"/>
              <a:gd name="connsiteX652" fmla="*/ 10880603 w 11240921"/>
              <a:gd name="connsiteY652" fmla="*/ 3505980 h 6858243"/>
              <a:gd name="connsiteX653" fmla="*/ 11055178 w 11240921"/>
              <a:gd name="connsiteY653" fmla="*/ 3346844 h 6858243"/>
              <a:gd name="connsiteX654" fmla="*/ 6454572 w 11240921"/>
              <a:gd name="connsiteY654" fmla="*/ 2815993 h 6858243"/>
              <a:gd name="connsiteX655" fmla="*/ 6692486 w 11240921"/>
              <a:gd name="connsiteY655" fmla="*/ 2590606 h 6858243"/>
              <a:gd name="connsiteX656" fmla="*/ 6449530 w 11240921"/>
              <a:gd name="connsiteY656" fmla="*/ 2361552 h 6858243"/>
              <a:gd name="connsiteX657" fmla="*/ 6193538 w 11240921"/>
              <a:gd name="connsiteY657" fmla="*/ 2139883 h 6858243"/>
              <a:gd name="connsiteX658" fmla="*/ 6179229 w 11240921"/>
              <a:gd name="connsiteY658" fmla="*/ 2139883 h 6858243"/>
              <a:gd name="connsiteX659" fmla="*/ 6177497 w 11240921"/>
              <a:gd name="connsiteY659" fmla="*/ 2580396 h 6858243"/>
              <a:gd name="connsiteX660" fmla="*/ 6203544 w 11240921"/>
              <a:gd name="connsiteY660" fmla="*/ 3037103 h 6858243"/>
              <a:gd name="connsiteX661" fmla="*/ 6454572 w 11240921"/>
              <a:gd name="connsiteY661" fmla="*/ 2815993 h 6858243"/>
              <a:gd name="connsiteX662" fmla="*/ 7175011 w 11240921"/>
              <a:gd name="connsiteY662" fmla="*/ 3034200 h 6858243"/>
              <a:gd name="connsiteX663" fmla="*/ 6716369 w 11240921"/>
              <a:gd name="connsiteY663" fmla="*/ 2609881 h 6858243"/>
              <a:gd name="connsiteX664" fmla="*/ 6251082 w 11240921"/>
              <a:gd name="connsiteY664" fmla="*/ 3033105 h 6858243"/>
              <a:gd name="connsiteX665" fmla="*/ 7175011 w 11240921"/>
              <a:gd name="connsiteY665" fmla="*/ 3034200 h 6858243"/>
              <a:gd name="connsiteX666" fmla="*/ 7482893 w 11240921"/>
              <a:gd name="connsiteY666" fmla="*/ 2820678 h 6858243"/>
              <a:gd name="connsiteX667" fmla="*/ 7717141 w 11240921"/>
              <a:gd name="connsiteY667" fmla="*/ 2596921 h 6858243"/>
              <a:gd name="connsiteX668" fmla="*/ 7225425 w 11240921"/>
              <a:gd name="connsiteY668" fmla="*/ 2147471 h 6858243"/>
              <a:gd name="connsiteX669" fmla="*/ 7224788 w 11240921"/>
              <a:gd name="connsiteY669" fmla="*/ 3034989 h 6858243"/>
              <a:gd name="connsiteX670" fmla="*/ 7238105 w 11240921"/>
              <a:gd name="connsiteY670" fmla="*/ 3037790 h 6858243"/>
              <a:gd name="connsiteX671" fmla="*/ 7482893 w 11240921"/>
              <a:gd name="connsiteY671" fmla="*/ 2820678 h 6858243"/>
              <a:gd name="connsiteX672" fmla="*/ 8305561 w 11240921"/>
              <a:gd name="connsiteY672" fmla="*/ 3020705 h 6858243"/>
              <a:gd name="connsiteX673" fmla="*/ 8765476 w 11240921"/>
              <a:gd name="connsiteY673" fmla="*/ 2594349 h 6858243"/>
              <a:gd name="connsiteX674" fmla="*/ 8807207 w 11240921"/>
              <a:gd name="connsiteY674" fmla="*/ 2594323 h 6858243"/>
              <a:gd name="connsiteX675" fmla="*/ 9275586 w 11240921"/>
              <a:gd name="connsiteY675" fmla="*/ 3025772 h 6858243"/>
              <a:gd name="connsiteX676" fmla="*/ 9279863 w 11240921"/>
              <a:gd name="connsiteY676" fmla="*/ 2579454 h 6858243"/>
              <a:gd name="connsiteX677" fmla="*/ 9278132 w 11240921"/>
              <a:gd name="connsiteY677" fmla="*/ 2133161 h 6858243"/>
              <a:gd name="connsiteX678" fmla="*/ 8782968 w 11240921"/>
              <a:gd name="connsiteY678" fmla="*/ 2133161 h 6858243"/>
              <a:gd name="connsiteX679" fmla="*/ 8276051 w 11240921"/>
              <a:gd name="connsiteY679" fmla="*/ 2137999 h 6858243"/>
              <a:gd name="connsiteX680" fmla="*/ 8264262 w 11240921"/>
              <a:gd name="connsiteY680" fmla="*/ 2586558 h 6858243"/>
              <a:gd name="connsiteX681" fmla="*/ 8268743 w 11240921"/>
              <a:gd name="connsiteY681" fmla="*/ 3034760 h 6858243"/>
              <a:gd name="connsiteX682" fmla="*/ 8305561 w 11240921"/>
              <a:gd name="connsiteY682" fmla="*/ 3020705 h 6858243"/>
              <a:gd name="connsiteX683" fmla="*/ 9241080 w 11240921"/>
              <a:gd name="connsiteY683" fmla="*/ 3033589 h 6858243"/>
              <a:gd name="connsiteX684" fmla="*/ 8783757 w 11240921"/>
              <a:gd name="connsiteY684" fmla="*/ 2616017 h 6858243"/>
              <a:gd name="connsiteX685" fmla="*/ 8331609 w 11240921"/>
              <a:gd name="connsiteY685" fmla="*/ 3033232 h 6858243"/>
              <a:gd name="connsiteX686" fmla="*/ 8786354 w 11240921"/>
              <a:gd name="connsiteY686" fmla="*/ 3039241 h 6858243"/>
              <a:gd name="connsiteX687" fmla="*/ 9241080 w 11240921"/>
              <a:gd name="connsiteY687" fmla="*/ 3033589 h 6858243"/>
              <a:gd name="connsiteX688" fmla="*/ 9360597 w 11240921"/>
              <a:gd name="connsiteY688" fmla="*/ 3017344 h 6858243"/>
              <a:gd name="connsiteX689" fmla="*/ 9820438 w 11240921"/>
              <a:gd name="connsiteY689" fmla="*/ 2590657 h 6858243"/>
              <a:gd name="connsiteX690" fmla="*/ 9308174 w 11240921"/>
              <a:gd name="connsiteY690" fmla="*/ 2126592 h 6858243"/>
              <a:gd name="connsiteX691" fmla="*/ 9306201 w 11240921"/>
              <a:gd name="connsiteY691" fmla="*/ 3034760 h 6858243"/>
              <a:gd name="connsiteX692" fmla="*/ 9360597 w 11240921"/>
              <a:gd name="connsiteY692" fmla="*/ 3017344 h 6858243"/>
              <a:gd name="connsiteX693" fmla="*/ 10311098 w 11240921"/>
              <a:gd name="connsiteY693" fmla="*/ 3033538 h 6858243"/>
              <a:gd name="connsiteX694" fmla="*/ 10078032 w 11240921"/>
              <a:gd name="connsiteY694" fmla="*/ 2817597 h 6858243"/>
              <a:gd name="connsiteX695" fmla="*/ 9838878 w 11240921"/>
              <a:gd name="connsiteY695" fmla="*/ 2612452 h 6858243"/>
              <a:gd name="connsiteX696" fmla="*/ 9382550 w 11240921"/>
              <a:gd name="connsiteY696" fmla="*/ 3033589 h 6858243"/>
              <a:gd name="connsiteX697" fmla="*/ 9847947 w 11240921"/>
              <a:gd name="connsiteY697" fmla="*/ 3039241 h 6858243"/>
              <a:gd name="connsiteX698" fmla="*/ 10311098 w 11240921"/>
              <a:gd name="connsiteY698" fmla="*/ 3033538 h 6858243"/>
              <a:gd name="connsiteX699" fmla="*/ 10784039 w 11240921"/>
              <a:gd name="connsiteY699" fmla="*/ 2668774 h 6858243"/>
              <a:gd name="connsiteX700" fmla="*/ 11200020 w 11240921"/>
              <a:gd name="connsiteY700" fmla="*/ 2287459 h 6858243"/>
              <a:gd name="connsiteX701" fmla="*/ 11222148 w 11240921"/>
              <a:gd name="connsiteY701" fmla="*/ 2264212 h 6858243"/>
              <a:gd name="connsiteX702" fmla="*/ 11220229 w 11240921"/>
              <a:gd name="connsiteY702" fmla="*/ 2195313 h 6858243"/>
              <a:gd name="connsiteX703" fmla="*/ 11218311 w 11240921"/>
              <a:gd name="connsiteY703" fmla="*/ 2126414 h 6858243"/>
              <a:gd name="connsiteX704" fmla="*/ 10798018 w 11240921"/>
              <a:gd name="connsiteY704" fmla="*/ 2124683 h 6858243"/>
              <a:gd name="connsiteX705" fmla="*/ 10368550 w 11240921"/>
              <a:gd name="connsiteY705" fmla="*/ 2130564 h 6858243"/>
              <a:gd name="connsiteX706" fmla="*/ 10359379 w 11240921"/>
              <a:gd name="connsiteY706" fmla="*/ 2584215 h 6858243"/>
              <a:gd name="connsiteX707" fmla="*/ 10363633 w 11240921"/>
              <a:gd name="connsiteY707" fmla="*/ 3034505 h 6858243"/>
              <a:gd name="connsiteX708" fmla="*/ 10379038 w 11240921"/>
              <a:gd name="connsiteY708" fmla="*/ 3032799 h 6858243"/>
              <a:gd name="connsiteX709" fmla="*/ 10784039 w 11240921"/>
              <a:gd name="connsiteY709" fmla="*/ 2668774 h 6858243"/>
              <a:gd name="connsiteX710" fmla="*/ 11220058 w 11240921"/>
              <a:gd name="connsiteY710" fmla="*/ 2675852 h 6858243"/>
              <a:gd name="connsiteX711" fmla="*/ 11216689 w 11240921"/>
              <a:gd name="connsiteY711" fmla="*/ 2311139 h 6858243"/>
              <a:gd name="connsiteX712" fmla="*/ 10421301 w 11240921"/>
              <a:gd name="connsiteY712" fmla="*/ 3031985 h 6858243"/>
              <a:gd name="connsiteX713" fmla="*/ 10818580 w 11240921"/>
              <a:gd name="connsiteY713" fmla="*/ 3037612 h 6858243"/>
              <a:gd name="connsiteX714" fmla="*/ 11218314 w 11240921"/>
              <a:gd name="connsiteY714" fmla="*/ 3035880 h 6858243"/>
              <a:gd name="connsiteX715" fmla="*/ 8244046 w 11240921"/>
              <a:gd name="connsiteY715" fmla="*/ 2597430 h 6858243"/>
              <a:gd name="connsiteX716" fmla="*/ 8237884 w 11240921"/>
              <a:gd name="connsiteY716" fmla="*/ 2164581 h 6858243"/>
              <a:gd name="connsiteX717" fmla="*/ 7767275 w 11240921"/>
              <a:gd name="connsiteY717" fmla="*/ 2600333 h 6858243"/>
              <a:gd name="connsiteX718" fmla="*/ 8235618 w 11240921"/>
              <a:gd name="connsiteY718" fmla="*/ 3032036 h 6858243"/>
              <a:gd name="connsiteX719" fmla="*/ 8244046 w 11240921"/>
              <a:gd name="connsiteY719" fmla="*/ 2597430 h 6858243"/>
              <a:gd name="connsiteX720" fmla="*/ 10337532 w 11240921"/>
              <a:gd name="connsiteY720" fmla="*/ 2572732 h 6858243"/>
              <a:gd name="connsiteX721" fmla="*/ 10335801 w 11240921"/>
              <a:gd name="connsiteY721" fmla="*/ 2126414 h 6858243"/>
              <a:gd name="connsiteX722" fmla="*/ 9845126 w 11240921"/>
              <a:gd name="connsiteY722" fmla="*/ 2124683 h 6858243"/>
              <a:gd name="connsiteX723" fmla="*/ 9356712 w 11240921"/>
              <a:gd name="connsiteY723" fmla="*/ 2128680 h 6858243"/>
              <a:gd name="connsiteX724" fmla="*/ 9598127 w 11240921"/>
              <a:gd name="connsiteY724" fmla="*/ 2351648 h 6858243"/>
              <a:gd name="connsiteX725" fmla="*/ 9894545 w 11240921"/>
              <a:gd name="connsiteY725" fmla="*/ 2621771 h 6858243"/>
              <a:gd name="connsiteX726" fmla="*/ 10334164 w 11240921"/>
              <a:gd name="connsiteY726" fmla="*/ 3018846 h 6858243"/>
              <a:gd name="connsiteX727" fmla="*/ 10337532 w 11240921"/>
              <a:gd name="connsiteY727" fmla="*/ 2572732 h 6858243"/>
              <a:gd name="connsiteX728" fmla="*/ 7193114 w 11240921"/>
              <a:gd name="connsiteY728" fmla="*/ 2591242 h 6858243"/>
              <a:gd name="connsiteX729" fmla="*/ 7187996 w 11240921"/>
              <a:gd name="connsiteY729" fmla="*/ 2176929 h 6858243"/>
              <a:gd name="connsiteX730" fmla="*/ 6738368 w 11240921"/>
              <a:gd name="connsiteY730" fmla="*/ 2590937 h 6858243"/>
              <a:gd name="connsiteX731" fmla="*/ 7187818 w 11240921"/>
              <a:gd name="connsiteY731" fmla="*/ 3005555 h 6858243"/>
              <a:gd name="connsiteX732" fmla="*/ 7193114 w 11240921"/>
              <a:gd name="connsiteY732" fmla="*/ 2591242 h 6858243"/>
              <a:gd name="connsiteX733" fmla="*/ 6155651 w 11240921"/>
              <a:gd name="connsiteY733" fmla="*/ 2583961 h 6858243"/>
              <a:gd name="connsiteX734" fmla="*/ 6149031 w 11240921"/>
              <a:gd name="connsiteY734" fmla="*/ 2171328 h 6858243"/>
              <a:gd name="connsiteX735" fmla="*/ 5705590 w 11240921"/>
              <a:gd name="connsiteY735" fmla="*/ 2584699 h 6858243"/>
              <a:gd name="connsiteX736" fmla="*/ 6150610 w 11240921"/>
              <a:gd name="connsiteY736" fmla="*/ 2998732 h 6858243"/>
              <a:gd name="connsiteX737" fmla="*/ 6155651 w 11240921"/>
              <a:gd name="connsiteY737" fmla="*/ 2583961 h 6858243"/>
              <a:gd name="connsiteX738" fmla="*/ 7995158 w 11240921"/>
              <a:gd name="connsiteY738" fmla="*/ 2353990 h 6858243"/>
              <a:gd name="connsiteX739" fmla="*/ 8237298 w 11240921"/>
              <a:gd name="connsiteY739" fmla="*/ 2128247 h 6858243"/>
              <a:gd name="connsiteX740" fmla="*/ 7252058 w 11240921"/>
              <a:gd name="connsiteY740" fmla="*/ 2126974 h 6858243"/>
              <a:gd name="connsiteX741" fmla="*/ 7744232 w 11240921"/>
              <a:gd name="connsiteY741" fmla="*/ 2577442 h 6858243"/>
              <a:gd name="connsiteX742" fmla="*/ 7995158 w 11240921"/>
              <a:gd name="connsiteY742" fmla="*/ 2353990 h 6858243"/>
              <a:gd name="connsiteX743" fmla="*/ 6953341 w 11240921"/>
              <a:gd name="connsiteY743" fmla="*/ 2358828 h 6858243"/>
              <a:gd name="connsiteX744" fmla="*/ 7186214 w 11240921"/>
              <a:gd name="connsiteY744" fmla="*/ 2138202 h 6858243"/>
              <a:gd name="connsiteX745" fmla="*/ 6710869 w 11240921"/>
              <a:gd name="connsiteY745" fmla="*/ 2129775 h 6858243"/>
              <a:gd name="connsiteX746" fmla="*/ 6237612 w 11240921"/>
              <a:gd name="connsiteY746" fmla="*/ 2135376 h 6858243"/>
              <a:gd name="connsiteX747" fmla="*/ 6716013 w 11240921"/>
              <a:gd name="connsiteY747" fmla="*/ 2572477 h 6858243"/>
              <a:gd name="connsiteX748" fmla="*/ 6953341 w 11240921"/>
              <a:gd name="connsiteY748" fmla="*/ 2358828 h 6858243"/>
              <a:gd name="connsiteX749" fmla="*/ 7179645 w 11240921"/>
              <a:gd name="connsiteY749" fmla="*/ 2103498 h 6858243"/>
              <a:gd name="connsiteX750" fmla="*/ 6699233 w 11240921"/>
              <a:gd name="connsiteY750" fmla="*/ 1667237 h 6858243"/>
              <a:gd name="connsiteX751" fmla="*/ 6224143 w 11240921"/>
              <a:gd name="connsiteY751" fmla="*/ 2103116 h 6858243"/>
              <a:gd name="connsiteX752" fmla="*/ 6700761 w 11240921"/>
              <a:gd name="connsiteY752" fmla="*/ 2109583 h 6858243"/>
              <a:gd name="connsiteX753" fmla="*/ 7179645 w 11240921"/>
              <a:gd name="connsiteY753" fmla="*/ 2103498 h 6858243"/>
              <a:gd name="connsiteX754" fmla="*/ 9286600 w 11240921"/>
              <a:gd name="connsiteY754" fmla="*/ 1659319 h 6858243"/>
              <a:gd name="connsiteX755" fmla="*/ 9281531 w 11240921"/>
              <a:gd name="connsiteY755" fmla="*/ 1214706 h 6858243"/>
              <a:gd name="connsiteX756" fmla="*/ 9049063 w 11240921"/>
              <a:gd name="connsiteY756" fmla="*/ 1422143 h 6858243"/>
              <a:gd name="connsiteX757" fmla="*/ 8823401 w 11240921"/>
              <a:gd name="connsiteY757" fmla="*/ 1642769 h 6858243"/>
              <a:gd name="connsiteX758" fmla="*/ 8806520 w 11240921"/>
              <a:gd name="connsiteY758" fmla="*/ 1658224 h 6858243"/>
              <a:gd name="connsiteX759" fmla="*/ 8548822 w 11240921"/>
              <a:gd name="connsiteY759" fmla="*/ 1877729 h 6858243"/>
              <a:gd name="connsiteX760" fmla="*/ 8305790 w 11240921"/>
              <a:gd name="connsiteY760" fmla="*/ 2103447 h 6858243"/>
              <a:gd name="connsiteX761" fmla="*/ 8794197 w 11240921"/>
              <a:gd name="connsiteY761" fmla="*/ 2107928 h 6858243"/>
              <a:gd name="connsiteX762" fmla="*/ 9284867 w 11240921"/>
              <a:gd name="connsiteY762" fmla="*/ 2106197 h 6858243"/>
              <a:gd name="connsiteX763" fmla="*/ 10311098 w 11240921"/>
              <a:gd name="connsiteY763" fmla="*/ 2096852 h 6858243"/>
              <a:gd name="connsiteX764" fmla="*/ 10069698 w 11240921"/>
              <a:gd name="connsiteY764" fmla="*/ 1869989 h 6858243"/>
              <a:gd name="connsiteX765" fmla="*/ 9825928 w 11240921"/>
              <a:gd name="connsiteY765" fmla="*/ 1642183 h 6858243"/>
              <a:gd name="connsiteX766" fmla="*/ 9825928 w 11240921"/>
              <a:gd name="connsiteY766" fmla="*/ 1627670 h 6858243"/>
              <a:gd name="connsiteX767" fmla="*/ 10077658 w 11240921"/>
              <a:gd name="connsiteY767" fmla="*/ 1393931 h 6858243"/>
              <a:gd name="connsiteX768" fmla="*/ 10320740 w 11240921"/>
              <a:gd name="connsiteY768" fmla="*/ 1163732 h 6858243"/>
              <a:gd name="connsiteX769" fmla="*/ 9830330 w 11240921"/>
              <a:gd name="connsiteY769" fmla="*/ 1159683 h 6858243"/>
              <a:gd name="connsiteX770" fmla="*/ 9326196 w 11240921"/>
              <a:gd name="connsiteY770" fmla="*/ 1173662 h 6858243"/>
              <a:gd name="connsiteX771" fmla="*/ 9308447 w 11240921"/>
              <a:gd name="connsiteY771" fmla="*/ 1187615 h 6858243"/>
              <a:gd name="connsiteX772" fmla="*/ 9308447 w 11240921"/>
              <a:gd name="connsiteY772" fmla="*/ 1638160 h 6858243"/>
              <a:gd name="connsiteX773" fmla="*/ 9320235 w 11240921"/>
              <a:gd name="connsiteY773" fmla="*/ 2095554 h 6858243"/>
              <a:gd name="connsiteX774" fmla="*/ 10311098 w 11240921"/>
              <a:gd name="connsiteY774" fmla="*/ 2096852 h 6858243"/>
              <a:gd name="connsiteX775" fmla="*/ 11220325 w 11240921"/>
              <a:gd name="connsiteY775" fmla="*/ 2049010 h 6858243"/>
              <a:gd name="connsiteX776" fmla="*/ 11218854 w 11240921"/>
              <a:gd name="connsiteY776" fmla="*/ 1984694 h 6858243"/>
              <a:gd name="connsiteX777" fmla="*/ 10363842 w 11240921"/>
              <a:gd name="connsiteY777" fmla="*/ 1172185 h 6858243"/>
              <a:gd name="connsiteX778" fmla="*/ 9855598 w 11240921"/>
              <a:gd name="connsiteY778" fmla="*/ 1632813 h 6858243"/>
              <a:gd name="connsiteX779" fmla="*/ 10103305 w 11240921"/>
              <a:gd name="connsiteY779" fmla="*/ 1872357 h 6858243"/>
              <a:gd name="connsiteX780" fmla="*/ 10352909 w 11240921"/>
              <a:gd name="connsiteY780" fmla="*/ 2102938 h 6858243"/>
              <a:gd name="connsiteX781" fmla="*/ 10785610 w 11240921"/>
              <a:gd name="connsiteY781" fmla="*/ 2101206 h 6858243"/>
              <a:gd name="connsiteX782" fmla="*/ 11218314 w 11240921"/>
              <a:gd name="connsiteY782" fmla="*/ 2099475 h 6858243"/>
              <a:gd name="connsiteX783" fmla="*/ 7484472 w 11240921"/>
              <a:gd name="connsiteY783" fmla="*/ 1872688 h 6858243"/>
              <a:gd name="connsiteX784" fmla="*/ 7730534 w 11240921"/>
              <a:gd name="connsiteY784" fmla="*/ 1641902 h 6858243"/>
              <a:gd name="connsiteX785" fmla="*/ 7242128 w 11240921"/>
              <a:gd name="connsiteY785" fmla="*/ 1184432 h 6858243"/>
              <a:gd name="connsiteX786" fmla="*/ 7223082 w 11240921"/>
              <a:gd name="connsiteY786" fmla="*/ 1186928 h 6858243"/>
              <a:gd name="connsiteX787" fmla="*/ 7213331 w 11240921"/>
              <a:gd name="connsiteY787" fmla="*/ 1641062 h 6858243"/>
              <a:gd name="connsiteX788" fmla="*/ 7217812 w 11240921"/>
              <a:gd name="connsiteY788" fmla="*/ 2091608 h 6858243"/>
              <a:gd name="connsiteX789" fmla="*/ 7231281 w 11240921"/>
              <a:gd name="connsiteY789" fmla="*/ 2096089 h 6858243"/>
              <a:gd name="connsiteX790" fmla="*/ 7484472 w 11240921"/>
              <a:gd name="connsiteY790" fmla="*/ 1872688 h 6858243"/>
              <a:gd name="connsiteX791" fmla="*/ 8219170 w 11240921"/>
              <a:gd name="connsiteY791" fmla="*/ 2091047 h 6858243"/>
              <a:gd name="connsiteX792" fmla="*/ 7754086 w 11240921"/>
              <a:gd name="connsiteY792" fmla="*/ 1661585 h 6858243"/>
              <a:gd name="connsiteX793" fmla="*/ 7281823 w 11240921"/>
              <a:gd name="connsiteY793" fmla="*/ 2090182 h 6858243"/>
              <a:gd name="connsiteX794" fmla="*/ 8219170 w 11240921"/>
              <a:gd name="connsiteY794" fmla="*/ 2091047 h 6858243"/>
              <a:gd name="connsiteX795" fmla="*/ 8774769 w 11240921"/>
              <a:gd name="connsiteY795" fmla="*/ 1633959 h 6858243"/>
              <a:gd name="connsiteX796" fmla="*/ 8277095 w 11240921"/>
              <a:gd name="connsiteY796" fmla="*/ 1183669 h 6858243"/>
              <a:gd name="connsiteX797" fmla="*/ 8275058 w 11240921"/>
              <a:gd name="connsiteY797" fmla="*/ 2091175 h 6858243"/>
              <a:gd name="connsiteX798" fmla="*/ 8774769 w 11240921"/>
              <a:gd name="connsiteY798" fmla="*/ 1633959 h 6858243"/>
              <a:gd name="connsiteX799" fmla="*/ 7193114 w 11240921"/>
              <a:gd name="connsiteY799" fmla="*/ 1644169 h 6858243"/>
              <a:gd name="connsiteX800" fmla="*/ 7186901 w 11240921"/>
              <a:gd name="connsiteY800" fmla="*/ 1221453 h 6858243"/>
              <a:gd name="connsiteX801" fmla="*/ 6729558 w 11240921"/>
              <a:gd name="connsiteY801" fmla="*/ 1648497 h 6858243"/>
              <a:gd name="connsiteX802" fmla="*/ 7186621 w 11240921"/>
              <a:gd name="connsiteY802" fmla="*/ 2069151 h 6858243"/>
              <a:gd name="connsiteX803" fmla="*/ 7193114 w 11240921"/>
              <a:gd name="connsiteY803" fmla="*/ 1644169 h 6858243"/>
              <a:gd name="connsiteX804" fmla="*/ 8244046 w 11240921"/>
              <a:gd name="connsiteY804" fmla="*/ 1645136 h 6858243"/>
              <a:gd name="connsiteX805" fmla="*/ 8238979 w 11240921"/>
              <a:gd name="connsiteY805" fmla="*/ 1218067 h 6858243"/>
              <a:gd name="connsiteX806" fmla="*/ 8002439 w 11240921"/>
              <a:gd name="connsiteY806" fmla="*/ 1427312 h 6858243"/>
              <a:gd name="connsiteX807" fmla="*/ 7770967 w 11240921"/>
              <a:gd name="connsiteY807" fmla="*/ 1639637 h 6858243"/>
              <a:gd name="connsiteX808" fmla="*/ 7793603 w 11240921"/>
              <a:gd name="connsiteY808" fmla="*/ 1661967 h 6858243"/>
              <a:gd name="connsiteX809" fmla="*/ 8238979 w 11240921"/>
              <a:gd name="connsiteY809" fmla="*/ 2069125 h 6858243"/>
              <a:gd name="connsiteX810" fmla="*/ 8244046 w 11240921"/>
              <a:gd name="connsiteY810" fmla="*/ 1645136 h 6858243"/>
              <a:gd name="connsiteX811" fmla="*/ 11220053 w 11240921"/>
              <a:gd name="connsiteY811" fmla="*/ 1546676 h 6858243"/>
              <a:gd name="connsiteX812" fmla="*/ 11218314 w 11240921"/>
              <a:gd name="connsiteY812" fmla="*/ 1163070 h 6858243"/>
              <a:gd name="connsiteX813" fmla="*/ 10805109 w 11240921"/>
              <a:gd name="connsiteY813" fmla="*/ 1161338 h 6858243"/>
              <a:gd name="connsiteX814" fmla="*/ 10394169 w 11240921"/>
              <a:gd name="connsiteY814" fmla="*/ 1165336 h 6858243"/>
              <a:gd name="connsiteX815" fmla="*/ 11216687 w 11240921"/>
              <a:gd name="connsiteY815" fmla="*/ 1934941 h 6858243"/>
              <a:gd name="connsiteX816" fmla="*/ 11220053 w 11240921"/>
              <a:gd name="connsiteY816" fmla="*/ 1546650 h 6858243"/>
              <a:gd name="connsiteX817" fmla="*/ 7984973 w 11240921"/>
              <a:gd name="connsiteY817" fmla="*/ 1415319 h 6858243"/>
              <a:gd name="connsiteX818" fmla="*/ 8240481 w 11240921"/>
              <a:gd name="connsiteY818" fmla="*/ 1166100 h 6858243"/>
              <a:gd name="connsiteX819" fmla="*/ 7261733 w 11240921"/>
              <a:gd name="connsiteY819" fmla="*/ 1166813 h 6858243"/>
              <a:gd name="connsiteX820" fmla="*/ 7752558 w 11240921"/>
              <a:gd name="connsiteY820" fmla="*/ 1617358 h 6858243"/>
              <a:gd name="connsiteX821" fmla="*/ 7984973 w 11240921"/>
              <a:gd name="connsiteY821" fmla="*/ 1415319 h 6858243"/>
              <a:gd name="connsiteX822" fmla="*/ 9033875 w 11240921"/>
              <a:gd name="connsiteY822" fmla="*/ 1408114 h 6858243"/>
              <a:gd name="connsiteX823" fmla="*/ 9284434 w 11240921"/>
              <a:gd name="connsiteY823" fmla="*/ 1165718 h 6858243"/>
              <a:gd name="connsiteX824" fmla="*/ 8306045 w 11240921"/>
              <a:gd name="connsiteY824" fmla="*/ 1167220 h 6858243"/>
              <a:gd name="connsiteX825" fmla="*/ 8798092 w 11240921"/>
              <a:gd name="connsiteY825" fmla="*/ 1617511 h 6858243"/>
              <a:gd name="connsiteX826" fmla="*/ 9033875 w 11240921"/>
              <a:gd name="connsiteY826" fmla="*/ 1408114 h 6858243"/>
              <a:gd name="connsiteX827" fmla="*/ 8225586 w 11240921"/>
              <a:gd name="connsiteY827" fmla="*/ 1135495 h 6858243"/>
              <a:gd name="connsiteX828" fmla="*/ 7752355 w 11240921"/>
              <a:gd name="connsiteY828" fmla="*/ 703002 h 6858243"/>
              <a:gd name="connsiteX829" fmla="*/ 7285718 w 11240921"/>
              <a:gd name="connsiteY829" fmla="*/ 1135546 h 6858243"/>
              <a:gd name="connsiteX830" fmla="*/ 8225586 w 11240921"/>
              <a:gd name="connsiteY830" fmla="*/ 1135495 h 6858243"/>
              <a:gd name="connsiteX831" fmla="*/ 9260166 w 11240921"/>
              <a:gd name="connsiteY831" fmla="*/ 1132949 h 6858243"/>
              <a:gd name="connsiteX832" fmla="*/ 8796539 w 11240921"/>
              <a:gd name="connsiteY832" fmla="*/ 703002 h 6858243"/>
              <a:gd name="connsiteX833" fmla="*/ 8329928 w 11240921"/>
              <a:gd name="connsiteY833" fmla="*/ 1135546 h 6858243"/>
              <a:gd name="connsiteX834" fmla="*/ 9260166 w 11240921"/>
              <a:gd name="connsiteY834" fmla="*/ 1132949 h 6858243"/>
              <a:gd name="connsiteX835" fmla="*/ 10318958 w 11240921"/>
              <a:gd name="connsiteY835" fmla="*/ 1133280 h 6858243"/>
              <a:gd name="connsiteX836" fmla="*/ 9853653 w 11240921"/>
              <a:gd name="connsiteY836" fmla="*/ 694855 h 6858243"/>
              <a:gd name="connsiteX837" fmla="*/ 9370199 w 11240921"/>
              <a:gd name="connsiteY837" fmla="*/ 1133382 h 6858243"/>
              <a:gd name="connsiteX838" fmla="*/ 9843456 w 11240921"/>
              <a:gd name="connsiteY838" fmla="*/ 1139492 h 6858243"/>
              <a:gd name="connsiteX839" fmla="*/ 10318958 w 11240921"/>
              <a:gd name="connsiteY839" fmla="*/ 1133280 h 6858243"/>
              <a:gd name="connsiteX840" fmla="*/ 11220241 w 11240921"/>
              <a:gd name="connsiteY840" fmla="*/ 1074463 h 6858243"/>
              <a:gd name="connsiteX841" fmla="*/ 11206767 w 11240921"/>
              <a:gd name="connsiteY841" fmla="*/ 996016 h 6858243"/>
              <a:gd name="connsiteX842" fmla="*/ 11031028 w 11240921"/>
              <a:gd name="connsiteY842" fmla="*/ 840267 h 6858243"/>
              <a:gd name="connsiteX843" fmla="*/ 10862074 w 11240921"/>
              <a:gd name="connsiteY843" fmla="*/ 706491 h 6858243"/>
              <a:gd name="connsiteX844" fmla="*/ 10399799 w 11240921"/>
              <a:gd name="connsiteY844" fmla="*/ 1133560 h 6858243"/>
              <a:gd name="connsiteX845" fmla="*/ 10809055 w 11240921"/>
              <a:gd name="connsiteY845" fmla="*/ 1137863 h 6858243"/>
              <a:gd name="connsiteX846" fmla="*/ 11218314 w 11240921"/>
              <a:gd name="connsiteY846" fmla="*/ 1136106 h 6858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Lst>
            <a:rect l="l" t="t" r="r" b="b"/>
            <a:pathLst>
              <a:path w="11240921" h="6858243">
                <a:moveTo>
                  <a:pt x="6203341" y="6853924"/>
                </a:moveTo>
                <a:cubicBezTo>
                  <a:pt x="6202908" y="6847200"/>
                  <a:pt x="5577365" y="6845504"/>
                  <a:pt x="3099406" y="6845504"/>
                </a:cubicBezTo>
                <a:cubicBezTo>
                  <a:pt x="1392555" y="6845504"/>
                  <a:pt x="-1702" y="6843230"/>
                  <a:pt x="1072" y="6840450"/>
                </a:cubicBezTo>
                <a:cubicBezTo>
                  <a:pt x="3848" y="6837672"/>
                  <a:pt x="218847" y="6833884"/>
                  <a:pt x="478810" y="6832030"/>
                </a:cubicBezTo>
                <a:lnTo>
                  <a:pt x="951507" y="6828661"/>
                </a:lnTo>
                <a:lnTo>
                  <a:pt x="954893" y="5898998"/>
                </a:lnTo>
                <a:lnTo>
                  <a:pt x="958255" y="4969315"/>
                </a:lnTo>
                <a:lnTo>
                  <a:pt x="2009747" y="4965954"/>
                </a:lnTo>
                <a:lnTo>
                  <a:pt x="3061265" y="4962593"/>
                </a:lnTo>
                <a:lnTo>
                  <a:pt x="3107833" y="4920938"/>
                </a:lnTo>
                <a:cubicBezTo>
                  <a:pt x="3133474" y="4898048"/>
                  <a:pt x="3357409" y="4693412"/>
                  <a:pt x="3605508" y="4466217"/>
                </a:cubicBezTo>
                <a:cubicBezTo>
                  <a:pt x="3903105" y="4193675"/>
                  <a:pt x="4057988" y="4047398"/>
                  <a:pt x="4060687" y="4036271"/>
                </a:cubicBezTo>
                <a:cubicBezTo>
                  <a:pt x="4063106" y="4026341"/>
                  <a:pt x="4068937" y="4020128"/>
                  <a:pt x="4074895" y="4021147"/>
                </a:cubicBezTo>
                <a:cubicBezTo>
                  <a:pt x="4080471" y="4022063"/>
                  <a:pt x="4098447" y="4011471"/>
                  <a:pt x="4114870" y="3997569"/>
                </a:cubicBezTo>
                <a:cubicBezTo>
                  <a:pt x="4160548" y="3958892"/>
                  <a:pt x="5092039" y="3107937"/>
                  <a:pt x="5113147" y="3085582"/>
                </a:cubicBezTo>
                <a:cubicBezTo>
                  <a:pt x="5125929" y="3072062"/>
                  <a:pt x="5131658" y="3058821"/>
                  <a:pt x="5131658" y="3042908"/>
                </a:cubicBezTo>
                <a:cubicBezTo>
                  <a:pt x="5131658" y="3016402"/>
                  <a:pt x="5144236" y="3004028"/>
                  <a:pt x="5149735" y="3025085"/>
                </a:cubicBezTo>
                <a:cubicBezTo>
                  <a:pt x="5151772" y="3032876"/>
                  <a:pt x="5156101" y="3039241"/>
                  <a:pt x="5159335" y="3039241"/>
                </a:cubicBezTo>
                <a:cubicBezTo>
                  <a:pt x="5162594" y="3039241"/>
                  <a:pt x="5275160" y="2938667"/>
                  <a:pt x="5409496" y="2815739"/>
                </a:cubicBezTo>
                <a:cubicBezTo>
                  <a:pt x="5575939" y="2663426"/>
                  <a:pt x="5654437" y="2587245"/>
                  <a:pt x="5655889" y="2576577"/>
                </a:cubicBezTo>
                <a:cubicBezTo>
                  <a:pt x="5657391" y="2565603"/>
                  <a:pt x="5662432" y="2560943"/>
                  <a:pt x="5672846" y="2560943"/>
                </a:cubicBezTo>
                <a:cubicBezTo>
                  <a:pt x="5689880" y="2560943"/>
                  <a:pt x="6135663" y="2157528"/>
                  <a:pt x="6156517" y="2123231"/>
                </a:cubicBezTo>
                <a:cubicBezTo>
                  <a:pt x="6163468" y="2111824"/>
                  <a:pt x="6176912" y="2099526"/>
                  <a:pt x="6186460" y="2095911"/>
                </a:cubicBezTo>
                <a:cubicBezTo>
                  <a:pt x="6199700" y="2090894"/>
                  <a:pt x="6616075" y="1716658"/>
                  <a:pt x="6691773" y="1641750"/>
                </a:cubicBezTo>
                <a:cubicBezTo>
                  <a:pt x="6699462" y="1634137"/>
                  <a:pt x="6814040" y="1529362"/>
                  <a:pt x="6946365" y="1408954"/>
                </a:cubicBezTo>
                <a:cubicBezTo>
                  <a:pt x="7107741" y="1262090"/>
                  <a:pt x="7188149" y="1184458"/>
                  <a:pt x="7190593" y="1173178"/>
                </a:cubicBezTo>
                <a:cubicBezTo>
                  <a:pt x="7197366" y="1141809"/>
                  <a:pt x="7199403" y="1139492"/>
                  <a:pt x="7219950" y="1139492"/>
                </a:cubicBezTo>
                <a:cubicBezTo>
                  <a:pt x="7242433" y="1139492"/>
                  <a:pt x="7232860" y="1147716"/>
                  <a:pt x="7572519" y="836702"/>
                </a:cubicBezTo>
                <a:cubicBezTo>
                  <a:pt x="7671896" y="745727"/>
                  <a:pt x="7757549" y="670309"/>
                  <a:pt x="7762845" y="669113"/>
                </a:cubicBezTo>
                <a:cubicBezTo>
                  <a:pt x="7768141" y="667890"/>
                  <a:pt x="7772469" y="671328"/>
                  <a:pt x="7772469" y="676700"/>
                </a:cubicBezTo>
                <a:cubicBezTo>
                  <a:pt x="7772469" y="685357"/>
                  <a:pt x="8244046" y="1121084"/>
                  <a:pt x="8268209" y="1134756"/>
                </a:cubicBezTo>
                <a:cubicBezTo>
                  <a:pt x="8273454" y="1137735"/>
                  <a:pt x="8282035" y="1137735"/>
                  <a:pt x="8287305" y="1134756"/>
                </a:cubicBezTo>
                <a:cubicBezTo>
                  <a:pt x="8292576" y="1131803"/>
                  <a:pt x="8409521" y="1026315"/>
                  <a:pt x="8547193" y="900330"/>
                </a:cubicBezTo>
                <a:cubicBezTo>
                  <a:pt x="8684838" y="774346"/>
                  <a:pt x="8801784" y="670309"/>
                  <a:pt x="8807055" y="669113"/>
                </a:cubicBezTo>
                <a:cubicBezTo>
                  <a:pt x="8812351" y="667890"/>
                  <a:pt x="8816654" y="671328"/>
                  <a:pt x="8816654" y="676700"/>
                </a:cubicBezTo>
                <a:cubicBezTo>
                  <a:pt x="8816654" y="690831"/>
                  <a:pt x="9300105" y="1139492"/>
                  <a:pt x="9315342" y="1139492"/>
                </a:cubicBezTo>
                <a:cubicBezTo>
                  <a:pt x="9322496" y="1139492"/>
                  <a:pt x="9439246" y="1038155"/>
                  <a:pt x="9585050" y="905372"/>
                </a:cubicBezTo>
                <a:cubicBezTo>
                  <a:pt x="9726451" y="776612"/>
                  <a:pt x="9847392" y="671277"/>
                  <a:pt x="9853808" y="671277"/>
                </a:cubicBezTo>
                <a:cubicBezTo>
                  <a:pt x="9860222" y="671277"/>
                  <a:pt x="9975116" y="774346"/>
                  <a:pt x="10109126" y="900330"/>
                </a:cubicBezTo>
                <a:cubicBezTo>
                  <a:pt x="10243136" y="1026315"/>
                  <a:pt x="10355814" y="1129384"/>
                  <a:pt x="10359521" y="1129384"/>
                </a:cubicBezTo>
                <a:cubicBezTo>
                  <a:pt x="10363231" y="1129384"/>
                  <a:pt x="10475685" y="1029345"/>
                  <a:pt x="10609423" y="907052"/>
                </a:cubicBezTo>
                <a:cubicBezTo>
                  <a:pt x="10743160" y="784785"/>
                  <a:pt x="10858145" y="683804"/>
                  <a:pt x="10864946" y="682659"/>
                </a:cubicBezTo>
                <a:cubicBezTo>
                  <a:pt x="10876603" y="680673"/>
                  <a:pt x="10915949" y="712881"/>
                  <a:pt x="11144933" y="911890"/>
                </a:cubicBezTo>
                <a:cubicBezTo>
                  <a:pt x="11182385" y="944431"/>
                  <a:pt x="11214973" y="971063"/>
                  <a:pt x="11217354" y="971063"/>
                </a:cubicBezTo>
                <a:cubicBezTo>
                  <a:pt x="11219735" y="971063"/>
                  <a:pt x="11221728" y="756574"/>
                  <a:pt x="11221784" y="494446"/>
                </a:cubicBezTo>
                <a:cubicBezTo>
                  <a:pt x="11221861" y="232291"/>
                  <a:pt x="11224450" y="13779"/>
                  <a:pt x="11227585" y="8839"/>
                </a:cubicBezTo>
                <a:cubicBezTo>
                  <a:pt x="11242795" y="-15171"/>
                  <a:pt x="11242128" y="-294689"/>
                  <a:pt x="11241919" y="6008458"/>
                </a:cubicBezTo>
                <a:lnTo>
                  <a:pt x="11241919" y="6845504"/>
                </a:lnTo>
                <a:lnTo>
                  <a:pt x="9750291" y="6845504"/>
                </a:lnTo>
                <a:cubicBezTo>
                  <a:pt x="8563284" y="6845504"/>
                  <a:pt x="8257973" y="6847225"/>
                  <a:pt x="8255274" y="6853924"/>
                </a:cubicBezTo>
                <a:cubicBezTo>
                  <a:pt x="8252550" y="6860662"/>
                  <a:pt x="8251761" y="6860662"/>
                  <a:pt x="8251328" y="6853924"/>
                </a:cubicBezTo>
                <a:cubicBezTo>
                  <a:pt x="8250920" y="6847228"/>
                  <a:pt x="8042007" y="6845504"/>
                  <a:pt x="7230746" y="6845504"/>
                </a:cubicBezTo>
                <a:cubicBezTo>
                  <a:pt x="6421013" y="6845504"/>
                  <a:pt x="6209986" y="6847241"/>
                  <a:pt x="6207287" y="6853924"/>
                </a:cubicBezTo>
                <a:cubicBezTo>
                  <a:pt x="6204588" y="6860662"/>
                  <a:pt x="6203799" y="6860662"/>
                  <a:pt x="6203366" y="6853924"/>
                </a:cubicBezTo>
                <a:close/>
                <a:moveTo>
                  <a:pt x="1043399" y="6816873"/>
                </a:moveTo>
                <a:cubicBezTo>
                  <a:pt x="1047473" y="6808536"/>
                  <a:pt x="1144252" y="6716831"/>
                  <a:pt x="1258449" y="6613087"/>
                </a:cubicBezTo>
                <a:cubicBezTo>
                  <a:pt x="1372670" y="6509341"/>
                  <a:pt x="1466292" y="6421243"/>
                  <a:pt x="1466496" y="6417322"/>
                </a:cubicBezTo>
                <a:cubicBezTo>
                  <a:pt x="1466954" y="6408716"/>
                  <a:pt x="991711" y="5969731"/>
                  <a:pt x="981934" y="5969731"/>
                </a:cubicBezTo>
                <a:cubicBezTo>
                  <a:pt x="974244" y="5969731"/>
                  <a:pt x="971902" y="6819859"/>
                  <a:pt x="979591" y="6827538"/>
                </a:cubicBezTo>
                <a:cubicBezTo>
                  <a:pt x="982061" y="6830008"/>
                  <a:pt x="995760" y="6832030"/>
                  <a:pt x="1010044" y="6832030"/>
                </a:cubicBezTo>
                <a:cubicBezTo>
                  <a:pt x="1030286" y="6832030"/>
                  <a:pt x="1037644" y="6828692"/>
                  <a:pt x="1043399" y="6816873"/>
                </a:cubicBezTo>
                <a:close/>
                <a:moveTo>
                  <a:pt x="2024412" y="6400874"/>
                </a:moveTo>
                <a:cubicBezTo>
                  <a:pt x="2025355" y="6165608"/>
                  <a:pt x="2024591" y="5969018"/>
                  <a:pt x="2022681" y="5964028"/>
                </a:cubicBezTo>
                <a:cubicBezTo>
                  <a:pt x="2019931" y="5956847"/>
                  <a:pt x="2015323" y="5957535"/>
                  <a:pt x="2000224" y="5967414"/>
                </a:cubicBezTo>
                <a:cubicBezTo>
                  <a:pt x="1973489" y="5984881"/>
                  <a:pt x="1062673" y="6819378"/>
                  <a:pt x="1062673" y="6826382"/>
                </a:cubicBezTo>
                <a:cubicBezTo>
                  <a:pt x="1062673" y="6829537"/>
                  <a:pt x="1278664" y="6831342"/>
                  <a:pt x="1542677" y="6830390"/>
                </a:cubicBezTo>
                <a:lnTo>
                  <a:pt x="2022656" y="6828661"/>
                </a:lnTo>
                <a:close/>
                <a:moveTo>
                  <a:pt x="2087583" y="6816873"/>
                </a:moveTo>
                <a:cubicBezTo>
                  <a:pt x="2091632" y="6808536"/>
                  <a:pt x="2186858" y="6718349"/>
                  <a:pt x="2299221" y="6616453"/>
                </a:cubicBezTo>
                <a:cubicBezTo>
                  <a:pt x="2411558" y="6514561"/>
                  <a:pt x="2503678" y="6427812"/>
                  <a:pt x="2503907" y="6423688"/>
                </a:cubicBezTo>
                <a:cubicBezTo>
                  <a:pt x="2504442" y="6414267"/>
                  <a:pt x="2063879" y="5983200"/>
                  <a:pt x="2053719" y="5983200"/>
                </a:cubicBezTo>
                <a:cubicBezTo>
                  <a:pt x="2045444" y="5983200"/>
                  <a:pt x="2042491" y="6819299"/>
                  <a:pt x="2050740" y="6827538"/>
                </a:cubicBezTo>
                <a:cubicBezTo>
                  <a:pt x="2060339" y="6837155"/>
                  <a:pt x="2080556" y="6831302"/>
                  <a:pt x="2087583" y="6816873"/>
                </a:cubicBezTo>
                <a:close/>
                <a:moveTo>
                  <a:pt x="2922015" y="6826558"/>
                </a:moveTo>
                <a:cubicBezTo>
                  <a:pt x="2922015" y="6817400"/>
                  <a:pt x="2531762" y="6440009"/>
                  <a:pt x="2524786" y="6442428"/>
                </a:cubicBezTo>
                <a:cubicBezTo>
                  <a:pt x="2514041" y="6446145"/>
                  <a:pt x="2106858" y="6820162"/>
                  <a:pt x="2106858" y="6826327"/>
                </a:cubicBezTo>
                <a:cubicBezTo>
                  <a:pt x="2106858" y="6829463"/>
                  <a:pt x="2290284" y="6832030"/>
                  <a:pt x="2514449" y="6832030"/>
                </a:cubicBezTo>
                <a:cubicBezTo>
                  <a:pt x="2738614" y="6832030"/>
                  <a:pt x="2922015" y="6829568"/>
                  <a:pt x="2922015" y="6826558"/>
                </a:cubicBezTo>
                <a:close/>
                <a:moveTo>
                  <a:pt x="3048381" y="6399194"/>
                </a:moveTo>
                <a:cubicBezTo>
                  <a:pt x="3049501" y="6120999"/>
                  <a:pt x="3047770" y="5969731"/>
                  <a:pt x="3043492" y="5969731"/>
                </a:cubicBezTo>
                <a:cubicBezTo>
                  <a:pt x="3032925" y="5969731"/>
                  <a:pt x="2551496" y="6413681"/>
                  <a:pt x="2551496" y="6423408"/>
                </a:cubicBezTo>
                <a:cubicBezTo>
                  <a:pt x="2551496" y="6428245"/>
                  <a:pt x="2644481" y="6522301"/>
                  <a:pt x="2758143" y="6632410"/>
                </a:cubicBezTo>
                <a:lnTo>
                  <a:pt x="2964790" y="6832613"/>
                </a:lnTo>
                <a:lnTo>
                  <a:pt x="3005707" y="6830637"/>
                </a:lnTo>
                <a:lnTo>
                  <a:pt x="3046649" y="6828661"/>
                </a:lnTo>
                <a:close/>
                <a:moveTo>
                  <a:pt x="3342259" y="6638348"/>
                </a:moveTo>
                <a:cubicBezTo>
                  <a:pt x="3503509" y="6495592"/>
                  <a:pt x="3561180" y="6440671"/>
                  <a:pt x="3561536" y="6429518"/>
                </a:cubicBezTo>
                <a:cubicBezTo>
                  <a:pt x="3561918" y="6416762"/>
                  <a:pt x="3565763" y="6414343"/>
                  <a:pt x="3585571" y="6414343"/>
                </a:cubicBezTo>
                <a:cubicBezTo>
                  <a:pt x="3605407" y="6414343"/>
                  <a:pt x="3609251" y="6416762"/>
                  <a:pt x="3609659" y="6429518"/>
                </a:cubicBezTo>
                <a:cubicBezTo>
                  <a:pt x="3610015" y="6440671"/>
                  <a:pt x="3667177" y="6495184"/>
                  <a:pt x="3826159" y="6635980"/>
                </a:cubicBezTo>
                <a:cubicBezTo>
                  <a:pt x="4021094" y="6808623"/>
                  <a:pt x="4044570" y="6827358"/>
                  <a:pt x="4066518" y="6827976"/>
                </a:cubicBezTo>
                <a:lnTo>
                  <a:pt x="4090834" y="6828661"/>
                </a:lnTo>
                <a:lnTo>
                  <a:pt x="4092464" y="5926217"/>
                </a:lnTo>
                <a:cubicBezTo>
                  <a:pt x="4093355" y="5429866"/>
                  <a:pt x="4091623" y="5021308"/>
                  <a:pt x="4088619" y="5018303"/>
                </a:cubicBezTo>
                <a:cubicBezTo>
                  <a:pt x="4081438" y="5011098"/>
                  <a:pt x="3089502" y="5918222"/>
                  <a:pt x="3078935" y="5941621"/>
                </a:cubicBezTo>
                <a:cubicBezTo>
                  <a:pt x="3072901" y="5955040"/>
                  <a:pt x="3070761" y="6069592"/>
                  <a:pt x="3070532" y="6391326"/>
                </a:cubicBezTo>
                <a:cubicBezTo>
                  <a:pt x="3070354" y="6628777"/>
                  <a:pt x="3072238" y="6825069"/>
                  <a:pt x="3074708" y="6827538"/>
                </a:cubicBezTo>
                <a:cubicBezTo>
                  <a:pt x="3077178" y="6830008"/>
                  <a:pt x="3089171" y="6832030"/>
                  <a:pt x="3101316" y="6832030"/>
                </a:cubicBezTo>
                <a:cubicBezTo>
                  <a:pt x="3120743" y="6832030"/>
                  <a:pt x="3150202" y="6808356"/>
                  <a:pt x="3342259" y="6638348"/>
                </a:cubicBezTo>
                <a:close/>
                <a:moveTo>
                  <a:pt x="4005512" y="6826281"/>
                </a:moveTo>
                <a:cubicBezTo>
                  <a:pt x="4001693" y="6816542"/>
                  <a:pt x="3592752" y="6455057"/>
                  <a:pt x="3585571" y="6455082"/>
                </a:cubicBezTo>
                <a:cubicBezTo>
                  <a:pt x="3578239" y="6455133"/>
                  <a:pt x="3169324" y="6816414"/>
                  <a:pt x="3165658" y="6826102"/>
                </a:cubicBezTo>
                <a:cubicBezTo>
                  <a:pt x="3164384" y="6829476"/>
                  <a:pt x="3345264" y="6832030"/>
                  <a:pt x="3585571" y="6832030"/>
                </a:cubicBezTo>
                <a:cubicBezTo>
                  <a:pt x="3817783" y="6832030"/>
                  <a:pt x="4006734" y="6829443"/>
                  <a:pt x="4005512" y="6826281"/>
                </a:cubicBezTo>
                <a:close/>
                <a:moveTo>
                  <a:pt x="5029480" y="6825316"/>
                </a:moveTo>
                <a:cubicBezTo>
                  <a:pt x="5026730" y="6817041"/>
                  <a:pt x="4619241" y="6434560"/>
                  <a:pt x="4613181" y="6434560"/>
                </a:cubicBezTo>
                <a:cubicBezTo>
                  <a:pt x="4610788" y="6434560"/>
                  <a:pt x="4518056" y="6517794"/>
                  <a:pt x="4407094" y="6619524"/>
                </a:cubicBezTo>
                <a:cubicBezTo>
                  <a:pt x="4225755" y="6785781"/>
                  <a:pt x="4188276" y="6816748"/>
                  <a:pt x="4188633" y="6800030"/>
                </a:cubicBezTo>
                <a:cubicBezTo>
                  <a:pt x="4188836" y="6790474"/>
                  <a:pt x="4199199" y="6780470"/>
                  <a:pt x="4395687" y="6600639"/>
                </a:cubicBezTo>
                <a:cubicBezTo>
                  <a:pt x="4504052" y="6501448"/>
                  <a:pt x="4592735" y="6418112"/>
                  <a:pt x="4592735" y="6415489"/>
                </a:cubicBezTo>
                <a:cubicBezTo>
                  <a:pt x="4592735" y="6410295"/>
                  <a:pt x="4129612" y="5974543"/>
                  <a:pt x="4120165" y="5970851"/>
                </a:cubicBezTo>
                <a:cubicBezTo>
                  <a:pt x="4113469" y="5968229"/>
                  <a:pt x="4112222" y="6820842"/>
                  <a:pt x="4118918" y="6827538"/>
                </a:cubicBezTo>
                <a:cubicBezTo>
                  <a:pt x="4126480" y="6835108"/>
                  <a:pt x="5032026" y="6832898"/>
                  <a:pt x="5029480" y="6825316"/>
                </a:cubicBezTo>
                <a:close/>
                <a:moveTo>
                  <a:pt x="6053473" y="6825392"/>
                </a:moveTo>
                <a:cubicBezTo>
                  <a:pt x="6050087" y="6815396"/>
                  <a:pt x="5657289" y="6454751"/>
                  <a:pt x="5649778" y="6454751"/>
                </a:cubicBezTo>
                <a:cubicBezTo>
                  <a:pt x="5646188" y="6454751"/>
                  <a:pt x="5558269" y="6532817"/>
                  <a:pt x="5454359" y="6628232"/>
                </a:cubicBezTo>
                <a:cubicBezTo>
                  <a:pt x="5350475" y="6723642"/>
                  <a:pt x="5260851" y="6802736"/>
                  <a:pt x="5255223" y="6803999"/>
                </a:cubicBezTo>
                <a:cubicBezTo>
                  <a:pt x="5229150" y="6809843"/>
                  <a:pt x="5262403" y="6775408"/>
                  <a:pt x="5439973" y="6612825"/>
                </a:cubicBezTo>
                <a:cubicBezTo>
                  <a:pt x="5544697" y="6516928"/>
                  <a:pt x="5629561" y="6436037"/>
                  <a:pt x="5628568" y="6433058"/>
                </a:cubicBezTo>
                <a:cubicBezTo>
                  <a:pt x="5624316" y="6420327"/>
                  <a:pt x="5129060" y="5969273"/>
                  <a:pt x="5121320" y="5971081"/>
                </a:cubicBezTo>
                <a:cubicBezTo>
                  <a:pt x="5112256" y="5973194"/>
                  <a:pt x="4637879" y="6404795"/>
                  <a:pt x="4634569" y="6413936"/>
                </a:cubicBezTo>
                <a:cubicBezTo>
                  <a:pt x="4632558" y="6419487"/>
                  <a:pt x="5034725" y="6800131"/>
                  <a:pt x="5064108" y="6820486"/>
                </a:cubicBezTo>
                <a:cubicBezTo>
                  <a:pt x="5079461" y="6831113"/>
                  <a:pt x="5119080" y="6832020"/>
                  <a:pt x="5568250" y="6832020"/>
                </a:cubicBezTo>
                <a:cubicBezTo>
                  <a:pt x="5884891" y="6832020"/>
                  <a:pt x="6054925" y="6829698"/>
                  <a:pt x="6053473" y="6825392"/>
                </a:cubicBezTo>
                <a:close/>
                <a:moveTo>
                  <a:pt x="6194429" y="6391861"/>
                </a:moveTo>
                <a:cubicBezTo>
                  <a:pt x="6195473" y="6128765"/>
                  <a:pt x="6193717" y="5955982"/>
                  <a:pt x="6189974" y="5957357"/>
                </a:cubicBezTo>
                <a:cubicBezTo>
                  <a:pt x="6180375" y="5960870"/>
                  <a:pt x="5670605" y="6429238"/>
                  <a:pt x="5670605" y="6434534"/>
                </a:cubicBezTo>
                <a:cubicBezTo>
                  <a:pt x="5670605" y="6440645"/>
                  <a:pt x="6072646" y="6812562"/>
                  <a:pt x="6091080" y="6823510"/>
                </a:cubicBezTo>
                <a:cubicBezTo>
                  <a:pt x="6099304" y="6828384"/>
                  <a:pt x="6123315" y="6831182"/>
                  <a:pt x="6148904" y="6830248"/>
                </a:cubicBezTo>
                <a:lnTo>
                  <a:pt x="6192698" y="6828651"/>
                </a:lnTo>
                <a:lnTo>
                  <a:pt x="6194429" y="6391861"/>
                </a:lnTo>
                <a:close/>
                <a:moveTo>
                  <a:pt x="8240685" y="6384018"/>
                </a:moveTo>
                <a:lnTo>
                  <a:pt x="8240685" y="5939406"/>
                </a:lnTo>
                <a:lnTo>
                  <a:pt x="7734048" y="5937675"/>
                </a:lnTo>
                <a:lnTo>
                  <a:pt x="7227385" y="5935943"/>
                </a:lnTo>
                <a:lnTo>
                  <a:pt x="7187869" y="5971361"/>
                </a:lnTo>
                <a:cubicBezTo>
                  <a:pt x="7166150" y="5990839"/>
                  <a:pt x="6952042" y="6185621"/>
                  <a:pt x="6712117" y="6404235"/>
                </a:cubicBezTo>
                <a:cubicBezTo>
                  <a:pt x="6472191" y="6622844"/>
                  <a:pt x="6271578" y="6802685"/>
                  <a:pt x="6266282" y="6803882"/>
                </a:cubicBezTo>
                <a:cubicBezTo>
                  <a:pt x="6250165" y="6807548"/>
                  <a:pt x="6255563" y="6793359"/>
                  <a:pt x="6278606" y="6771612"/>
                </a:cubicBezTo>
                <a:cubicBezTo>
                  <a:pt x="6290649" y="6760241"/>
                  <a:pt x="6501217" y="6568336"/>
                  <a:pt x="6746541" y="6345164"/>
                </a:cubicBezTo>
                <a:lnTo>
                  <a:pt x="7192604" y="5939406"/>
                </a:lnTo>
                <a:lnTo>
                  <a:pt x="7192859" y="5506557"/>
                </a:lnTo>
                <a:cubicBezTo>
                  <a:pt x="7193089" y="5126439"/>
                  <a:pt x="7194336" y="5073734"/>
                  <a:pt x="7203222" y="5073734"/>
                </a:cubicBezTo>
                <a:cubicBezTo>
                  <a:pt x="7212083" y="5073734"/>
                  <a:pt x="7213331" y="5124632"/>
                  <a:pt x="7213331" y="5491408"/>
                </a:cubicBezTo>
                <a:cubicBezTo>
                  <a:pt x="7213331" y="5721123"/>
                  <a:pt x="7215902" y="5909081"/>
                  <a:pt x="7219034" y="5909081"/>
                </a:cubicBezTo>
                <a:cubicBezTo>
                  <a:pt x="7227920" y="5909081"/>
                  <a:pt x="7735168" y="5445500"/>
                  <a:pt x="7737383" y="5435366"/>
                </a:cubicBezTo>
                <a:cubicBezTo>
                  <a:pt x="7739267" y="5426608"/>
                  <a:pt x="7276934" y="4996203"/>
                  <a:pt x="7257659" y="4988793"/>
                </a:cubicBezTo>
                <a:cubicBezTo>
                  <a:pt x="7251497" y="4986425"/>
                  <a:pt x="7203986" y="5025178"/>
                  <a:pt x="7127881" y="5094638"/>
                </a:cubicBezTo>
                <a:cubicBezTo>
                  <a:pt x="6548118" y="5623885"/>
                  <a:pt x="6230890" y="5918095"/>
                  <a:pt x="6224220" y="5932735"/>
                </a:cubicBezTo>
                <a:cubicBezTo>
                  <a:pt x="6218389" y="5945517"/>
                  <a:pt x="6216275" y="6066129"/>
                  <a:pt x="6216275" y="6386590"/>
                </a:cubicBezTo>
                <a:cubicBezTo>
                  <a:pt x="6216275" y="6626635"/>
                  <a:pt x="6218312" y="6825069"/>
                  <a:pt x="6220808" y="6827551"/>
                </a:cubicBezTo>
                <a:cubicBezTo>
                  <a:pt x="6223277" y="6830034"/>
                  <a:pt x="6678762" y="6831297"/>
                  <a:pt x="7232987" y="6830357"/>
                </a:cubicBezTo>
                <a:lnTo>
                  <a:pt x="8240685" y="6828651"/>
                </a:lnTo>
                <a:close/>
                <a:moveTo>
                  <a:pt x="9245859" y="6821048"/>
                </a:moveTo>
                <a:cubicBezTo>
                  <a:pt x="9248991" y="6811650"/>
                  <a:pt x="8798551" y="6397182"/>
                  <a:pt x="8786431" y="6398302"/>
                </a:cubicBezTo>
                <a:cubicBezTo>
                  <a:pt x="8781618" y="6398761"/>
                  <a:pt x="8678600" y="6489710"/>
                  <a:pt x="8557504" y="6600415"/>
                </a:cubicBezTo>
                <a:cubicBezTo>
                  <a:pt x="8436409" y="6711125"/>
                  <a:pt x="8332729" y="6802736"/>
                  <a:pt x="8327127" y="6803999"/>
                </a:cubicBezTo>
                <a:cubicBezTo>
                  <a:pt x="8321067" y="6805361"/>
                  <a:pt x="8317859" y="6802423"/>
                  <a:pt x="8319209" y="6796776"/>
                </a:cubicBezTo>
                <a:cubicBezTo>
                  <a:pt x="8320482" y="6791541"/>
                  <a:pt x="8422328" y="6695280"/>
                  <a:pt x="8545563" y="6582874"/>
                </a:cubicBezTo>
                <a:cubicBezTo>
                  <a:pt x="8763999" y="6383611"/>
                  <a:pt x="8769320" y="6378137"/>
                  <a:pt x="8757786" y="6365253"/>
                </a:cubicBezTo>
                <a:cubicBezTo>
                  <a:pt x="8729371" y="6333553"/>
                  <a:pt x="8282213" y="5925708"/>
                  <a:pt x="8273683" y="5923747"/>
                </a:cubicBezTo>
                <a:cubicBezTo>
                  <a:pt x="8265663" y="5921889"/>
                  <a:pt x="8264262" y="5989235"/>
                  <a:pt x="8264262" y="6372306"/>
                </a:cubicBezTo>
                <a:cubicBezTo>
                  <a:pt x="8264262" y="6620206"/>
                  <a:pt x="8266299" y="6825076"/>
                  <a:pt x="8268794" y="6827572"/>
                </a:cubicBezTo>
                <a:cubicBezTo>
                  <a:pt x="8277121" y="6835918"/>
                  <a:pt x="9243053" y="6829468"/>
                  <a:pt x="9245859" y="6821048"/>
                </a:cubicBezTo>
                <a:close/>
                <a:moveTo>
                  <a:pt x="9420152" y="6823358"/>
                </a:moveTo>
                <a:cubicBezTo>
                  <a:pt x="9442915" y="6810077"/>
                  <a:pt x="9833913" y="6446221"/>
                  <a:pt x="9833913" y="6438328"/>
                </a:cubicBezTo>
                <a:cubicBezTo>
                  <a:pt x="9833913" y="6428144"/>
                  <a:pt x="9325175" y="5967669"/>
                  <a:pt x="9305753" y="5960259"/>
                </a:cubicBezTo>
                <a:cubicBezTo>
                  <a:pt x="9296986" y="5956924"/>
                  <a:pt x="9284910" y="5956083"/>
                  <a:pt x="9278919" y="5958375"/>
                </a:cubicBezTo>
                <a:cubicBezTo>
                  <a:pt x="9269042" y="5962169"/>
                  <a:pt x="9268026" y="6002729"/>
                  <a:pt x="9268026" y="6392803"/>
                </a:cubicBezTo>
                <a:cubicBezTo>
                  <a:pt x="9268026" y="6629429"/>
                  <a:pt x="9270048" y="6825058"/>
                  <a:pt x="9272518" y="6827528"/>
                </a:cubicBezTo>
                <a:cubicBezTo>
                  <a:pt x="9280497" y="6835508"/>
                  <a:pt x="9405374" y="6831982"/>
                  <a:pt x="9420152" y="6823360"/>
                </a:cubicBezTo>
                <a:close/>
                <a:moveTo>
                  <a:pt x="10330800" y="6426132"/>
                </a:moveTo>
                <a:cubicBezTo>
                  <a:pt x="10331755" y="6204743"/>
                  <a:pt x="10330240" y="6023633"/>
                  <a:pt x="10327432" y="6023684"/>
                </a:cubicBezTo>
                <a:cubicBezTo>
                  <a:pt x="10320911" y="6023786"/>
                  <a:pt x="9460789" y="6816890"/>
                  <a:pt x="9457762" y="6825606"/>
                </a:cubicBezTo>
                <a:cubicBezTo>
                  <a:pt x="9456318" y="6829764"/>
                  <a:pt x="9613351" y="6831490"/>
                  <a:pt x="9892281" y="6830383"/>
                </a:cubicBezTo>
                <a:lnTo>
                  <a:pt x="10329064" y="6828649"/>
                </a:lnTo>
                <a:close/>
                <a:moveTo>
                  <a:pt x="11218314" y="6394127"/>
                </a:moveTo>
                <a:lnTo>
                  <a:pt x="11218314" y="5959623"/>
                </a:lnTo>
                <a:lnTo>
                  <a:pt x="10809351" y="5957866"/>
                </a:lnTo>
                <a:lnTo>
                  <a:pt x="10400387" y="5956135"/>
                </a:lnTo>
                <a:lnTo>
                  <a:pt x="10376514" y="5977089"/>
                </a:lnTo>
                <a:lnTo>
                  <a:pt x="10352641" y="5998070"/>
                </a:lnTo>
                <a:lnTo>
                  <a:pt x="10352641" y="6410550"/>
                </a:lnTo>
                <a:cubicBezTo>
                  <a:pt x="10352641" y="6637416"/>
                  <a:pt x="10354683" y="6825079"/>
                  <a:pt x="10357181" y="6827577"/>
                </a:cubicBezTo>
                <a:cubicBezTo>
                  <a:pt x="10359679" y="6830075"/>
                  <a:pt x="10554456" y="6831337"/>
                  <a:pt x="10790017" y="6830383"/>
                </a:cubicBezTo>
                <a:lnTo>
                  <a:pt x="11218314" y="6828649"/>
                </a:lnTo>
                <a:close/>
                <a:moveTo>
                  <a:pt x="9247815" y="6378010"/>
                </a:moveTo>
                <a:cubicBezTo>
                  <a:pt x="9247815" y="6162094"/>
                  <a:pt x="9246017" y="5983633"/>
                  <a:pt x="9243822" y="5981443"/>
                </a:cubicBezTo>
                <a:cubicBezTo>
                  <a:pt x="9238236" y="5975842"/>
                  <a:pt x="8809168" y="6368945"/>
                  <a:pt x="8811434" y="6377577"/>
                </a:cubicBezTo>
                <a:cubicBezTo>
                  <a:pt x="8814362" y="6388653"/>
                  <a:pt x="9237116" y="6776681"/>
                  <a:pt x="9242763" y="6773468"/>
                </a:cubicBezTo>
                <a:cubicBezTo>
                  <a:pt x="9245541" y="6771887"/>
                  <a:pt x="9247815" y="6593932"/>
                  <a:pt x="9247815" y="6378010"/>
                </a:cubicBezTo>
                <a:close/>
                <a:moveTo>
                  <a:pt x="10088252" y="6211719"/>
                </a:moveTo>
                <a:cubicBezTo>
                  <a:pt x="10213287" y="6096556"/>
                  <a:pt x="10319719" y="5996568"/>
                  <a:pt x="10324768" y="5989489"/>
                </a:cubicBezTo>
                <a:cubicBezTo>
                  <a:pt x="10329815" y="5982436"/>
                  <a:pt x="10332186" y="5972048"/>
                  <a:pt x="10330031" y="5966447"/>
                </a:cubicBezTo>
                <a:cubicBezTo>
                  <a:pt x="10326586" y="5957458"/>
                  <a:pt x="10268022" y="5956236"/>
                  <a:pt x="9840861" y="5956236"/>
                </a:cubicBezTo>
                <a:cubicBezTo>
                  <a:pt x="9544400" y="5956236"/>
                  <a:pt x="9355604" y="5958681"/>
                  <a:pt x="9355604" y="5962551"/>
                </a:cubicBezTo>
                <a:cubicBezTo>
                  <a:pt x="9355604" y="5966014"/>
                  <a:pt x="9436697" y="6042424"/>
                  <a:pt x="9535812" y="6132380"/>
                </a:cubicBezTo>
                <a:cubicBezTo>
                  <a:pt x="9634927" y="6222337"/>
                  <a:pt x="9746974" y="6324107"/>
                  <a:pt x="9784807" y="6358506"/>
                </a:cubicBezTo>
                <a:cubicBezTo>
                  <a:pt x="9822641" y="6392930"/>
                  <a:pt x="9855244" y="6421065"/>
                  <a:pt x="9857256" y="6421065"/>
                </a:cubicBezTo>
                <a:cubicBezTo>
                  <a:pt x="9859267" y="6421065"/>
                  <a:pt x="9963217" y="6326857"/>
                  <a:pt x="10088252" y="6211719"/>
                </a:cubicBezTo>
                <a:close/>
                <a:moveTo>
                  <a:pt x="5911244" y="6181038"/>
                </a:moveTo>
                <a:cubicBezTo>
                  <a:pt x="6051233" y="6052711"/>
                  <a:pt x="6166778" y="5945109"/>
                  <a:pt x="6168000" y="5941876"/>
                </a:cubicBezTo>
                <a:cubicBezTo>
                  <a:pt x="6171132" y="5933728"/>
                  <a:pt x="5164783" y="5934466"/>
                  <a:pt x="5151874" y="5942614"/>
                </a:cubicBezTo>
                <a:cubicBezTo>
                  <a:pt x="5139372" y="5950533"/>
                  <a:pt x="5111798" y="5923009"/>
                  <a:pt x="5403029" y="6193208"/>
                </a:cubicBezTo>
                <a:cubicBezTo>
                  <a:pt x="5533520" y="6314304"/>
                  <a:pt x="5643998" y="6413579"/>
                  <a:pt x="5648505" y="6413860"/>
                </a:cubicBezTo>
                <a:cubicBezTo>
                  <a:pt x="5653037" y="6414114"/>
                  <a:pt x="5771256" y="6309339"/>
                  <a:pt x="5911244" y="6181038"/>
                </a:cubicBezTo>
                <a:close/>
                <a:moveTo>
                  <a:pt x="2770441" y="6185239"/>
                </a:moveTo>
                <a:cubicBezTo>
                  <a:pt x="2900117" y="6066664"/>
                  <a:pt x="3007235" y="5966625"/>
                  <a:pt x="3008457" y="5962958"/>
                </a:cubicBezTo>
                <a:cubicBezTo>
                  <a:pt x="3009934" y="5958528"/>
                  <a:pt x="2849856" y="5956236"/>
                  <a:pt x="2541387" y="5956236"/>
                </a:cubicBezTo>
                <a:cubicBezTo>
                  <a:pt x="2197705" y="5956236"/>
                  <a:pt x="2072739" y="5958273"/>
                  <a:pt x="2074572" y="5963798"/>
                </a:cubicBezTo>
                <a:cubicBezTo>
                  <a:pt x="2078391" y="5975256"/>
                  <a:pt x="2519592" y="6400874"/>
                  <a:pt x="2527638" y="6400849"/>
                </a:cubicBezTo>
                <a:cubicBezTo>
                  <a:pt x="2531508" y="6400823"/>
                  <a:pt x="2640764" y="6303814"/>
                  <a:pt x="2770441" y="6185239"/>
                </a:cubicBezTo>
                <a:close/>
                <a:moveTo>
                  <a:pt x="1729872" y="6181980"/>
                </a:moveTo>
                <a:cubicBezTo>
                  <a:pt x="1857537" y="6065289"/>
                  <a:pt x="1963025" y="5966752"/>
                  <a:pt x="1964247" y="5963035"/>
                </a:cubicBezTo>
                <a:cubicBezTo>
                  <a:pt x="1965775" y="5958502"/>
                  <a:pt x="1807122" y="5956236"/>
                  <a:pt x="1490456" y="5956236"/>
                </a:cubicBezTo>
                <a:cubicBezTo>
                  <a:pt x="1188657" y="5956236"/>
                  <a:pt x="1015213" y="5958604"/>
                  <a:pt x="1016638" y="5962729"/>
                </a:cubicBezTo>
                <a:cubicBezTo>
                  <a:pt x="1021094" y="5975587"/>
                  <a:pt x="1477241" y="6393134"/>
                  <a:pt x="1487375" y="6393643"/>
                </a:cubicBezTo>
                <a:cubicBezTo>
                  <a:pt x="1493078" y="6393897"/>
                  <a:pt x="1602206" y="6298671"/>
                  <a:pt x="1729872" y="6181980"/>
                </a:cubicBezTo>
                <a:close/>
                <a:moveTo>
                  <a:pt x="4862196" y="6174367"/>
                </a:moveTo>
                <a:cubicBezTo>
                  <a:pt x="4993732" y="6053755"/>
                  <a:pt x="5101358" y="5952264"/>
                  <a:pt x="5101358" y="5948852"/>
                </a:cubicBezTo>
                <a:cubicBezTo>
                  <a:pt x="5101358" y="5938108"/>
                  <a:pt x="4604829" y="5483947"/>
                  <a:pt x="4595383" y="5486035"/>
                </a:cubicBezTo>
                <a:cubicBezTo>
                  <a:pt x="4587261" y="5487843"/>
                  <a:pt x="4213992" y="5823632"/>
                  <a:pt x="4142521" y="5893397"/>
                </a:cubicBezTo>
                <a:cubicBezTo>
                  <a:pt x="4119911" y="5915447"/>
                  <a:pt x="4114768" y="5924384"/>
                  <a:pt x="4119605" y="5933015"/>
                </a:cubicBezTo>
                <a:cubicBezTo>
                  <a:pt x="4130784" y="5953003"/>
                  <a:pt x="4602538" y="6393363"/>
                  <a:pt x="4612926" y="6393516"/>
                </a:cubicBezTo>
                <a:cubicBezTo>
                  <a:pt x="4618503" y="6393618"/>
                  <a:pt x="4730661" y="6295004"/>
                  <a:pt x="4862196" y="6174367"/>
                </a:cubicBezTo>
                <a:close/>
                <a:moveTo>
                  <a:pt x="9024243" y="6146028"/>
                </a:moveTo>
                <a:cubicBezTo>
                  <a:pt x="9149061" y="6031807"/>
                  <a:pt x="9254939" y="5933779"/>
                  <a:pt x="9259530" y="5928177"/>
                </a:cubicBezTo>
                <a:cubicBezTo>
                  <a:pt x="9266616" y="5919546"/>
                  <a:pt x="9231176" y="5884689"/>
                  <a:pt x="9025083" y="5697622"/>
                </a:cubicBezTo>
                <a:cubicBezTo>
                  <a:pt x="8891562" y="5576424"/>
                  <a:pt x="8777876" y="5475570"/>
                  <a:pt x="8772478" y="5473508"/>
                </a:cubicBezTo>
                <a:cubicBezTo>
                  <a:pt x="8766800" y="5471318"/>
                  <a:pt x="8750657" y="5480484"/>
                  <a:pt x="8734082" y="5495303"/>
                </a:cubicBezTo>
                <a:cubicBezTo>
                  <a:pt x="8562291" y="5649066"/>
                  <a:pt x="8291430" y="5899610"/>
                  <a:pt x="8292805" y="5903480"/>
                </a:cubicBezTo>
                <a:cubicBezTo>
                  <a:pt x="8296726" y="5914505"/>
                  <a:pt x="8780218" y="6353719"/>
                  <a:pt x="8788442" y="6353719"/>
                </a:cubicBezTo>
                <a:cubicBezTo>
                  <a:pt x="8793305" y="6353719"/>
                  <a:pt x="8899430" y="6260275"/>
                  <a:pt x="9024243" y="6146028"/>
                </a:cubicBezTo>
                <a:close/>
                <a:moveTo>
                  <a:pt x="2011428" y="5920412"/>
                </a:moveTo>
                <a:lnTo>
                  <a:pt x="2026119" y="5904753"/>
                </a:lnTo>
                <a:lnTo>
                  <a:pt x="2024388" y="5447155"/>
                </a:lnTo>
                <a:lnTo>
                  <a:pt x="2022656" y="4989532"/>
                </a:lnTo>
                <a:lnTo>
                  <a:pt x="1500563" y="4989532"/>
                </a:lnTo>
                <a:lnTo>
                  <a:pt x="978472" y="4989532"/>
                </a:lnTo>
                <a:lnTo>
                  <a:pt x="976715" y="5454361"/>
                </a:lnTo>
                <a:cubicBezTo>
                  <a:pt x="975772" y="5710022"/>
                  <a:pt x="976434" y="5922983"/>
                  <a:pt x="978191" y="5927617"/>
                </a:cubicBezTo>
                <a:cubicBezTo>
                  <a:pt x="980737" y="5934263"/>
                  <a:pt x="1089153" y="5936045"/>
                  <a:pt x="1489080" y="5936045"/>
                </a:cubicBezTo>
                <a:lnTo>
                  <a:pt x="1996735" y="5936045"/>
                </a:lnTo>
                <a:close/>
                <a:moveTo>
                  <a:pt x="3035421" y="5929527"/>
                </a:moveTo>
                <a:cubicBezTo>
                  <a:pt x="3034173" y="5925937"/>
                  <a:pt x="2923134" y="5821264"/>
                  <a:pt x="2788672" y="5696934"/>
                </a:cubicBezTo>
                <a:cubicBezTo>
                  <a:pt x="2620599" y="5541541"/>
                  <a:pt x="2541362" y="5472489"/>
                  <a:pt x="2535226" y="5476079"/>
                </a:cubicBezTo>
                <a:cubicBezTo>
                  <a:pt x="2524353" y="5482445"/>
                  <a:pt x="2066450" y="5900399"/>
                  <a:pt x="2054865" y="5914530"/>
                </a:cubicBezTo>
                <a:cubicBezTo>
                  <a:pt x="2050358" y="5920055"/>
                  <a:pt x="2048270" y="5927134"/>
                  <a:pt x="2050231" y="5930291"/>
                </a:cubicBezTo>
                <a:cubicBezTo>
                  <a:pt x="2055298" y="5938515"/>
                  <a:pt x="3038247" y="5937751"/>
                  <a:pt x="3035421" y="5929527"/>
                </a:cubicBezTo>
                <a:close/>
                <a:moveTo>
                  <a:pt x="10318958" y="5930545"/>
                </a:moveTo>
                <a:cubicBezTo>
                  <a:pt x="10318958" y="5918960"/>
                  <a:pt x="9812614" y="5470427"/>
                  <a:pt x="9801874" y="5472489"/>
                </a:cubicBezTo>
                <a:cubicBezTo>
                  <a:pt x="9787947" y="5475188"/>
                  <a:pt x="9309608" y="5909743"/>
                  <a:pt x="9308941" y="5920335"/>
                </a:cubicBezTo>
                <a:cubicBezTo>
                  <a:pt x="9308671" y="5924638"/>
                  <a:pt x="9312235" y="5929705"/>
                  <a:pt x="9316867" y="5931589"/>
                </a:cubicBezTo>
                <a:cubicBezTo>
                  <a:pt x="9331263" y="5937395"/>
                  <a:pt x="10318958" y="5936376"/>
                  <a:pt x="10318958" y="5930545"/>
                </a:cubicBezTo>
                <a:close/>
                <a:moveTo>
                  <a:pt x="10469205" y="5859965"/>
                </a:moveTo>
                <a:cubicBezTo>
                  <a:pt x="10514400" y="5818132"/>
                  <a:pt x="10689311" y="5657112"/>
                  <a:pt x="10857898" y="5502152"/>
                </a:cubicBezTo>
                <a:cubicBezTo>
                  <a:pt x="11026485" y="5347192"/>
                  <a:pt x="11177394" y="5207204"/>
                  <a:pt x="11193252" y="5191036"/>
                </a:cubicBezTo>
                <a:lnTo>
                  <a:pt x="11222087" y="5161678"/>
                </a:lnTo>
                <a:lnTo>
                  <a:pt x="11220201" y="5075592"/>
                </a:lnTo>
                <a:lnTo>
                  <a:pt x="11218314" y="4989532"/>
                </a:lnTo>
                <a:lnTo>
                  <a:pt x="10787161" y="4989532"/>
                </a:lnTo>
                <a:lnTo>
                  <a:pt x="10356010" y="4989532"/>
                </a:lnTo>
                <a:lnTo>
                  <a:pt x="10354266" y="5454361"/>
                </a:lnTo>
                <a:cubicBezTo>
                  <a:pt x="10353306" y="5710022"/>
                  <a:pt x="10353971" y="5922983"/>
                  <a:pt x="10355738" y="5927617"/>
                </a:cubicBezTo>
                <a:cubicBezTo>
                  <a:pt x="10363791" y="5948700"/>
                  <a:pt x="10390671" y="5932684"/>
                  <a:pt x="10469203" y="5859965"/>
                </a:cubicBezTo>
                <a:close/>
                <a:moveTo>
                  <a:pt x="11220058" y="5572656"/>
                </a:moveTo>
                <a:cubicBezTo>
                  <a:pt x="11221015" y="5374640"/>
                  <a:pt x="11219498" y="5210488"/>
                  <a:pt x="11216689" y="5207866"/>
                </a:cubicBezTo>
                <a:cubicBezTo>
                  <a:pt x="11211971" y="5203487"/>
                  <a:pt x="10432932" y="5916822"/>
                  <a:pt x="10427850" y="5930189"/>
                </a:cubicBezTo>
                <a:cubicBezTo>
                  <a:pt x="10426552" y="5933626"/>
                  <a:pt x="10594367" y="5935409"/>
                  <a:pt x="10821949" y="5934416"/>
                </a:cubicBezTo>
                <a:lnTo>
                  <a:pt x="11218314" y="5932684"/>
                </a:lnTo>
                <a:close/>
                <a:moveTo>
                  <a:pt x="5127584" y="5911907"/>
                </a:moveTo>
                <a:cubicBezTo>
                  <a:pt x="5133542" y="5896376"/>
                  <a:pt x="5132600" y="4999615"/>
                  <a:pt x="5126616" y="4999793"/>
                </a:cubicBezTo>
                <a:cubicBezTo>
                  <a:pt x="5116737" y="5000124"/>
                  <a:pt x="4623034" y="5454972"/>
                  <a:pt x="4623034" y="5463756"/>
                </a:cubicBezTo>
                <a:cubicBezTo>
                  <a:pt x="4623034" y="5474068"/>
                  <a:pt x="5104159" y="5921710"/>
                  <a:pt x="5115795" y="5922220"/>
                </a:cubicBezTo>
                <a:cubicBezTo>
                  <a:pt x="5120022" y="5922398"/>
                  <a:pt x="5125318" y="5917764"/>
                  <a:pt x="5127584" y="5911907"/>
                </a:cubicBezTo>
                <a:close/>
                <a:moveTo>
                  <a:pt x="6182208" y="5910787"/>
                </a:moveTo>
                <a:cubicBezTo>
                  <a:pt x="6181469" y="5901112"/>
                  <a:pt x="5679365" y="5474577"/>
                  <a:pt x="5668722" y="5474577"/>
                </a:cubicBezTo>
                <a:cubicBezTo>
                  <a:pt x="5658104" y="5474577"/>
                  <a:pt x="5185738" y="5901086"/>
                  <a:pt x="5185611" y="5910787"/>
                </a:cubicBezTo>
                <a:cubicBezTo>
                  <a:pt x="5185585" y="5913562"/>
                  <a:pt x="5409903" y="5915829"/>
                  <a:pt x="5684075" y="5915829"/>
                </a:cubicBezTo>
                <a:cubicBezTo>
                  <a:pt x="5958272" y="5915829"/>
                  <a:pt x="6182412" y="5913562"/>
                  <a:pt x="6182208" y="5910787"/>
                </a:cubicBezTo>
                <a:close/>
                <a:moveTo>
                  <a:pt x="8250768" y="5906281"/>
                </a:moveTo>
                <a:cubicBezTo>
                  <a:pt x="8250768" y="5890443"/>
                  <a:pt x="7767123" y="5449497"/>
                  <a:pt x="7756607" y="5455736"/>
                </a:cubicBezTo>
                <a:cubicBezTo>
                  <a:pt x="7739547" y="5465869"/>
                  <a:pt x="7260485" y="5904829"/>
                  <a:pt x="7260485" y="5910329"/>
                </a:cubicBezTo>
                <a:cubicBezTo>
                  <a:pt x="7260485" y="5913359"/>
                  <a:pt x="7483301" y="5915829"/>
                  <a:pt x="7755639" y="5915829"/>
                </a:cubicBezTo>
                <a:cubicBezTo>
                  <a:pt x="8178737" y="5915829"/>
                  <a:pt x="8250768" y="5914454"/>
                  <a:pt x="8250768" y="5906281"/>
                </a:cubicBezTo>
                <a:close/>
                <a:moveTo>
                  <a:pt x="3050010" y="5457747"/>
                </a:moveTo>
                <a:cubicBezTo>
                  <a:pt x="3050010" y="5213187"/>
                  <a:pt x="3047566" y="5013109"/>
                  <a:pt x="3044561" y="5013109"/>
                </a:cubicBezTo>
                <a:cubicBezTo>
                  <a:pt x="3033333" y="5013109"/>
                  <a:pt x="2564506" y="5446977"/>
                  <a:pt x="2566391" y="5455634"/>
                </a:cubicBezTo>
                <a:cubicBezTo>
                  <a:pt x="2568427" y="5465131"/>
                  <a:pt x="3036236" y="5901468"/>
                  <a:pt x="3044969" y="5902028"/>
                </a:cubicBezTo>
                <a:cubicBezTo>
                  <a:pt x="3047744" y="5902207"/>
                  <a:pt x="3050010" y="5702281"/>
                  <a:pt x="3050010" y="5457747"/>
                </a:cubicBezTo>
                <a:close/>
                <a:moveTo>
                  <a:pt x="3575718" y="5448453"/>
                </a:moveTo>
                <a:cubicBezTo>
                  <a:pt x="3859260" y="5189101"/>
                  <a:pt x="4065728" y="4995413"/>
                  <a:pt x="4062316" y="4992002"/>
                </a:cubicBezTo>
                <a:cubicBezTo>
                  <a:pt x="4058981" y="4988666"/>
                  <a:pt x="3841538" y="4986833"/>
                  <a:pt x="3564999" y="4987800"/>
                </a:cubicBezTo>
                <a:lnTo>
                  <a:pt x="3073588" y="4989532"/>
                </a:lnTo>
                <a:lnTo>
                  <a:pt x="3071856" y="5446519"/>
                </a:lnTo>
                <a:cubicBezTo>
                  <a:pt x="3070736" y="5739990"/>
                  <a:pt x="3072468" y="5902716"/>
                  <a:pt x="3076668" y="5901264"/>
                </a:cubicBezTo>
                <a:cubicBezTo>
                  <a:pt x="3080259" y="5900017"/>
                  <a:pt x="3304856" y="5696247"/>
                  <a:pt x="3575718" y="5448453"/>
                </a:cubicBezTo>
                <a:close/>
                <a:moveTo>
                  <a:pt x="5434830" y="5649448"/>
                </a:moveTo>
                <a:cubicBezTo>
                  <a:pt x="5547829" y="5546328"/>
                  <a:pt x="5640917" y="5457187"/>
                  <a:pt x="5641656" y="5451407"/>
                </a:cubicBezTo>
                <a:cubicBezTo>
                  <a:pt x="5642496" y="5445042"/>
                  <a:pt x="5548542" y="5359821"/>
                  <a:pt x="5403512" y="5235416"/>
                </a:cubicBezTo>
                <a:cubicBezTo>
                  <a:pt x="5271774" y="5122416"/>
                  <a:pt x="5161270" y="5028946"/>
                  <a:pt x="5157934" y="5027699"/>
                </a:cubicBezTo>
                <a:cubicBezTo>
                  <a:pt x="5150856" y="5025076"/>
                  <a:pt x="5149456" y="5890952"/>
                  <a:pt x="5156534" y="5898031"/>
                </a:cubicBezTo>
                <a:cubicBezTo>
                  <a:pt x="5159105" y="5900603"/>
                  <a:pt x="5176547" y="5887923"/>
                  <a:pt x="5195286" y="5869845"/>
                </a:cubicBezTo>
                <a:cubicBezTo>
                  <a:pt x="5214026" y="5851767"/>
                  <a:pt x="5321806" y="5752594"/>
                  <a:pt x="5434830" y="5649448"/>
                </a:cubicBezTo>
                <a:close/>
                <a:moveTo>
                  <a:pt x="6429644" y="5706228"/>
                </a:moveTo>
                <a:cubicBezTo>
                  <a:pt x="6695236" y="5463298"/>
                  <a:pt x="6699997" y="5458638"/>
                  <a:pt x="6690143" y="5452476"/>
                </a:cubicBezTo>
                <a:cubicBezTo>
                  <a:pt x="6685840" y="5449777"/>
                  <a:pt x="6572612" y="5347549"/>
                  <a:pt x="6438505" y="5225307"/>
                </a:cubicBezTo>
                <a:cubicBezTo>
                  <a:pt x="6304424" y="5103040"/>
                  <a:pt x="6190712" y="5002084"/>
                  <a:pt x="6185849" y="5000939"/>
                </a:cubicBezTo>
                <a:cubicBezTo>
                  <a:pt x="6174696" y="4998316"/>
                  <a:pt x="5689167" y="5442674"/>
                  <a:pt x="5692452" y="5452502"/>
                </a:cubicBezTo>
                <a:cubicBezTo>
                  <a:pt x="5695125" y="5460548"/>
                  <a:pt x="6203494" y="5901519"/>
                  <a:pt x="6210699" y="5902028"/>
                </a:cubicBezTo>
                <a:cubicBezTo>
                  <a:pt x="6213195" y="5902207"/>
                  <a:pt x="6311706" y="5814109"/>
                  <a:pt x="6429644" y="5706228"/>
                </a:cubicBezTo>
                <a:close/>
                <a:moveTo>
                  <a:pt x="9537663" y="5677405"/>
                </a:moveTo>
                <a:cubicBezTo>
                  <a:pt x="9671296" y="5555520"/>
                  <a:pt x="9779738" y="5451840"/>
                  <a:pt x="9778643" y="5446977"/>
                </a:cubicBezTo>
                <a:cubicBezTo>
                  <a:pt x="9776466" y="5437352"/>
                  <a:pt x="9290921" y="4999436"/>
                  <a:pt x="9283000" y="4999971"/>
                </a:cubicBezTo>
                <a:cubicBezTo>
                  <a:pt x="9275833" y="5000429"/>
                  <a:pt x="8794477" y="5439618"/>
                  <a:pt x="8791701" y="5448199"/>
                </a:cubicBezTo>
                <a:cubicBezTo>
                  <a:pt x="8788926" y="5456754"/>
                  <a:pt x="9279940" y="5904014"/>
                  <a:pt x="9288760" y="5901010"/>
                </a:cubicBezTo>
                <a:cubicBezTo>
                  <a:pt x="9292021" y="5899915"/>
                  <a:pt x="9404027" y="5799265"/>
                  <a:pt x="9537663" y="5677405"/>
                </a:cubicBezTo>
                <a:close/>
                <a:moveTo>
                  <a:pt x="10332432" y="5443870"/>
                </a:moveTo>
                <a:cubicBezTo>
                  <a:pt x="10332432" y="5136777"/>
                  <a:pt x="10330202" y="4992893"/>
                  <a:pt x="10325441" y="4992893"/>
                </a:cubicBezTo>
                <a:cubicBezTo>
                  <a:pt x="10313965" y="4992893"/>
                  <a:pt x="9830544" y="5438014"/>
                  <a:pt x="9830544" y="5448581"/>
                </a:cubicBezTo>
                <a:cubicBezTo>
                  <a:pt x="9830544" y="5459784"/>
                  <a:pt x="10319763" y="5902054"/>
                  <a:pt x="10327378" y="5897700"/>
                </a:cubicBezTo>
                <a:cubicBezTo>
                  <a:pt x="10330159" y="5896121"/>
                  <a:pt x="10332432" y="5691893"/>
                  <a:pt x="10332432" y="5443870"/>
                </a:cubicBezTo>
                <a:close/>
                <a:moveTo>
                  <a:pt x="2275719" y="5682828"/>
                </a:moveTo>
                <a:cubicBezTo>
                  <a:pt x="2395899" y="5573190"/>
                  <a:pt x="2506352" y="5471700"/>
                  <a:pt x="2521171" y="5457263"/>
                </a:cubicBezTo>
                <a:cubicBezTo>
                  <a:pt x="2535989" y="5442852"/>
                  <a:pt x="2654998" y="5333749"/>
                  <a:pt x="2785591" y="5214817"/>
                </a:cubicBezTo>
                <a:cubicBezTo>
                  <a:pt x="2916209" y="5095885"/>
                  <a:pt x="3023072" y="4995744"/>
                  <a:pt x="3023072" y="4992333"/>
                </a:cubicBezTo>
                <a:cubicBezTo>
                  <a:pt x="3023072" y="4988513"/>
                  <a:pt x="2832084" y="4986756"/>
                  <a:pt x="2536346" y="4987800"/>
                </a:cubicBezTo>
                <a:lnTo>
                  <a:pt x="2049594" y="4989532"/>
                </a:lnTo>
                <a:lnTo>
                  <a:pt x="2047863" y="5435850"/>
                </a:lnTo>
                <a:cubicBezTo>
                  <a:pt x="2046921" y="5681301"/>
                  <a:pt x="2048627" y="5882143"/>
                  <a:pt x="2051682" y="5882143"/>
                </a:cubicBezTo>
                <a:cubicBezTo>
                  <a:pt x="2054738" y="5882143"/>
                  <a:pt x="2155566" y="5792441"/>
                  <a:pt x="2275719" y="5682828"/>
                </a:cubicBezTo>
                <a:close/>
                <a:moveTo>
                  <a:pt x="4347845" y="5677252"/>
                </a:moveTo>
                <a:cubicBezTo>
                  <a:pt x="4469552" y="5566418"/>
                  <a:pt x="4571271" y="5472209"/>
                  <a:pt x="4573868" y="5467906"/>
                </a:cubicBezTo>
                <a:cubicBezTo>
                  <a:pt x="4576796" y="5463068"/>
                  <a:pt x="4492518" y="5380776"/>
                  <a:pt x="4352479" y="5251762"/>
                </a:cubicBezTo>
                <a:cubicBezTo>
                  <a:pt x="4228124" y="5137184"/>
                  <a:pt x="4123679" y="5042416"/>
                  <a:pt x="4120395" y="5041168"/>
                </a:cubicBezTo>
                <a:cubicBezTo>
                  <a:pt x="4116958" y="5039895"/>
                  <a:pt x="4114412" y="5218636"/>
                  <a:pt x="4114412" y="5461108"/>
                </a:cubicBezTo>
                <a:cubicBezTo>
                  <a:pt x="4114412" y="5708545"/>
                  <a:pt x="4116932" y="5882346"/>
                  <a:pt x="4120472" y="5881022"/>
                </a:cubicBezTo>
                <a:cubicBezTo>
                  <a:pt x="4123807" y="5879800"/>
                  <a:pt x="4226138" y="5788087"/>
                  <a:pt x="4347845" y="5677252"/>
                </a:cubicBezTo>
                <a:close/>
                <a:moveTo>
                  <a:pt x="8391189" y="5779099"/>
                </a:moveTo>
                <a:cubicBezTo>
                  <a:pt x="8452908" y="5722422"/>
                  <a:pt x="8556461" y="5627882"/>
                  <a:pt x="8621286" y="5569040"/>
                </a:cubicBezTo>
                <a:cubicBezTo>
                  <a:pt x="8686137" y="5510173"/>
                  <a:pt x="8741313" y="5458562"/>
                  <a:pt x="8743910" y="5454361"/>
                </a:cubicBezTo>
                <a:cubicBezTo>
                  <a:pt x="8746761" y="5449676"/>
                  <a:pt x="8660217" y="5366543"/>
                  <a:pt x="8521578" y="5240788"/>
                </a:cubicBezTo>
                <a:cubicBezTo>
                  <a:pt x="8396714" y="5127534"/>
                  <a:pt x="8286261" y="5026578"/>
                  <a:pt x="8276102" y="5016419"/>
                </a:cubicBezTo>
                <a:lnTo>
                  <a:pt x="8257668" y="4997934"/>
                </a:lnTo>
                <a:lnTo>
                  <a:pt x="8228947" y="5023676"/>
                </a:lnTo>
                <a:cubicBezTo>
                  <a:pt x="8000887" y="5228261"/>
                  <a:pt x="7785913" y="5428772"/>
                  <a:pt x="7787416" y="5435494"/>
                </a:cubicBezTo>
                <a:cubicBezTo>
                  <a:pt x="7789707" y="5445856"/>
                  <a:pt x="8263728" y="5882143"/>
                  <a:pt x="8272665" y="5882143"/>
                </a:cubicBezTo>
                <a:cubicBezTo>
                  <a:pt x="8276128" y="5882143"/>
                  <a:pt x="8329470" y="5835777"/>
                  <a:pt x="8391189" y="5779099"/>
                </a:cubicBezTo>
                <a:close/>
                <a:moveTo>
                  <a:pt x="4843941" y="5224976"/>
                </a:moveTo>
                <a:cubicBezTo>
                  <a:pt x="4976239" y="5104364"/>
                  <a:pt x="5084502" y="5002797"/>
                  <a:pt x="5084502" y="4999284"/>
                </a:cubicBezTo>
                <a:cubicBezTo>
                  <a:pt x="5084502" y="4995311"/>
                  <a:pt x="4901713" y="4992893"/>
                  <a:pt x="4602334" y="4992893"/>
                </a:cubicBezTo>
                <a:cubicBezTo>
                  <a:pt x="4180637" y="4992893"/>
                  <a:pt x="4120446" y="4994140"/>
                  <a:pt x="4122355" y="5002848"/>
                </a:cubicBezTo>
                <a:cubicBezTo>
                  <a:pt x="4124851" y="5014332"/>
                  <a:pt x="4585835" y="5443208"/>
                  <a:pt x="4596351" y="5443845"/>
                </a:cubicBezTo>
                <a:cubicBezTo>
                  <a:pt x="4600195" y="5444074"/>
                  <a:pt x="4711616" y="5345588"/>
                  <a:pt x="4843941" y="5224976"/>
                </a:cubicBezTo>
                <a:close/>
                <a:moveTo>
                  <a:pt x="6959248" y="5220622"/>
                </a:moveTo>
                <a:cubicBezTo>
                  <a:pt x="7093431" y="5097617"/>
                  <a:pt x="7204139" y="4994802"/>
                  <a:pt x="7205259" y="4992180"/>
                </a:cubicBezTo>
                <a:cubicBezTo>
                  <a:pt x="7206379" y="4989557"/>
                  <a:pt x="7204113" y="4985432"/>
                  <a:pt x="7200192" y="4983013"/>
                </a:cubicBezTo>
                <a:cubicBezTo>
                  <a:pt x="7196296" y="4980594"/>
                  <a:pt x="7193114" y="4966998"/>
                  <a:pt x="7193114" y="4952765"/>
                </a:cubicBezTo>
                <a:cubicBezTo>
                  <a:pt x="7193114" y="4929798"/>
                  <a:pt x="7188378" y="4922364"/>
                  <a:pt x="7151000" y="4886692"/>
                </a:cubicBezTo>
                <a:cubicBezTo>
                  <a:pt x="7058116" y="4798009"/>
                  <a:pt x="6737858" y="4505963"/>
                  <a:pt x="6730296" y="4503035"/>
                </a:cubicBezTo>
                <a:cubicBezTo>
                  <a:pt x="6725840" y="4501329"/>
                  <a:pt x="6609150" y="4603634"/>
                  <a:pt x="6470944" y="4730357"/>
                </a:cubicBezTo>
                <a:cubicBezTo>
                  <a:pt x="6235856" y="4945916"/>
                  <a:pt x="6219764" y="4962135"/>
                  <a:pt x="6221546" y="4981537"/>
                </a:cubicBezTo>
                <a:cubicBezTo>
                  <a:pt x="6222590" y="4992943"/>
                  <a:pt x="6224092" y="5002670"/>
                  <a:pt x="6224907" y="5003128"/>
                </a:cubicBezTo>
                <a:cubicBezTo>
                  <a:pt x="6232393" y="5007406"/>
                  <a:pt x="6698520" y="5434602"/>
                  <a:pt x="6700201" y="5438752"/>
                </a:cubicBezTo>
                <a:cubicBezTo>
                  <a:pt x="6701448" y="5441783"/>
                  <a:pt x="6705344" y="5444252"/>
                  <a:pt x="6708858" y="5444252"/>
                </a:cubicBezTo>
                <a:cubicBezTo>
                  <a:pt x="6712397" y="5444252"/>
                  <a:pt x="6825065" y="5343628"/>
                  <a:pt x="6959248" y="5220622"/>
                </a:cubicBezTo>
                <a:close/>
                <a:moveTo>
                  <a:pt x="5906381" y="5218356"/>
                </a:moveTo>
                <a:cubicBezTo>
                  <a:pt x="6034224" y="5101512"/>
                  <a:pt x="6139814" y="5003001"/>
                  <a:pt x="6141062" y="4999411"/>
                </a:cubicBezTo>
                <a:cubicBezTo>
                  <a:pt x="6142487" y="4995261"/>
                  <a:pt x="5966216" y="4992893"/>
                  <a:pt x="5653775" y="4992893"/>
                </a:cubicBezTo>
                <a:cubicBezTo>
                  <a:pt x="5327815" y="4992893"/>
                  <a:pt x="5164987" y="4995159"/>
                  <a:pt x="5166489" y="4999691"/>
                </a:cubicBezTo>
                <a:cubicBezTo>
                  <a:pt x="5169698" y="5009341"/>
                  <a:pt x="5659097" y="5430528"/>
                  <a:pt x="5667245" y="5430656"/>
                </a:cubicBezTo>
                <a:cubicBezTo>
                  <a:pt x="5670936" y="5430707"/>
                  <a:pt x="5778563" y="5335174"/>
                  <a:pt x="5906381" y="5218356"/>
                </a:cubicBezTo>
                <a:close/>
                <a:moveTo>
                  <a:pt x="9012251" y="5214155"/>
                </a:moveTo>
                <a:cubicBezTo>
                  <a:pt x="9143658" y="5095019"/>
                  <a:pt x="9252194" y="4994980"/>
                  <a:pt x="9253429" y="4991849"/>
                </a:cubicBezTo>
                <a:cubicBezTo>
                  <a:pt x="9254664" y="4988717"/>
                  <a:pt x="9036900" y="4986171"/>
                  <a:pt x="8769499" y="4986171"/>
                </a:cubicBezTo>
                <a:cubicBezTo>
                  <a:pt x="8423932" y="4986171"/>
                  <a:pt x="8284046" y="4988259"/>
                  <a:pt x="8285777" y="4993453"/>
                </a:cubicBezTo>
                <a:cubicBezTo>
                  <a:pt x="8289189" y="5003714"/>
                  <a:pt x="8757888" y="5429815"/>
                  <a:pt x="8766341" y="5430350"/>
                </a:cubicBezTo>
                <a:cubicBezTo>
                  <a:pt x="8770161" y="5430605"/>
                  <a:pt x="8880817" y="5333316"/>
                  <a:pt x="9012251" y="5214155"/>
                </a:cubicBezTo>
                <a:close/>
                <a:moveTo>
                  <a:pt x="10058892" y="5201984"/>
                </a:moveTo>
                <a:cubicBezTo>
                  <a:pt x="10194756" y="5077986"/>
                  <a:pt x="10305061" y="4972905"/>
                  <a:pt x="10304017" y="4968475"/>
                </a:cubicBezTo>
                <a:cubicBezTo>
                  <a:pt x="10302971" y="4964045"/>
                  <a:pt x="10203591" y="4870346"/>
                  <a:pt x="10083172" y="4760249"/>
                </a:cubicBezTo>
                <a:cubicBezTo>
                  <a:pt x="9962751" y="4650153"/>
                  <a:pt x="9853190" y="4549554"/>
                  <a:pt x="9839700" y="4536695"/>
                </a:cubicBezTo>
                <a:lnTo>
                  <a:pt x="9815170" y="4513296"/>
                </a:lnTo>
                <a:lnTo>
                  <a:pt x="9561488" y="4743877"/>
                </a:lnTo>
                <a:cubicBezTo>
                  <a:pt x="9421963" y="4870728"/>
                  <a:pt x="9308706" y="4978634"/>
                  <a:pt x="9309809" y="4983701"/>
                </a:cubicBezTo>
                <a:cubicBezTo>
                  <a:pt x="9312551" y="4996330"/>
                  <a:pt x="9794972" y="5430452"/>
                  <a:pt x="9804364" y="5428772"/>
                </a:cubicBezTo>
                <a:cubicBezTo>
                  <a:pt x="9808492" y="5428033"/>
                  <a:pt x="9923029" y="5325983"/>
                  <a:pt x="10058892" y="5201984"/>
                </a:cubicBezTo>
                <a:close/>
                <a:moveTo>
                  <a:pt x="8000836" y="5202366"/>
                </a:moveTo>
                <a:cubicBezTo>
                  <a:pt x="8126642" y="5087865"/>
                  <a:pt x="8227776" y="4992358"/>
                  <a:pt x="8225586" y="4990168"/>
                </a:cubicBezTo>
                <a:cubicBezTo>
                  <a:pt x="8219068" y="4983625"/>
                  <a:pt x="7299544" y="4985560"/>
                  <a:pt x="7302014" y="4992103"/>
                </a:cubicBezTo>
                <a:cubicBezTo>
                  <a:pt x="7306749" y="5004554"/>
                  <a:pt x="7753577" y="5410567"/>
                  <a:pt x="7762590" y="5410567"/>
                </a:cubicBezTo>
                <a:cubicBezTo>
                  <a:pt x="7767810" y="5410567"/>
                  <a:pt x="7875004" y="5316893"/>
                  <a:pt x="8000836" y="5202366"/>
                </a:cubicBezTo>
                <a:close/>
                <a:moveTo>
                  <a:pt x="5123586" y="4964605"/>
                </a:moveTo>
                <a:cubicBezTo>
                  <a:pt x="5129697" y="4958469"/>
                  <a:pt x="5131658" y="4848295"/>
                  <a:pt x="5131658" y="4509884"/>
                </a:cubicBezTo>
                <a:cubicBezTo>
                  <a:pt x="5131658" y="4264230"/>
                  <a:pt x="5129366" y="4063235"/>
                  <a:pt x="5126565" y="4063235"/>
                </a:cubicBezTo>
                <a:cubicBezTo>
                  <a:pt x="5117654" y="4063235"/>
                  <a:pt x="4650253" y="4493639"/>
                  <a:pt x="4643964" y="4507618"/>
                </a:cubicBezTo>
                <a:cubicBezTo>
                  <a:pt x="4640654" y="4515002"/>
                  <a:pt x="4631844" y="4522971"/>
                  <a:pt x="4624384" y="4525339"/>
                </a:cubicBezTo>
                <a:cubicBezTo>
                  <a:pt x="4608547" y="4530355"/>
                  <a:pt x="4141375" y="4956890"/>
                  <a:pt x="4141375" y="4966336"/>
                </a:cubicBezTo>
                <a:cubicBezTo>
                  <a:pt x="4141375" y="4976470"/>
                  <a:pt x="5113402" y="4974789"/>
                  <a:pt x="5123586" y="4964605"/>
                </a:cubicBezTo>
                <a:close/>
                <a:moveTo>
                  <a:pt x="6148904" y="4966871"/>
                </a:moveTo>
                <a:cubicBezTo>
                  <a:pt x="6148904" y="4959869"/>
                  <a:pt x="5664495" y="4517955"/>
                  <a:pt x="5656805" y="4517955"/>
                </a:cubicBezTo>
                <a:cubicBezTo>
                  <a:pt x="5648938" y="4517955"/>
                  <a:pt x="5165343" y="4959411"/>
                  <a:pt x="5165343" y="4966616"/>
                </a:cubicBezTo>
                <a:cubicBezTo>
                  <a:pt x="5165343" y="4970181"/>
                  <a:pt x="5369266" y="4972701"/>
                  <a:pt x="5657136" y="4972701"/>
                </a:cubicBezTo>
                <a:cubicBezTo>
                  <a:pt x="5928253" y="4972701"/>
                  <a:pt x="6148904" y="4970079"/>
                  <a:pt x="6148904" y="4966871"/>
                </a:cubicBezTo>
                <a:close/>
                <a:moveTo>
                  <a:pt x="4032451" y="4960200"/>
                </a:moveTo>
                <a:cubicBezTo>
                  <a:pt x="4028300" y="4949582"/>
                  <a:pt x="3576023" y="4534811"/>
                  <a:pt x="3568614" y="4534811"/>
                </a:cubicBezTo>
                <a:cubicBezTo>
                  <a:pt x="3559372" y="4534811"/>
                  <a:pt x="3103913" y="4951314"/>
                  <a:pt x="3103913" y="4959767"/>
                </a:cubicBezTo>
                <a:cubicBezTo>
                  <a:pt x="3103913" y="4963459"/>
                  <a:pt x="3290674" y="4965954"/>
                  <a:pt x="3569302" y="4965954"/>
                </a:cubicBezTo>
                <a:cubicBezTo>
                  <a:pt x="3825268" y="4965954"/>
                  <a:pt x="4033698" y="4963357"/>
                  <a:pt x="4032451" y="4960200"/>
                </a:cubicBezTo>
                <a:close/>
                <a:moveTo>
                  <a:pt x="4133049" y="4937310"/>
                </a:moveTo>
                <a:cubicBezTo>
                  <a:pt x="4251446" y="4835285"/>
                  <a:pt x="4599559" y="4510266"/>
                  <a:pt x="4598005" y="4503239"/>
                </a:cubicBezTo>
                <a:cubicBezTo>
                  <a:pt x="4595663" y="4492774"/>
                  <a:pt x="4110007" y="4043018"/>
                  <a:pt x="4101069" y="4043018"/>
                </a:cubicBezTo>
                <a:cubicBezTo>
                  <a:pt x="4082635" y="4043018"/>
                  <a:pt x="4080904" y="4082662"/>
                  <a:pt x="4080726" y="4512303"/>
                </a:cubicBezTo>
                <a:cubicBezTo>
                  <a:pt x="4080624" y="4756252"/>
                  <a:pt x="4080573" y="4958112"/>
                  <a:pt x="4080624" y="4960913"/>
                </a:cubicBezTo>
                <a:cubicBezTo>
                  <a:pt x="4080853" y="4973389"/>
                  <a:pt x="4102521" y="4963637"/>
                  <a:pt x="4133049" y="4937310"/>
                </a:cubicBezTo>
                <a:close/>
                <a:moveTo>
                  <a:pt x="7226800" y="4959207"/>
                </a:moveTo>
                <a:cubicBezTo>
                  <a:pt x="7226800" y="4955515"/>
                  <a:pt x="7223592" y="4952485"/>
                  <a:pt x="7219670" y="4952485"/>
                </a:cubicBezTo>
                <a:cubicBezTo>
                  <a:pt x="7215724" y="4952485"/>
                  <a:pt x="7214400" y="4955515"/>
                  <a:pt x="7216691" y="4959207"/>
                </a:cubicBezTo>
                <a:cubicBezTo>
                  <a:pt x="7218983" y="4962924"/>
                  <a:pt x="7222191" y="4965954"/>
                  <a:pt x="7223821" y="4965954"/>
                </a:cubicBezTo>
                <a:cubicBezTo>
                  <a:pt x="7225450" y="4965954"/>
                  <a:pt x="7226800" y="4962924"/>
                  <a:pt x="7226800" y="4959207"/>
                </a:cubicBezTo>
                <a:close/>
                <a:moveTo>
                  <a:pt x="8235669" y="4526383"/>
                </a:moveTo>
                <a:cubicBezTo>
                  <a:pt x="8236840" y="4231766"/>
                  <a:pt x="8235159" y="4090173"/>
                  <a:pt x="8230500" y="4090173"/>
                </a:cubicBezTo>
                <a:cubicBezTo>
                  <a:pt x="8221843" y="4090173"/>
                  <a:pt x="7280676" y="4952307"/>
                  <a:pt x="7280676" y="4960225"/>
                </a:cubicBezTo>
                <a:cubicBezTo>
                  <a:pt x="7280676" y="4963459"/>
                  <a:pt x="7493587" y="4965267"/>
                  <a:pt x="7757320" y="4964325"/>
                </a:cubicBezTo>
                <a:lnTo>
                  <a:pt x="8233938" y="4962593"/>
                </a:lnTo>
                <a:close/>
                <a:moveTo>
                  <a:pt x="9239955" y="4960225"/>
                </a:moveTo>
                <a:cubicBezTo>
                  <a:pt x="9237434" y="4953783"/>
                  <a:pt x="8786125" y="4547618"/>
                  <a:pt x="8773165" y="4540107"/>
                </a:cubicBezTo>
                <a:cubicBezTo>
                  <a:pt x="8764865" y="4535295"/>
                  <a:pt x="8304670" y="4947698"/>
                  <a:pt x="8304670" y="4959971"/>
                </a:cubicBezTo>
                <a:cubicBezTo>
                  <a:pt x="8304670" y="4963408"/>
                  <a:pt x="8504442" y="4965954"/>
                  <a:pt x="8773445" y="4965954"/>
                </a:cubicBezTo>
                <a:cubicBezTo>
                  <a:pt x="9031258" y="4965954"/>
                  <a:pt x="9241192" y="4963382"/>
                  <a:pt x="9239955" y="4960225"/>
                </a:cubicBezTo>
                <a:close/>
                <a:moveTo>
                  <a:pt x="11220216" y="4890995"/>
                </a:moveTo>
                <a:lnTo>
                  <a:pt x="11222118" y="4819422"/>
                </a:lnTo>
                <a:lnTo>
                  <a:pt x="11048428" y="4660184"/>
                </a:lnTo>
                <a:cubicBezTo>
                  <a:pt x="10952899" y="4572622"/>
                  <a:pt x="10858064" y="4484702"/>
                  <a:pt x="10837687" y="4464817"/>
                </a:cubicBezTo>
                <a:cubicBezTo>
                  <a:pt x="10755130" y="4384281"/>
                  <a:pt x="10361202" y="4024253"/>
                  <a:pt x="10347758" y="4017073"/>
                </a:cubicBezTo>
                <a:cubicBezTo>
                  <a:pt x="10337270" y="4011446"/>
                  <a:pt x="10197766" y="4009332"/>
                  <a:pt x="9838203" y="4009332"/>
                </a:cubicBezTo>
                <a:cubicBezTo>
                  <a:pt x="9387159" y="4009332"/>
                  <a:pt x="9342102" y="4010325"/>
                  <a:pt x="9331981" y="4020459"/>
                </a:cubicBezTo>
                <a:cubicBezTo>
                  <a:pt x="9321656" y="4030771"/>
                  <a:pt x="9321980" y="4032630"/>
                  <a:pt x="9336551" y="4046583"/>
                </a:cubicBezTo>
                <a:cubicBezTo>
                  <a:pt x="9345178" y="4054858"/>
                  <a:pt x="9449242" y="4150212"/>
                  <a:pt x="9567810" y="4258501"/>
                </a:cubicBezTo>
                <a:cubicBezTo>
                  <a:pt x="9686377" y="4366815"/>
                  <a:pt x="9798544" y="4469400"/>
                  <a:pt x="9817070" y="4486510"/>
                </a:cubicBezTo>
                <a:cubicBezTo>
                  <a:pt x="9835596" y="4503621"/>
                  <a:pt x="9960653" y="4618529"/>
                  <a:pt x="10094974" y="4741840"/>
                </a:cubicBezTo>
                <a:lnTo>
                  <a:pt x="10339195" y="4966056"/>
                </a:lnTo>
                <a:lnTo>
                  <a:pt x="10778753" y="4964325"/>
                </a:lnTo>
                <a:lnTo>
                  <a:pt x="11218311" y="4962593"/>
                </a:lnTo>
                <a:close/>
                <a:moveTo>
                  <a:pt x="6448817" y="4721827"/>
                </a:moveTo>
                <a:cubicBezTo>
                  <a:pt x="6591428" y="4591285"/>
                  <a:pt x="6707355" y="4482386"/>
                  <a:pt x="6706413" y="4479839"/>
                </a:cubicBezTo>
                <a:cubicBezTo>
                  <a:pt x="6705471" y="4477293"/>
                  <a:pt x="6592523" y="4372213"/>
                  <a:pt x="6455437" y="4246305"/>
                </a:cubicBezTo>
                <a:cubicBezTo>
                  <a:pt x="6265697" y="4072044"/>
                  <a:pt x="6203774" y="4018804"/>
                  <a:pt x="6196084" y="4023285"/>
                </a:cubicBezTo>
                <a:cubicBezTo>
                  <a:pt x="6175562" y="4035252"/>
                  <a:pt x="5680714" y="4491628"/>
                  <a:pt x="5680714" y="4498579"/>
                </a:cubicBezTo>
                <a:cubicBezTo>
                  <a:pt x="5680714" y="4506727"/>
                  <a:pt x="6174900" y="4959207"/>
                  <a:pt x="6183786" y="4959207"/>
                </a:cubicBezTo>
                <a:cubicBezTo>
                  <a:pt x="6186944" y="4959207"/>
                  <a:pt x="6306206" y="4852395"/>
                  <a:pt x="6448817" y="4721827"/>
                </a:cubicBezTo>
                <a:close/>
                <a:moveTo>
                  <a:pt x="9288235" y="4514595"/>
                </a:moveTo>
                <a:cubicBezTo>
                  <a:pt x="9288235" y="4240677"/>
                  <a:pt x="9285796" y="4069956"/>
                  <a:pt x="9281885" y="4069956"/>
                </a:cubicBezTo>
                <a:cubicBezTo>
                  <a:pt x="9271436" y="4069956"/>
                  <a:pt x="8793076" y="4508815"/>
                  <a:pt x="8793076" y="4518414"/>
                </a:cubicBezTo>
                <a:cubicBezTo>
                  <a:pt x="8793076" y="4528878"/>
                  <a:pt x="9267550" y="4958163"/>
                  <a:pt x="9279815" y="4958800"/>
                </a:cubicBezTo>
                <a:cubicBezTo>
                  <a:pt x="9286471" y="4959131"/>
                  <a:pt x="9288235" y="4866017"/>
                  <a:pt x="9288235" y="4514595"/>
                </a:cubicBezTo>
                <a:close/>
                <a:moveTo>
                  <a:pt x="8368935" y="4867163"/>
                </a:moveTo>
                <a:cubicBezTo>
                  <a:pt x="8420673" y="4820237"/>
                  <a:pt x="8543322" y="4708536"/>
                  <a:pt x="8641503" y="4618937"/>
                </a:cubicBezTo>
                <a:cubicBezTo>
                  <a:pt x="8739709" y="4529337"/>
                  <a:pt x="8923873" y="4361468"/>
                  <a:pt x="9050767" y="4245872"/>
                </a:cubicBezTo>
                <a:cubicBezTo>
                  <a:pt x="9177670" y="4130250"/>
                  <a:pt x="9281500" y="4033139"/>
                  <a:pt x="9281500" y="4030058"/>
                </a:cubicBezTo>
                <a:cubicBezTo>
                  <a:pt x="9281500" y="4023413"/>
                  <a:pt x="8804254" y="3584911"/>
                  <a:pt x="8791854" y="3580150"/>
                </a:cubicBezTo>
                <a:cubicBezTo>
                  <a:pt x="8784776" y="3577425"/>
                  <a:pt x="8340775" y="3976028"/>
                  <a:pt x="8282773" y="4037162"/>
                </a:cubicBezTo>
                <a:lnTo>
                  <a:pt x="8264262" y="4056717"/>
                </a:lnTo>
                <a:lnTo>
                  <a:pt x="8264262" y="4504588"/>
                </a:lnTo>
                <a:cubicBezTo>
                  <a:pt x="8264262" y="4750930"/>
                  <a:pt x="8266656" y="4952485"/>
                  <a:pt x="8269584" y="4952485"/>
                </a:cubicBezTo>
                <a:cubicBezTo>
                  <a:pt x="8272512" y="4952485"/>
                  <a:pt x="8317223" y="4914089"/>
                  <a:pt x="8368935" y="4867163"/>
                </a:cubicBezTo>
                <a:close/>
                <a:moveTo>
                  <a:pt x="4060535" y="4517242"/>
                </a:moveTo>
                <a:cubicBezTo>
                  <a:pt x="4060535" y="4142064"/>
                  <a:pt x="4059287" y="4089206"/>
                  <a:pt x="4050579" y="4092541"/>
                </a:cubicBezTo>
                <a:cubicBezTo>
                  <a:pt x="4034130" y="4098856"/>
                  <a:pt x="3588373" y="4509477"/>
                  <a:pt x="3590638" y="4516249"/>
                </a:cubicBezTo>
                <a:cubicBezTo>
                  <a:pt x="3593363" y="4524499"/>
                  <a:pt x="4048924" y="4945127"/>
                  <a:pt x="4055468" y="4945483"/>
                </a:cubicBezTo>
                <a:cubicBezTo>
                  <a:pt x="4058243" y="4945636"/>
                  <a:pt x="4060535" y="4752916"/>
                  <a:pt x="4060535" y="4517242"/>
                </a:cubicBezTo>
                <a:close/>
                <a:moveTo>
                  <a:pt x="7501964" y="4722897"/>
                </a:moveTo>
                <a:cubicBezTo>
                  <a:pt x="7635918" y="4600324"/>
                  <a:pt x="7745531" y="4496313"/>
                  <a:pt x="7745531" y="4491730"/>
                </a:cubicBezTo>
                <a:cubicBezTo>
                  <a:pt x="7745531" y="4481952"/>
                  <a:pt x="7258245" y="4033877"/>
                  <a:pt x="7244317" y="4030847"/>
                </a:cubicBezTo>
                <a:cubicBezTo>
                  <a:pt x="7239098" y="4029727"/>
                  <a:pt x="7229982" y="4035711"/>
                  <a:pt x="7224075" y="4044138"/>
                </a:cubicBezTo>
                <a:cubicBezTo>
                  <a:pt x="7214501" y="4057811"/>
                  <a:pt x="7213331" y="4106469"/>
                  <a:pt x="7213331" y="4486077"/>
                </a:cubicBezTo>
                <a:lnTo>
                  <a:pt x="7213331" y="4912663"/>
                </a:lnTo>
                <a:lnTo>
                  <a:pt x="7229855" y="4929213"/>
                </a:lnTo>
                <a:cubicBezTo>
                  <a:pt x="7238945" y="4938303"/>
                  <a:pt x="7249104" y="4945738"/>
                  <a:pt x="7252414" y="4945738"/>
                </a:cubicBezTo>
                <a:cubicBezTo>
                  <a:pt x="7255699" y="4945738"/>
                  <a:pt x="7368010" y="4845469"/>
                  <a:pt x="7501964" y="4722897"/>
                </a:cubicBezTo>
                <a:close/>
                <a:moveTo>
                  <a:pt x="9652019" y="4633246"/>
                </a:moveTo>
                <a:cubicBezTo>
                  <a:pt x="9727977" y="4564117"/>
                  <a:pt x="9791050" y="4504868"/>
                  <a:pt x="9792181" y="4501533"/>
                </a:cubicBezTo>
                <a:cubicBezTo>
                  <a:pt x="9794134" y="4495804"/>
                  <a:pt x="9320442" y="4056487"/>
                  <a:pt x="9312314" y="4056487"/>
                </a:cubicBezTo>
                <a:cubicBezTo>
                  <a:pt x="9307026" y="4056487"/>
                  <a:pt x="9307380" y="4928958"/>
                  <a:pt x="9312671" y="4934254"/>
                </a:cubicBezTo>
                <a:cubicBezTo>
                  <a:pt x="9314993" y="4936571"/>
                  <a:pt x="9361226" y="4898073"/>
                  <a:pt x="9415406" y="4848677"/>
                </a:cubicBezTo>
                <a:cubicBezTo>
                  <a:pt x="9469589" y="4799307"/>
                  <a:pt x="9576067" y="4702349"/>
                  <a:pt x="9652022" y="4633246"/>
                </a:cubicBezTo>
                <a:close/>
                <a:moveTo>
                  <a:pt x="5399515" y="4719001"/>
                </a:moveTo>
                <a:cubicBezTo>
                  <a:pt x="5528224" y="4601699"/>
                  <a:pt x="5634475" y="4503442"/>
                  <a:pt x="5635596" y="4500667"/>
                </a:cubicBezTo>
                <a:cubicBezTo>
                  <a:pt x="5638014" y="4494683"/>
                  <a:pt x="5166897" y="4063235"/>
                  <a:pt x="5157960" y="4063235"/>
                </a:cubicBezTo>
                <a:cubicBezTo>
                  <a:pt x="5154395" y="4063235"/>
                  <a:pt x="5151874" y="4243402"/>
                  <a:pt x="5151874" y="4497739"/>
                </a:cubicBezTo>
                <a:cubicBezTo>
                  <a:pt x="5151874" y="4785634"/>
                  <a:pt x="5154166" y="4932268"/>
                  <a:pt x="5158673" y="4932268"/>
                </a:cubicBezTo>
                <a:cubicBezTo>
                  <a:pt x="5162415" y="4932268"/>
                  <a:pt x="5270806" y="4836303"/>
                  <a:pt x="5399515" y="4719001"/>
                </a:cubicBezTo>
                <a:close/>
                <a:moveTo>
                  <a:pt x="7193114" y="4480349"/>
                </a:moveTo>
                <a:cubicBezTo>
                  <a:pt x="7193114" y="4248112"/>
                  <a:pt x="7190567" y="4076526"/>
                  <a:pt x="7187130" y="4077824"/>
                </a:cubicBezTo>
                <a:cubicBezTo>
                  <a:pt x="7176742" y="4081746"/>
                  <a:pt x="6748476" y="4475791"/>
                  <a:pt x="6748476" y="4481443"/>
                </a:cubicBezTo>
                <a:cubicBezTo>
                  <a:pt x="6748476" y="4488471"/>
                  <a:pt x="7179670" y="4885113"/>
                  <a:pt x="7187309" y="4885113"/>
                </a:cubicBezTo>
                <a:cubicBezTo>
                  <a:pt x="7190491" y="4885113"/>
                  <a:pt x="7193114" y="4702960"/>
                  <a:pt x="7193114" y="4480349"/>
                </a:cubicBezTo>
                <a:close/>
                <a:moveTo>
                  <a:pt x="11221683" y="4497357"/>
                </a:moveTo>
                <a:cubicBezTo>
                  <a:pt x="11221683" y="4301684"/>
                  <a:pt x="11219503" y="4218169"/>
                  <a:pt x="11214395" y="4218169"/>
                </a:cubicBezTo>
                <a:cubicBezTo>
                  <a:pt x="11203816" y="4218169"/>
                  <a:pt x="10897540" y="4481952"/>
                  <a:pt x="10899900" y="4489031"/>
                </a:cubicBezTo>
                <a:cubicBezTo>
                  <a:pt x="10903544" y="4499954"/>
                  <a:pt x="11211498" y="4782248"/>
                  <a:pt x="11216628" y="4779371"/>
                </a:cubicBezTo>
                <a:cubicBezTo>
                  <a:pt x="11219409" y="4777818"/>
                  <a:pt x="11221683" y="4650891"/>
                  <a:pt x="11221683" y="4497357"/>
                </a:cubicBezTo>
                <a:close/>
                <a:moveTo>
                  <a:pt x="4873884" y="4260919"/>
                </a:moveTo>
                <a:cubicBezTo>
                  <a:pt x="5010104" y="4136234"/>
                  <a:pt x="5121549" y="4032095"/>
                  <a:pt x="5121549" y="4029523"/>
                </a:cubicBezTo>
                <a:cubicBezTo>
                  <a:pt x="5121549" y="4026977"/>
                  <a:pt x="5012420" y="3925334"/>
                  <a:pt x="4879027" y="3803703"/>
                </a:cubicBezTo>
                <a:cubicBezTo>
                  <a:pt x="4745658" y="3682047"/>
                  <a:pt x="4635485" y="3578240"/>
                  <a:pt x="4634213" y="3572995"/>
                </a:cubicBezTo>
                <a:cubicBezTo>
                  <a:pt x="4632863" y="3567368"/>
                  <a:pt x="4636071" y="3564414"/>
                  <a:pt x="4642106" y="3565789"/>
                </a:cubicBezTo>
                <a:cubicBezTo>
                  <a:pt x="4647707" y="3567037"/>
                  <a:pt x="4757065" y="3663562"/>
                  <a:pt x="4885112" y="3780253"/>
                </a:cubicBezTo>
                <a:cubicBezTo>
                  <a:pt x="5013159" y="3896919"/>
                  <a:pt x="5121015" y="3993444"/>
                  <a:pt x="5124783" y="3994692"/>
                </a:cubicBezTo>
                <a:cubicBezTo>
                  <a:pt x="5129417" y="3996245"/>
                  <a:pt x="5131658" y="3851164"/>
                  <a:pt x="5131658" y="3551225"/>
                </a:cubicBezTo>
                <a:cubicBezTo>
                  <a:pt x="5131658" y="3276901"/>
                  <a:pt x="5129239" y="3106359"/>
                  <a:pt x="5125343" y="3107733"/>
                </a:cubicBezTo>
                <a:cubicBezTo>
                  <a:pt x="5120200" y="3109567"/>
                  <a:pt x="4796302" y="3403573"/>
                  <a:pt x="4646892" y="3542034"/>
                </a:cubicBezTo>
                <a:cubicBezTo>
                  <a:pt x="4626370" y="3561053"/>
                  <a:pt x="4501048" y="3675860"/>
                  <a:pt x="4368392" y="3797134"/>
                </a:cubicBezTo>
                <a:cubicBezTo>
                  <a:pt x="4234845" y="3919223"/>
                  <a:pt x="4128110" y="4021834"/>
                  <a:pt x="4129230" y="4027003"/>
                </a:cubicBezTo>
                <a:cubicBezTo>
                  <a:pt x="4131293" y="4036551"/>
                  <a:pt x="4612239" y="4486357"/>
                  <a:pt x="4621253" y="4487172"/>
                </a:cubicBezTo>
                <a:cubicBezTo>
                  <a:pt x="4623977" y="4487427"/>
                  <a:pt x="4737663" y="4385605"/>
                  <a:pt x="4873884" y="4260919"/>
                </a:cubicBezTo>
                <a:close/>
                <a:moveTo>
                  <a:pt x="5919927" y="4244650"/>
                </a:moveTo>
                <a:cubicBezTo>
                  <a:pt x="6062538" y="4114693"/>
                  <a:pt x="6179229" y="4004902"/>
                  <a:pt x="6179229" y="4000650"/>
                </a:cubicBezTo>
                <a:cubicBezTo>
                  <a:pt x="6179229" y="3993699"/>
                  <a:pt x="5698792" y="3545446"/>
                  <a:pt x="5690822" y="3544962"/>
                </a:cubicBezTo>
                <a:cubicBezTo>
                  <a:pt x="5684915" y="3544605"/>
                  <a:pt x="5169698" y="4019110"/>
                  <a:pt x="5167100" y="4027308"/>
                </a:cubicBezTo>
                <a:cubicBezTo>
                  <a:pt x="5164936" y="4034081"/>
                  <a:pt x="5647588" y="4480908"/>
                  <a:pt x="5657086" y="4480908"/>
                </a:cubicBezTo>
                <a:cubicBezTo>
                  <a:pt x="5659021" y="4480908"/>
                  <a:pt x="5777290" y="4374581"/>
                  <a:pt x="5919927" y="4244650"/>
                </a:cubicBezTo>
                <a:close/>
                <a:moveTo>
                  <a:pt x="8007736" y="4259544"/>
                </a:moveTo>
                <a:cubicBezTo>
                  <a:pt x="8210411" y="4073623"/>
                  <a:pt x="8237808" y="4046125"/>
                  <a:pt x="8236000" y="4030491"/>
                </a:cubicBezTo>
                <a:lnTo>
                  <a:pt x="8233938" y="4012693"/>
                </a:lnTo>
                <a:lnTo>
                  <a:pt x="7759000" y="4010962"/>
                </a:lnTo>
                <a:cubicBezTo>
                  <a:pt x="7497789" y="4009994"/>
                  <a:pt x="7280142" y="4010707"/>
                  <a:pt x="7275355" y="4012541"/>
                </a:cubicBezTo>
                <a:cubicBezTo>
                  <a:pt x="7270314" y="4014475"/>
                  <a:pt x="7371702" y="4112274"/>
                  <a:pt x="7516757" y="4245388"/>
                </a:cubicBezTo>
                <a:cubicBezTo>
                  <a:pt x="7654327" y="4371627"/>
                  <a:pt x="7769236" y="4473983"/>
                  <a:pt x="7772164" y="4472863"/>
                </a:cubicBezTo>
                <a:cubicBezTo>
                  <a:pt x="7775067" y="4471717"/>
                  <a:pt x="7881089" y="4375726"/>
                  <a:pt x="8007736" y="4259544"/>
                </a:cubicBezTo>
                <a:close/>
                <a:moveTo>
                  <a:pt x="11055665" y="4316248"/>
                </a:moveTo>
                <a:lnTo>
                  <a:pt x="11222075" y="4175164"/>
                </a:lnTo>
                <a:lnTo>
                  <a:pt x="11220193" y="4093941"/>
                </a:lnTo>
                <a:lnTo>
                  <a:pt x="11218311" y="4012693"/>
                </a:lnTo>
                <a:lnTo>
                  <a:pt x="10801740" y="4010962"/>
                </a:lnTo>
                <a:cubicBezTo>
                  <a:pt x="10532564" y="4009842"/>
                  <a:pt x="10385968" y="4011548"/>
                  <a:pt x="10387430" y="4015825"/>
                </a:cubicBezTo>
                <a:cubicBezTo>
                  <a:pt x="10388675" y="4019441"/>
                  <a:pt x="10498229" y="4122586"/>
                  <a:pt x="10630884" y="4245057"/>
                </a:cubicBezTo>
                <a:cubicBezTo>
                  <a:pt x="10792525" y="4394262"/>
                  <a:pt x="10874909" y="4465988"/>
                  <a:pt x="10880666" y="4462525"/>
                </a:cubicBezTo>
                <a:cubicBezTo>
                  <a:pt x="10885389" y="4459673"/>
                  <a:pt x="10964140" y="4393855"/>
                  <a:pt x="11055665" y="4316248"/>
                </a:cubicBezTo>
                <a:close/>
                <a:moveTo>
                  <a:pt x="6941934" y="4271486"/>
                </a:moveTo>
                <a:cubicBezTo>
                  <a:pt x="7197111" y="4038664"/>
                  <a:pt x="7193114" y="4042764"/>
                  <a:pt x="7193114" y="4013355"/>
                </a:cubicBezTo>
                <a:cubicBezTo>
                  <a:pt x="7193114" y="4000624"/>
                  <a:pt x="7191332" y="3985551"/>
                  <a:pt x="7189142" y="3979873"/>
                </a:cubicBezTo>
                <a:cubicBezTo>
                  <a:pt x="7183693" y="3965665"/>
                  <a:pt x="6731060" y="3551225"/>
                  <a:pt x="6721003" y="3551225"/>
                </a:cubicBezTo>
                <a:cubicBezTo>
                  <a:pt x="6716572" y="3551225"/>
                  <a:pt x="6700404" y="3562607"/>
                  <a:pt x="6685102" y="3576509"/>
                </a:cubicBezTo>
                <a:cubicBezTo>
                  <a:pt x="6365150" y="3866976"/>
                  <a:pt x="6222845" y="3998562"/>
                  <a:pt x="6224449" y="4002534"/>
                </a:cubicBezTo>
                <a:cubicBezTo>
                  <a:pt x="6228675" y="4013152"/>
                  <a:pt x="6718711" y="4460208"/>
                  <a:pt x="6726350" y="4460438"/>
                </a:cubicBezTo>
                <a:cubicBezTo>
                  <a:pt x="6730857" y="4460565"/>
                  <a:pt x="6827866" y="4375548"/>
                  <a:pt x="6941934" y="4271486"/>
                </a:cubicBezTo>
                <a:close/>
                <a:moveTo>
                  <a:pt x="5415606" y="3766275"/>
                </a:moveTo>
                <a:cubicBezTo>
                  <a:pt x="5551445" y="3642429"/>
                  <a:pt x="5664240" y="3537476"/>
                  <a:pt x="5666277" y="3532995"/>
                </a:cubicBezTo>
                <a:cubicBezTo>
                  <a:pt x="5671548" y="3521333"/>
                  <a:pt x="5181690" y="3071400"/>
                  <a:pt x="5166820" y="3074251"/>
                </a:cubicBezTo>
                <a:cubicBezTo>
                  <a:pt x="5156025" y="3076339"/>
                  <a:pt x="5155133" y="3107759"/>
                  <a:pt x="5153504" y="3536738"/>
                </a:cubicBezTo>
                <a:cubicBezTo>
                  <a:pt x="5152129" y="3902698"/>
                  <a:pt x="5153504" y="3996449"/>
                  <a:pt x="5160200" y="3994208"/>
                </a:cubicBezTo>
                <a:cubicBezTo>
                  <a:pt x="5164834" y="3992655"/>
                  <a:pt x="5279768" y="3890095"/>
                  <a:pt x="5415606" y="3766275"/>
                </a:cubicBezTo>
                <a:close/>
                <a:moveTo>
                  <a:pt x="8530719" y="3780253"/>
                </a:moveTo>
                <a:cubicBezTo>
                  <a:pt x="8660192" y="3661653"/>
                  <a:pt x="8766876" y="3562377"/>
                  <a:pt x="8767767" y="3559627"/>
                </a:cubicBezTo>
                <a:cubicBezTo>
                  <a:pt x="8769397" y="3554637"/>
                  <a:pt x="8282060" y="3105289"/>
                  <a:pt x="8270373" y="3100986"/>
                </a:cubicBezTo>
                <a:cubicBezTo>
                  <a:pt x="8266732" y="3099662"/>
                  <a:pt x="8264262" y="3278276"/>
                  <a:pt x="8264262" y="3539233"/>
                </a:cubicBezTo>
                <a:cubicBezTo>
                  <a:pt x="8264262" y="3985602"/>
                  <a:pt x="8264772" y="3995863"/>
                  <a:pt x="8287865" y="3995863"/>
                </a:cubicBezTo>
                <a:cubicBezTo>
                  <a:pt x="8291939" y="3995863"/>
                  <a:pt x="8401220" y="3898828"/>
                  <a:pt x="8530719" y="3780253"/>
                </a:cubicBezTo>
                <a:close/>
                <a:moveTo>
                  <a:pt x="9288235" y="3557565"/>
                </a:moveTo>
                <a:cubicBezTo>
                  <a:pt x="9288235" y="3267404"/>
                  <a:pt x="9285977" y="3126829"/>
                  <a:pt x="9281320" y="3126829"/>
                </a:cubicBezTo>
                <a:cubicBezTo>
                  <a:pt x="9270422" y="3126829"/>
                  <a:pt x="8809244" y="3552600"/>
                  <a:pt x="8811816" y="3560290"/>
                </a:cubicBezTo>
                <a:cubicBezTo>
                  <a:pt x="8815661" y="3571773"/>
                  <a:pt x="9277758" y="3994182"/>
                  <a:pt x="9283183" y="3991153"/>
                </a:cubicBezTo>
                <a:cubicBezTo>
                  <a:pt x="9285961" y="3989600"/>
                  <a:pt x="9288235" y="3794486"/>
                  <a:pt x="9288235" y="3557565"/>
                </a:cubicBezTo>
                <a:close/>
                <a:moveTo>
                  <a:pt x="7500080" y="3759757"/>
                </a:moveTo>
                <a:cubicBezTo>
                  <a:pt x="7631564" y="3639628"/>
                  <a:pt x="7738325" y="3538061"/>
                  <a:pt x="7737281" y="3534039"/>
                </a:cubicBezTo>
                <a:cubicBezTo>
                  <a:pt x="7733997" y="3521282"/>
                  <a:pt x="7248340" y="3079675"/>
                  <a:pt x="7237595" y="3079675"/>
                </a:cubicBezTo>
                <a:cubicBezTo>
                  <a:pt x="7231917" y="3079675"/>
                  <a:pt x="7224126" y="3085531"/>
                  <a:pt x="7220281" y="3092686"/>
                </a:cubicBezTo>
                <a:cubicBezTo>
                  <a:pt x="7215699" y="3101292"/>
                  <a:pt x="7213331" y="3251643"/>
                  <a:pt x="7213331" y="3533962"/>
                </a:cubicBezTo>
                <a:cubicBezTo>
                  <a:pt x="7213331" y="3955430"/>
                  <a:pt x="7213534" y="3962381"/>
                  <a:pt x="7227004" y="3975876"/>
                </a:cubicBezTo>
                <a:cubicBezTo>
                  <a:pt x="7236221" y="3985093"/>
                  <a:pt x="7244012" y="3987690"/>
                  <a:pt x="7250835" y="3983871"/>
                </a:cubicBezTo>
                <a:cubicBezTo>
                  <a:pt x="7256437" y="3980739"/>
                  <a:pt x="7368596" y="3879911"/>
                  <a:pt x="7500080" y="3759757"/>
                </a:cubicBezTo>
                <a:close/>
                <a:moveTo>
                  <a:pt x="8229456" y="3983208"/>
                </a:moveTo>
                <a:cubicBezTo>
                  <a:pt x="8224924" y="3971318"/>
                  <a:pt x="7769007" y="3557973"/>
                  <a:pt x="7760401" y="3557973"/>
                </a:cubicBezTo>
                <a:cubicBezTo>
                  <a:pt x="7750139" y="3557973"/>
                  <a:pt x="7294171" y="3973584"/>
                  <a:pt x="7294171" y="3982928"/>
                </a:cubicBezTo>
                <a:cubicBezTo>
                  <a:pt x="7294171" y="3986646"/>
                  <a:pt x="7482257" y="3989116"/>
                  <a:pt x="7762921" y="3989116"/>
                </a:cubicBezTo>
                <a:cubicBezTo>
                  <a:pt x="8029174" y="3989116"/>
                  <a:pt x="8230729" y="3986570"/>
                  <a:pt x="8229456" y="3983208"/>
                </a:cubicBezTo>
                <a:close/>
                <a:moveTo>
                  <a:pt x="9342316" y="3977556"/>
                </a:moveTo>
                <a:cubicBezTo>
                  <a:pt x="9376903" y="3953546"/>
                  <a:pt x="9807552" y="3556369"/>
                  <a:pt x="9805541" y="3550334"/>
                </a:cubicBezTo>
                <a:cubicBezTo>
                  <a:pt x="9802651" y="3541652"/>
                  <a:pt x="9320307" y="3099866"/>
                  <a:pt x="9313727" y="3099866"/>
                </a:cubicBezTo>
                <a:cubicBezTo>
                  <a:pt x="9307336" y="3099866"/>
                  <a:pt x="9306552" y="3978244"/>
                  <a:pt x="9312938" y="3984634"/>
                </a:cubicBezTo>
                <a:cubicBezTo>
                  <a:pt x="9319627" y="3991331"/>
                  <a:pt x="9324009" y="3990262"/>
                  <a:pt x="9342316" y="3977556"/>
                </a:cubicBezTo>
                <a:close/>
                <a:moveTo>
                  <a:pt x="10605227" y="3762252"/>
                </a:moveTo>
                <a:cubicBezTo>
                  <a:pt x="10740489" y="3637464"/>
                  <a:pt x="10851161" y="3531874"/>
                  <a:pt x="10851161" y="3527597"/>
                </a:cubicBezTo>
                <a:cubicBezTo>
                  <a:pt x="10851161" y="3523319"/>
                  <a:pt x="10827665" y="3498901"/>
                  <a:pt x="10798952" y="3473312"/>
                </a:cubicBezTo>
                <a:cubicBezTo>
                  <a:pt x="10770236" y="3447749"/>
                  <a:pt x="10662803" y="3350230"/>
                  <a:pt x="10560213" y="3256608"/>
                </a:cubicBezTo>
                <a:cubicBezTo>
                  <a:pt x="10457625" y="3162985"/>
                  <a:pt x="10369691" y="3086396"/>
                  <a:pt x="10364804" y="3086396"/>
                </a:cubicBezTo>
                <a:cubicBezTo>
                  <a:pt x="10355633" y="3086396"/>
                  <a:pt x="9380939" y="3970478"/>
                  <a:pt x="9376936" y="3982419"/>
                </a:cubicBezTo>
                <a:cubicBezTo>
                  <a:pt x="9375459" y="3986824"/>
                  <a:pt x="9543440" y="3989116"/>
                  <a:pt x="9866990" y="3989116"/>
                </a:cubicBezTo>
                <a:lnTo>
                  <a:pt x="10359289" y="3989116"/>
                </a:lnTo>
                <a:close/>
                <a:moveTo>
                  <a:pt x="11220063" y="3615236"/>
                </a:moveTo>
                <a:cubicBezTo>
                  <a:pt x="11221026" y="3411441"/>
                  <a:pt x="11220325" y="3240822"/>
                  <a:pt x="11218502" y="3236060"/>
                </a:cubicBezTo>
                <a:cubicBezTo>
                  <a:pt x="11215531" y="3228320"/>
                  <a:pt x="10406796" y="3967270"/>
                  <a:pt x="10400904" y="3983132"/>
                </a:cubicBezTo>
                <a:cubicBezTo>
                  <a:pt x="10399567" y="3986748"/>
                  <a:pt x="10566252" y="3988530"/>
                  <a:pt x="10808475" y="3987486"/>
                </a:cubicBezTo>
                <a:lnTo>
                  <a:pt x="11218311" y="3985755"/>
                </a:lnTo>
                <a:close/>
                <a:moveTo>
                  <a:pt x="6452738" y="3758382"/>
                </a:moveTo>
                <a:cubicBezTo>
                  <a:pt x="6587558" y="3635198"/>
                  <a:pt x="6711277" y="3522275"/>
                  <a:pt x="6727648" y="3507457"/>
                </a:cubicBezTo>
                <a:cubicBezTo>
                  <a:pt x="7025143" y="3238199"/>
                  <a:pt x="7186290" y="3089579"/>
                  <a:pt x="7189371" y="3081584"/>
                </a:cubicBezTo>
                <a:cubicBezTo>
                  <a:pt x="7191433" y="3076161"/>
                  <a:pt x="7191459" y="3068955"/>
                  <a:pt x="7189371" y="3065594"/>
                </a:cubicBezTo>
                <a:cubicBezTo>
                  <a:pt x="7187156" y="3062004"/>
                  <a:pt x="6986263" y="3059458"/>
                  <a:pt x="6704809" y="3059458"/>
                </a:cubicBezTo>
                <a:lnTo>
                  <a:pt x="6224067" y="3059458"/>
                </a:lnTo>
                <a:lnTo>
                  <a:pt x="6196466" y="3081355"/>
                </a:lnTo>
                <a:cubicBezTo>
                  <a:pt x="6133067" y="3131616"/>
                  <a:pt x="5711879" y="3521562"/>
                  <a:pt x="5713076" y="3528870"/>
                </a:cubicBezTo>
                <a:cubicBezTo>
                  <a:pt x="5714425" y="3536967"/>
                  <a:pt x="6196033" y="3982318"/>
                  <a:pt x="6203519" y="3982369"/>
                </a:cubicBezTo>
                <a:cubicBezTo>
                  <a:pt x="6205760" y="3982369"/>
                  <a:pt x="6317893" y="3881591"/>
                  <a:pt x="6452738" y="3758382"/>
                </a:cubicBezTo>
                <a:close/>
                <a:moveTo>
                  <a:pt x="8237298" y="3538164"/>
                </a:moveTo>
                <a:cubicBezTo>
                  <a:pt x="8237298" y="3312369"/>
                  <a:pt x="8235032" y="3126320"/>
                  <a:pt x="8232257" y="3124767"/>
                </a:cubicBezTo>
                <a:cubicBezTo>
                  <a:pt x="8224542" y="3120388"/>
                  <a:pt x="7778860" y="3531773"/>
                  <a:pt x="7783392" y="3539080"/>
                </a:cubicBezTo>
                <a:cubicBezTo>
                  <a:pt x="7790395" y="3550410"/>
                  <a:pt x="8226655" y="3948708"/>
                  <a:pt x="8232079" y="3948708"/>
                </a:cubicBezTo>
                <a:cubicBezTo>
                  <a:pt x="8234956" y="3948708"/>
                  <a:pt x="8237298" y="3763958"/>
                  <a:pt x="8237298" y="3538164"/>
                </a:cubicBezTo>
                <a:close/>
                <a:moveTo>
                  <a:pt x="7193114" y="3531034"/>
                </a:moveTo>
                <a:cubicBezTo>
                  <a:pt x="7193114" y="3309161"/>
                  <a:pt x="7190848" y="3126270"/>
                  <a:pt x="7188047" y="3124614"/>
                </a:cubicBezTo>
                <a:cubicBezTo>
                  <a:pt x="7181350" y="3120642"/>
                  <a:pt x="6740430" y="3523778"/>
                  <a:pt x="6743078" y="3531492"/>
                </a:cubicBezTo>
                <a:cubicBezTo>
                  <a:pt x="6746796" y="3542441"/>
                  <a:pt x="7182904" y="3940102"/>
                  <a:pt x="7188047" y="3937250"/>
                </a:cubicBezTo>
                <a:cubicBezTo>
                  <a:pt x="7190848" y="3935697"/>
                  <a:pt x="7193114" y="3752907"/>
                  <a:pt x="7193114" y="3531034"/>
                </a:cubicBezTo>
                <a:close/>
                <a:moveTo>
                  <a:pt x="9041812" y="3311707"/>
                </a:moveTo>
                <a:cubicBezTo>
                  <a:pt x="9177344" y="3187377"/>
                  <a:pt x="9288235" y="3083392"/>
                  <a:pt x="9288235" y="3080642"/>
                </a:cubicBezTo>
                <a:cubicBezTo>
                  <a:pt x="9288235" y="3060247"/>
                  <a:pt x="9269432" y="3059458"/>
                  <a:pt x="8786685" y="3059560"/>
                </a:cubicBezTo>
                <a:cubicBezTo>
                  <a:pt x="8519719" y="3059610"/>
                  <a:pt x="8297133" y="3062284"/>
                  <a:pt x="8292066" y="3065518"/>
                </a:cubicBezTo>
                <a:cubicBezTo>
                  <a:pt x="8286974" y="3068726"/>
                  <a:pt x="8283944" y="3074480"/>
                  <a:pt x="8285319" y="3078300"/>
                </a:cubicBezTo>
                <a:cubicBezTo>
                  <a:pt x="8289393" y="3089528"/>
                  <a:pt x="8778869" y="3537043"/>
                  <a:pt x="8787500" y="3537425"/>
                </a:cubicBezTo>
                <a:cubicBezTo>
                  <a:pt x="8791829" y="3537603"/>
                  <a:pt x="8906279" y="3436037"/>
                  <a:pt x="9041812" y="3311707"/>
                </a:cubicBezTo>
                <a:close/>
                <a:moveTo>
                  <a:pt x="10086136" y="3303483"/>
                </a:moveTo>
                <a:cubicBezTo>
                  <a:pt x="10223006" y="3178517"/>
                  <a:pt x="10336183" y="3072494"/>
                  <a:pt x="10337642" y="3067886"/>
                </a:cubicBezTo>
                <a:cubicBezTo>
                  <a:pt x="10339745" y="3061189"/>
                  <a:pt x="10238446" y="3059483"/>
                  <a:pt x="9846261" y="3059560"/>
                </a:cubicBezTo>
                <a:cubicBezTo>
                  <a:pt x="9543715" y="3059610"/>
                  <a:pt x="9348320" y="3062157"/>
                  <a:pt x="9342130" y="3066103"/>
                </a:cubicBezTo>
                <a:cubicBezTo>
                  <a:pt x="9334318" y="3071094"/>
                  <a:pt x="9333715" y="3075270"/>
                  <a:pt x="9339469" y="3084538"/>
                </a:cubicBezTo>
                <a:cubicBezTo>
                  <a:pt x="9352760" y="3105925"/>
                  <a:pt x="9816757" y="3530092"/>
                  <a:pt x="9827176" y="3530372"/>
                </a:cubicBezTo>
                <a:cubicBezTo>
                  <a:pt x="9832734" y="3530525"/>
                  <a:pt x="9949264" y="3428423"/>
                  <a:pt x="10086136" y="3303483"/>
                </a:cubicBezTo>
                <a:close/>
                <a:moveTo>
                  <a:pt x="7997016" y="3305061"/>
                </a:moveTo>
                <a:cubicBezTo>
                  <a:pt x="8124808" y="3188192"/>
                  <a:pt x="8231111" y="3087950"/>
                  <a:pt x="8233276" y="3082323"/>
                </a:cubicBezTo>
                <a:cubicBezTo>
                  <a:pt x="8235745" y="3075881"/>
                  <a:pt x="8226579" y="3061139"/>
                  <a:pt x="8208629" y="3042730"/>
                </a:cubicBezTo>
                <a:cubicBezTo>
                  <a:pt x="8144618" y="2977115"/>
                  <a:pt x="7750521" y="2621567"/>
                  <a:pt x="7741788" y="2621567"/>
                </a:cubicBezTo>
                <a:cubicBezTo>
                  <a:pt x="7729465" y="2621567"/>
                  <a:pt x="7263846" y="3046243"/>
                  <a:pt x="7263846" y="3057472"/>
                </a:cubicBezTo>
                <a:cubicBezTo>
                  <a:pt x="7263846" y="3065747"/>
                  <a:pt x="7750852" y="3517005"/>
                  <a:pt x="7760171" y="3517387"/>
                </a:cubicBezTo>
                <a:cubicBezTo>
                  <a:pt x="7762667" y="3517488"/>
                  <a:pt x="7869250" y="3421931"/>
                  <a:pt x="7997016" y="3305061"/>
                </a:cubicBezTo>
                <a:close/>
                <a:moveTo>
                  <a:pt x="5936477" y="3288741"/>
                </a:moveTo>
                <a:cubicBezTo>
                  <a:pt x="6068139" y="3168460"/>
                  <a:pt x="6175868" y="3067682"/>
                  <a:pt x="6175868" y="3064754"/>
                </a:cubicBezTo>
                <a:cubicBezTo>
                  <a:pt x="6175868" y="3061851"/>
                  <a:pt x="6172914" y="3059458"/>
                  <a:pt x="6169350" y="3059458"/>
                </a:cubicBezTo>
                <a:cubicBezTo>
                  <a:pt x="6165759" y="3059458"/>
                  <a:pt x="6158936" y="3052176"/>
                  <a:pt x="6154174" y="3043315"/>
                </a:cubicBezTo>
                <a:cubicBezTo>
                  <a:pt x="6143022" y="3022437"/>
                  <a:pt x="5685908" y="2599594"/>
                  <a:pt x="5677659" y="2602497"/>
                </a:cubicBezTo>
                <a:cubicBezTo>
                  <a:pt x="5661694" y="2608175"/>
                  <a:pt x="5192308" y="3043672"/>
                  <a:pt x="5193860" y="3051336"/>
                </a:cubicBezTo>
                <a:cubicBezTo>
                  <a:pt x="5196127" y="3062284"/>
                  <a:pt x="5684940" y="3511683"/>
                  <a:pt x="5691943" y="3509239"/>
                </a:cubicBezTo>
                <a:cubicBezTo>
                  <a:pt x="5694794" y="3508246"/>
                  <a:pt x="5804840" y="3409022"/>
                  <a:pt x="5936477" y="3288741"/>
                </a:cubicBezTo>
                <a:close/>
                <a:moveTo>
                  <a:pt x="11055181" y="3346844"/>
                </a:moveTo>
                <a:lnTo>
                  <a:pt x="11222146" y="3192343"/>
                </a:lnTo>
                <a:lnTo>
                  <a:pt x="11220229" y="3127594"/>
                </a:lnTo>
                <a:lnTo>
                  <a:pt x="11218311" y="3062819"/>
                </a:lnTo>
                <a:lnTo>
                  <a:pt x="10807759" y="3061087"/>
                </a:lnTo>
                <a:cubicBezTo>
                  <a:pt x="10581957" y="3060120"/>
                  <a:pt x="10394765" y="3061801"/>
                  <a:pt x="10391779" y="3064779"/>
                </a:cubicBezTo>
                <a:cubicBezTo>
                  <a:pt x="10386737" y="3069821"/>
                  <a:pt x="10513992" y="3189847"/>
                  <a:pt x="10605761" y="3266614"/>
                </a:cubicBezTo>
                <a:cubicBezTo>
                  <a:pt x="10627722" y="3284972"/>
                  <a:pt x="10696833" y="3347379"/>
                  <a:pt x="10759341" y="3405304"/>
                </a:cubicBezTo>
                <a:cubicBezTo>
                  <a:pt x="10825498" y="3466591"/>
                  <a:pt x="10876175" y="3508679"/>
                  <a:pt x="10880603" y="3505980"/>
                </a:cubicBezTo>
                <a:cubicBezTo>
                  <a:pt x="10884789" y="3503433"/>
                  <a:pt x="10963348" y="3431835"/>
                  <a:pt x="11055178" y="3346844"/>
                </a:cubicBezTo>
                <a:close/>
                <a:moveTo>
                  <a:pt x="6454572" y="2815993"/>
                </a:moveTo>
                <a:cubicBezTo>
                  <a:pt x="6586132" y="2696094"/>
                  <a:pt x="6693199" y="2594654"/>
                  <a:pt x="6692486" y="2590606"/>
                </a:cubicBezTo>
                <a:cubicBezTo>
                  <a:pt x="6691798" y="2586532"/>
                  <a:pt x="6582466" y="2483463"/>
                  <a:pt x="6449530" y="2361552"/>
                </a:cubicBezTo>
                <a:cubicBezTo>
                  <a:pt x="6290776" y="2215963"/>
                  <a:pt x="6202934" y="2139883"/>
                  <a:pt x="6193538" y="2139883"/>
                </a:cubicBezTo>
                <a:lnTo>
                  <a:pt x="6179229" y="2139883"/>
                </a:lnTo>
                <a:lnTo>
                  <a:pt x="6177497" y="2580396"/>
                </a:lnTo>
                <a:cubicBezTo>
                  <a:pt x="6175689" y="3039368"/>
                  <a:pt x="6175970" y="3044308"/>
                  <a:pt x="6203544" y="3037103"/>
                </a:cubicBezTo>
                <a:cubicBezTo>
                  <a:pt x="6210037" y="3035397"/>
                  <a:pt x="6322986" y="2935918"/>
                  <a:pt x="6454572" y="2815993"/>
                </a:cubicBezTo>
                <a:close/>
                <a:moveTo>
                  <a:pt x="7175011" y="3034200"/>
                </a:moveTo>
                <a:cubicBezTo>
                  <a:pt x="7177684" y="3029617"/>
                  <a:pt x="6727954" y="2613573"/>
                  <a:pt x="6716369" y="2609881"/>
                </a:cubicBezTo>
                <a:cubicBezTo>
                  <a:pt x="6710946" y="2608175"/>
                  <a:pt x="6254723" y="3023124"/>
                  <a:pt x="6251082" y="3033105"/>
                </a:cubicBezTo>
                <a:cubicBezTo>
                  <a:pt x="6248383" y="3040514"/>
                  <a:pt x="7170733" y="3041609"/>
                  <a:pt x="7175011" y="3034200"/>
                </a:cubicBezTo>
                <a:close/>
                <a:moveTo>
                  <a:pt x="7482893" y="2820678"/>
                </a:moveTo>
                <a:cubicBezTo>
                  <a:pt x="7612799" y="2702332"/>
                  <a:pt x="7718185" y="2601631"/>
                  <a:pt x="7717141" y="2596921"/>
                </a:cubicBezTo>
                <a:cubicBezTo>
                  <a:pt x="7714341" y="2584546"/>
                  <a:pt x="7231867" y="2143498"/>
                  <a:pt x="7225425" y="2147471"/>
                </a:cubicBezTo>
                <a:cubicBezTo>
                  <a:pt x="7218830" y="2151545"/>
                  <a:pt x="7218168" y="3028394"/>
                  <a:pt x="7224788" y="3034989"/>
                </a:cubicBezTo>
                <a:cubicBezTo>
                  <a:pt x="7227385" y="3037586"/>
                  <a:pt x="7233369" y="3038860"/>
                  <a:pt x="7238105" y="3037790"/>
                </a:cubicBezTo>
                <a:cubicBezTo>
                  <a:pt x="7242866" y="3036746"/>
                  <a:pt x="7353013" y="2939049"/>
                  <a:pt x="7482893" y="2820678"/>
                </a:cubicBezTo>
                <a:close/>
                <a:moveTo>
                  <a:pt x="8305561" y="3020705"/>
                </a:moveTo>
                <a:cubicBezTo>
                  <a:pt x="8375810" y="2961914"/>
                  <a:pt x="8760409" y="2605374"/>
                  <a:pt x="8765476" y="2594349"/>
                </a:cubicBezTo>
                <a:cubicBezTo>
                  <a:pt x="8773318" y="2577315"/>
                  <a:pt x="8799365" y="2577315"/>
                  <a:pt x="8807207" y="2594323"/>
                </a:cubicBezTo>
                <a:cubicBezTo>
                  <a:pt x="8814082" y="2609219"/>
                  <a:pt x="9266285" y="3025772"/>
                  <a:pt x="9275586" y="3025772"/>
                </a:cubicBezTo>
                <a:cubicBezTo>
                  <a:pt x="9279064" y="3025772"/>
                  <a:pt x="9280867" y="2837890"/>
                  <a:pt x="9279863" y="2579454"/>
                </a:cubicBezTo>
                <a:lnTo>
                  <a:pt x="9278132" y="2133161"/>
                </a:lnTo>
                <a:lnTo>
                  <a:pt x="8782968" y="2133161"/>
                </a:lnTo>
                <a:cubicBezTo>
                  <a:pt x="8510655" y="2133161"/>
                  <a:pt x="8282518" y="2135326"/>
                  <a:pt x="8276051" y="2137999"/>
                </a:cubicBezTo>
                <a:cubicBezTo>
                  <a:pt x="8264975" y="2142531"/>
                  <a:pt x="8264262" y="2170310"/>
                  <a:pt x="8264262" y="2586558"/>
                </a:cubicBezTo>
                <a:cubicBezTo>
                  <a:pt x="8264262" y="2830583"/>
                  <a:pt x="8266274" y="3032290"/>
                  <a:pt x="8268743" y="3034760"/>
                </a:cubicBezTo>
                <a:cubicBezTo>
                  <a:pt x="8276331" y="3042322"/>
                  <a:pt x="8282595" y="3039954"/>
                  <a:pt x="8305561" y="3020705"/>
                </a:cubicBezTo>
                <a:close/>
                <a:moveTo>
                  <a:pt x="9241080" y="3033589"/>
                </a:moveTo>
                <a:cubicBezTo>
                  <a:pt x="9241080" y="3025136"/>
                  <a:pt x="8790250" y="2613471"/>
                  <a:pt x="8783757" y="2616017"/>
                </a:cubicBezTo>
                <a:cubicBezTo>
                  <a:pt x="8772707" y="2620320"/>
                  <a:pt x="8331609" y="3027351"/>
                  <a:pt x="8331609" y="3033232"/>
                </a:cubicBezTo>
                <a:cubicBezTo>
                  <a:pt x="8331609" y="3036695"/>
                  <a:pt x="8524379" y="3039241"/>
                  <a:pt x="8786354" y="3039241"/>
                </a:cubicBezTo>
                <a:cubicBezTo>
                  <a:pt x="9036449" y="3039241"/>
                  <a:pt x="9241080" y="3036695"/>
                  <a:pt x="9241080" y="3033589"/>
                </a:cubicBezTo>
                <a:close/>
                <a:moveTo>
                  <a:pt x="9360597" y="3017344"/>
                </a:moveTo>
                <a:cubicBezTo>
                  <a:pt x="9419694" y="2969604"/>
                  <a:pt x="9820438" y="2597735"/>
                  <a:pt x="9820438" y="2590657"/>
                </a:cubicBezTo>
                <a:cubicBezTo>
                  <a:pt x="9820438" y="2579250"/>
                  <a:pt x="9315647" y="2121958"/>
                  <a:pt x="9308174" y="2126592"/>
                </a:cubicBezTo>
                <a:cubicBezTo>
                  <a:pt x="9300836" y="2131124"/>
                  <a:pt x="9298888" y="3027452"/>
                  <a:pt x="9306201" y="3034760"/>
                </a:cubicBezTo>
                <a:cubicBezTo>
                  <a:pt x="9315805" y="3044359"/>
                  <a:pt x="9334619" y="3038350"/>
                  <a:pt x="9360597" y="3017344"/>
                </a:cubicBezTo>
                <a:close/>
                <a:moveTo>
                  <a:pt x="10311098" y="3033538"/>
                </a:moveTo>
                <a:cubicBezTo>
                  <a:pt x="10309863" y="3030381"/>
                  <a:pt x="10204984" y="2933219"/>
                  <a:pt x="10078032" y="2817597"/>
                </a:cubicBezTo>
                <a:cubicBezTo>
                  <a:pt x="9928141" y="2681097"/>
                  <a:pt x="9844288" y="2609168"/>
                  <a:pt x="9838878" y="2612452"/>
                </a:cubicBezTo>
                <a:cubicBezTo>
                  <a:pt x="9821765" y="2622841"/>
                  <a:pt x="9382550" y="3028165"/>
                  <a:pt x="9382550" y="3033589"/>
                </a:cubicBezTo>
                <a:cubicBezTo>
                  <a:pt x="9382550" y="3036695"/>
                  <a:pt x="9591978" y="3039241"/>
                  <a:pt x="9847947" y="3039241"/>
                </a:cubicBezTo>
                <a:cubicBezTo>
                  <a:pt x="10103916" y="3039241"/>
                  <a:pt x="10312333" y="3036669"/>
                  <a:pt x="10311098" y="3033538"/>
                </a:cubicBezTo>
                <a:close/>
                <a:moveTo>
                  <a:pt x="10784039" y="2668774"/>
                </a:moveTo>
                <a:cubicBezTo>
                  <a:pt x="11000660" y="2471852"/>
                  <a:pt x="11187849" y="2300266"/>
                  <a:pt x="11200020" y="2287459"/>
                </a:cubicBezTo>
                <a:lnTo>
                  <a:pt x="11222148" y="2264212"/>
                </a:lnTo>
                <a:lnTo>
                  <a:pt x="11220229" y="2195313"/>
                </a:lnTo>
                <a:lnTo>
                  <a:pt x="11218311" y="2126414"/>
                </a:lnTo>
                <a:lnTo>
                  <a:pt x="10798018" y="2124683"/>
                </a:lnTo>
                <a:cubicBezTo>
                  <a:pt x="10493180" y="2123409"/>
                  <a:pt x="10375203" y="2125039"/>
                  <a:pt x="10368550" y="2130564"/>
                </a:cubicBezTo>
                <a:cubicBezTo>
                  <a:pt x="10360980" y="2136828"/>
                  <a:pt x="10359379" y="2216090"/>
                  <a:pt x="10359379" y="2584215"/>
                </a:cubicBezTo>
                <a:cubicBezTo>
                  <a:pt x="10359379" y="2829539"/>
                  <a:pt x="10361293" y="3032163"/>
                  <a:pt x="10363633" y="3034505"/>
                </a:cubicBezTo>
                <a:cubicBezTo>
                  <a:pt x="10365973" y="3036848"/>
                  <a:pt x="10372904" y="3036084"/>
                  <a:pt x="10379038" y="3032799"/>
                </a:cubicBezTo>
                <a:cubicBezTo>
                  <a:pt x="10385169" y="3029515"/>
                  <a:pt x="10567421" y="2865720"/>
                  <a:pt x="10784039" y="2668774"/>
                </a:cubicBezTo>
                <a:close/>
                <a:moveTo>
                  <a:pt x="11220058" y="2675852"/>
                </a:moveTo>
                <a:cubicBezTo>
                  <a:pt x="11221015" y="2477836"/>
                  <a:pt x="11219498" y="2313736"/>
                  <a:pt x="11216689" y="2311139"/>
                </a:cubicBezTo>
                <a:cubicBezTo>
                  <a:pt x="11211505" y="2306377"/>
                  <a:pt x="10425818" y="3018439"/>
                  <a:pt x="10421301" y="3031985"/>
                </a:cubicBezTo>
                <a:cubicBezTo>
                  <a:pt x="10419542" y="3037281"/>
                  <a:pt x="10531958" y="3038860"/>
                  <a:pt x="10818580" y="3037612"/>
                </a:cubicBezTo>
                <a:lnTo>
                  <a:pt x="11218314" y="3035880"/>
                </a:lnTo>
                <a:close/>
                <a:moveTo>
                  <a:pt x="8244046" y="2597430"/>
                </a:moveTo>
                <a:cubicBezTo>
                  <a:pt x="8244046" y="2337033"/>
                  <a:pt x="8241576" y="2163257"/>
                  <a:pt x="8237884" y="2164581"/>
                </a:cubicBezTo>
                <a:cubicBezTo>
                  <a:pt x="8221283" y="2170615"/>
                  <a:pt x="7765722" y="2592465"/>
                  <a:pt x="7767275" y="2600333"/>
                </a:cubicBezTo>
                <a:cubicBezTo>
                  <a:pt x="7769643" y="2612095"/>
                  <a:pt x="8224516" y="3031399"/>
                  <a:pt x="8235618" y="3032036"/>
                </a:cubicBezTo>
                <a:cubicBezTo>
                  <a:pt x="8242263" y="3032418"/>
                  <a:pt x="8244046" y="2941265"/>
                  <a:pt x="8244046" y="2597430"/>
                </a:cubicBezTo>
                <a:close/>
                <a:moveTo>
                  <a:pt x="10337532" y="2572732"/>
                </a:moveTo>
                <a:lnTo>
                  <a:pt x="10335801" y="2126414"/>
                </a:lnTo>
                <a:lnTo>
                  <a:pt x="9845126" y="2124683"/>
                </a:lnTo>
                <a:cubicBezTo>
                  <a:pt x="9575255" y="2123740"/>
                  <a:pt x="9355469" y="2125523"/>
                  <a:pt x="9356712" y="2128680"/>
                </a:cubicBezTo>
                <a:cubicBezTo>
                  <a:pt x="9357954" y="2131812"/>
                  <a:pt x="9466592" y="2232156"/>
                  <a:pt x="9598127" y="2351648"/>
                </a:cubicBezTo>
                <a:cubicBezTo>
                  <a:pt x="9729662" y="2471165"/>
                  <a:pt x="9863048" y="2592694"/>
                  <a:pt x="9894545" y="2621771"/>
                </a:cubicBezTo>
                <a:cubicBezTo>
                  <a:pt x="10085276" y="2797788"/>
                  <a:pt x="10329815" y="3018668"/>
                  <a:pt x="10334164" y="3018846"/>
                </a:cubicBezTo>
                <a:cubicBezTo>
                  <a:pt x="10336970" y="3018948"/>
                  <a:pt x="10338485" y="2818183"/>
                  <a:pt x="10337532" y="2572732"/>
                </a:cubicBezTo>
                <a:close/>
                <a:moveTo>
                  <a:pt x="7193114" y="2591242"/>
                </a:moveTo>
                <a:cubicBezTo>
                  <a:pt x="7193114" y="2363386"/>
                  <a:pt x="7190797" y="2176929"/>
                  <a:pt x="7187996" y="2176929"/>
                </a:cubicBezTo>
                <a:cubicBezTo>
                  <a:pt x="7179797" y="2176929"/>
                  <a:pt x="6738368" y="2583426"/>
                  <a:pt x="6738368" y="2590937"/>
                </a:cubicBezTo>
                <a:cubicBezTo>
                  <a:pt x="6738368" y="2598576"/>
                  <a:pt x="7179543" y="3005555"/>
                  <a:pt x="7187818" y="3005555"/>
                </a:cubicBezTo>
                <a:cubicBezTo>
                  <a:pt x="7190721" y="3005555"/>
                  <a:pt x="7193114" y="2819125"/>
                  <a:pt x="7193114" y="2591242"/>
                </a:cubicBezTo>
                <a:close/>
                <a:moveTo>
                  <a:pt x="6155651" y="2583961"/>
                </a:moveTo>
                <a:cubicBezTo>
                  <a:pt x="6155651" y="2314932"/>
                  <a:pt x="6153309" y="2169877"/>
                  <a:pt x="6149031" y="2171328"/>
                </a:cubicBezTo>
                <a:cubicBezTo>
                  <a:pt x="6132354" y="2176981"/>
                  <a:pt x="5703731" y="2576525"/>
                  <a:pt x="5705590" y="2584699"/>
                </a:cubicBezTo>
                <a:cubicBezTo>
                  <a:pt x="5707805" y="2594527"/>
                  <a:pt x="6142055" y="2998553"/>
                  <a:pt x="6150610" y="2998732"/>
                </a:cubicBezTo>
                <a:cubicBezTo>
                  <a:pt x="6153385" y="2998783"/>
                  <a:pt x="6155651" y="2812123"/>
                  <a:pt x="6155651" y="2583961"/>
                </a:cubicBezTo>
                <a:close/>
                <a:moveTo>
                  <a:pt x="7995158" y="2353990"/>
                </a:moveTo>
                <a:cubicBezTo>
                  <a:pt x="8128348" y="2232691"/>
                  <a:pt x="8237298" y="2131099"/>
                  <a:pt x="8237298" y="2128247"/>
                </a:cubicBezTo>
                <a:cubicBezTo>
                  <a:pt x="8237298" y="2122264"/>
                  <a:pt x="7258016" y="2121016"/>
                  <a:pt x="7252058" y="2126974"/>
                </a:cubicBezTo>
                <a:cubicBezTo>
                  <a:pt x="7245743" y="2133288"/>
                  <a:pt x="7734506" y="2580625"/>
                  <a:pt x="7744232" y="2577442"/>
                </a:cubicBezTo>
                <a:cubicBezTo>
                  <a:pt x="7749070" y="2575838"/>
                  <a:pt x="7861993" y="2475290"/>
                  <a:pt x="7995158" y="2353990"/>
                </a:cubicBezTo>
                <a:close/>
                <a:moveTo>
                  <a:pt x="6953341" y="2358828"/>
                </a:moveTo>
                <a:cubicBezTo>
                  <a:pt x="7081337" y="2242112"/>
                  <a:pt x="7186137" y="2142836"/>
                  <a:pt x="7186214" y="2138202"/>
                </a:cubicBezTo>
                <a:cubicBezTo>
                  <a:pt x="7186341" y="2131557"/>
                  <a:pt x="7086862" y="2129775"/>
                  <a:pt x="6710869" y="2129775"/>
                </a:cubicBezTo>
                <a:cubicBezTo>
                  <a:pt x="6449352" y="2129775"/>
                  <a:pt x="6236390" y="2132295"/>
                  <a:pt x="6237612" y="2135376"/>
                </a:cubicBezTo>
                <a:cubicBezTo>
                  <a:pt x="6241406" y="2144848"/>
                  <a:pt x="6711124" y="2574005"/>
                  <a:pt x="6716013" y="2572477"/>
                </a:cubicBezTo>
                <a:cubicBezTo>
                  <a:pt x="6718558" y="2571688"/>
                  <a:pt x="6825345" y="2475545"/>
                  <a:pt x="6953341" y="2358828"/>
                </a:cubicBezTo>
                <a:close/>
                <a:moveTo>
                  <a:pt x="7179645" y="2103498"/>
                </a:moveTo>
                <a:cubicBezTo>
                  <a:pt x="7179645" y="2092549"/>
                  <a:pt x="6707457" y="1663724"/>
                  <a:pt x="6699233" y="1667237"/>
                </a:cubicBezTo>
                <a:cubicBezTo>
                  <a:pt x="6688132" y="1671998"/>
                  <a:pt x="6226918" y="2095147"/>
                  <a:pt x="6224143" y="2103116"/>
                </a:cubicBezTo>
                <a:cubicBezTo>
                  <a:pt x="6222717" y="2107190"/>
                  <a:pt x="6398479" y="2109583"/>
                  <a:pt x="6700761" y="2109583"/>
                </a:cubicBezTo>
                <a:cubicBezTo>
                  <a:pt x="6980254" y="2109583"/>
                  <a:pt x="7179645" y="2107037"/>
                  <a:pt x="7179645" y="2103498"/>
                </a:cubicBezTo>
                <a:close/>
                <a:moveTo>
                  <a:pt x="9286600" y="1659319"/>
                </a:moveTo>
                <a:cubicBezTo>
                  <a:pt x="9287759" y="1360754"/>
                  <a:pt x="9286076" y="1213179"/>
                  <a:pt x="9281531" y="1214706"/>
                </a:cubicBezTo>
                <a:cubicBezTo>
                  <a:pt x="9277788" y="1215954"/>
                  <a:pt x="9173179" y="1309296"/>
                  <a:pt x="9049063" y="1422143"/>
                </a:cubicBezTo>
                <a:cubicBezTo>
                  <a:pt x="8877915" y="1577739"/>
                  <a:pt x="8823401" y="1631056"/>
                  <a:pt x="8823401" y="1642769"/>
                </a:cubicBezTo>
                <a:cubicBezTo>
                  <a:pt x="8823401" y="1654761"/>
                  <a:pt x="8819633" y="1658224"/>
                  <a:pt x="8806520" y="1658224"/>
                </a:cubicBezTo>
                <a:cubicBezTo>
                  <a:pt x="8793764" y="1658224"/>
                  <a:pt x="8730670" y="1711948"/>
                  <a:pt x="8548822" y="1877729"/>
                </a:cubicBezTo>
                <a:cubicBezTo>
                  <a:pt x="8416396" y="1998469"/>
                  <a:pt x="8307013" y="2100035"/>
                  <a:pt x="8305790" y="2103447"/>
                </a:cubicBezTo>
                <a:cubicBezTo>
                  <a:pt x="8304415" y="2107216"/>
                  <a:pt x="8497288" y="2108973"/>
                  <a:pt x="8794197" y="2107928"/>
                </a:cubicBezTo>
                <a:lnTo>
                  <a:pt x="9284867" y="2106197"/>
                </a:lnTo>
                <a:close/>
                <a:moveTo>
                  <a:pt x="10311098" y="2096852"/>
                </a:moveTo>
                <a:cubicBezTo>
                  <a:pt x="10309863" y="2093542"/>
                  <a:pt x="10201233" y="1991466"/>
                  <a:pt x="10069698" y="1869989"/>
                </a:cubicBezTo>
                <a:cubicBezTo>
                  <a:pt x="9938163" y="1748511"/>
                  <a:pt x="9828466" y="1646002"/>
                  <a:pt x="9825928" y="1642183"/>
                </a:cubicBezTo>
                <a:cubicBezTo>
                  <a:pt x="9823389" y="1638364"/>
                  <a:pt x="9823389" y="1631845"/>
                  <a:pt x="9825928" y="1627670"/>
                </a:cubicBezTo>
                <a:cubicBezTo>
                  <a:pt x="9828466" y="1623494"/>
                  <a:pt x="9941745" y="1518312"/>
                  <a:pt x="10077658" y="1393931"/>
                </a:cubicBezTo>
                <a:cubicBezTo>
                  <a:pt x="10213567" y="1269525"/>
                  <a:pt x="10322956" y="1165947"/>
                  <a:pt x="10320740" y="1163732"/>
                </a:cubicBezTo>
                <a:cubicBezTo>
                  <a:pt x="10318525" y="1161517"/>
                  <a:pt x="10097841" y="1159683"/>
                  <a:pt x="9830330" y="1159683"/>
                </a:cubicBezTo>
                <a:cubicBezTo>
                  <a:pt x="9348470" y="1159683"/>
                  <a:pt x="9343782" y="1159811"/>
                  <a:pt x="9326196" y="1173662"/>
                </a:cubicBezTo>
                <a:lnTo>
                  <a:pt x="9308447" y="1187615"/>
                </a:lnTo>
                <a:lnTo>
                  <a:pt x="9308447" y="1638160"/>
                </a:lnTo>
                <a:cubicBezTo>
                  <a:pt x="9308447" y="2060137"/>
                  <a:pt x="9309193" y="2089137"/>
                  <a:pt x="9320235" y="2095554"/>
                </a:cubicBezTo>
                <a:cubicBezTo>
                  <a:pt x="9335202" y="2104287"/>
                  <a:pt x="10314362" y="2105561"/>
                  <a:pt x="10311098" y="2096852"/>
                </a:cubicBezTo>
                <a:close/>
                <a:moveTo>
                  <a:pt x="11220325" y="2049010"/>
                </a:moveTo>
                <a:cubicBezTo>
                  <a:pt x="11221433" y="2021282"/>
                  <a:pt x="11220771" y="1992332"/>
                  <a:pt x="11218854" y="1984694"/>
                </a:cubicBezTo>
                <a:cubicBezTo>
                  <a:pt x="11215905" y="1972956"/>
                  <a:pt x="10386536" y="1184789"/>
                  <a:pt x="10363842" y="1172185"/>
                </a:cubicBezTo>
                <a:cubicBezTo>
                  <a:pt x="10355396" y="1167475"/>
                  <a:pt x="9858827" y="1617536"/>
                  <a:pt x="9855598" y="1632813"/>
                </a:cubicBezTo>
                <a:cubicBezTo>
                  <a:pt x="9854557" y="1637752"/>
                  <a:pt x="9966026" y="1745532"/>
                  <a:pt x="10103305" y="1872357"/>
                </a:cubicBezTo>
                <a:lnTo>
                  <a:pt x="10352909" y="2102938"/>
                </a:lnTo>
                <a:lnTo>
                  <a:pt x="10785610" y="2101206"/>
                </a:lnTo>
                <a:lnTo>
                  <a:pt x="11218314" y="2099475"/>
                </a:lnTo>
                <a:close/>
                <a:moveTo>
                  <a:pt x="7484472" y="1872688"/>
                </a:moveTo>
                <a:cubicBezTo>
                  <a:pt x="7618783" y="1749784"/>
                  <a:pt x="7729516" y="1645952"/>
                  <a:pt x="7730534" y="1641902"/>
                </a:cubicBezTo>
                <a:cubicBezTo>
                  <a:pt x="7732189" y="1635435"/>
                  <a:pt x="7265909" y="1198665"/>
                  <a:pt x="7242128" y="1184432"/>
                </a:cubicBezTo>
                <a:cubicBezTo>
                  <a:pt x="7236679" y="1181148"/>
                  <a:pt x="7228786" y="1182192"/>
                  <a:pt x="7223082" y="1186928"/>
                </a:cubicBezTo>
                <a:cubicBezTo>
                  <a:pt x="7214731" y="1193853"/>
                  <a:pt x="7213331" y="1259977"/>
                  <a:pt x="7213331" y="1641062"/>
                </a:cubicBezTo>
                <a:cubicBezTo>
                  <a:pt x="7213331" y="1886386"/>
                  <a:pt x="7215342" y="2089137"/>
                  <a:pt x="7217812" y="2091608"/>
                </a:cubicBezTo>
                <a:cubicBezTo>
                  <a:pt x="7220281" y="2094077"/>
                  <a:pt x="7226341" y="2096089"/>
                  <a:pt x="7231281" y="2096089"/>
                </a:cubicBezTo>
                <a:cubicBezTo>
                  <a:pt x="7236221" y="2096089"/>
                  <a:pt x="7350162" y="1995566"/>
                  <a:pt x="7484472" y="1872688"/>
                </a:cubicBezTo>
                <a:close/>
                <a:moveTo>
                  <a:pt x="8219170" y="2091047"/>
                </a:moveTo>
                <a:cubicBezTo>
                  <a:pt x="8222734" y="2084758"/>
                  <a:pt x="7764449" y="1661585"/>
                  <a:pt x="7754086" y="1661585"/>
                </a:cubicBezTo>
                <a:cubicBezTo>
                  <a:pt x="7746371" y="1661585"/>
                  <a:pt x="7285871" y="2079513"/>
                  <a:pt x="7281823" y="2090182"/>
                </a:cubicBezTo>
                <a:cubicBezTo>
                  <a:pt x="7279073" y="2097387"/>
                  <a:pt x="8215070" y="2098253"/>
                  <a:pt x="8219170" y="2091047"/>
                </a:cubicBezTo>
                <a:close/>
                <a:moveTo>
                  <a:pt x="8774769" y="1633959"/>
                </a:moveTo>
                <a:cubicBezTo>
                  <a:pt x="8771688" y="1620999"/>
                  <a:pt x="8283740" y="1179543"/>
                  <a:pt x="8277095" y="1183669"/>
                </a:cubicBezTo>
                <a:cubicBezTo>
                  <a:pt x="8270373" y="1187819"/>
                  <a:pt x="8268362" y="2084478"/>
                  <a:pt x="8275058" y="2091175"/>
                </a:cubicBezTo>
                <a:cubicBezTo>
                  <a:pt x="8281016" y="2097158"/>
                  <a:pt x="8777035" y="1643328"/>
                  <a:pt x="8774769" y="1633959"/>
                </a:cubicBezTo>
                <a:close/>
                <a:moveTo>
                  <a:pt x="7193114" y="1644169"/>
                </a:moveTo>
                <a:cubicBezTo>
                  <a:pt x="7193114" y="1387337"/>
                  <a:pt x="7190644" y="1220079"/>
                  <a:pt x="7186901" y="1221453"/>
                </a:cubicBezTo>
                <a:cubicBezTo>
                  <a:pt x="7169358" y="1227768"/>
                  <a:pt x="6727725" y="1640171"/>
                  <a:pt x="6729558" y="1648497"/>
                </a:cubicBezTo>
                <a:cubicBezTo>
                  <a:pt x="6731977" y="1659700"/>
                  <a:pt x="7176895" y="2069151"/>
                  <a:pt x="7186621" y="2069151"/>
                </a:cubicBezTo>
                <a:cubicBezTo>
                  <a:pt x="7190721" y="2069151"/>
                  <a:pt x="7193114" y="1912637"/>
                  <a:pt x="7193114" y="1644169"/>
                </a:cubicBezTo>
                <a:close/>
                <a:moveTo>
                  <a:pt x="8244046" y="1645136"/>
                </a:moveTo>
                <a:cubicBezTo>
                  <a:pt x="8244046" y="1411933"/>
                  <a:pt x="8241780" y="1219748"/>
                  <a:pt x="8238979" y="1218067"/>
                </a:cubicBezTo>
                <a:cubicBezTo>
                  <a:pt x="8236203" y="1216361"/>
                  <a:pt x="8129774" y="1310544"/>
                  <a:pt x="8002439" y="1427312"/>
                </a:cubicBezTo>
                <a:lnTo>
                  <a:pt x="7770967" y="1639637"/>
                </a:lnTo>
                <a:lnTo>
                  <a:pt x="7793603" y="1661967"/>
                </a:lnTo>
                <a:cubicBezTo>
                  <a:pt x="7850331" y="1717906"/>
                  <a:pt x="8234497" y="2069099"/>
                  <a:pt x="8238979" y="2069125"/>
                </a:cubicBezTo>
                <a:cubicBezTo>
                  <a:pt x="8241780" y="2069151"/>
                  <a:pt x="8244046" y="1878340"/>
                  <a:pt x="8244046" y="1645136"/>
                </a:cubicBezTo>
                <a:close/>
                <a:moveTo>
                  <a:pt x="11220053" y="1546676"/>
                </a:moveTo>
                <a:lnTo>
                  <a:pt x="11218314" y="1163070"/>
                </a:lnTo>
                <a:lnTo>
                  <a:pt x="10805109" y="1161338"/>
                </a:lnTo>
                <a:cubicBezTo>
                  <a:pt x="10577848" y="1160371"/>
                  <a:pt x="10392924" y="1162179"/>
                  <a:pt x="10394169" y="1165336"/>
                </a:cubicBezTo>
                <a:cubicBezTo>
                  <a:pt x="10399514" y="1178881"/>
                  <a:pt x="11212066" y="1939143"/>
                  <a:pt x="11216687" y="1934941"/>
                </a:cubicBezTo>
                <a:cubicBezTo>
                  <a:pt x="11219495" y="1932370"/>
                  <a:pt x="11221010" y="1757652"/>
                  <a:pt x="11220053" y="1546650"/>
                </a:cubicBezTo>
                <a:close/>
                <a:moveTo>
                  <a:pt x="7984973" y="1415319"/>
                </a:moveTo>
                <a:cubicBezTo>
                  <a:pt x="8226604" y="1194974"/>
                  <a:pt x="8246388" y="1175674"/>
                  <a:pt x="8240481" y="1166100"/>
                </a:cubicBezTo>
                <a:cubicBezTo>
                  <a:pt x="8234676" y="1156755"/>
                  <a:pt x="7258601" y="1157443"/>
                  <a:pt x="7261733" y="1166813"/>
                </a:cubicBezTo>
                <a:cubicBezTo>
                  <a:pt x="7266138" y="1180078"/>
                  <a:pt x="7742068" y="1616950"/>
                  <a:pt x="7752558" y="1617358"/>
                </a:cubicBezTo>
                <a:cubicBezTo>
                  <a:pt x="7758287" y="1617587"/>
                  <a:pt x="7862884" y="1526688"/>
                  <a:pt x="7984973" y="1415319"/>
                </a:cubicBezTo>
                <a:close/>
                <a:moveTo>
                  <a:pt x="9033875" y="1408114"/>
                </a:moveTo>
                <a:cubicBezTo>
                  <a:pt x="9281954" y="1182726"/>
                  <a:pt x="9290081" y="1174859"/>
                  <a:pt x="9284434" y="1165718"/>
                </a:cubicBezTo>
                <a:cubicBezTo>
                  <a:pt x="9278641" y="1156348"/>
                  <a:pt x="8302939" y="1157825"/>
                  <a:pt x="8306045" y="1167220"/>
                </a:cubicBezTo>
                <a:cubicBezTo>
                  <a:pt x="8309049" y="1176157"/>
                  <a:pt x="8790836" y="1617078"/>
                  <a:pt x="8798092" y="1617511"/>
                </a:cubicBezTo>
                <a:cubicBezTo>
                  <a:pt x="8800842" y="1617663"/>
                  <a:pt x="8906941" y="1523430"/>
                  <a:pt x="9033875" y="1408114"/>
                </a:cubicBezTo>
                <a:close/>
                <a:moveTo>
                  <a:pt x="8225586" y="1135495"/>
                </a:moveTo>
                <a:cubicBezTo>
                  <a:pt x="8230424" y="1130657"/>
                  <a:pt x="7759433" y="700202"/>
                  <a:pt x="7752355" y="703002"/>
                </a:cubicBezTo>
                <a:cubicBezTo>
                  <a:pt x="7739751" y="707993"/>
                  <a:pt x="7282230" y="1132058"/>
                  <a:pt x="7285718" y="1135546"/>
                </a:cubicBezTo>
                <a:cubicBezTo>
                  <a:pt x="7290912" y="1140740"/>
                  <a:pt x="8220392" y="1140689"/>
                  <a:pt x="8225586" y="1135495"/>
                </a:cubicBezTo>
                <a:close/>
                <a:moveTo>
                  <a:pt x="9260166" y="1132949"/>
                </a:moveTo>
                <a:cubicBezTo>
                  <a:pt x="9256533" y="1122356"/>
                  <a:pt x="8802013" y="700838"/>
                  <a:pt x="8796539" y="703002"/>
                </a:cubicBezTo>
                <a:cubicBezTo>
                  <a:pt x="8783936" y="707993"/>
                  <a:pt x="8326440" y="1132058"/>
                  <a:pt x="8329928" y="1135546"/>
                </a:cubicBezTo>
                <a:cubicBezTo>
                  <a:pt x="8336981" y="1142599"/>
                  <a:pt x="9262593" y="1140002"/>
                  <a:pt x="9260166" y="1132949"/>
                </a:cubicBezTo>
                <a:close/>
                <a:moveTo>
                  <a:pt x="10318958" y="1133280"/>
                </a:moveTo>
                <a:cubicBezTo>
                  <a:pt x="10318958" y="1125132"/>
                  <a:pt x="9862315" y="694855"/>
                  <a:pt x="9853653" y="694855"/>
                </a:cubicBezTo>
                <a:cubicBezTo>
                  <a:pt x="9846374" y="694855"/>
                  <a:pt x="9373860" y="1123477"/>
                  <a:pt x="9370199" y="1133382"/>
                </a:cubicBezTo>
                <a:cubicBezTo>
                  <a:pt x="9368875" y="1136997"/>
                  <a:pt x="9562995" y="1139492"/>
                  <a:pt x="9843456" y="1139492"/>
                </a:cubicBezTo>
                <a:cubicBezTo>
                  <a:pt x="10128563" y="1139492"/>
                  <a:pt x="10318958" y="1136997"/>
                  <a:pt x="10318958" y="1133280"/>
                </a:cubicBezTo>
                <a:close/>
                <a:moveTo>
                  <a:pt x="11220241" y="1074463"/>
                </a:moveTo>
                <a:cubicBezTo>
                  <a:pt x="11222001" y="1018168"/>
                  <a:pt x="11220827" y="1011344"/>
                  <a:pt x="11206767" y="996016"/>
                </a:cubicBezTo>
                <a:cubicBezTo>
                  <a:pt x="11198296" y="986773"/>
                  <a:pt x="11119214" y="916677"/>
                  <a:pt x="11031028" y="840267"/>
                </a:cubicBezTo>
                <a:cubicBezTo>
                  <a:pt x="10924580" y="747994"/>
                  <a:pt x="10867795" y="703053"/>
                  <a:pt x="10862074" y="706491"/>
                </a:cubicBezTo>
                <a:cubicBezTo>
                  <a:pt x="10844149" y="717312"/>
                  <a:pt x="10399799" y="1127806"/>
                  <a:pt x="10399799" y="1133560"/>
                </a:cubicBezTo>
                <a:cubicBezTo>
                  <a:pt x="10399799" y="1137048"/>
                  <a:pt x="10571658" y="1138856"/>
                  <a:pt x="10809055" y="1137863"/>
                </a:cubicBezTo>
                <a:lnTo>
                  <a:pt x="11218314" y="1136106"/>
                </a:lnTo>
                <a:close/>
              </a:path>
            </a:pathLst>
          </a:custGeom>
          <a:gradFill flip="none" rotWithShape="1">
            <a:gsLst>
              <a:gs pos="30000">
                <a:schemeClr val="accent2"/>
              </a:gs>
              <a:gs pos="44000">
                <a:schemeClr val="accent4">
                  <a:lumMod val="75000"/>
                </a:schemeClr>
              </a:gs>
              <a:gs pos="9000">
                <a:schemeClr val="accent1"/>
              </a:gs>
              <a:gs pos="64000">
                <a:schemeClr val="bg1">
                  <a:alpha val="0"/>
                </a:schemeClr>
              </a:gs>
            </a:gsLst>
            <a:lin ang="13500000" scaled="1"/>
            <a:tileRect/>
          </a:gradFill>
          <a:ln w="6735" cap="flat">
            <a:noFill/>
            <a:prstDash val="solid"/>
            <a:miter/>
          </a:ln>
        </p:spPr>
        <p:txBody>
          <a:bodyPr rtlCol="0" anchor="ctr"/>
          <a:lstStyle/>
          <a:p>
            <a:endParaRPr lang="en-US"/>
          </a:p>
        </p:txBody>
      </p:sp>
    </p:spTree>
    <p:extLst>
      <p:ext uri="{BB962C8B-B14F-4D97-AF65-F5344CB8AC3E}">
        <p14:creationId xmlns:p14="http://schemas.microsoft.com/office/powerpoint/2010/main" val="84490093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Header">
    <p:spTree>
      <p:nvGrpSpPr>
        <p:cNvPr id="1" name=""/>
        <p:cNvGrpSpPr/>
        <p:nvPr/>
      </p:nvGrpSpPr>
      <p:grpSpPr>
        <a:xfrm>
          <a:off x="0" y="0"/>
          <a:ext cx="0" cy="0"/>
          <a:chOff x="0" y="0"/>
          <a:chExt cx="0" cy="0"/>
        </a:xfrm>
      </p:grpSpPr>
      <p:sp>
        <p:nvSpPr>
          <p:cNvPr id="23" name="Text Placeholder 2">
            <a:extLst>
              <a:ext uri="{FF2B5EF4-FFF2-40B4-BE49-F238E27FC236}">
                <a16:creationId xmlns:a16="http://schemas.microsoft.com/office/drawing/2014/main" id="{960B2C2B-A3AF-FFDD-3DE2-E6CAC727E657}"/>
              </a:ext>
            </a:extLst>
          </p:cNvPr>
          <p:cNvSpPr>
            <a:spLocks noGrp="1"/>
          </p:cNvSpPr>
          <p:nvPr>
            <p:ph type="body" idx="13"/>
          </p:nvPr>
        </p:nvSpPr>
        <p:spPr>
          <a:xfrm>
            <a:off x="344486" y="3800417"/>
            <a:ext cx="11203200"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5" name="Title 4">
            <a:extLst>
              <a:ext uri="{FF2B5EF4-FFF2-40B4-BE49-F238E27FC236}">
                <a16:creationId xmlns:a16="http://schemas.microsoft.com/office/drawing/2014/main" id="{150D20B1-6B26-45B9-ACA1-0D8BC03871D8}"/>
              </a:ext>
            </a:extLst>
          </p:cNvPr>
          <p:cNvSpPr>
            <a:spLocks noGrp="1"/>
          </p:cNvSpPr>
          <p:nvPr>
            <p:ph type="title"/>
          </p:nvPr>
        </p:nvSpPr>
        <p:spPr>
          <a:xfrm>
            <a:off x="344487" y="88836"/>
            <a:ext cx="11504613" cy="408795"/>
          </a:xfrm>
        </p:spPr>
        <p:txBody>
          <a:bodyPr/>
          <a:lstStyle/>
          <a:p>
            <a:r>
              <a:rPr lang="en-US"/>
              <a:t>Click to edit Master title style</a:t>
            </a:r>
          </a:p>
        </p:txBody>
      </p:sp>
      <p:sp>
        <p:nvSpPr>
          <p:cNvPr id="6" name="Text Placeholder 7">
            <a:extLst>
              <a:ext uri="{FF2B5EF4-FFF2-40B4-BE49-F238E27FC236}">
                <a16:creationId xmlns:a16="http://schemas.microsoft.com/office/drawing/2014/main" id="{9B6ACBC5-8B35-4F11-B076-8EC2B9686C41}"/>
              </a:ext>
            </a:extLst>
          </p:cNvPr>
          <p:cNvSpPr>
            <a:spLocks noGrp="1"/>
          </p:cNvSpPr>
          <p:nvPr>
            <p:ph type="body" sz="quarter" idx="10"/>
          </p:nvPr>
        </p:nvSpPr>
        <p:spPr>
          <a:xfrm>
            <a:off x="344488" y="487848"/>
            <a:ext cx="11504612" cy="281861"/>
          </a:xfrm>
        </p:spPr>
        <p:txBody>
          <a:bodyPr anchor="ctr"/>
          <a:lstStyle>
            <a:lvl1pPr marL="0" indent="0" algn="l" defTabSz="914400" rtl="0" eaLnBrk="1" latinLnBrk="0" hangingPunct="1">
              <a:lnSpc>
                <a:spcPct val="90000"/>
              </a:lnSpc>
              <a:spcBef>
                <a:spcPct val="0"/>
              </a:spcBef>
              <a:buNone/>
              <a:defRPr lang="en-US" sz="1400" b="1" i="0" kern="1200" dirty="0" smtClean="0">
                <a:solidFill>
                  <a:srgbClr val="595959"/>
                </a:solidFill>
                <a:latin typeface="Segoe UI Semibold" panose="020B0702040204020203" pitchFamily="34" charset="0"/>
                <a:ea typeface="+mj-ea"/>
                <a:cs typeface="Segoe UI Semibold" panose="020B0702040204020203" pitchFamily="34" charset="0"/>
              </a:defRPr>
            </a:lvl1pPr>
            <a:lvl2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2pPr>
            <a:lvl3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3pPr>
            <a:lvl4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4pPr>
            <a:lvl5pPr marL="0" indent="0" algn="l" defTabSz="914400" rtl="0" eaLnBrk="1" latinLnBrk="0" hangingPunct="1">
              <a:lnSpc>
                <a:spcPct val="90000"/>
              </a:lnSpc>
              <a:spcBef>
                <a:spcPct val="0"/>
              </a:spcBef>
              <a:buNone/>
              <a:defRPr lang="en-IN" sz="1400" b="1" i="1" kern="1200" dirty="0">
                <a:solidFill>
                  <a:schemeClr val="bg1">
                    <a:lumMod val="50000"/>
                  </a:schemeClr>
                </a:solidFill>
                <a:latin typeface="+mj-lt"/>
                <a:ea typeface="+mj-ea"/>
                <a:cs typeface="+mj-cs"/>
              </a:defRPr>
            </a:lvl5pPr>
          </a:lstStyle>
          <a:p>
            <a:pPr lvl="0"/>
            <a:r>
              <a:rPr lang="en-US"/>
              <a:t>Click to edit Master text styles</a:t>
            </a:r>
          </a:p>
        </p:txBody>
      </p:sp>
      <p:sp>
        <p:nvSpPr>
          <p:cNvPr id="2" name="Text Placeholder 5">
            <a:extLst>
              <a:ext uri="{FF2B5EF4-FFF2-40B4-BE49-F238E27FC236}">
                <a16:creationId xmlns:a16="http://schemas.microsoft.com/office/drawing/2014/main" id="{1AAF154C-D019-928E-124D-92A3C02B9976}"/>
              </a:ext>
            </a:extLst>
          </p:cNvPr>
          <p:cNvSpPr>
            <a:spLocks noGrp="1"/>
          </p:cNvSpPr>
          <p:nvPr>
            <p:ph type="body" sz="quarter" idx="11" hasCustomPrompt="1"/>
          </p:nvPr>
        </p:nvSpPr>
        <p:spPr>
          <a:xfrm>
            <a:off x="3319462" y="6637956"/>
            <a:ext cx="7318058" cy="157512"/>
          </a:xfrm>
        </p:spPr>
        <p:txBody>
          <a:bodyPr lIns="36000" anchor="ctr"/>
          <a:lstStyle>
            <a:lvl1pPr marL="0" indent="0">
              <a:buNone/>
              <a:defRPr sz="800">
                <a:solidFill>
                  <a:schemeClr val="bg1"/>
                </a:solidFill>
              </a:defRPr>
            </a:lvl1pPr>
          </a:lstStyle>
          <a:p>
            <a:pPr lvl="0"/>
            <a:r>
              <a:rPr lang="en-US"/>
              <a:t>Footnotes</a:t>
            </a:r>
            <a:endParaRPr lang="en-IN"/>
          </a:p>
        </p:txBody>
      </p:sp>
      <p:sp>
        <p:nvSpPr>
          <p:cNvPr id="27" name="Text Placeholder 2">
            <a:extLst>
              <a:ext uri="{FF2B5EF4-FFF2-40B4-BE49-F238E27FC236}">
                <a16:creationId xmlns:a16="http://schemas.microsoft.com/office/drawing/2014/main" id="{000EC6B4-8CBA-98FE-E605-7612ED3494CF}"/>
              </a:ext>
            </a:extLst>
          </p:cNvPr>
          <p:cNvSpPr>
            <a:spLocks noGrp="1"/>
          </p:cNvSpPr>
          <p:nvPr>
            <p:ph idx="17"/>
          </p:nvPr>
        </p:nvSpPr>
        <p:spPr>
          <a:xfrm>
            <a:off x="343500" y="4229500"/>
            <a:ext cx="11505600" cy="2286000"/>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a:extLst>
              <a:ext uri="{FF2B5EF4-FFF2-40B4-BE49-F238E27FC236}">
                <a16:creationId xmlns:a16="http://schemas.microsoft.com/office/drawing/2014/main" id="{D8A1059B-28DA-8B74-C490-E699DA24DDD5}"/>
              </a:ext>
            </a:extLst>
          </p:cNvPr>
          <p:cNvSpPr>
            <a:spLocks noGrp="1"/>
          </p:cNvSpPr>
          <p:nvPr>
            <p:ph type="body" idx="1"/>
          </p:nvPr>
        </p:nvSpPr>
        <p:spPr>
          <a:xfrm>
            <a:off x="344487" y="896797"/>
            <a:ext cx="5157787"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4" name="Group 3">
            <a:extLst>
              <a:ext uri="{FF2B5EF4-FFF2-40B4-BE49-F238E27FC236}">
                <a16:creationId xmlns:a16="http://schemas.microsoft.com/office/drawing/2014/main" id="{893132ED-0F14-C9DB-8A72-D535BBD67F91}"/>
              </a:ext>
            </a:extLst>
          </p:cNvPr>
          <p:cNvGrpSpPr/>
          <p:nvPr userDrawn="1"/>
        </p:nvGrpSpPr>
        <p:grpSpPr>
          <a:xfrm>
            <a:off x="344487" y="1214416"/>
            <a:ext cx="5561013" cy="55768"/>
            <a:chOff x="344487" y="1214416"/>
            <a:chExt cx="5561013" cy="55768"/>
          </a:xfrm>
        </p:grpSpPr>
        <p:cxnSp>
          <p:nvCxnSpPr>
            <p:cNvPr id="11" name="Straight Connector 10">
              <a:extLst>
                <a:ext uri="{FF2B5EF4-FFF2-40B4-BE49-F238E27FC236}">
                  <a16:creationId xmlns:a16="http://schemas.microsoft.com/office/drawing/2014/main" id="{AE088B86-CE8B-ADF8-7C4C-EBE287D02246}"/>
                </a:ext>
              </a:extLst>
            </p:cNvPr>
            <p:cNvCxnSpPr>
              <a:cxnSpLocks/>
            </p:cNvCxnSpPr>
            <p:nvPr/>
          </p:nvCxnSpPr>
          <p:spPr>
            <a:xfrm>
              <a:off x="398568" y="1242300"/>
              <a:ext cx="5506932"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803A985A-0903-9496-CCF9-E3B1B7C513AA}"/>
                </a:ext>
              </a:extLst>
            </p:cNvPr>
            <p:cNvSpPr/>
            <p:nvPr/>
          </p:nvSpPr>
          <p:spPr>
            <a:xfrm>
              <a:off x="344487" y="1214416"/>
              <a:ext cx="545724" cy="55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prstClr val="white"/>
                </a:solidFill>
                <a:effectLst/>
                <a:uLnTx/>
                <a:uFillTx/>
                <a:latin typeface="Segoe UI"/>
                <a:ea typeface="+mn-ea"/>
                <a:cs typeface="+mn-cs"/>
              </a:endParaRPr>
            </a:p>
          </p:txBody>
        </p:sp>
      </p:grpSp>
      <p:sp>
        <p:nvSpPr>
          <p:cNvPr id="14" name="Text Placeholder 2">
            <a:extLst>
              <a:ext uri="{FF2B5EF4-FFF2-40B4-BE49-F238E27FC236}">
                <a16:creationId xmlns:a16="http://schemas.microsoft.com/office/drawing/2014/main" id="{B5B4FAE6-BB95-722B-7E2E-4AC4DC10D0B9}"/>
              </a:ext>
            </a:extLst>
          </p:cNvPr>
          <p:cNvSpPr>
            <a:spLocks noGrp="1"/>
          </p:cNvSpPr>
          <p:nvPr>
            <p:ph type="body" idx="12"/>
          </p:nvPr>
        </p:nvSpPr>
        <p:spPr>
          <a:xfrm>
            <a:off x="6288087" y="896797"/>
            <a:ext cx="5157787"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16" name="Group 15">
            <a:extLst>
              <a:ext uri="{FF2B5EF4-FFF2-40B4-BE49-F238E27FC236}">
                <a16:creationId xmlns:a16="http://schemas.microsoft.com/office/drawing/2014/main" id="{4681E46A-7F68-86EC-C52A-8E327AEF7178}"/>
              </a:ext>
            </a:extLst>
          </p:cNvPr>
          <p:cNvGrpSpPr/>
          <p:nvPr userDrawn="1"/>
        </p:nvGrpSpPr>
        <p:grpSpPr>
          <a:xfrm>
            <a:off x="6288087" y="1214416"/>
            <a:ext cx="5561013" cy="55768"/>
            <a:chOff x="671913" y="1348872"/>
            <a:chExt cx="4897195" cy="89815"/>
          </a:xfrm>
        </p:grpSpPr>
        <p:cxnSp>
          <p:nvCxnSpPr>
            <p:cNvPr id="18" name="Straight Connector 17">
              <a:extLst>
                <a:ext uri="{FF2B5EF4-FFF2-40B4-BE49-F238E27FC236}">
                  <a16:creationId xmlns:a16="http://schemas.microsoft.com/office/drawing/2014/main" id="{1BD7C016-F4B7-2D82-AC9A-38B3685F9E77}"/>
                </a:ext>
              </a:extLst>
            </p:cNvPr>
            <p:cNvCxnSpPr>
              <a:cxnSpLocks/>
            </p:cNvCxnSpPr>
            <p:nvPr/>
          </p:nvCxnSpPr>
          <p:spPr>
            <a:xfrm>
              <a:off x="719538" y="1393780"/>
              <a:ext cx="4849570"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C3C1402C-0693-B541-1682-1400EB5E997B}"/>
                </a:ext>
              </a:extLst>
            </p:cNvPr>
            <p:cNvSpPr/>
            <p:nvPr/>
          </p:nvSpPr>
          <p:spPr>
            <a:xfrm>
              <a:off x="671913" y="1348872"/>
              <a:ext cx="480581" cy="898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1" name="Text Placeholder 2">
            <a:extLst>
              <a:ext uri="{FF2B5EF4-FFF2-40B4-BE49-F238E27FC236}">
                <a16:creationId xmlns:a16="http://schemas.microsoft.com/office/drawing/2014/main" id="{570CDB18-B500-E9DC-D57F-21614160662A}"/>
              </a:ext>
            </a:extLst>
          </p:cNvPr>
          <p:cNvSpPr>
            <a:spLocks noGrp="1"/>
          </p:cNvSpPr>
          <p:nvPr>
            <p:ph idx="15"/>
          </p:nvPr>
        </p:nvSpPr>
        <p:spPr>
          <a:xfrm>
            <a:off x="343500" y="1325880"/>
            <a:ext cx="5562000" cy="2286000"/>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BADE845E-9529-9908-6212-EB422CD717C4}"/>
              </a:ext>
            </a:extLst>
          </p:cNvPr>
          <p:cNvSpPr>
            <a:spLocks noGrp="1"/>
          </p:cNvSpPr>
          <p:nvPr>
            <p:ph idx="16"/>
          </p:nvPr>
        </p:nvSpPr>
        <p:spPr>
          <a:xfrm>
            <a:off x="6287100" y="1325880"/>
            <a:ext cx="5562000" cy="2286000"/>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0" name="Group 9">
            <a:extLst>
              <a:ext uri="{FF2B5EF4-FFF2-40B4-BE49-F238E27FC236}">
                <a16:creationId xmlns:a16="http://schemas.microsoft.com/office/drawing/2014/main" id="{EBA14E75-9C64-2489-C60B-F72B47940F86}"/>
              </a:ext>
            </a:extLst>
          </p:cNvPr>
          <p:cNvGrpSpPr/>
          <p:nvPr userDrawn="1"/>
        </p:nvGrpSpPr>
        <p:grpSpPr>
          <a:xfrm>
            <a:off x="344486" y="4118036"/>
            <a:ext cx="11505600" cy="55768"/>
            <a:chOff x="344487" y="1214416"/>
            <a:chExt cx="5561013" cy="55768"/>
          </a:xfrm>
        </p:grpSpPr>
        <p:cxnSp>
          <p:nvCxnSpPr>
            <p:cNvPr id="12" name="Straight Connector 11">
              <a:extLst>
                <a:ext uri="{FF2B5EF4-FFF2-40B4-BE49-F238E27FC236}">
                  <a16:creationId xmlns:a16="http://schemas.microsoft.com/office/drawing/2014/main" id="{7002CF5F-A64F-6BF3-4035-5277E5E64224}"/>
                </a:ext>
              </a:extLst>
            </p:cNvPr>
            <p:cNvCxnSpPr>
              <a:cxnSpLocks/>
            </p:cNvCxnSpPr>
            <p:nvPr/>
          </p:nvCxnSpPr>
          <p:spPr>
            <a:xfrm>
              <a:off x="398568" y="1242300"/>
              <a:ext cx="5506932"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D4F36BCE-12B0-9512-5EB7-DD45DB107594}"/>
                </a:ext>
              </a:extLst>
            </p:cNvPr>
            <p:cNvSpPr/>
            <p:nvPr/>
          </p:nvSpPr>
          <p:spPr>
            <a:xfrm>
              <a:off x="344487" y="1214416"/>
              <a:ext cx="264479" cy="55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16854246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hree Header - 2">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50D20B1-6B26-45B9-ACA1-0D8BC03871D8}"/>
              </a:ext>
            </a:extLst>
          </p:cNvPr>
          <p:cNvSpPr>
            <a:spLocks noGrp="1"/>
          </p:cNvSpPr>
          <p:nvPr>
            <p:ph type="title"/>
          </p:nvPr>
        </p:nvSpPr>
        <p:spPr>
          <a:xfrm>
            <a:off x="344487" y="88836"/>
            <a:ext cx="11504613" cy="408795"/>
          </a:xfrm>
        </p:spPr>
        <p:txBody>
          <a:bodyPr/>
          <a:lstStyle/>
          <a:p>
            <a:r>
              <a:rPr lang="en-US"/>
              <a:t>Click to edit Master title style</a:t>
            </a:r>
          </a:p>
        </p:txBody>
      </p:sp>
      <p:sp>
        <p:nvSpPr>
          <p:cNvPr id="6" name="Text Placeholder 7">
            <a:extLst>
              <a:ext uri="{FF2B5EF4-FFF2-40B4-BE49-F238E27FC236}">
                <a16:creationId xmlns:a16="http://schemas.microsoft.com/office/drawing/2014/main" id="{9B6ACBC5-8B35-4F11-B076-8EC2B9686C41}"/>
              </a:ext>
            </a:extLst>
          </p:cNvPr>
          <p:cNvSpPr>
            <a:spLocks noGrp="1"/>
          </p:cNvSpPr>
          <p:nvPr>
            <p:ph type="body" sz="quarter" idx="10"/>
          </p:nvPr>
        </p:nvSpPr>
        <p:spPr>
          <a:xfrm>
            <a:off x="344488" y="487848"/>
            <a:ext cx="11504612" cy="281861"/>
          </a:xfrm>
        </p:spPr>
        <p:txBody>
          <a:bodyPr anchor="ctr"/>
          <a:lstStyle>
            <a:lvl1pPr marL="0" indent="0" algn="l" defTabSz="914400" rtl="0" eaLnBrk="1" latinLnBrk="0" hangingPunct="1">
              <a:lnSpc>
                <a:spcPct val="90000"/>
              </a:lnSpc>
              <a:spcBef>
                <a:spcPct val="0"/>
              </a:spcBef>
              <a:buNone/>
              <a:defRPr lang="en-US" sz="1400" b="1" i="0" kern="1200" dirty="0" smtClean="0">
                <a:solidFill>
                  <a:srgbClr val="595959"/>
                </a:solidFill>
                <a:latin typeface="Segoe UI Semibold" panose="020B0702040204020203" pitchFamily="34" charset="0"/>
                <a:ea typeface="+mj-ea"/>
                <a:cs typeface="Segoe UI Semibold" panose="020B0702040204020203" pitchFamily="34" charset="0"/>
              </a:defRPr>
            </a:lvl1pPr>
            <a:lvl2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2pPr>
            <a:lvl3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3pPr>
            <a:lvl4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4pPr>
            <a:lvl5pPr marL="0" indent="0" algn="l" defTabSz="914400" rtl="0" eaLnBrk="1" latinLnBrk="0" hangingPunct="1">
              <a:lnSpc>
                <a:spcPct val="90000"/>
              </a:lnSpc>
              <a:spcBef>
                <a:spcPct val="0"/>
              </a:spcBef>
              <a:buNone/>
              <a:defRPr lang="en-IN" sz="1400" b="1" i="1" kern="1200" dirty="0">
                <a:solidFill>
                  <a:schemeClr val="bg1">
                    <a:lumMod val="50000"/>
                  </a:schemeClr>
                </a:solidFill>
                <a:latin typeface="+mj-lt"/>
                <a:ea typeface="+mj-ea"/>
                <a:cs typeface="+mj-cs"/>
              </a:defRPr>
            </a:lvl5pPr>
          </a:lstStyle>
          <a:p>
            <a:pPr lvl="0"/>
            <a:r>
              <a:rPr lang="en-US"/>
              <a:t>Click to edit Master text styles</a:t>
            </a:r>
          </a:p>
        </p:txBody>
      </p:sp>
      <p:sp>
        <p:nvSpPr>
          <p:cNvPr id="8" name="Text Placeholder 2">
            <a:extLst>
              <a:ext uri="{FF2B5EF4-FFF2-40B4-BE49-F238E27FC236}">
                <a16:creationId xmlns:a16="http://schemas.microsoft.com/office/drawing/2014/main" id="{9B980E67-3143-FEB0-2ADE-D495611217D2}"/>
              </a:ext>
            </a:extLst>
          </p:cNvPr>
          <p:cNvSpPr>
            <a:spLocks noGrp="1"/>
          </p:cNvSpPr>
          <p:nvPr>
            <p:ph type="body" idx="1"/>
          </p:nvPr>
        </p:nvSpPr>
        <p:spPr>
          <a:xfrm>
            <a:off x="344487" y="896797"/>
            <a:ext cx="11202353"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9" name="Group 8">
            <a:extLst>
              <a:ext uri="{FF2B5EF4-FFF2-40B4-BE49-F238E27FC236}">
                <a16:creationId xmlns:a16="http://schemas.microsoft.com/office/drawing/2014/main" id="{D5075BD3-89A8-BD66-B990-8C5C8BF24DE8}"/>
              </a:ext>
            </a:extLst>
          </p:cNvPr>
          <p:cNvGrpSpPr/>
          <p:nvPr userDrawn="1"/>
        </p:nvGrpSpPr>
        <p:grpSpPr>
          <a:xfrm>
            <a:off x="344486" y="1214416"/>
            <a:ext cx="11505600" cy="55768"/>
            <a:chOff x="344487" y="1214416"/>
            <a:chExt cx="5561013" cy="55768"/>
          </a:xfrm>
        </p:grpSpPr>
        <p:cxnSp>
          <p:nvCxnSpPr>
            <p:cNvPr id="17" name="Straight Connector 16">
              <a:extLst>
                <a:ext uri="{FF2B5EF4-FFF2-40B4-BE49-F238E27FC236}">
                  <a16:creationId xmlns:a16="http://schemas.microsoft.com/office/drawing/2014/main" id="{13A7490D-AA01-8B1C-B30C-74570B55C7C9}"/>
                </a:ext>
              </a:extLst>
            </p:cNvPr>
            <p:cNvCxnSpPr>
              <a:cxnSpLocks/>
            </p:cNvCxnSpPr>
            <p:nvPr/>
          </p:nvCxnSpPr>
          <p:spPr>
            <a:xfrm>
              <a:off x="398568" y="1242300"/>
              <a:ext cx="5506932"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B22425A8-A8B8-A42D-9044-C07FF39DDB19}"/>
                </a:ext>
              </a:extLst>
            </p:cNvPr>
            <p:cNvSpPr/>
            <p:nvPr/>
          </p:nvSpPr>
          <p:spPr>
            <a:xfrm>
              <a:off x="344487" y="1214416"/>
              <a:ext cx="264479" cy="55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prstClr val="white"/>
                </a:solidFill>
                <a:effectLst/>
                <a:uLnTx/>
                <a:uFillTx/>
                <a:latin typeface="Segoe UI"/>
                <a:ea typeface="+mn-ea"/>
                <a:cs typeface="+mn-cs"/>
              </a:endParaRPr>
            </a:p>
          </p:txBody>
        </p:sp>
      </p:grpSp>
      <p:sp>
        <p:nvSpPr>
          <p:cNvPr id="23" name="Text Placeholder 2">
            <a:extLst>
              <a:ext uri="{FF2B5EF4-FFF2-40B4-BE49-F238E27FC236}">
                <a16:creationId xmlns:a16="http://schemas.microsoft.com/office/drawing/2014/main" id="{836E93AB-1504-A8D0-4F0C-6238B1CC8E10}"/>
              </a:ext>
            </a:extLst>
          </p:cNvPr>
          <p:cNvSpPr>
            <a:spLocks noGrp="1"/>
          </p:cNvSpPr>
          <p:nvPr>
            <p:ph idx="15"/>
          </p:nvPr>
        </p:nvSpPr>
        <p:spPr>
          <a:xfrm>
            <a:off x="343500" y="1325880"/>
            <a:ext cx="11505600" cy="2286000"/>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FD670B5C-A521-B775-848E-0CA96BF4A812}"/>
              </a:ext>
            </a:extLst>
          </p:cNvPr>
          <p:cNvSpPr>
            <a:spLocks noGrp="1"/>
          </p:cNvSpPr>
          <p:nvPr>
            <p:ph type="body" idx="13"/>
          </p:nvPr>
        </p:nvSpPr>
        <p:spPr>
          <a:xfrm>
            <a:off x="344487" y="3800417"/>
            <a:ext cx="5157787"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25" name="Group 24">
            <a:extLst>
              <a:ext uri="{FF2B5EF4-FFF2-40B4-BE49-F238E27FC236}">
                <a16:creationId xmlns:a16="http://schemas.microsoft.com/office/drawing/2014/main" id="{0A5763FB-0486-337E-4AA9-23EB27F79258}"/>
              </a:ext>
            </a:extLst>
          </p:cNvPr>
          <p:cNvGrpSpPr/>
          <p:nvPr userDrawn="1"/>
        </p:nvGrpSpPr>
        <p:grpSpPr>
          <a:xfrm>
            <a:off x="344487" y="4118036"/>
            <a:ext cx="5561013" cy="55768"/>
            <a:chOff x="344487" y="1214416"/>
            <a:chExt cx="5561013" cy="55768"/>
          </a:xfrm>
        </p:grpSpPr>
        <p:cxnSp>
          <p:nvCxnSpPr>
            <p:cNvPr id="26" name="Straight Connector 25">
              <a:extLst>
                <a:ext uri="{FF2B5EF4-FFF2-40B4-BE49-F238E27FC236}">
                  <a16:creationId xmlns:a16="http://schemas.microsoft.com/office/drawing/2014/main" id="{7FB08237-9F89-A49E-69B7-C8A0B5EC987F}"/>
                </a:ext>
              </a:extLst>
            </p:cNvPr>
            <p:cNvCxnSpPr>
              <a:cxnSpLocks/>
            </p:cNvCxnSpPr>
            <p:nvPr/>
          </p:nvCxnSpPr>
          <p:spPr>
            <a:xfrm>
              <a:off x="398568" y="1242300"/>
              <a:ext cx="5506932"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D867A3A3-4F97-C5B0-875D-E459441CDF3B}"/>
                </a:ext>
              </a:extLst>
            </p:cNvPr>
            <p:cNvSpPr/>
            <p:nvPr/>
          </p:nvSpPr>
          <p:spPr>
            <a:xfrm>
              <a:off x="344487" y="1214416"/>
              <a:ext cx="545724" cy="55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9" name="Text Placeholder 2">
            <a:extLst>
              <a:ext uri="{FF2B5EF4-FFF2-40B4-BE49-F238E27FC236}">
                <a16:creationId xmlns:a16="http://schemas.microsoft.com/office/drawing/2014/main" id="{F2613B46-E084-8A98-E099-69758417F756}"/>
              </a:ext>
            </a:extLst>
          </p:cNvPr>
          <p:cNvSpPr>
            <a:spLocks noGrp="1"/>
          </p:cNvSpPr>
          <p:nvPr>
            <p:ph type="body" idx="14"/>
          </p:nvPr>
        </p:nvSpPr>
        <p:spPr>
          <a:xfrm>
            <a:off x="6288087" y="3800417"/>
            <a:ext cx="5157787"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30" name="Group 29">
            <a:extLst>
              <a:ext uri="{FF2B5EF4-FFF2-40B4-BE49-F238E27FC236}">
                <a16:creationId xmlns:a16="http://schemas.microsoft.com/office/drawing/2014/main" id="{6410B51E-311C-BDD5-2E3A-CE1946D10E84}"/>
              </a:ext>
            </a:extLst>
          </p:cNvPr>
          <p:cNvGrpSpPr/>
          <p:nvPr userDrawn="1"/>
        </p:nvGrpSpPr>
        <p:grpSpPr>
          <a:xfrm>
            <a:off x="6288087" y="4118036"/>
            <a:ext cx="5561013" cy="55768"/>
            <a:chOff x="671913" y="1348872"/>
            <a:chExt cx="4897195" cy="89815"/>
          </a:xfrm>
        </p:grpSpPr>
        <p:cxnSp>
          <p:nvCxnSpPr>
            <p:cNvPr id="31" name="Straight Connector 30">
              <a:extLst>
                <a:ext uri="{FF2B5EF4-FFF2-40B4-BE49-F238E27FC236}">
                  <a16:creationId xmlns:a16="http://schemas.microsoft.com/office/drawing/2014/main" id="{F895D631-F959-63D6-CADE-60D9D6A4AD35}"/>
                </a:ext>
              </a:extLst>
            </p:cNvPr>
            <p:cNvCxnSpPr>
              <a:cxnSpLocks/>
            </p:cNvCxnSpPr>
            <p:nvPr/>
          </p:nvCxnSpPr>
          <p:spPr>
            <a:xfrm>
              <a:off x="719538" y="1393780"/>
              <a:ext cx="4849570"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F2B67D7A-F453-67BD-3108-D1699D780DE2}"/>
                </a:ext>
              </a:extLst>
            </p:cNvPr>
            <p:cNvSpPr/>
            <p:nvPr/>
          </p:nvSpPr>
          <p:spPr>
            <a:xfrm>
              <a:off x="671913" y="1348872"/>
              <a:ext cx="480581" cy="898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prstClr val="white"/>
                </a:solidFill>
                <a:effectLst/>
                <a:uLnTx/>
                <a:uFillTx/>
                <a:latin typeface="Segoe UI"/>
                <a:ea typeface="+mn-ea"/>
                <a:cs typeface="+mn-cs"/>
              </a:endParaRPr>
            </a:p>
          </p:txBody>
        </p:sp>
      </p:grpSp>
      <p:sp>
        <p:nvSpPr>
          <p:cNvPr id="33" name="Text Placeholder 2">
            <a:extLst>
              <a:ext uri="{FF2B5EF4-FFF2-40B4-BE49-F238E27FC236}">
                <a16:creationId xmlns:a16="http://schemas.microsoft.com/office/drawing/2014/main" id="{F1AAE546-A934-62C3-C490-47D53728FB4D}"/>
              </a:ext>
            </a:extLst>
          </p:cNvPr>
          <p:cNvSpPr>
            <a:spLocks noGrp="1"/>
          </p:cNvSpPr>
          <p:nvPr>
            <p:ph idx="17"/>
          </p:nvPr>
        </p:nvSpPr>
        <p:spPr>
          <a:xfrm>
            <a:off x="343500" y="4229500"/>
            <a:ext cx="5562000" cy="2286000"/>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ext Placeholder 2">
            <a:extLst>
              <a:ext uri="{FF2B5EF4-FFF2-40B4-BE49-F238E27FC236}">
                <a16:creationId xmlns:a16="http://schemas.microsoft.com/office/drawing/2014/main" id="{735367DA-B3DE-865C-B1E1-75522F9CD31E}"/>
              </a:ext>
            </a:extLst>
          </p:cNvPr>
          <p:cNvSpPr>
            <a:spLocks noGrp="1"/>
          </p:cNvSpPr>
          <p:nvPr>
            <p:ph idx="18"/>
          </p:nvPr>
        </p:nvSpPr>
        <p:spPr>
          <a:xfrm>
            <a:off x="6287100" y="4229500"/>
            <a:ext cx="5562000" cy="2286000"/>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ext Placeholder 5">
            <a:extLst>
              <a:ext uri="{FF2B5EF4-FFF2-40B4-BE49-F238E27FC236}">
                <a16:creationId xmlns:a16="http://schemas.microsoft.com/office/drawing/2014/main" id="{0FAA8A59-09C6-6AFD-A255-042C23B5B2AE}"/>
              </a:ext>
            </a:extLst>
          </p:cNvPr>
          <p:cNvSpPr>
            <a:spLocks noGrp="1"/>
          </p:cNvSpPr>
          <p:nvPr>
            <p:ph type="body" sz="quarter" idx="11" hasCustomPrompt="1"/>
          </p:nvPr>
        </p:nvSpPr>
        <p:spPr>
          <a:xfrm>
            <a:off x="3319462" y="6637956"/>
            <a:ext cx="7318058" cy="157512"/>
          </a:xfrm>
        </p:spPr>
        <p:txBody>
          <a:bodyPr lIns="36000" anchor="ctr"/>
          <a:lstStyle>
            <a:lvl1pPr marL="0" indent="0">
              <a:buNone/>
              <a:defRPr sz="800">
                <a:solidFill>
                  <a:schemeClr val="bg1"/>
                </a:solidFill>
              </a:defRPr>
            </a:lvl1pPr>
          </a:lstStyle>
          <a:p>
            <a:pPr lvl="0"/>
            <a:r>
              <a:rPr lang="en-US"/>
              <a:t>Footnotes</a:t>
            </a:r>
            <a:endParaRPr lang="en-IN"/>
          </a:p>
        </p:txBody>
      </p:sp>
    </p:spTree>
    <p:extLst>
      <p:ext uri="{BB962C8B-B14F-4D97-AF65-F5344CB8AC3E}">
        <p14:creationId xmlns:p14="http://schemas.microsoft.com/office/powerpoint/2010/main" val="315277969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our Header">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50D20B1-6B26-45B9-ACA1-0D8BC03871D8}"/>
              </a:ext>
            </a:extLst>
          </p:cNvPr>
          <p:cNvSpPr>
            <a:spLocks noGrp="1"/>
          </p:cNvSpPr>
          <p:nvPr>
            <p:ph type="title"/>
          </p:nvPr>
        </p:nvSpPr>
        <p:spPr>
          <a:xfrm>
            <a:off x="344487" y="88836"/>
            <a:ext cx="11504613" cy="408795"/>
          </a:xfrm>
        </p:spPr>
        <p:txBody>
          <a:bodyPr/>
          <a:lstStyle/>
          <a:p>
            <a:r>
              <a:rPr lang="en-US"/>
              <a:t>Click to edit Master title style</a:t>
            </a:r>
          </a:p>
        </p:txBody>
      </p:sp>
      <p:sp>
        <p:nvSpPr>
          <p:cNvPr id="6" name="Text Placeholder 7">
            <a:extLst>
              <a:ext uri="{FF2B5EF4-FFF2-40B4-BE49-F238E27FC236}">
                <a16:creationId xmlns:a16="http://schemas.microsoft.com/office/drawing/2014/main" id="{9B6ACBC5-8B35-4F11-B076-8EC2B9686C41}"/>
              </a:ext>
            </a:extLst>
          </p:cNvPr>
          <p:cNvSpPr>
            <a:spLocks noGrp="1"/>
          </p:cNvSpPr>
          <p:nvPr>
            <p:ph type="body" sz="quarter" idx="10"/>
          </p:nvPr>
        </p:nvSpPr>
        <p:spPr>
          <a:xfrm>
            <a:off x="344488" y="487848"/>
            <a:ext cx="11504612" cy="281861"/>
          </a:xfrm>
        </p:spPr>
        <p:txBody>
          <a:bodyPr anchor="ctr"/>
          <a:lstStyle>
            <a:lvl1pPr marL="0" indent="0" algn="l" defTabSz="914400" rtl="0" eaLnBrk="1" latinLnBrk="0" hangingPunct="1">
              <a:lnSpc>
                <a:spcPct val="90000"/>
              </a:lnSpc>
              <a:spcBef>
                <a:spcPct val="0"/>
              </a:spcBef>
              <a:buNone/>
              <a:defRPr lang="en-US" sz="1400" b="1" i="0" kern="1200" dirty="0" smtClean="0">
                <a:solidFill>
                  <a:srgbClr val="595959"/>
                </a:solidFill>
                <a:latin typeface="Segoe UI Semibold" panose="020B0702040204020203" pitchFamily="34" charset="0"/>
                <a:ea typeface="+mj-ea"/>
                <a:cs typeface="Segoe UI Semibold" panose="020B0702040204020203" pitchFamily="34" charset="0"/>
              </a:defRPr>
            </a:lvl1pPr>
            <a:lvl2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2pPr>
            <a:lvl3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3pPr>
            <a:lvl4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4pPr>
            <a:lvl5pPr marL="0" indent="0" algn="l" defTabSz="914400" rtl="0" eaLnBrk="1" latinLnBrk="0" hangingPunct="1">
              <a:lnSpc>
                <a:spcPct val="90000"/>
              </a:lnSpc>
              <a:spcBef>
                <a:spcPct val="0"/>
              </a:spcBef>
              <a:buNone/>
              <a:defRPr lang="en-IN" sz="1400" b="1" i="1" kern="1200" dirty="0">
                <a:solidFill>
                  <a:schemeClr val="bg1">
                    <a:lumMod val="50000"/>
                  </a:schemeClr>
                </a:solidFill>
                <a:latin typeface="+mj-lt"/>
                <a:ea typeface="+mj-ea"/>
                <a:cs typeface="+mj-cs"/>
              </a:defRPr>
            </a:lvl5pPr>
          </a:lstStyle>
          <a:p>
            <a:pPr lvl="0"/>
            <a:r>
              <a:rPr lang="en-US"/>
              <a:t>Click to edit Master text styles</a:t>
            </a:r>
          </a:p>
        </p:txBody>
      </p:sp>
      <p:sp>
        <p:nvSpPr>
          <p:cNvPr id="2" name="Text Placeholder 5">
            <a:extLst>
              <a:ext uri="{FF2B5EF4-FFF2-40B4-BE49-F238E27FC236}">
                <a16:creationId xmlns:a16="http://schemas.microsoft.com/office/drawing/2014/main" id="{1AAF154C-D019-928E-124D-92A3C02B9976}"/>
              </a:ext>
            </a:extLst>
          </p:cNvPr>
          <p:cNvSpPr>
            <a:spLocks noGrp="1"/>
          </p:cNvSpPr>
          <p:nvPr>
            <p:ph type="body" sz="quarter" idx="11" hasCustomPrompt="1"/>
          </p:nvPr>
        </p:nvSpPr>
        <p:spPr>
          <a:xfrm>
            <a:off x="3319462" y="6637956"/>
            <a:ext cx="7318058" cy="157512"/>
          </a:xfrm>
        </p:spPr>
        <p:txBody>
          <a:bodyPr lIns="36000" anchor="ctr"/>
          <a:lstStyle>
            <a:lvl1pPr marL="0" indent="0">
              <a:buNone/>
              <a:defRPr sz="800">
                <a:solidFill>
                  <a:schemeClr val="bg1"/>
                </a:solidFill>
              </a:defRPr>
            </a:lvl1pPr>
          </a:lstStyle>
          <a:p>
            <a:pPr lvl="0"/>
            <a:r>
              <a:rPr lang="en-US"/>
              <a:t>Footnotes</a:t>
            </a:r>
            <a:endParaRPr lang="en-IN"/>
          </a:p>
        </p:txBody>
      </p:sp>
      <p:sp>
        <p:nvSpPr>
          <p:cNvPr id="25" name="Text Placeholder 2">
            <a:extLst>
              <a:ext uri="{FF2B5EF4-FFF2-40B4-BE49-F238E27FC236}">
                <a16:creationId xmlns:a16="http://schemas.microsoft.com/office/drawing/2014/main" id="{B649D142-DF3F-46EA-7F65-9AB5205769D7}"/>
              </a:ext>
            </a:extLst>
          </p:cNvPr>
          <p:cNvSpPr>
            <a:spLocks noGrp="1"/>
          </p:cNvSpPr>
          <p:nvPr>
            <p:ph idx="15"/>
          </p:nvPr>
        </p:nvSpPr>
        <p:spPr>
          <a:xfrm>
            <a:off x="343500" y="1325880"/>
            <a:ext cx="5562000" cy="2286000"/>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3764688D-FB67-7AFC-446D-F869973432AB}"/>
              </a:ext>
            </a:extLst>
          </p:cNvPr>
          <p:cNvSpPr>
            <a:spLocks noGrp="1"/>
          </p:cNvSpPr>
          <p:nvPr>
            <p:ph idx="16"/>
          </p:nvPr>
        </p:nvSpPr>
        <p:spPr>
          <a:xfrm>
            <a:off x="6287100" y="1325880"/>
            <a:ext cx="5562000" cy="2286000"/>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 Placeholder 2">
            <a:extLst>
              <a:ext uri="{FF2B5EF4-FFF2-40B4-BE49-F238E27FC236}">
                <a16:creationId xmlns:a16="http://schemas.microsoft.com/office/drawing/2014/main" id="{000EC6B4-8CBA-98FE-E605-7612ED3494CF}"/>
              </a:ext>
            </a:extLst>
          </p:cNvPr>
          <p:cNvSpPr>
            <a:spLocks noGrp="1"/>
          </p:cNvSpPr>
          <p:nvPr>
            <p:ph idx="17"/>
          </p:nvPr>
        </p:nvSpPr>
        <p:spPr>
          <a:xfrm>
            <a:off x="343500" y="4229500"/>
            <a:ext cx="5562000" cy="2286000"/>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ext Placeholder 2">
            <a:extLst>
              <a:ext uri="{FF2B5EF4-FFF2-40B4-BE49-F238E27FC236}">
                <a16:creationId xmlns:a16="http://schemas.microsoft.com/office/drawing/2014/main" id="{1C816339-DE76-873B-F192-13A6C88801E1}"/>
              </a:ext>
            </a:extLst>
          </p:cNvPr>
          <p:cNvSpPr>
            <a:spLocks noGrp="1"/>
          </p:cNvSpPr>
          <p:nvPr>
            <p:ph idx="18"/>
          </p:nvPr>
        </p:nvSpPr>
        <p:spPr>
          <a:xfrm>
            <a:off x="6287100" y="4229500"/>
            <a:ext cx="5562000" cy="2286000"/>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6487176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ive Header">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50D20B1-6B26-45B9-ACA1-0D8BC03871D8}"/>
              </a:ext>
            </a:extLst>
          </p:cNvPr>
          <p:cNvSpPr>
            <a:spLocks noGrp="1"/>
          </p:cNvSpPr>
          <p:nvPr>
            <p:ph type="title"/>
          </p:nvPr>
        </p:nvSpPr>
        <p:spPr>
          <a:xfrm>
            <a:off x="344487" y="88836"/>
            <a:ext cx="11504613" cy="408795"/>
          </a:xfrm>
        </p:spPr>
        <p:txBody>
          <a:bodyPr/>
          <a:lstStyle/>
          <a:p>
            <a:r>
              <a:rPr lang="en-US"/>
              <a:t>Click to edit Master title style</a:t>
            </a:r>
          </a:p>
        </p:txBody>
      </p:sp>
      <p:sp>
        <p:nvSpPr>
          <p:cNvPr id="6" name="Text Placeholder 7">
            <a:extLst>
              <a:ext uri="{FF2B5EF4-FFF2-40B4-BE49-F238E27FC236}">
                <a16:creationId xmlns:a16="http://schemas.microsoft.com/office/drawing/2014/main" id="{9B6ACBC5-8B35-4F11-B076-8EC2B9686C41}"/>
              </a:ext>
            </a:extLst>
          </p:cNvPr>
          <p:cNvSpPr>
            <a:spLocks noGrp="1"/>
          </p:cNvSpPr>
          <p:nvPr>
            <p:ph type="body" sz="quarter" idx="10"/>
          </p:nvPr>
        </p:nvSpPr>
        <p:spPr>
          <a:xfrm>
            <a:off x="344488" y="487848"/>
            <a:ext cx="11504612" cy="281861"/>
          </a:xfrm>
        </p:spPr>
        <p:txBody>
          <a:bodyPr anchor="ctr"/>
          <a:lstStyle>
            <a:lvl1pPr marL="0" indent="0" algn="l" defTabSz="914400" rtl="0" eaLnBrk="1" latinLnBrk="0" hangingPunct="1">
              <a:lnSpc>
                <a:spcPct val="90000"/>
              </a:lnSpc>
              <a:spcBef>
                <a:spcPct val="0"/>
              </a:spcBef>
              <a:buNone/>
              <a:defRPr lang="en-US" sz="1400" b="1" i="0" kern="1200" dirty="0" smtClean="0">
                <a:solidFill>
                  <a:srgbClr val="595959"/>
                </a:solidFill>
                <a:latin typeface="Segoe UI Semibold" panose="020B0702040204020203" pitchFamily="34" charset="0"/>
                <a:ea typeface="+mj-ea"/>
                <a:cs typeface="Segoe UI Semibold" panose="020B0702040204020203" pitchFamily="34" charset="0"/>
              </a:defRPr>
            </a:lvl1pPr>
            <a:lvl2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2pPr>
            <a:lvl3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3pPr>
            <a:lvl4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4pPr>
            <a:lvl5pPr marL="0" indent="0" algn="l" defTabSz="914400" rtl="0" eaLnBrk="1" latinLnBrk="0" hangingPunct="1">
              <a:lnSpc>
                <a:spcPct val="90000"/>
              </a:lnSpc>
              <a:spcBef>
                <a:spcPct val="0"/>
              </a:spcBef>
              <a:buNone/>
              <a:defRPr lang="en-IN" sz="1400" b="1" i="1" kern="1200" dirty="0">
                <a:solidFill>
                  <a:schemeClr val="bg1">
                    <a:lumMod val="50000"/>
                  </a:schemeClr>
                </a:solidFill>
                <a:latin typeface="+mj-lt"/>
                <a:ea typeface="+mj-ea"/>
                <a:cs typeface="+mj-cs"/>
              </a:defRPr>
            </a:lvl5pPr>
          </a:lstStyle>
          <a:p>
            <a:pPr lvl="0"/>
            <a:r>
              <a:rPr lang="en-US"/>
              <a:t>Click to edit Master text styles</a:t>
            </a:r>
          </a:p>
        </p:txBody>
      </p:sp>
      <p:sp>
        <p:nvSpPr>
          <p:cNvPr id="17" name="Text Placeholder 2">
            <a:extLst>
              <a:ext uri="{FF2B5EF4-FFF2-40B4-BE49-F238E27FC236}">
                <a16:creationId xmlns:a16="http://schemas.microsoft.com/office/drawing/2014/main" id="{DE9CA1BB-81C1-3DDE-F8A7-05DEAC433832}"/>
              </a:ext>
            </a:extLst>
          </p:cNvPr>
          <p:cNvSpPr>
            <a:spLocks noGrp="1"/>
          </p:cNvSpPr>
          <p:nvPr>
            <p:ph type="body" idx="1"/>
          </p:nvPr>
        </p:nvSpPr>
        <p:spPr>
          <a:xfrm>
            <a:off x="344487" y="896797"/>
            <a:ext cx="5157787"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19" name="Group 18">
            <a:extLst>
              <a:ext uri="{FF2B5EF4-FFF2-40B4-BE49-F238E27FC236}">
                <a16:creationId xmlns:a16="http://schemas.microsoft.com/office/drawing/2014/main" id="{1C437E69-259A-4D93-85B7-739A88FCFC39}"/>
              </a:ext>
            </a:extLst>
          </p:cNvPr>
          <p:cNvGrpSpPr/>
          <p:nvPr userDrawn="1"/>
        </p:nvGrpSpPr>
        <p:grpSpPr>
          <a:xfrm>
            <a:off x="344487" y="1214416"/>
            <a:ext cx="5561013" cy="55768"/>
            <a:chOff x="344487" y="1214416"/>
            <a:chExt cx="5561013" cy="55768"/>
          </a:xfrm>
        </p:grpSpPr>
        <p:cxnSp>
          <p:nvCxnSpPr>
            <p:cNvPr id="8" name="Straight Connector 7">
              <a:extLst>
                <a:ext uri="{FF2B5EF4-FFF2-40B4-BE49-F238E27FC236}">
                  <a16:creationId xmlns:a16="http://schemas.microsoft.com/office/drawing/2014/main" id="{CBC944B2-5B81-4284-24E4-CF9E3058C579}"/>
                </a:ext>
              </a:extLst>
            </p:cNvPr>
            <p:cNvCxnSpPr>
              <a:cxnSpLocks/>
            </p:cNvCxnSpPr>
            <p:nvPr/>
          </p:nvCxnSpPr>
          <p:spPr>
            <a:xfrm>
              <a:off x="398568" y="1242300"/>
              <a:ext cx="5506932"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CA5B0CB2-7B37-3A9F-911D-9B5245C564E4}"/>
                </a:ext>
              </a:extLst>
            </p:cNvPr>
            <p:cNvSpPr/>
            <p:nvPr/>
          </p:nvSpPr>
          <p:spPr>
            <a:xfrm>
              <a:off x="344487" y="1214416"/>
              <a:ext cx="545724" cy="55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prstClr val="white"/>
                </a:solidFill>
                <a:effectLst/>
                <a:uLnTx/>
                <a:uFillTx/>
                <a:latin typeface="Segoe UI"/>
                <a:ea typeface="+mn-ea"/>
                <a:cs typeface="+mn-cs"/>
              </a:endParaRPr>
            </a:p>
          </p:txBody>
        </p:sp>
      </p:grpSp>
      <p:sp>
        <p:nvSpPr>
          <p:cNvPr id="18" name="Text Placeholder 2">
            <a:extLst>
              <a:ext uri="{FF2B5EF4-FFF2-40B4-BE49-F238E27FC236}">
                <a16:creationId xmlns:a16="http://schemas.microsoft.com/office/drawing/2014/main" id="{CE4CC8C8-0E01-4E7E-59CB-54EBC3FCD14F}"/>
              </a:ext>
            </a:extLst>
          </p:cNvPr>
          <p:cNvSpPr>
            <a:spLocks noGrp="1"/>
          </p:cNvSpPr>
          <p:nvPr>
            <p:ph type="body" idx="12"/>
          </p:nvPr>
        </p:nvSpPr>
        <p:spPr>
          <a:xfrm>
            <a:off x="6288087" y="896797"/>
            <a:ext cx="5157787"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11" name="Group 10">
            <a:extLst>
              <a:ext uri="{FF2B5EF4-FFF2-40B4-BE49-F238E27FC236}">
                <a16:creationId xmlns:a16="http://schemas.microsoft.com/office/drawing/2014/main" id="{E12FE721-4FA0-4493-AE93-A96BE344DB84}"/>
              </a:ext>
            </a:extLst>
          </p:cNvPr>
          <p:cNvGrpSpPr/>
          <p:nvPr/>
        </p:nvGrpSpPr>
        <p:grpSpPr>
          <a:xfrm>
            <a:off x="6288087" y="1214416"/>
            <a:ext cx="5561013" cy="55768"/>
            <a:chOff x="671913" y="1348872"/>
            <a:chExt cx="4897195" cy="89815"/>
          </a:xfrm>
        </p:grpSpPr>
        <p:cxnSp>
          <p:nvCxnSpPr>
            <p:cNvPr id="13" name="Straight Connector 12">
              <a:extLst>
                <a:ext uri="{FF2B5EF4-FFF2-40B4-BE49-F238E27FC236}">
                  <a16:creationId xmlns:a16="http://schemas.microsoft.com/office/drawing/2014/main" id="{BE5167E5-F310-164C-669A-06765F060FF5}"/>
                </a:ext>
              </a:extLst>
            </p:cNvPr>
            <p:cNvCxnSpPr>
              <a:cxnSpLocks/>
            </p:cNvCxnSpPr>
            <p:nvPr/>
          </p:nvCxnSpPr>
          <p:spPr>
            <a:xfrm>
              <a:off x="719538" y="1393780"/>
              <a:ext cx="4849570"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DF8EAF54-BCC1-349D-7040-16DAD0F1F9BD}"/>
                </a:ext>
              </a:extLst>
            </p:cNvPr>
            <p:cNvSpPr/>
            <p:nvPr/>
          </p:nvSpPr>
          <p:spPr>
            <a:xfrm>
              <a:off x="671913" y="1348872"/>
              <a:ext cx="480581" cy="898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5" name="Text Placeholder 2">
            <a:extLst>
              <a:ext uri="{FF2B5EF4-FFF2-40B4-BE49-F238E27FC236}">
                <a16:creationId xmlns:a16="http://schemas.microsoft.com/office/drawing/2014/main" id="{B649D142-DF3F-46EA-7F65-9AB5205769D7}"/>
              </a:ext>
            </a:extLst>
          </p:cNvPr>
          <p:cNvSpPr>
            <a:spLocks noGrp="1"/>
          </p:cNvSpPr>
          <p:nvPr>
            <p:ph idx="15"/>
          </p:nvPr>
        </p:nvSpPr>
        <p:spPr>
          <a:xfrm>
            <a:off x="343500" y="1325880"/>
            <a:ext cx="5562000" cy="2286000"/>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3764688D-FB67-7AFC-446D-F869973432AB}"/>
              </a:ext>
            </a:extLst>
          </p:cNvPr>
          <p:cNvSpPr>
            <a:spLocks noGrp="1"/>
          </p:cNvSpPr>
          <p:nvPr>
            <p:ph idx="16"/>
          </p:nvPr>
        </p:nvSpPr>
        <p:spPr>
          <a:xfrm>
            <a:off x="6287100" y="1325880"/>
            <a:ext cx="5562000" cy="2286000"/>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5">
            <a:extLst>
              <a:ext uri="{FF2B5EF4-FFF2-40B4-BE49-F238E27FC236}">
                <a16:creationId xmlns:a16="http://schemas.microsoft.com/office/drawing/2014/main" id="{5331A6C0-771A-F12B-3912-709F82150FEF}"/>
              </a:ext>
            </a:extLst>
          </p:cNvPr>
          <p:cNvSpPr>
            <a:spLocks noGrp="1"/>
          </p:cNvSpPr>
          <p:nvPr>
            <p:ph type="body" sz="quarter" idx="11" hasCustomPrompt="1"/>
          </p:nvPr>
        </p:nvSpPr>
        <p:spPr>
          <a:xfrm>
            <a:off x="3319462" y="6637956"/>
            <a:ext cx="7318058" cy="157512"/>
          </a:xfrm>
        </p:spPr>
        <p:txBody>
          <a:bodyPr lIns="36000" anchor="ctr"/>
          <a:lstStyle>
            <a:lvl1pPr marL="0" indent="0">
              <a:buNone/>
              <a:defRPr sz="800">
                <a:solidFill>
                  <a:schemeClr val="bg1"/>
                </a:solidFill>
              </a:defRPr>
            </a:lvl1pPr>
          </a:lstStyle>
          <a:p>
            <a:pPr lvl="0"/>
            <a:r>
              <a:rPr lang="en-US"/>
              <a:t>Footnotes</a:t>
            </a:r>
            <a:endParaRPr lang="en-IN"/>
          </a:p>
        </p:txBody>
      </p:sp>
      <p:sp>
        <p:nvSpPr>
          <p:cNvPr id="4" name="Text Placeholder 2">
            <a:extLst>
              <a:ext uri="{FF2B5EF4-FFF2-40B4-BE49-F238E27FC236}">
                <a16:creationId xmlns:a16="http://schemas.microsoft.com/office/drawing/2014/main" id="{802CA6A0-9B1C-5252-3706-D6306E0CD393}"/>
              </a:ext>
            </a:extLst>
          </p:cNvPr>
          <p:cNvSpPr>
            <a:spLocks noGrp="1"/>
          </p:cNvSpPr>
          <p:nvPr>
            <p:ph type="body" idx="13"/>
          </p:nvPr>
        </p:nvSpPr>
        <p:spPr>
          <a:xfrm>
            <a:off x="344487" y="3800417"/>
            <a:ext cx="3370263"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23" name="Group 22">
            <a:extLst>
              <a:ext uri="{FF2B5EF4-FFF2-40B4-BE49-F238E27FC236}">
                <a16:creationId xmlns:a16="http://schemas.microsoft.com/office/drawing/2014/main" id="{FBE73058-963B-F33D-77FF-F29346E1AB0C}"/>
              </a:ext>
            </a:extLst>
          </p:cNvPr>
          <p:cNvGrpSpPr/>
          <p:nvPr userDrawn="1"/>
        </p:nvGrpSpPr>
        <p:grpSpPr>
          <a:xfrm>
            <a:off x="344486" y="4118036"/>
            <a:ext cx="3618001" cy="55768"/>
            <a:chOff x="344485" y="1214416"/>
            <a:chExt cx="5561015" cy="55768"/>
          </a:xfrm>
        </p:grpSpPr>
        <p:cxnSp>
          <p:nvCxnSpPr>
            <p:cNvPr id="24" name="Straight Connector 23">
              <a:extLst>
                <a:ext uri="{FF2B5EF4-FFF2-40B4-BE49-F238E27FC236}">
                  <a16:creationId xmlns:a16="http://schemas.microsoft.com/office/drawing/2014/main" id="{4BB284FB-23ED-A5B5-A31A-F3B68323E72A}"/>
                </a:ext>
              </a:extLst>
            </p:cNvPr>
            <p:cNvCxnSpPr>
              <a:cxnSpLocks/>
            </p:cNvCxnSpPr>
            <p:nvPr/>
          </p:nvCxnSpPr>
          <p:spPr>
            <a:xfrm>
              <a:off x="398568" y="1242300"/>
              <a:ext cx="5506932"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CD95A288-AD08-64F8-8FD5-96000C61BF56}"/>
                </a:ext>
              </a:extLst>
            </p:cNvPr>
            <p:cNvSpPr/>
            <p:nvPr/>
          </p:nvSpPr>
          <p:spPr>
            <a:xfrm>
              <a:off x="344485" y="1214416"/>
              <a:ext cx="841069" cy="55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prstClr val="white"/>
                </a:solidFill>
                <a:effectLst/>
                <a:uLnTx/>
                <a:uFillTx/>
                <a:latin typeface="Segoe UI"/>
                <a:ea typeface="+mn-ea"/>
                <a:cs typeface="+mn-cs"/>
              </a:endParaRPr>
            </a:p>
          </p:txBody>
        </p:sp>
      </p:grpSp>
      <p:sp>
        <p:nvSpPr>
          <p:cNvPr id="30" name="Text Placeholder 2">
            <a:extLst>
              <a:ext uri="{FF2B5EF4-FFF2-40B4-BE49-F238E27FC236}">
                <a16:creationId xmlns:a16="http://schemas.microsoft.com/office/drawing/2014/main" id="{D0592C29-F5C9-4D61-71F0-38BC8F265A48}"/>
              </a:ext>
            </a:extLst>
          </p:cNvPr>
          <p:cNvSpPr>
            <a:spLocks noGrp="1"/>
          </p:cNvSpPr>
          <p:nvPr>
            <p:ph type="body" idx="14"/>
          </p:nvPr>
        </p:nvSpPr>
        <p:spPr>
          <a:xfrm>
            <a:off x="4287300" y="3800417"/>
            <a:ext cx="3370263"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31" name="Group 30">
            <a:extLst>
              <a:ext uri="{FF2B5EF4-FFF2-40B4-BE49-F238E27FC236}">
                <a16:creationId xmlns:a16="http://schemas.microsoft.com/office/drawing/2014/main" id="{D1AE4677-5572-7A52-AC62-B71162059263}"/>
              </a:ext>
            </a:extLst>
          </p:cNvPr>
          <p:cNvGrpSpPr/>
          <p:nvPr userDrawn="1"/>
        </p:nvGrpSpPr>
        <p:grpSpPr>
          <a:xfrm>
            <a:off x="4287299" y="4118036"/>
            <a:ext cx="3618001" cy="55768"/>
            <a:chOff x="671912" y="1348872"/>
            <a:chExt cx="4897196" cy="89815"/>
          </a:xfrm>
        </p:grpSpPr>
        <p:cxnSp>
          <p:nvCxnSpPr>
            <p:cNvPr id="32" name="Straight Connector 31">
              <a:extLst>
                <a:ext uri="{FF2B5EF4-FFF2-40B4-BE49-F238E27FC236}">
                  <a16:creationId xmlns:a16="http://schemas.microsoft.com/office/drawing/2014/main" id="{432C657C-8F5A-9BBC-875E-047BECB3C13B}"/>
                </a:ext>
              </a:extLst>
            </p:cNvPr>
            <p:cNvCxnSpPr>
              <a:cxnSpLocks/>
            </p:cNvCxnSpPr>
            <p:nvPr/>
          </p:nvCxnSpPr>
          <p:spPr>
            <a:xfrm>
              <a:off x="719538" y="1393780"/>
              <a:ext cx="4849570"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4CCCCF51-7CC9-AAFC-7153-4B7B09593C31}"/>
                </a:ext>
              </a:extLst>
            </p:cNvPr>
            <p:cNvSpPr/>
            <p:nvPr/>
          </p:nvSpPr>
          <p:spPr>
            <a:xfrm>
              <a:off x="671912" y="1348872"/>
              <a:ext cx="740670" cy="898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prstClr val="white"/>
                </a:solidFill>
                <a:effectLst/>
                <a:uLnTx/>
                <a:uFillTx/>
                <a:latin typeface="Segoe UI"/>
                <a:ea typeface="+mn-ea"/>
                <a:cs typeface="+mn-cs"/>
              </a:endParaRPr>
            </a:p>
          </p:txBody>
        </p:sp>
      </p:grpSp>
      <p:sp>
        <p:nvSpPr>
          <p:cNvPr id="34" name="Text Placeholder 2">
            <a:extLst>
              <a:ext uri="{FF2B5EF4-FFF2-40B4-BE49-F238E27FC236}">
                <a16:creationId xmlns:a16="http://schemas.microsoft.com/office/drawing/2014/main" id="{5A1CD408-8560-3B13-2EC8-A2619EFDB259}"/>
              </a:ext>
            </a:extLst>
          </p:cNvPr>
          <p:cNvSpPr>
            <a:spLocks noGrp="1"/>
          </p:cNvSpPr>
          <p:nvPr>
            <p:ph idx="17"/>
          </p:nvPr>
        </p:nvSpPr>
        <p:spPr>
          <a:xfrm>
            <a:off x="343500" y="4229500"/>
            <a:ext cx="3618900" cy="2286000"/>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5" name="Text Placeholder 2">
            <a:extLst>
              <a:ext uri="{FF2B5EF4-FFF2-40B4-BE49-F238E27FC236}">
                <a16:creationId xmlns:a16="http://schemas.microsoft.com/office/drawing/2014/main" id="{05EBB6DC-4C1B-2E95-5010-CE8B23FD19D7}"/>
              </a:ext>
            </a:extLst>
          </p:cNvPr>
          <p:cNvSpPr>
            <a:spLocks noGrp="1"/>
          </p:cNvSpPr>
          <p:nvPr>
            <p:ph idx="18"/>
          </p:nvPr>
        </p:nvSpPr>
        <p:spPr>
          <a:xfrm>
            <a:off x="8230200" y="4229500"/>
            <a:ext cx="3618900" cy="2286000"/>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6" name="Text Placeholder 2">
            <a:extLst>
              <a:ext uri="{FF2B5EF4-FFF2-40B4-BE49-F238E27FC236}">
                <a16:creationId xmlns:a16="http://schemas.microsoft.com/office/drawing/2014/main" id="{86BA42FF-76AC-6C9E-2AB8-7450E54E9DB7}"/>
              </a:ext>
            </a:extLst>
          </p:cNvPr>
          <p:cNvSpPr>
            <a:spLocks noGrp="1"/>
          </p:cNvSpPr>
          <p:nvPr>
            <p:ph idx="20"/>
          </p:nvPr>
        </p:nvSpPr>
        <p:spPr>
          <a:xfrm>
            <a:off x="4286400" y="4229500"/>
            <a:ext cx="3618900" cy="2286000"/>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7" name="Text Placeholder 2">
            <a:extLst>
              <a:ext uri="{FF2B5EF4-FFF2-40B4-BE49-F238E27FC236}">
                <a16:creationId xmlns:a16="http://schemas.microsoft.com/office/drawing/2014/main" id="{24D02C34-9A09-2778-AB7D-537E0A99BB34}"/>
              </a:ext>
            </a:extLst>
          </p:cNvPr>
          <p:cNvSpPr>
            <a:spLocks noGrp="1"/>
          </p:cNvSpPr>
          <p:nvPr>
            <p:ph type="body" idx="22"/>
          </p:nvPr>
        </p:nvSpPr>
        <p:spPr>
          <a:xfrm>
            <a:off x="8230200" y="3800417"/>
            <a:ext cx="3370263"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38" name="Group 37">
            <a:extLst>
              <a:ext uri="{FF2B5EF4-FFF2-40B4-BE49-F238E27FC236}">
                <a16:creationId xmlns:a16="http://schemas.microsoft.com/office/drawing/2014/main" id="{A265DAFD-9030-75FC-9110-F80A22D09E92}"/>
              </a:ext>
            </a:extLst>
          </p:cNvPr>
          <p:cNvGrpSpPr/>
          <p:nvPr userDrawn="1"/>
        </p:nvGrpSpPr>
        <p:grpSpPr>
          <a:xfrm>
            <a:off x="8230199" y="4118036"/>
            <a:ext cx="3618001" cy="55768"/>
            <a:chOff x="671912" y="1348872"/>
            <a:chExt cx="4897196" cy="89815"/>
          </a:xfrm>
        </p:grpSpPr>
        <p:cxnSp>
          <p:nvCxnSpPr>
            <p:cNvPr id="39" name="Straight Connector 38">
              <a:extLst>
                <a:ext uri="{FF2B5EF4-FFF2-40B4-BE49-F238E27FC236}">
                  <a16:creationId xmlns:a16="http://schemas.microsoft.com/office/drawing/2014/main" id="{99F76A62-5721-392D-57B8-4F0A35F33984}"/>
                </a:ext>
              </a:extLst>
            </p:cNvPr>
            <p:cNvCxnSpPr>
              <a:cxnSpLocks/>
            </p:cNvCxnSpPr>
            <p:nvPr/>
          </p:nvCxnSpPr>
          <p:spPr>
            <a:xfrm>
              <a:off x="719538" y="1393780"/>
              <a:ext cx="4849570"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EE985E43-F051-A4FB-2659-1A276BF55D00}"/>
                </a:ext>
              </a:extLst>
            </p:cNvPr>
            <p:cNvSpPr/>
            <p:nvPr/>
          </p:nvSpPr>
          <p:spPr>
            <a:xfrm>
              <a:off x="671912" y="1348872"/>
              <a:ext cx="740670" cy="898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378295438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Five Header">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50D20B1-6B26-45B9-ACA1-0D8BC03871D8}"/>
              </a:ext>
            </a:extLst>
          </p:cNvPr>
          <p:cNvSpPr>
            <a:spLocks noGrp="1"/>
          </p:cNvSpPr>
          <p:nvPr>
            <p:ph type="title"/>
          </p:nvPr>
        </p:nvSpPr>
        <p:spPr>
          <a:xfrm>
            <a:off x="344487" y="88836"/>
            <a:ext cx="11504613" cy="408795"/>
          </a:xfrm>
        </p:spPr>
        <p:txBody>
          <a:bodyPr/>
          <a:lstStyle/>
          <a:p>
            <a:r>
              <a:rPr lang="en-US"/>
              <a:t>Click to edit Master title style</a:t>
            </a:r>
          </a:p>
        </p:txBody>
      </p:sp>
      <p:sp>
        <p:nvSpPr>
          <p:cNvPr id="6" name="Text Placeholder 7">
            <a:extLst>
              <a:ext uri="{FF2B5EF4-FFF2-40B4-BE49-F238E27FC236}">
                <a16:creationId xmlns:a16="http://schemas.microsoft.com/office/drawing/2014/main" id="{9B6ACBC5-8B35-4F11-B076-8EC2B9686C41}"/>
              </a:ext>
            </a:extLst>
          </p:cNvPr>
          <p:cNvSpPr>
            <a:spLocks noGrp="1"/>
          </p:cNvSpPr>
          <p:nvPr>
            <p:ph type="body" sz="quarter" idx="10"/>
          </p:nvPr>
        </p:nvSpPr>
        <p:spPr>
          <a:xfrm>
            <a:off x="344488" y="487848"/>
            <a:ext cx="11504612" cy="281861"/>
          </a:xfrm>
        </p:spPr>
        <p:txBody>
          <a:bodyPr anchor="ctr"/>
          <a:lstStyle>
            <a:lvl1pPr marL="0" indent="0" algn="l" defTabSz="914400" rtl="0" eaLnBrk="1" latinLnBrk="0" hangingPunct="1">
              <a:lnSpc>
                <a:spcPct val="90000"/>
              </a:lnSpc>
              <a:spcBef>
                <a:spcPct val="0"/>
              </a:spcBef>
              <a:buNone/>
              <a:defRPr lang="en-US" sz="1400" b="1" i="0" kern="1200" dirty="0" smtClean="0">
                <a:solidFill>
                  <a:srgbClr val="595959"/>
                </a:solidFill>
                <a:latin typeface="Segoe UI Semibold" panose="020B0702040204020203" pitchFamily="34" charset="0"/>
                <a:ea typeface="+mj-ea"/>
                <a:cs typeface="Segoe UI Semibold" panose="020B0702040204020203" pitchFamily="34" charset="0"/>
              </a:defRPr>
            </a:lvl1pPr>
            <a:lvl2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2pPr>
            <a:lvl3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3pPr>
            <a:lvl4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4pPr>
            <a:lvl5pPr marL="0" indent="0" algn="l" defTabSz="914400" rtl="0" eaLnBrk="1" latinLnBrk="0" hangingPunct="1">
              <a:lnSpc>
                <a:spcPct val="90000"/>
              </a:lnSpc>
              <a:spcBef>
                <a:spcPct val="0"/>
              </a:spcBef>
              <a:buNone/>
              <a:defRPr lang="en-IN" sz="1400" b="1" i="1" kern="1200" dirty="0">
                <a:solidFill>
                  <a:schemeClr val="bg1">
                    <a:lumMod val="50000"/>
                  </a:schemeClr>
                </a:solidFill>
                <a:latin typeface="+mj-lt"/>
                <a:ea typeface="+mj-ea"/>
                <a:cs typeface="+mj-cs"/>
              </a:defRPr>
            </a:lvl5pPr>
          </a:lstStyle>
          <a:p>
            <a:pPr lvl="0"/>
            <a:r>
              <a:rPr lang="en-US"/>
              <a:t>Click to edit Master text styles</a:t>
            </a:r>
          </a:p>
        </p:txBody>
      </p:sp>
      <p:sp>
        <p:nvSpPr>
          <p:cNvPr id="3" name="Text Placeholder 5">
            <a:extLst>
              <a:ext uri="{FF2B5EF4-FFF2-40B4-BE49-F238E27FC236}">
                <a16:creationId xmlns:a16="http://schemas.microsoft.com/office/drawing/2014/main" id="{5331A6C0-771A-F12B-3912-709F82150FEF}"/>
              </a:ext>
            </a:extLst>
          </p:cNvPr>
          <p:cNvSpPr>
            <a:spLocks noGrp="1"/>
          </p:cNvSpPr>
          <p:nvPr>
            <p:ph type="body" sz="quarter" idx="11" hasCustomPrompt="1"/>
          </p:nvPr>
        </p:nvSpPr>
        <p:spPr>
          <a:xfrm>
            <a:off x="3319462" y="6637956"/>
            <a:ext cx="7318058" cy="157512"/>
          </a:xfrm>
        </p:spPr>
        <p:txBody>
          <a:bodyPr lIns="36000" anchor="ctr"/>
          <a:lstStyle>
            <a:lvl1pPr marL="0" indent="0">
              <a:buNone/>
              <a:defRPr sz="800">
                <a:solidFill>
                  <a:schemeClr val="bg1"/>
                </a:solidFill>
              </a:defRPr>
            </a:lvl1pPr>
          </a:lstStyle>
          <a:p>
            <a:pPr lvl="0"/>
            <a:r>
              <a:rPr lang="en-US"/>
              <a:t>Footnotes</a:t>
            </a:r>
            <a:endParaRPr lang="en-IN"/>
          </a:p>
        </p:txBody>
      </p:sp>
      <p:sp>
        <p:nvSpPr>
          <p:cNvPr id="15" name="Text Placeholder 2">
            <a:extLst>
              <a:ext uri="{FF2B5EF4-FFF2-40B4-BE49-F238E27FC236}">
                <a16:creationId xmlns:a16="http://schemas.microsoft.com/office/drawing/2014/main" id="{F0A38175-5435-0C14-647D-58B41B5E05D3}"/>
              </a:ext>
            </a:extLst>
          </p:cNvPr>
          <p:cNvSpPr>
            <a:spLocks noGrp="1"/>
          </p:cNvSpPr>
          <p:nvPr>
            <p:ph type="body" idx="12"/>
          </p:nvPr>
        </p:nvSpPr>
        <p:spPr>
          <a:xfrm>
            <a:off x="4287300" y="896797"/>
            <a:ext cx="3370263"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16" name="Group 15">
            <a:extLst>
              <a:ext uri="{FF2B5EF4-FFF2-40B4-BE49-F238E27FC236}">
                <a16:creationId xmlns:a16="http://schemas.microsoft.com/office/drawing/2014/main" id="{934B66B6-E8B4-DC77-0491-A42F9135E4EE}"/>
              </a:ext>
            </a:extLst>
          </p:cNvPr>
          <p:cNvGrpSpPr/>
          <p:nvPr userDrawn="1"/>
        </p:nvGrpSpPr>
        <p:grpSpPr>
          <a:xfrm>
            <a:off x="4287299" y="1214416"/>
            <a:ext cx="3618001" cy="55768"/>
            <a:chOff x="671912" y="1348872"/>
            <a:chExt cx="4897196" cy="89815"/>
          </a:xfrm>
        </p:grpSpPr>
        <p:cxnSp>
          <p:nvCxnSpPr>
            <p:cNvPr id="20" name="Straight Connector 19">
              <a:extLst>
                <a:ext uri="{FF2B5EF4-FFF2-40B4-BE49-F238E27FC236}">
                  <a16:creationId xmlns:a16="http://schemas.microsoft.com/office/drawing/2014/main" id="{69B416AB-2840-67BF-FEC9-49B222049204}"/>
                </a:ext>
              </a:extLst>
            </p:cNvPr>
            <p:cNvCxnSpPr>
              <a:cxnSpLocks/>
            </p:cNvCxnSpPr>
            <p:nvPr/>
          </p:nvCxnSpPr>
          <p:spPr>
            <a:xfrm>
              <a:off x="719538" y="1393780"/>
              <a:ext cx="4849570"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B1D45236-31E1-007F-FECF-90CCF9830326}"/>
                </a:ext>
              </a:extLst>
            </p:cNvPr>
            <p:cNvSpPr/>
            <p:nvPr/>
          </p:nvSpPr>
          <p:spPr>
            <a:xfrm>
              <a:off x="671912" y="1348872"/>
              <a:ext cx="740670" cy="898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prstClr val="white"/>
                </a:solidFill>
                <a:effectLst/>
                <a:uLnTx/>
                <a:uFillTx/>
                <a:latin typeface="Segoe UI"/>
                <a:ea typeface="+mn-ea"/>
                <a:cs typeface="+mn-cs"/>
              </a:endParaRPr>
            </a:p>
          </p:txBody>
        </p:sp>
      </p:grpSp>
      <p:sp>
        <p:nvSpPr>
          <p:cNvPr id="27" name="Text Placeholder 2">
            <a:extLst>
              <a:ext uri="{FF2B5EF4-FFF2-40B4-BE49-F238E27FC236}">
                <a16:creationId xmlns:a16="http://schemas.microsoft.com/office/drawing/2014/main" id="{56A892E6-32A3-91EA-AB10-8EE338D6C5E7}"/>
              </a:ext>
            </a:extLst>
          </p:cNvPr>
          <p:cNvSpPr>
            <a:spLocks noGrp="1"/>
          </p:cNvSpPr>
          <p:nvPr>
            <p:ph idx="16"/>
          </p:nvPr>
        </p:nvSpPr>
        <p:spPr>
          <a:xfrm>
            <a:off x="4287300" y="1325880"/>
            <a:ext cx="3618000" cy="2286000"/>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ext Placeholder 2">
            <a:extLst>
              <a:ext uri="{FF2B5EF4-FFF2-40B4-BE49-F238E27FC236}">
                <a16:creationId xmlns:a16="http://schemas.microsoft.com/office/drawing/2014/main" id="{516DEEAB-91EF-3400-F16D-F1E306BB24E6}"/>
              </a:ext>
            </a:extLst>
          </p:cNvPr>
          <p:cNvSpPr>
            <a:spLocks noGrp="1"/>
          </p:cNvSpPr>
          <p:nvPr>
            <p:ph idx="19"/>
          </p:nvPr>
        </p:nvSpPr>
        <p:spPr>
          <a:xfrm>
            <a:off x="8230200" y="1325880"/>
            <a:ext cx="3618900" cy="2286000"/>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1" name="Text Placeholder 2">
            <a:extLst>
              <a:ext uri="{FF2B5EF4-FFF2-40B4-BE49-F238E27FC236}">
                <a16:creationId xmlns:a16="http://schemas.microsoft.com/office/drawing/2014/main" id="{A069E711-0D3F-A9ED-09C1-2D73ABED8051}"/>
              </a:ext>
            </a:extLst>
          </p:cNvPr>
          <p:cNvSpPr>
            <a:spLocks noGrp="1"/>
          </p:cNvSpPr>
          <p:nvPr>
            <p:ph type="body" idx="21"/>
          </p:nvPr>
        </p:nvSpPr>
        <p:spPr>
          <a:xfrm>
            <a:off x="8230200" y="896797"/>
            <a:ext cx="3370263"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42" name="Group 41">
            <a:extLst>
              <a:ext uri="{FF2B5EF4-FFF2-40B4-BE49-F238E27FC236}">
                <a16:creationId xmlns:a16="http://schemas.microsoft.com/office/drawing/2014/main" id="{6465230D-8AA6-60E8-C703-0E06548C85D2}"/>
              </a:ext>
            </a:extLst>
          </p:cNvPr>
          <p:cNvGrpSpPr/>
          <p:nvPr userDrawn="1"/>
        </p:nvGrpSpPr>
        <p:grpSpPr>
          <a:xfrm>
            <a:off x="8230199" y="1214416"/>
            <a:ext cx="3618001" cy="55768"/>
            <a:chOff x="671912" y="1348872"/>
            <a:chExt cx="4897196" cy="89815"/>
          </a:xfrm>
        </p:grpSpPr>
        <p:cxnSp>
          <p:nvCxnSpPr>
            <p:cNvPr id="43" name="Straight Connector 42">
              <a:extLst>
                <a:ext uri="{FF2B5EF4-FFF2-40B4-BE49-F238E27FC236}">
                  <a16:creationId xmlns:a16="http://schemas.microsoft.com/office/drawing/2014/main" id="{F2CF203D-1C76-2918-010E-4831EB4D1DF1}"/>
                </a:ext>
              </a:extLst>
            </p:cNvPr>
            <p:cNvCxnSpPr>
              <a:cxnSpLocks/>
            </p:cNvCxnSpPr>
            <p:nvPr/>
          </p:nvCxnSpPr>
          <p:spPr>
            <a:xfrm>
              <a:off x="719538" y="1393780"/>
              <a:ext cx="4849570"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D387039B-1E68-6D95-DBE3-2ED004FFC1C4}"/>
                </a:ext>
              </a:extLst>
            </p:cNvPr>
            <p:cNvSpPr/>
            <p:nvPr/>
          </p:nvSpPr>
          <p:spPr>
            <a:xfrm>
              <a:off x="671912" y="1348872"/>
              <a:ext cx="740670" cy="898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prstClr val="white"/>
                </a:solidFill>
                <a:effectLst/>
                <a:uLnTx/>
                <a:uFillTx/>
                <a:latin typeface="Segoe UI"/>
                <a:ea typeface="+mn-ea"/>
                <a:cs typeface="+mn-cs"/>
              </a:endParaRPr>
            </a:p>
          </p:txBody>
        </p:sp>
      </p:grpSp>
      <p:sp>
        <p:nvSpPr>
          <p:cNvPr id="45" name="Text Placeholder 2">
            <a:extLst>
              <a:ext uri="{FF2B5EF4-FFF2-40B4-BE49-F238E27FC236}">
                <a16:creationId xmlns:a16="http://schemas.microsoft.com/office/drawing/2014/main" id="{3789D81B-B134-CCB1-DF03-35279C2285BF}"/>
              </a:ext>
            </a:extLst>
          </p:cNvPr>
          <p:cNvSpPr>
            <a:spLocks noGrp="1"/>
          </p:cNvSpPr>
          <p:nvPr>
            <p:ph type="body" idx="13"/>
          </p:nvPr>
        </p:nvSpPr>
        <p:spPr>
          <a:xfrm>
            <a:off x="344487" y="3800417"/>
            <a:ext cx="5157787"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46" name="Group 45">
            <a:extLst>
              <a:ext uri="{FF2B5EF4-FFF2-40B4-BE49-F238E27FC236}">
                <a16:creationId xmlns:a16="http://schemas.microsoft.com/office/drawing/2014/main" id="{07BFDC14-C459-D64B-0624-8CF3758FCBB3}"/>
              </a:ext>
            </a:extLst>
          </p:cNvPr>
          <p:cNvGrpSpPr/>
          <p:nvPr userDrawn="1"/>
        </p:nvGrpSpPr>
        <p:grpSpPr>
          <a:xfrm>
            <a:off x="344487" y="4118036"/>
            <a:ext cx="5561013" cy="55768"/>
            <a:chOff x="344487" y="1214416"/>
            <a:chExt cx="5561013" cy="55768"/>
          </a:xfrm>
        </p:grpSpPr>
        <p:cxnSp>
          <p:nvCxnSpPr>
            <p:cNvPr id="47" name="Straight Connector 46">
              <a:extLst>
                <a:ext uri="{FF2B5EF4-FFF2-40B4-BE49-F238E27FC236}">
                  <a16:creationId xmlns:a16="http://schemas.microsoft.com/office/drawing/2014/main" id="{73F0E958-3764-6F1B-1763-A4C97AB8B357}"/>
                </a:ext>
              </a:extLst>
            </p:cNvPr>
            <p:cNvCxnSpPr>
              <a:cxnSpLocks/>
            </p:cNvCxnSpPr>
            <p:nvPr/>
          </p:nvCxnSpPr>
          <p:spPr>
            <a:xfrm>
              <a:off x="398568" y="1242300"/>
              <a:ext cx="5506932"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F2230C0D-1396-86EF-5023-9C25310735BA}"/>
                </a:ext>
              </a:extLst>
            </p:cNvPr>
            <p:cNvSpPr/>
            <p:nvPr/>
          </p:nvSpPr>
          <p:spPr>
            <a:xfrm>
              <a:off x="344487" y="1214416"/>
              <a:ext cx="545724" cy="55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prstClr val="white"/>
                </a:solidFill>
                <a:effectLst/>
                <a:uLnTx/>
                <a:uFillTx/>
                <a:latin typeface="Segoe UI"/>
                <a:ea typeface="+mn-ea"/>
                <a:cs typeface="+mn-cs"/>
              </a:endParaRPr>
            </a:p>
          </p:txBody>
        </p:sp>
      </p:grpSp>
      <p:sp>
        <p:nvSpPr>
          <p:cNvPr id="49" name="Text Placeholder 2">
            <a:extLst>
              <a:ext uri="{FF2B5EF4-FFF2-40B4-BE49-F238E27FC236}">
                <a16:creationId xmlns:a16="http://schemas.microsoft.com/office/drawing/2014/main" id="{B03B7D74-71ED-7FC0-C1D8-3268D624795E}"/>
              </a:ext>
            </a:extLst>
          </p:cNvPr>
          <p:cNvSpPr>
            <a:spLocks noGrp="1"/>
          </p:cNvSpPr>
          <p:nvPr>
            <p:ph type="body" idx="14"/>
          </p:nvPr>
        </p:nvSpPr>
        <p:spPr>
          <a:xfrm>
            <a:off x="6288087" y="3800417"/>
            <a:ext cx="5157787"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50" name="Group 49">
            <a:extLst>
              <a:ext uri="{FF2B5EF4-FFF2-40B4-BE49-F238E27FC236}">
                <a16:creationId xmlns:a16="http://schemas.microsoft.com/office/drawing/2014/main" id="{AE0CC657-E526-AF39-197C-14B8D425686B}"/>
              </a:ext>
            </a:extLst>
          </p:cNvPr>
          <p:cNvGrpSpPr/>
          <p:nvPr userDrawn="1"/>
        </p:nvGrpSpPr>
        <p:grpSpPr>
          <a:xfrm>
            <a:off x="6288087" y="4118036"/>
            <a:ext cx="5561013" cy="55768"/>
            <a:chOff x="671913" y="1348872"/>
            <a:chExt cx="4897195" cy="89815"/>
          </a:xfrm>
        </p:grpSpPr>
        <p:cxnSp>
          <p:nvCxnSpPr>
            <p:cNvPr id="51" name="Straight Connector 50">
              <a:extLst>
                <a:ext uri="{FF2B5EF4-FFF2-40B4-BE49-F238E27FC236}">
                  <a16:creationId xmlns:a16="http://schemas.microsoft.com/office/drawing/2014/main" id="{B8277A75-0DB2-58C5-5D46-E5A6E81D3A4F}"/>
                </a:ext>
              </a:extLst>
            </p:cNvPr>
            <p:cNvCxnSpPr>
              <a:cxnSpLocks/>
            </p:cNvCxnSpPr>
            <p:nvPr/>
          </p:nvCxnSpPr>
          <p:spPr>
            <a:xfrm>
              <a:off x="719538" y="1393780"/>
              <a:ext cx="4849570"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FDCB8F7A-00C9-020D-B08A-0B7090EE6538}"/>
                </a:ext>
              </a:extLst>
            </p:cNvPr>
            <p:cNvSpPr/>
            <p:nvPr/>
          </p:nvSpPr>
          <p:spPr>
            <a:xfrm>
              <a:off x="671913" y="1348872"/>
              <a:ext cx="480581" cy="898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prstClr val="white"/>
                </a:solidFill>
                <a:effectLst/>
                <a:uLnTx/>
                <a:uFillTx/>
                <a:latin typeface="Segoe UI"/>
                <a:ea typeface="+mn-ea"/>
                <a:cs typeface="+mn-cs"/>
              </a:endParaRPr>
            </a:p>
          </p:txBody>
        </p:sp>
      </p:grpSp>
      <p:sp>
        <p:nvSpPr>
          <p:cNvPr id="53" name="Text Placeholder 2">
            <a:extLst>
              <a:ext uri="{FF2B5EF4-FFF2-40B4-BE49-F238E27FC236}">
                <a16:creationId xmlns:a16="http://schemas.microsoft.com/office/drawing/2014/main" id="{0240D1B5-7950-DC0C-1D00-665B2130067E}"/>
              </a:ext>
            </a:extLst>
          </p:cNvPr>
          <p:cNvSpPr>
            <a:spLocks noGrp="1"/>
          </p:cNvSpPr>
          <p:nvPr>
            <p:ph idx="17"/>
          </p:nvPr>
        </p:nvSpPr>
        <p:spPr>
          <a:xfrm>
            <a:off x="343500" y="4229500"/>
            <a:ext cx="5562000" cy="2286000"/>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4" name="Text Placeholder 2">
            <a:extLst>
              <a:ext uri="{FF2B5EF4-FFF2-40B4-BE49-F238E27FC236}">
                <a16:creationId xmlns:a16="http://schemas.microsoft.com/office/drawing/2014/main" id="{567B6B69-7286-0F90-B463-C53B9697CEBF}"/>
              </a:ext>
            </a:extLst>
          </p:cNvPr>
          <p:cNvSpPr>
            <a:spLocks noGrp="1"/>
          </p:cNvSpPr>
          <p:nvPr>
            <p:ph idx="18"/>
          </p:nvPr>
        </p:nvSpPr>
        <p:spPr>
          <a:xfrm>
            <a:off x="6287100" y="4229500"/>
            <a:ext cx="5562000" cy="2286000"/>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2">
            <a:extLst>
              <a:ext uri="{FF2B5EF4-FFF2-40B4-BE49-F238E27FC236}">
                <a16:creationId xmlns:a16="http://schemas.microsoft.com/office/drawing/2014/main" id="{634F26BE-B20C-2064-F151-BA6F2D606B8B}"/>
              </a:ext>
            </a:extLst>
          </p:cNvPr>
          <p:cNvSpPr>
            <a:spLocks noGrp="1"/>
          </p:cNvSpPr>
          <p:nvPr>
            <p:ph type="body" idx="22"/>
          </p:nvPr>
        </p:nvSpPr>
        <p:spPr>
          <a:xfrm>
            <a:off x="421884" y="896797"/>
            <a:ext cx="3370263"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8" name="Group 7">
            <a:extLst>
              <a:ext uri="{FF2B5EF4-FFF2-40B4-BE49-F238E27FC236}">
                <a16:creationId xmlns:a16="http://schemas.microsoft.com/office/drawing/2014/main" id="{B31DB338-8A29-15E0-978F-508FE9E8788B}"/>
              </a:ext>
            </a:extLst>
          </p:cNvPr>
          <p:cNvGrpSpPr/>
          <p:nvPr userDrawn="1"/>
        </p:nvGrpSpPr>
        <p:grpSpPr>
          <a:xfrm>
            <a:off x="421883" y="1214416"/>
            <a:ext cx="3618001" cy="55768"/>
            <a:chOff x="671912" y="1348872"/>
            <a:chExt cx="4897196" cy="89815"/>
          </a:xfrm>
        </p:grpSpPr>
        <p:cxnSp>
          <p:nvCxnSpPr>
            <p:cNvPr id="9" name="Straight Connector 8">
              <a:extLst>
                <a:ext uri="{FF2B5EF4-FFF2-40B4-BE49-F238E27FC236}">
                  <a16:creationId xmlns:a16="http://schemas.microsoft.com/office/drawing/2014/main" id="{7DDB1B02-EE25-EE4A-DD58-E8CFEAF08611}"/>
                </a:ext>
              </a:extLst>
            </p:cNvPr>
            <p:cNvCxnSpPr>
              <a:cxnSpLocks/>
            </p:cNvCxnSpPr>
            <p:nvPr/>
          </p:nvCxnSpPr>
          <p:spPr>
            <a:xfrm>
              <a:off x="719538" y="1393780"/>
              <a:ext cx="4849570"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5CE046F1-2D12-4FC0-394B-D282F0382BE1}"/>
                </a:ext>
              </a:extLst>
            </p:cNvPr>
            <p:cNvSpPr/>
            <p:nvPr/>
          </p:nvSpPr>
          <p:spPr>
            <a:xfrm>
              <a:off x="671912" y="1348872"/>
              <a:ext cx="740670" cy="898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prstClr val="white"/>
                </a:solidFill>
                <a:effectLst/>
                <a:uLnTx/>
                <a:uFillTx/>
                <a:latin typeface="Segoe UI"/>
                <a:ea typeface="+mn-ea"/>
                <a:cs typeface="+mn-cs"/>
              </a:endParaRPr>
            </a:p>
          </p:txBody>
        </p:sp>
      </p:grpSp>
      <p:sp>
        <p:nvSpPr>
          <p:cNvPr id="13" name="Text Placeholder 2">
            <a:extLst>
              <a:ext uri="{FF2B5EF4-FFF2-40B4-BE49-F238E27FC236}">
                <a16:creationId xmlns:a16="http://schemas.microsoft.com/office/drawing/2014/main" id="{A4C0DB37-2FCB-4088-A509-B49AD3853E98}"/>
              </a:ext>
            </a:extLst>
          </p:cNvPr>
          <p:cNvSpPr>
            <a:spLocks noGrp="1"/>
          </p:cNvSpPr>
          <p:nvPr>
            <p:ph idx="23"/>
          </p:nvPr>
        </p:nvSpPr>
        <p:spPr>
          <a:xfrm>
            <a:off x="421884" y="1325880"/>
            <a:ext cx="3618000" cy="2286000"/>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2524800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ix Header">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50D20B1-6B26-45B9-ACA1-0D8BC03871D8}"/>
              </a:ext>
            </a:extLst>
          </p:cNvPr>
          <p:cNvSpPr>
            <a:spLocks noGrp="1"/>
          </p:cNvSpPr>
          <p:nvPr>
            <p:ph type="title"/>
          </p:nvPr>
        </p:nvSpPr>
        <p:spPr>
          <a:xfrm>
            <a:off x="344487" y="88836"/>
            <a:ext cx="11504613" cy="408795"/>
          </a:xfrm>
        </p:spPr>
        <p:txBody>
          <a:bodyPr/>
          <a:lstStyle/>
          <a:p>
            <a:r>
              <a:rPr lang="en-US"/>
              <a:t>Click to edit Master title style</a:t>
            </a:r>
          </a:p>
        </p:txBody>
      </p:sp>
      <p:sp>
        <p:nvSpPr>
          <p:cNvPr id="6" name="Text Placeholder 7">
            <a:extLst>
              <a:ext uri="{FF2B5EF4-FFF2-40B4-BE49-F238E27FC236}">
                <a16:creationId xmlns:a16="http://schemas.microsoft.com/office/drawing/2014/main" id="{9B6ACBC5-8B35-4F11-B076-8EC2B9686C41}"/>
              </a:ext>
            </a:extLst>
          </p:cNvPr>
          <p:cNvSpPr>
            <a:spLocks noGrp="1"/>
          </p:cNvSpPr>
          <p:nvPr>
            <p:ph type="body" sz="quarter" idx="10"/>
          </p:nvPr>
        </p:nvSpPr>
        <p:spPr>
          <a:xfrm>
            <a:off x="344488" y="487848"/>
            <a:ext cx="11504612" cy="281861"/>
          </a:xfrm>
        </p:spPr>
        <p:txBody>
          <a:bodyPr anchor="ctr"/>
          <a:lstStyle>
            <a:lvl1pPr marL="0" indent="0" algn="l" defTabSz="914400" rtl="0" eaLnBrk="1" latinLnBrk="0" hangingPunct="1">
              <a:lnSpc>
                <a:spcPct val="90000"/>
              </a:lnSpc>
              <a:spcBef>
                <a:spcPct val="0"/>
              </a:spcBef>
              <a:buNone/>
              <a:defRPr lang="en-US" sz="1400" b="1" i="0" kern="1200" dirty="0" smtClean="0">
                <a:solidFill>
                  <a:srgbClr val="595959"/>
                </a:solidFill>
                <a:latin typeface="Segoe UI Semibold" panose="020B0702040204020203" pitchFamily="34" charset="0"/>
                <a:ea typeface="+mj-ea"/>
                <a:cs typeface="Segoe UI Semibold" panose="020B0702040204020203" pitchFamily="34" charset="0"/>
              </a:defRPr>
            </a:lvl1pPr>
            <a:lvl2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2pPr>
            <a:lvl3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3pPr>
            <a:lvl4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4pPr>
            <a:lvl5pPr marL="0" indent="0" algn="l" defTabSz="914400" rtl="0" eaLnBrk="1" latinLnBrk="0" hangingPunct="1">
              <a:lnSpc>
                <a:spcPct val="90000"/>
              </a:lnSpc>
              <a:spcBef>
                <a:spcPct val="0"/>
              </a:spcBef>
              <a:buNone/>
              <a:defRPr lang="en-IN" sz="1400" b="1" i="1" kern="1200" dirty="0">
                <a:solidFill>
                  <a:schemeClr val="bg1">
                    <a:lumMod val="50000"/>
                  </a:schemeClr>
                </a:solidFill>
                <a:latin typeface="+mj-lt"/>
                <a:ea typeface="+mj-ea"/>
                <a:cs typeface="+mj-cs"/>
              </a:defRPr>
            </a:lvl5pPr>
          </a:lstStyle>
          <a:p>
            <a:pPr lvl="0"/>
            <a:r>
              <a:rPr lang="en-US"/>
              <a:t>Click to edit Master text styles</a:t>
            </a:r>
          </a:p>
        </p:txBody>
      </p:sp>
      <p:sp>
        <p:nvSpPr>
          <p:cNvPr id="2" name="Text Placeholder 5">
            <a:extLst>
              <a:ext uri="{FF2B5EF4-FFF2-40B4-BE49-F238E27FC236}">
                <a16:creationId xmlns:a16="http://schemas.microsoft.com/office/drawing/2014/main" id="{1AAF154C-D019-928E-124D-92A3C02B9976}"/>
              </a:ext>
            </a:extLst>
          </p:cNvPr>
          <p:cNvSpPr>
            <a:spLocks noGrp="1"/>
          </p:cNvSpPr>
          <p:nvPr>
            <p:ph type="body" sz="quarter" idx="11" hasCustomPrompt="1"/>
          </p:nvPr>
        </p:nvSpPr>
        <p:spPr>
          <a:xfrm>
            <a:off x="3319462" y="6637956"/>
            <a:ext cx="7318058" cy="157512"/>
          </a:xfrm>
        </p:spPr>
        <p:txBody>
          <a:bodyPr lIns="36000" anchor="ctr"/>
          <a:lstStyle>
            <a:lvl1pPr marL="0" indent="0">
              <a:buNone/>
              <a:defRPr sz="800">
                <a:solidFill>
                  <a:schemeClr val="bg1"/>
                </a:solidFill>
              </a:defRPr>
            </a:lvl1pPr>
          </a:lstStyle>
          <a:p>
            <a:pPr lvl="0"/>
            <a:r>
              <a:rPr lang="en-US"/>
              <a:t>Footnotes</a:t>
            </a:r>
            <a:endParaRPr lang="en-IN"/>
          </a:p>
        </p:txBody>
      </p:sp>
      <p:sp>
        <p:nvSpPr>
          <p:cNvPr id="17" name="Text Placeholder 2">
            <a:extLst>
              <a:ext uri="{FF2B5EF4-FFF2-40B4-BE49-F238E27FC236}">
                <a16:creationId xmlns:a16="http://schemas.microsoft.com/office/drawing/2014/main" id="{DE9CA1BB-81C1-3DDE-F8A7-05DEAC433832}"/>
              </a:ext>
            </a:extLst>
          </p:cNvPr>
          <p:cNvSpPr>
            <a:spLocks noGrp="1"/>
          </p:cNvSpPr>
          <p:nvPr>
            <p:ph type="body" idx="1"/>
          </p:nvPr>
        </p:nvSpPr>
        <p:spPr>
          <a:xfrm>
            <a:off x="344487" y="896797"/>
            <a:ext cx="3370263"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19" name="Group 18">
            <a:extLst>
              <a:ext uri="{FF2B5EF4-FFF2-40B4-BE49-F238E27FC236}">
                <a16:creationId xmlns:a16="http://schemas.microsoft.com/office/drawing/2014/main" id="{1C437E69-259A-4D93-85B7-739A88FCFC39}"/>
              </a:ext>
            </a:extLst>
          </p:cNvPr>
          <p:cNvGrpSpPr/>
          <p:nvPr userDrawn="1"/>
        </p:nvGrpSpPr>
        <p:grpSpPr>
          <a:xfrm>
            <a:off x="344486" y="1214416"/>
            <a:ext cx="3618001" cy="55768"/>
            <a:chOff x="344485" y="1214416"/>
            <a:chExt cx="5561015" cy="55768"/>
          </a:xfrm>
        </p:grpSpPr>
        <p:cxnSp>
          <p:nvCxnSpPr>
            <p:cNvPr id="8" name="Straight Connector 7">
              <a:extLst>
                <a:ext uri="{FF2B5EF4-FFF2-40B4-BE49-F238E27FC236}">
                  <a16:creationId xmlns:a16="http://schemas.microsoft.com/office/drawing/2014/main" id="{CBC944B2-5B81-4284-24E4-CF9E3058C579}"/>
                </a:ext>
              </a:extLst>
            </p:cNvPr>
            <p:cNvCxnSpPr>
              <a:cxnSpLocks/>
            </p:cNvCxnSpPr>
            <p:nvPr/>
          </p:nvCxnSpPr>
          <p:spPr>
            <a:xfrm>
              <a:off x="398568" y="1242300"/>
              <a:ext cx="5506932"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CA5B0CB2-7B37-3A9F-911D-9B5245C564E4}"/>
                </a:ext>
              </a:extLst>
            </p:cNvPr>
            <p:cNvSpPr/>
            <p:nvPr/>
          </p:nvSpPr>
          <p:spPr>
            <a:xfrm>
              <a:off x="344485" y="1214416"/>
              <a:ext cx="841069" cy="55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prstClr val="white"/>
                </a:solidFill>
                <a:effectLst/>
                <a:uLnTx/>
                <a:uFillTx/>
                <a:latin typeface="Segoe UI"/>
                <a:ea typeface="+mn-ea"/>
                <a:cs typeface="+mn-cs"/>
              </a:endParaRPr>
            </a:p>
          </p:txBody>
        </p:sp>
      </p:grpSp>
      <p:sp>
        <p:nvSpPr>
          <p:cNvPr id="18" name="Text Placeholder 2">
            <a:extLst>
              <a:ext uri="{FF2B5EF4-FFF2-40B4-BE49-F238E27FC236}">
                <a16:creationId xmlns:a16="http://schemas.microsoft.com/office/drawing/2014/main" id="{CE4CC8C8-0E01-4E7E-59CB-54EBC3FCD14F}"/>
              </a:ext>
            </a:extLst>
          </p:cNvPr>
          <p:cNvSpPr>
            <a:spLocks noGrp="1"/>
          </p:cNvSpPr>
          <p:nvPr>
            <p:ph type="body" idx="12"/>
          </p:nvPr>
        </p:nvSpPr>
        <p:spPr>
          <a:xfrm>
            <a:off x="4287300" y="896797"/>
            <a:ext cx="3370263"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11" name="Group 10">
            <a:extLst>
              <a:ext uri="{FF2B5EF4-FFF2-40B4-BE49-F238E27FC236}">
                <a16:creationId xmlns:a16="http://schemas.microsoft.com/office/drawing/2014/main" id="{E12FE721-4FA0-4493-AE93-A96BE344DB84}"/>
              </a:ext>
            </a:extLst>
          </p:cNvPr>
          <p:cNvGrpSpPr/>
          <p:nvPr/>
        </p:nvGrpSpPr>
        <p:grpSpPr>
          <a:xfrm>
            <a:off x="4287299" y="1214416"/>
            <a:ext cx="3618001" cy="55768"/>
            <a:chOff x="671912" y="1348872"/>
            <a:chExt cx="4897196" cy="89815"/>
          </a:xfrm>
        </p:grpSpPr>
        <p:cxnSp>
          <p:nvCxnSpPr>
            <p:cNvPr id="13" name="Straight Connector 12">
              <a:extLst>
                <a:ext uri="{FF2B5EF4-FFF2-40B4-BE49-F238E27FC236}">
                  <a16:creationId xmlns:a16="http://schemas.microsoft.com/office/drawing/2014/main" id="{BE5167E5-F310-164C-669A-06765F060FF5}"/>
                </a:ext>
              </a:extLst>
            </p:cNvPr>
            <p:cNvCxnSpPr>
              <a:cxnSpLocks/>
            </p:cNvCxnSpPr>
            <p:nvPr/>
          </p:nvCxnSpPr>
          <p:spPr>
            <a:xfrm>
              <a:off x="719538" y="1393780"/>
              <a:ext cx="4849570"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DF8EAF54-BCC1-349D-7040-16DAD0F1F9BD}"/>
                </a:ext>
              </a:extLst>
            </p:cNvPr>
            <p:cNvSpPr/>
            <p:nvPr/>
          </p:nvSpPr>
          <p:spPr>
            <a:xfrm>
              <a:off x="671912" y="1348872"/>
              <a:ext cx="740670" cy="898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prstClr val="white"/>
                </a:solidFill>
                <a:effectLst/>
                <a:uLnTx/>
                <a:uFillTx/>
                <a:latin typeface="Segoe UI"/>
                <a:ea typeface="+mn-ea"/>
                <a:cs typeface="+mn-cs"/>
              </a:endParaRPr>
            </a:p>
          </p:txBody>
        </p:sp>
      </p:grpSp>
      <p:sp>
        <p:nvSpPr>
          <p:cNvPr id="7" name="Text Placeholder 2">
            <a:extLst>
              <a:ext uri="{FF2B5EF4-FFF2-40B4-BE49-F238E27FC236}">
                <a16:creationId xmlns:a16="http://schemas.microsoft.com/office/drawing/2014/main" id="{8A0CA280-7199-E0B4-DCEC-E0B35AF66275}"/>
              </a:ext>
            </a:extLst>
          </p:cNvPr>
          <p:cNvSpPr>
            <a:spLocks noGrp="1"/>
          </p:cNvSpPr>
          <p:nvPr>
            <p:ph type="body" idx="13"/>
          </p:nvPr>
        </p:nvSpPr>
        <p:spPr>
          <a:xfrm>
            <a:off x="344487" y="3800417"/>
            <a:ext cx="3370263"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10" name="Group 9">
            <a:extLst>
              <a:ext uri="{FF2B5EF4-FFF2-40B4-BE49-F238E27FC236}">
                <a16:creationId xmlns:a16="http://schemas.microsoft.com/office/drawing/2014/main" id="{EBA14E75-9C64-2489-C60B-F72B47940F86}"/>
              </a:ext>
            </a:extLst>
          </p:cNvPr>
          <p:cNvGrpSpPr/>
          <p:nvPr userDrawn="1"/>
        </p:nvGrpSpPr>
        <p:grpSpPr>
          <a:xfrm>
            <a:off x="344486" y="4118036"/>
            <a:ext cx="3618001" cy="55768"/>
            <a:chOff x="344485" y="1214416"/>
            <a:chExt cx="5561015" cy="55768"/>
          </a:xfrm>
        </p:grpSpPr>
        <p:cxnSp>
          <p:nvCxnSpPr>
            <p:cNvPr id="12" name="Straight Connector 11">
              <a:extLst>
                <a:ext uri="{FF2B5EF4-FFF2-40B4-BE49-F238E27FC236}">
                  <a16:creationId xmlns:a16="http://schemas.microsoft.com/office/drawing/2014/main" id="{7002CF5F-A64F-6BF3-4035-5277E5E64224}"/>
                </a:ext>
              </a:extLst>
            </p:cNvPr>
            <p:cNvCxnSpPr>
              <a:cxnSpLocks/>
            </p:cNvCxnSpPr>
            <p:nvPr/>
          </p:nvCxnSpPr>
          <p:spPr>
            <a:xfrm>
              <a:off x="398568" y="1242300"/>
              <a:ext cx="5506932"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D4F36BCE-12B0-9512-5EB7-DD45DB107594}"/>
                </a:ext>
              </a:extLst>
            </p:cNvPr>
            <p:cNvSpPr/>
            <p:nvPr/>
          </p:nvSpPr>
          <p:spPr>
            <a:xfrm>
              <a:off x="344485" y="1214416"/>
              <a:ext cx="841069" cy="55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prstClr val="white"/>
                </a:solidFill>
                <a:effectLst/>
                <a:uLnTx/>
                <a:uFillTx/>
                <a:latin typeface="Segoe UI"/>
                <a:ea typeface="+mn-ea"/>
                <a:cs typeface="+mn-cs"/>
              </a:endParaRPr>
            </a:p>
          </p:txBody>
        </p:sp>
      </p:grpSp>
      <p:sp>
        <p:nvSpPr>
          <p:cNvPr id="16" name="Text Placeholder 2">
            <a:extLst>
              <a:ext uri="{FF2B5EF4-FFF2-40B4-BE49-F238E27FC236}">
                <a16:creationId xmlns:a16="http://schemas.microsoft.com/office/drawing/2014/main" id="{8E735704-3BE9-AACC-6906-FD5C2AE28FAE}"/>
              </a:ext>
            </a:extLst>
          </p:cNvPr>
          <p:cNvSpPr>
            <a:spLocks noGrp="1"/>
          </p:cNvSpPr>
          <p:nvPr>
            <p:ph type="body" idx="14"/>
          </p:nvPr>
        </p:nvSpPr>
        <p:spPr>
          <a:xfrm>
            <a:off x="4287300" y="3800417"/>
            <a:ext cx="3370263"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20" name="Group 19">
            <a:extLst>
              <a:ext uri="{FF2B5EF4-FFF2-40B4-BE49-F238E27FC236}">
                <a16:creationId xmlns:a16="http://schemas.microsoft.com/office/drawing/2014/main" id="{F604C4E9-A2F3-9795-488C-11DF6A5B07DC}"/>
              </a:ext>
            </a:extLst>
          </p:cNvPr>
          <p:cNvGrpSpPr/>
          <p:nvPr userDrawn="1"/>
        </p:nvGrpSpPr>
        <p:grpSpPr>
          <a:xfrm>
            <a:off x="4287299" y="4118036"/>
            <a:ext cx="3618001" cy="55768"/>
            <a:chOff x="671912" y="1348872"/>
            <a:chExt cx="4897196" cy="89815"/>
          </a:xfrm>
        </p:grpSpPr>
        <p:cxnSp>
          <p:nvCxnSpPr>
            <p:cNvPr id="21" name="Straight Connector 20">
              <a:extLst>
                <a:ext uri="{FF2B5EF4-FFF2-40B4-BE49-F238E27FC236}">
                  <a16:creationId xmlns:a16="http://schemas.microsoft.com/office/drawing/2014/main" id="{0AB343CC-86EF-AABA-5242-1DC3E262C31A}"/>
                </a:ext>
              </a:extLst>
            </p:cNvPr>
            <p:cNvCxnSpPr>
              <a:cxnSpLocks/>
            </p:cNvCxnSpPr>
            <p:nvPr/>
          </p:nvCxnSpPr>
          <p:spPr>
            <a:xfrm>
              <a:off x="719538" y="1393780"/>
              <a:ext cx="4849570"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BF2B6539-B769-607C-6721-39DED3D307DD}"/>
                </a:ext>
              </a:extLst>
            </p:cNvPr>
            <p:cNvSpPr/>
            <p:nvPr/>
          </p:nvSpPr>
          <p:spPr>
            <a:xfrm>
              <a:off x="671912" y="1348872"/>
              <a:ext cx="740670" cy="898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prstClr val="white"/>
                </a:solidFill>
                <a:effectLst/>
                <a:uLnTx/>
                <a:uFillTx/>
                <a:latin typeface="Segoe UI"/>
                <a:ea typeface="+mn-ea"/>
                <a:cs typeface="+mn-cs"/>
              </a:endParaRPr>
            </a:p>
          </p:txBody>
        </p:sp>
      </p:grpSp>
      <p:sp>
        <p:nvSpPr>
          <p:cNvPr id="25" name="Text Placeholder 2">
            <a:extLst>
              <a:ext uri="{FF2B5EF4-FFF2-40B4-BE49-F238E27FC236}">
                <a16:creationId xmlns:a16="http://schemas.microsoft.com/office/drawing/2014/main" id="{B649D142-DF3F-46EA-7F65-9AB5205769D7}"/>
              </a:ext>
            </a:extLst>
          </p:cNvPr>
          <p:cNvSpPr>
            <a:spLocks noGrp="1"/>
          </p:cNvSpPr>
          <p:nvPr>
            <p:ph idx="15"/>
          </p:nvPr>
        </p:nvSpPr>
        <p:spPr>
          <a:xfrm>
            <a:off x="343500" y="1325880"/>
            <a:ext cx="3618900" cy="2286000"/>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3764688D-FB67-7AFC-446D-F869973432AB}"/>
              </a:ext>
            </a:extLst>
          </p:cNvPr>
          <p:cNvSpPr>
            <a:spLocks noGrp="1"/>
          </p:cNvSpPr>
          <p:nvPr>
            <p:ph idx="16"/>
          </p:nvPr>
        </p:nvSpPr>
        <p:spPr>
          <a:xfrm>
            <a:off x="4287300" y="1325880"/>
            <a:ext cx="3618000" cy="2286000"/>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 Placeholder 2">
            <a:extLst>
              <a:ext uri="{FF2B5EF4-FFF2-40B4-BE49-F238E27FC236}">
                <a16:creationId xmlns:a16="http://schemas.microsoft.com/office/drawing/2014/main" id="{000EC6B4-8CBA-98FE-E605-7612ED3494CF}"/>
              </a:ext>
            </a:extLst>
          </p:cNvPr>
          <p:cNvSpPr>
            <a:spLocks noGrp="1"/>
          </p:cNvSpPr>
          <p:nvPr>
            <p:ph idx="17"/>
          </p:nvPr>
        </p:nvSpPr>
        <p:spPr>
          <a:xfrm>
            <a:off x="343500" y="4229500"/>
            <a:ext cx="3618900" cy="2286000"/>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ext Placeholder 2">
            <a:extLst>
              <a:ext uri="{FF2B5EF4-FFF2-40B4-BE49-F238E27FC236}">
                <a16:creationId xmlns:a16="http://schemas.microsoft.com/office/drawing/2014/main" id="{1C816339-DE76-873B-F192-13A6C88801E1}"/>
              </a:ext>
            </a:extLst>
          </p:cNvPr>
          <p:cNvSpPr>
            <a:spLocks noGrp="1"/>
          </p:cNvSpPr>
          <p:nvPr>
            <p:ph idx="18"/>
          </p:nvPr>
        </p:nvSpPr>
        <p:spPr>
          <a:xfrm>
            <a:off x="8230200" y="4229500"/>
            <a:ext cx="3618900" cy="2286000"/>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20D6939C-5DEC-2D11-AA0E-C305757D107E}"/>
              </a:ext>
            </a:extLst>
          </p:cNvPr>
          <p:cNvSpPr>
            <a:spLocks noGrp="1"/>
          </p:cNvSpPr>
          <p:nvPr>
            <p:ph idx="19"/>
          </p:nvPr>
        </p:nvSpPr>
        <p:spPr>
          <a:xfrm>
            <a:off x="8230200" y="1325880"/>
            <a:ext cx="3618900" cy="2286000"/>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69584A19-17EC-1D44-388A-7B73F2A40AD8}"/>
              </a:ext>
            </a:extLst>
          </p:cNvPr>
          <p:cNvSpPr>
            <a:spLocks noGrp="1"/>
          </p:cNvSpPr>
          <p:nvPr>
            <p:ph idx="20"/>
          </p:nvPr>
        </p:nvSpPr>
        <p:spPr>
          <a:xfrm>
            <a:off x="4286400" y="4229500"/>
            <a:ext cx="3618900" cy="2286000"/>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Text Placeholder 2">
            <a:extLst>
              <a:ext uri="{FF2B5EF4-FFF2-40B4-BE49-F238E27FC236}">
                <a16:creationId xmlns:a16="http://schemas.microsoft.com/office/drawing/2014/main" id="{702A8BC5-AA83-7195-747D-0A9E46C2B000}"/>
              </a:ext>
            </a:extLst>
          </p:cNvPr>
          <p:cNvSpPr>
            <a:spLocks noGrp="1"/>
          </p:cNvSpPr>
          <p:nvPr>
            <p:ph type="body" idx="21"/>
          </p:nvPr>
        </p:nvSpPr>
        <p:spPr>
          <a:xfrm>
            <a:off x="8230200" y="896797"/>
            <a:ext cx="3370263"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30" name="Group 29">
            <a:extLst>
              <a:ext uri="{FF2B5EF4-FFF2-40B4-BE49-F238E27FC236}">
                <a16:creationId xmlns:a16="http://schemas.microsoft.com/office/drawing/2014/main" id="{63E159CC-B1C4-FE46-4D0B-691DD4065477}"/>
              </a:ext>
            </a:extLst>
          </p:cNvPr>
          <p:cNvGrpSpPr/>
          <p:nvPr userDrawn="1"/>
        </p:nvGrpSpPr>
        <p:grpSpPr>
          <a:xfrm>
            <a:off x="8230199" y="1214416"/>
            <a:ext cx="3618001" cy="55768"/>
            <a:chOff x="671912" y="1348872"/>
            <a:chExt cx="4897196" cy="89815"/>
          </a:xfrm>
        </p:grpSpPr>
        <p:cxnSp>
          <p:nvCxnSpPr>
            <p:cNvPr id="31" name="Straight Connector 30">
              <a:extLst>
                <a:ext uri="{FF2B5EF4-FFF2-40B4-BE49-F238E27FC236}">
                  <a16:creationId xmlns:a16="http://schemas.microsoft.com/office/drawing/2014/main" id="{50477659-ED86-DCF4-C29E-348CC84BAF00}"/>
                </a:ext>
              </a:extLst>
            </p:cNvPr>
            <p:cNvCxnSpPr>
              <a:cxnSpLocks/>
            </p:cNvCxnSpPr>
            <p:nvPr/>
          </p:nvCxnSpPr>
          <p:spPr>
            <a:xfrm>
              <a:off x="719538" y="1393780"/>
              <a:ext cx="4849570"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03202133-62F1-5B1C-8121-F5BBEE137447}"/>
                </a:ext>
              </a:extLst>
            </p:cNvPr>
            <p:cNvSpPr/>
            <p:nvPr/>
          </p:nvSpPr>
          <p:spPr>
            <a:xfrm>
              <a:off x="671912" y="1348872"/>
              <a:ext cx="740670" cy="898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prstClr val="white"/>
                </a:solidFill>
                <a:effectLst/>
                <a:uLnTx/>
                <a:uFillTx/>
                <a:latin typeface="Segoe UI"/>
                <a:ea typeface="+mn-ea"/>
                <a:cs typeface="+mn-cs"/>
              </a:endParaRPr>
            </a:p>
          </p:txBody>
        </p:sp>
      </p:grpSp>
      <p:sp>
        <p:nvSpPr>
          <p:cNvPr id="33" name="Text Placeholder 2">
            <a:extLst>
              <a:ext uri="{FF2B5EF4-FFF2-40B4-BE49-F238E27FC236}">
                <a16:creationId xmlns:a16="http://schemas.microsoft.com/office/drawing/2014/main" id="{44FD581F-970E-FFDA-3D3A-640EEFCCFC5D}"/>
              </a:ext>
            </a:extLst>
          </p:cNvPr>
          <p:cNvSpPr>
            <a:spLocks noGrp="1"/>
          </p:cNvSpPr>
          <p:nvPr>
            <p:ph type="body" idx="22"/>
          </p:nvPr>
        </p:nvSpPr>
        <p:spPr>
          <a:xfrm>
            <a:off x="8230200" y="3800417"/>
            <a:ext cx="3370263"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grpSp>
        <p:nvGrpSpPr>
          <p:cNvPr id="34" name="Group 33">
            <a:extLst>
              <a:ext uri="{FF2B5EF4-FFF2-40B4-BE49-F238E27FC236}">
                <a16:creationId xmlns:a16="http://schemas.microsoft.com/office/drawing/2014/main" id="{A3B0AD3E-1645-AF2B-F7FC-71E8E6B6F558}"/>
              </a:ext>
            </a:extLst>
          </p:cNvPr>
          <p:cNvGrpSpPr/>
          <p:nvPr userDrawn="1"/>
        </p:nvGrpSpPr>
        <p:grpSpPr>
          <a:xfrm>
            <a:off x="8230199" y="4118036"/>
            <a:ext cx="3618001" cy="55768"/>
            <a:chOff x="671912" y="1348872"/>
            <a:chExt cx="4897196" cy="89815"/>
          </a:xfrm>
        </p:grpSpPr>
        <p:cxnSp>
          <p:nvCxnSpPr>
            <p:cNvPr id="35" name="Straight Connector 34">
              <a:extLst>
                <a:ext uri="{FF2B5EF4-FFF2-40B4-BE49-F238E27FC236}">
                  <a16:creationId xmlns:a16="http://schemas.microsoft.com/office/drawing/2014/main" id="{04016D8A-355E-052E-DBFC-0CF8DDB51D88}"/>
                </a:ext>
              </a:extLst>
            </p:cNvPr>
            <p:cNvCxnSpPr>
              <a:cxnSpLocks/>
            </p:cNvCxnSpPr>
            <p:nvPr/>
          </p:nvCxnSpPr>
          <p:spPr>
            <a:xfrm>
              <a:off x="719538" y="1393780"/>
              <a:ext cx="4849570"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D7D253B6-BC7A-524F-50FE-A0E226A6A3EB}"/>
                </a:ext>
              </a:extLst>
            </p:cNvPr>
            <p:cNvSpPr/>
            <p:nvPr/>
          </p:nvSpPr>
          <p:spPr>
            <a:xfrm>
              <a:off x="671912" y="1348872"/>
              <a:ext cx="740670" cy="898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15751340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sp>
        <p:nvSpPr>
          <p:cNvPr id="231" name="Rectangle 230">
            <a:extLst>
              <a:ext uri="{FF2B5EF4-FFF2-40B4-BE49-F238E27FC236}">
                <a16:creationId xmlns:a16="http://schemas.microsoft.com/office/drawing/2014/main" id="{E3E07557-3C3B-43A4-A269-12689DB40B0C}"/>
              </a:ext>
            </a:extLst>
          </p:cNvPr>
          <p:cNvSpPr/>
          <p:nvPr userDrawn="1"/>
        </p:nvSpPr>
        <p:spPr>
          <a:xfrm>
            <a:off x="287440" y="5641084"/>
            <a:ext cx="11617121" cy="1026416"/>
          </a:xfrm>
          <a:prstGeom prst="rect">
            <a:avLst/>
          </a:prstGeom>
        </p:spPr>
        <p:txBody>
          <a:bodyPr wrap="square" lIns="50695" tIns="50695" rIns="50695" bIns="50695">
            <a:spAutoFit/>
          </a:bodyPr>
          <a:lstStyle/>
          <a:p>
            <a:pPr algn="just">
              <a:lnSpc>
                <a:spcPct val="120000"/>
              </a:lnSpc>
              <a:spcBef>
                <a:spcPts val="100"/>
              </a:spcBef>
              <a:spcAft>
                <a:spcPts val="100"/>
              </a:spcAft>
            </a:pPr>
            <a:r>
              <a:rPr lang="en-US" sz="800" b="1">
                <a:latin typeface="+mj-lt"/>
                <a:cs typeface="Arial" pitchFamily="34" charset="0"/>
              </a:rPr>
              <a:t>Disclaimer:</a:t>
            </a:r>
          </a:p>
          <a:p>
            <a:pPr algn="just">
              <a:lnSpc>
                <a:spcPct val="120000"/>
              </a:lnSpc>
              <a:spcBef>
                <a:spcPts val="100"/>
              </a:spcBef>
              <a:spcAft>
                <a:spcPts val="100"/>
              </a:spcAft>
            </a:pPr>
            <a:r>
              <a:rPr lang="en-US" sz="800">
                <a:latin typeface="+mj-lt"/>
                <a:cs typeface="Arial" pitchFamily="34" charset="0"/>
              </a:rPr>
              <a:t>This presentation has been prepared by Equirus Capital Pvt. Ltd. (Equirus) for restricted distribution. No representation or warranty, e</a:t>
            </a:r>
            <a:r>
              <a:rPr lang="en-US" sz="800" b="1">
                <a:latin typeface="+mj-lt"/>
                <a:cs typeface="Arial" pitchFamily="34" charset="0"/>
              </a:rPr>
              <a:t>i</a:t>
            </a:r>
            <a:r>
              <a:rPr lang="en-US" sz="800">
                <a:latin typeface="+mj-lt"/>
                <a:cs typeface="Arial" pitchFamily="34" charset="0"/>
              </a:rPr>
              <a:t>ther expressed or implied, is made nor responsibility of any kind is accepted by Equirus Group company, its directors or employees either as to the accuracy or completeness of any information stated in this document. Neither Equirus nor any of its affiliates and/or their directors, officers, employees shall in any way be responsible or liable for any losses or damages whatsoever which any person may suffer or incur as a result of acting or otherwise relying upon anything stated or inferred in or omitted from this presentation.</a:t>
            </a:r>
          </a:p>
          <a:p>
            <a:pPr algn="just">
              <a:lnSpc>
                <a:spcPct val="120000"/>
              </a:lnSpc>
              <a:spcBef>
                <a:spcPts val="100"/>
              </a:spcBef>
              <a:spcAft>
                <a:spcPts val="100"/>
              </a:spcAft>
            </a:pPr>
            <a:r>
              <a:rPr lang="en-US" sz="800">
                <a:latin typeface="+mj-lt"/>
                <a:cs typeface="Arial" pitchFamily="34" charset="0"/>
              </a:rPr>
              <a:t>Opinions and projections found in this presentation reflect our opinion as of the presentation date and are subject to change without notice. This presentation is neither intended nor should be considered as an offer or solicitation, or as the basis for any contract, for purchase of any security, loan or other financial instrument. </a:t>
            </a:r>
          </a:p>
        </p:txBody>
      </p:sp>
      <p:sp>
        <p:nvSpPr>
          <p:cNvPr id="915" name="Rectangle 914">
            <a:extLst>
              <a:ext uri="{FF2B5EF4-FFF2-40B4-BE49-F238E27FC236}">
                <a16:creationId xmlns:a16="http://schemas.microsoft.com/office/drawing/2014/main" id="{B12CDB53-D1BF-426C-8EAE-0E589618A436}"/>
              </a:ext>
            </a:extLst>
          </p:cNvPr>
          <p:cNvSpPr/>
          <p:nvPr userDrawn="1"/>
        </p:nvSpPr>
        <p:spPr>
          <a:xfrm>
            <a:off x="4184650" y="564054"/>
            <a:ext cx="3822700" cy="477054"/>
          </a:xfrm>
          <a:prstGeom prst="rect">
            <a:avLst/>
          </a:prstGeom>
          <a:noFill/>
        </p:spPr>
        <p:txBody>
          <a:bodyPr wrap="square">
            <a:spAutoFit/>
          </a:bodyPr>
          <a:lstStyle/>
          <a:p>
            <a:pPr algn="ctr" defTabSz="1007521">
              <a:lnSpc>
                <a:spcPts val="1500"/>
              </a:lnSpc>
              <a:defRPr/>
            </a:pPr>
            <a:r>
              <a:rPr lang="en-US" sz="1100" b="1">
                <a:latin typeface="+mj-lt"/>
                <a:cs typeface="Arial" pitchFamily="34" charset="0"/>
              </a:rPr>
              <a:t>For any other queries write to us at </a:t>
            </a:r>
            <a:r>
              <a:rPr lang="en-US" sz="1100">
                <a:latin typeface="+mj-lt"/>
                <a:cs typeface="Arial" pitchFamily="34" charset="0"/>
              </a:rPr>
              <a:t> </a:t>
            </a:r>
          </a:p>
          <a:p>
            <a:pPr algn="ctr" defTabSz="1007521">
              <a:lnSpc>
                <a:spcPts val="1500"/>
              </a:lnSpc>
              <a:defRPr/>
            </a:pPr>
            <a:r>
              <a:rPr lang="en-US" sz="1100">
                <a:solidFill>
                  <a:schemeClr val="accent5"/>
                </a:solidFill>
                <a:latin typeface="+mj-lt"/>
                <a:cs typeface="Arial" pitchFamily="34" charset="0"/>
                <a:hlinkClick r:id="rId2"/>
              </a:rPr>
              <a:t>contact@equirus.com</a:t>
            </a:r>
            <a:r>
              <a:rPr lang="en-US" sz="1100">
                <a:solidFill>
                  <a:schemeClr val="accent5"/>
                </a:solidFill>
                <a:latin typeface="+mj-lt"/>
                <a:cs typeface="Arial" pitchFamily="34" charset="0"/>
              </a:rPr>
              <a:t> </a:t>
            </a:r>
          </a:p>
        </p:txBody>
      </p:sp>
      <p:grpSp>
        <p:nvGrpSpPr>
          <p:cNvPr id="4203" name="Group 4202">
            <a:extLst>
              <a:ext uri="{FF2B5EF4-FFF2-40B4-BE49-F238E27FC236}">
                <a16:creationId xmlns:a16="http://schemas.microsoft.com/office/drawing/2014/main" id="{AB1DF952-FCB6-2442-2943-BCC8F83791F4}"/>
              </a:ext>
            </a:extLst>
          </p:cNvPr>
          <p:cNvGrpSpPr/>
          <p:nvPr userDrawn="1"/>
        </p:nvGrpSpPr>
        <p:grpSpPr>
          <a:xfrm>
            <a:off x="6678382" y="274927"/>
            <a:ext cx="5439860" cy="5263358"/>
            <a:chOff x="6678382" y="274927"/>
            <a:chExt cx="5439860" cy="5263358"/>
          </a:xfrm>
        </p:grpSpPr>
        <p:grpSp>
          <p:nvGrpSpPr>
            <p:cNvPr id="4204" name="Group 4203">
              <a:extLst>
                <a:ext uri="{FF2B5EF4-FFF2-40B4-BE49-F238E27FC236}">
                  <a16:creationId xmlns:a16="http://schemas.microsoft.com/office/drawing/2014/main" id="{9C4E7995-27E6-59AC-0391-A27A011DE787}"/>
                </a:ext>
              </a:extLst>
            </p:cNvPr>
            <p:cNvGrpSpPr/>
            <p:nvPr userDrawn="1"/>
          </p:nvGrpSpPr>
          <p:grpSpPr>
            <a:xfrm>
              <a:off x="7154455" y="274927"/>
              <a:ext cx="4527005" cy="5171536"/>
              <a:chOff x="5120293" y="677331"/>
              <a:chExt cx="4848118" cy="5503339"/>
            </a:xfrm>
          </p:grpSpPr>
          <p:grpSp>
            <p:nvGrpSpPr>
              <p:cNvPr id="4222" name="Group 4221">
                <a:extLst>
                  <a:ext uri="{FF2B5EF4-FFF2-40B4-BE49-F238E27FC236}">
                    <a16:creationId xmlns:a16="http://schemas.microsoft.com/office/drawing/2014/main" id="{5A9CD411-9281-5417-9839-69870AFBF4E6}"/>
                  </a:ext>
                </a:extLst>
              </p:cNvPr>
              <p:cNvGrpSpPr>
                <a:grpSpLocks noChangeAspect="1"/>
              </p:cNvGrpSpPr>
              <p:nvPr/>
            </p:nvGrpSpPr>
            <p:grpSpPr>
              <a:xfrm>
                <a:off x="5120293" y="677331"/>
                <a:ext cx="4848118" cy="5503339"/>
                <a:chOff x="3034954" y="-42989"/>
                <a:chExt cx="6029325" cy="6844186"/>
              </a:xfrm>
              <a:solidFill>
                <a:sysClr val="window" lastClr="FFFFFF">
                  <a:lumMod val="85000"/>
                </a:sysClr>
              </a:solidFill>
            </p:grpSpPr>
            <p:sp>
              <p:nvSpPr>
                <p:cNvPr id="4237" name="Oval 4236">
                  <a:extLst>
                    <a:ext uri="{FF2B5EF4-FFF2-40B4-BE49-F238E27FC236}">
                      <a16:creationId xmlns:a16="http://schemas.microsoft.com/office/drawing/2014/main" id="{2D247D9F-13E0-34EF-184B-C0A131415942}"/>
                    </a:ext>
                  </a:extLst>
                </p:cNvPr>
                <p:cNvSpPr>
                  <a:spLocks noChangeAspect="1"/>
                </p:cNvSpPr>
                <p:nvPr/>
              </p:nvSpPr>
              <p:spPr>
                <a:xfrm>
                  <a:off x="4722130" y="-4206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38" name="Oval 4237">
                  <a:extLst>
                    <a:ext uri="{FF2B5EF4-FFF2-40B4-BE49-F238E27FC236}">
                      <a16:creationId xmlns:a16="http://schemas.microsoft.com/office/drawing/2014/main" id="{7805794C-D98A-51B7-E5DC-E42CD67269C0}"/>
                    </a:ext>
                  </a:extLst>
                </p:cNvPr>
                <p:cNvSpPr>
                  <a:spLocks noChangeAspect="1"/>
                </p:cNvSpPr>
                <p:nvPr/>
              </p:nvSpPr>
              <p:spPr>
                <a:xfrm>
                  <a:off x="4554216" y="-4298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39" name="Oval 4238">
                  <a:extLst>
                    <a:ext uri="{FF2B5EF4-FFF2-40B4-BE49-F238E27FC236}">
                      <a16:creationId xmlns:a16="http://schemas.microsoft.com/office/drawing/2014/main" id="{42251497-6912-7A06-B27C-FD28416799A1}"/>
                    </a:ext>
                  </a:extLst>
                </p:cNvPr>
                <p:cNvSpPr>
                  <a:spLocks noChangeAspect="1"/>
                </p:cNvSpPr>
                <p:nvPr/>
              </p:nvSpPr>
              <p:spPr>
                <a:xfrm>
                  <a:off x="4407672" y="-4263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40" name="Oval 4239">
                  <a:extLst>
                    <a:ext uri="{FF2B5EF4-FFF2-40B4-BE49-F238E27FC236}">
                      <a16:creationId xmlns:a16="http://schemas.microsoft.com/office/drawing/2014/main" id="{AE8AD149-2A4E-DAC4-9884-8ED39FBB4290}"/>
                    </a:ext>
                  </a:extLst>
                </p:cNvPr>
                <p:cNvSpPr>
                  <a:spLocks noChangeAspect="1"/>
                </p:cNvSpPr>
                <p:nvPr/>
              </p:nvSpPr>
              <p:spPr>
                <a:xfrm>
                  <a:off x="4256705" y="-4085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41" name="Oval 4240">
                  <a:extLst>
                    <a:ext uri="{FF2B5EF4-FFF2-40B4-BE49-F238E27FC236}">
                      <a16:creationId xmlns:a16="http://schemas.microsoft.com/office/drawing/2014/main" id="{94E93F5D-173E-19B6-E82D-0BE763D4FC69}"/>
                    </a:ext>
                  </a:extLst>
                </p:cNvPr>
                <p:cNvSpPr>
                  <a:spLocks noChangeAspect="1"/>
                </p:cNvSpPr>
                <p:nvPr/>
              </p:nvSpPr>
              <p:spPr>
                <a:xfrm>
                  <a:off x="4867596" y="12907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42" name="Oval 4241">
                  <a:extLst>
                    <a:ext uri="{FF2B5EF4-FFF2-40B4-BE49-F238E27FC236}">
                      <a16:creationId xmlns:a16="http://schemas.microsoft.com/office/drawing/2014/main" id="{C2AE29D6-AF70-A800-A71A-71454DFD8698}"/>
                    </a:ext>
                  </a:extLst>
                </p:cNvPr>
                <p:cNvSpPr>
                  <a:spLocks noChangeAspect="1"/>
                </p:cNvSpPr>
                <p:nvPr/>
              </p:nvSpPr>
              <p:spPr>
                <a:xfrm>
                  <a:off x="4722130" y="12493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43" name="Oval 4242">
                  <a:extLst>
                    <a:ext uri="{FF2B5EF4-FFF2-40B4-BE49-F238E27FC236}">
                      <a16:creationId xmlns:a16="http://schemas.microsoft.com/office/drawing/2014/main" id="{B5E9986F-9262-E113-FA33-D3CA08B12826}"/>
                    </a:ext>
                  </a:extLst>
                </p:cNvPr>
                <p:cNvSpPr>
                  <a:spLocks noChangeAspect="1"/>
                </p:cNvSpPr>
                <p:nvPr/>
              </p:nvSpPr>
              <p:spPr>
                <a:xfrm>
                  <a:off x="4557975" y="12493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44" name="Oval 4243">
                  <a:extLst>
                    <a:ext uri="{FF2B5EF4-FFF2-40B4-BE49-F238E27FC236}">
                      <a16:creationId xmlns:a16="http://schemas.microsoft.com/office/drawing/2014/main" id="{064393D9-499B-D212-E487-BBD73F402B20}"/>
                    </a:ext>
                  </a:extLst>
                </p:cNvPr>
                <p:cNvSpPr>
                  <a:spLocks noChangeAspect="1"/>
                </p:cNvSpPr>
                <p:nvPr/>
              </p:nvSpPr>
              <p:spPr>
                <a:xfrm>
                  <a:off x="4402155" y="12493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45" name="Oval 4244">
                  <a:extLst>
                    <a:ext uri="{FF2B5EF4-FFF2-40B4-BE49-F238E27FC236}">
                      <a16:creationId xmlns:a16="http://schemas.microsoft.com/office/drawing/2014/main" id="{27DA3745-7007-E6AC-098B-15312A3039C7}"/>
                    </a:ext>
                  </a:extLst>
                </p:cNvPr>
                <p:cNvSpPr>
                  <a:spLocks noChangeAspect="1"/>
                </p:cNvSpPr>
                <p:nvPr/>
              </p:nvSpPr>
              <p:spPr>
                <a:xfrm>
                  <a:off x="4256705" y="12907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46" name="Oval 4245">
                  <a:extLst>
                    <a:ext uri="{FF2B5EF4-FFF2-40B4-BE49-F238E27FC236}">
                      <a16:creationId xmlns:a16="http://schemas.microsoft.com/office/drawing/2014/main" id="{E3899108-A73B-7A3A-CF90-0BBF1A407C8B}"/>
                    </a:ext>
                  </a:extLst>
                </p:cNvPr>
                <p:cNvSpPr>
                  <a:spLocks noChangeAspect="1"/>
                </p:cNvSpPr>
                <p:nvPr/>
              </p:nvSpPr>
              <p:spPr>
                <a:xfrm>
                  <a:off x="4115329" y="11740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47" name="Oval 4246">
                  <a:extLst>
                    <a:ext uri="{FF2B5EF4-FFF2-40B4-BE49-F238E27FC236}">
                      <a16:creationId xmlns:a16="http://schemas.microsoft.com/office/drawing/2014/main" id="{7C0642A7-CCB5-0D6C-F4D1-41623A094E3F}"/>
                    </a:ext>
                  </a:extLst>
                </p:cNvPr>
                <p:cNvSpPr>
                  <a:spLocks noChangeAspect="1"/>
                </p:cNvSpPr>
                <p:nvPr/>
              </p:nvSpPr>
              <p:spPr>
                <a:xfrm>
                  <a:off x="5478453" y="27037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48" name="Oval 4247">
                  <a:extLst>
                    <a:ext uri="{FF2B5EF4-FFF2-40B4-BE49-F238E27FC236}">
                      <a16:creationId xmlns:a16="http://schemas.microsoft.com/office/drawing/2014/main" id="{E5C3F532-85A0-65F4-03C0-568F96ED787F}"/>
                    </a:ext>
                  </a:extLst>
                </p:cNvPr>
                <p:cNvSpPr>
                  <a:spLocks noChangeAspect="1"/>
                </p:cNvSpPr>
                <p:nvPr/>
              </p:nvSpPr>
              <p:spPr>
                <a:xfrm>
                  <a:off x="5013029" y="27435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49" name="Oval 4248">
                  <a:extLst>
                    <a:ext uri="{FF2B5EF4-FFF2-40B4-BE49-F238E27FC236}">
                      <a16:creationId xmlns:a16="http://schemas.microsoft.com/office/drawing/2014/main" id="{E00AA7E5-C8EB-B2E5-5E38-D1E254EBEE8B}"/>
                    </a:ext>
                  </a:extLst>
                </p:cNvPr>
                <p:cNvSpPr>
                  <a:spLocks noChangeAspect="1"/>
                </p:cNvSpPr>
                <p:nvPr/>
              </p:nvSpPr>
              <p:spPr>
                <a:xfrm>
                  <a:off x="4867596" y="27037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50" name="Oval 4249">
                  <a:extLst>
                    <a:ext uri="{FF2B5EF4-FFF2-40B4-BE49-F238E27FC236}">
                      <a16:creationId xmlns:a16="http://schemas.microsoft.com/office/drawing/2014/main" id="{FD08AE8C-B6FB-F4C5-9D11-869D17A2D437}"/>
                    </a:ext>
                  </a:extLst>
                </p:cNvPr>
                <p:cNvSpPr>
                  <a:spLocks noChangeAspect="1"/>
                </p:cNvSpPr>
                <p:nvPr/>
              </p:nvSpPr>
              <p:spPr>
                <a:xfrm>
                  <a:off x="4722130" y="27037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51" name="Oval 4250">
                  <a:extLst>
                    <a:ext uri="{FF2B5EF4-FFF2-40B4-BE49-F238E27FC236}">
                      <a16:creationId xmlns:a16="http://schemas.microsoft.com/office/drawing/2014/main" id="{21EB6D70-38F6-F951-CC20-4762AF2CEDC8}"/>
                    </a:ext>
                  </a:extLst>
                </p:cNvPr>
                <p:cNvSpPr>
                  <a:spLocks noChangeAspect="1"/>
                </p:cNvSpPr>
                <p:nvPr/>
              </p:nvSpPr>
              <p:spPr>
                <a:xfrm>
                  <a:off x="4557975" y="27037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52" name="Oval 4251">
                  <a:extLst>
                    <a:ext uri="{FF2B5EF4-FFF2-40B4-BE49-F238E27FC236}">
                      <a16:creationId xmlns:a16="http://schemas.microsoft.com/office/drawing/2014/main" id="{BDCC2200-3019-BB1B-D84C-AAC58841449B}"/>
                    </a:ext>
                  </a:extLst>
                </p:cNvPr>
                <p:cNvSpPr>
                  <a:spLocks noChangeAspect="1"/>
                </p:cNvSpPr>
                <p:nvPr/>
              </p:nvSpPr>
              <p:spPr>
                <a:xfrm>
                  <a:off x="4402155" y="27435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53" name="Oval 4252">
                  <a:extLst>
                    <a:ext uri="{FF2B5EF4-FFF2-40B4-BE49-F238E27FC236}">
                      <a16:creationId xmlns:a16="http://schemas.microsoft.com/office/drawing/2014/main" id="{484A6FA8-A50D-50FC-A12F-E915D8908109}"/>
                    </a:ext>
                  </a:extLst>
                </p:cNvPr>
                <p:cNvSpPr>
                  <a:spLocks noChangeAspect="1"/>
                </p:cNvSpPr>
                <p:nvPr/>
              </p:nvSpPr>
              <p:spPr>
                <a:xfrm>
                  <a:off x="5623919" y="27079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54" name="Oval 4253">
                  <a:extLst>
                    <a:ext uri="{FF2B5EF4-FFF2-40B4-BE49-F238E27FC236}">
                      <a16:creationId xmlns:a16="http://schemas.microsoft.com/office/drawing/2014/main" id="{2CE700A1-F949-105E-AA17-3C2D3FB9521B}"/>
                    </a:ext>
                  </a:extLst>
                </p:cNvPr>
                <p:cNvSpPr>
                  <a:spLocks noChangeAspect="1"/>
                </p:cNvSpPr>
                <p:nvPr/>
              </p:nvSpPr>
              <p:spPr>
                <a:xfrm>
                  <a:off x="5319104" y="27037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55" name="Oval 4254">
                  <a:extLst>
                    <a:ext uri="{FF2B5EF4-FFF2-40B4-BE49-F238E27FC236}">
                      <a16:creationId xmlns:a16="http://schemas.microsoft.com/office/drawing/2014/main" id="{727F28ED-83EF-7890-1E39-FA97D8600BFC}"/>
                    </a:ext>
                  </a:extLst>
                </p:cNvPr>
                <p:cNvSpPr>
                  <a:spLocks noChangeAspect="1"/>
                </p:cNvSpPr>
                <p:nvPr/>
              </p:nvSpPr>
              <p:spPr>
                <a:xfrm>
                  <a:off x="4256705" y="27079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56" name="Oval 4255">
                  <a:extLst>
                    <a:ext uri="{FF2B5EF4-FFF2-40B4-BE49-F238E27FC236}">
                      <a16:creationId xmlns:a16="http://schemas.microsoft.com/office/drawing/2014/main" id="{142D83E3-BF89-B62D-343C-C30965034B00}"/>
                    </a:ext>
                  </a:extLst>
                </p:cNvPr>
                <p:cNvSpPr>
                  <a:spLocks noChangeAspect="1"/>
                </p:cNvSpPr>
                <p:nvPr/>
              </p:nvSpPr>
              <p:spPr>
                <a:xfrm>
                  <a:off x="5478278" y="41582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57" name="Oval 4256">
                  <a:extLst>
                    <a:ext uri="{FF2B5EF4-FFF2-40B4-BE49-F238E27FC236}">
                      <a16:creationId xmlns:a16="http://schemas.microsoft.com/office/drawing/2014/main" id="{0EDDC78C-9F71-0BE0-0CD3-1FA4BC04504C}"/>
                    </a:ext>
                  </a:extLst>
                </p:cNvPr>
                <p:cNvSpPr>
                  <a:spLocks noChangeAspect="1"/>
                </p:cNvSpPr>
                <p:nvPr/>
              </p:nvSpPr>
              <p:spPr>
                <a:xfrm>
                  <a:off x="5333021" y="41582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58" name="Oval 4257">
                  <a:extLst>
                    <a:ext uri="{FF2B5EF4-FFF2-40B4-BE49-F238E27FC236}">
                      <a16:creationId xmlns:a16="http://schemas.microsoft.com/office/drawing/2014/main" id="{060BFE82-5FCC-5ABE-45BE-DE16B0A5C854}"/>
                    </a:ext>
                  </a:extLst>
                </p:cNvPr>
                <p:cNvSpPr>
                  <a:spLocks noChangeAspect="1"/>
                </p:cNvSpPr>
                <p:nvPr/>
              </p:nvSpPr>
              <p:spPr>
                <a:xfrm>
                  <a:off x="5164001" y="42279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59" name="Oval 4258">
                  <a:extLst>
                    <a:ext uri="{FF2B5EF4-FFF2-40B4-BE49-F238E27FC236}">
                      <a16:creationId xmlns:a16="http://schemas.microsoft.com/office/drawing/2014/main" id="{554C461A-2D2B-7D85-BCDE-CA2CC576E69F}"/>
                    </a:ext>
                  </a:extLst>
                </p:cNvPr>
                <p:cNvSpPr>
                  <a:spLocks noChangeAspect="1"/>
                </p:cNvSpPr>
                <p:nvPr/>
              </p:nvSpPr>
              <p:spPr>
                <a:xfrm>
                  <a:off x="5018557" y="42279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60" name="Oval 4259">
                  <a:extLst>
                    <a:ext uri="{FF2B5EF4-FFF2-40B4-BE49-F238E27FC236}">
                      <a16:creationId xmlns:a16="http://schemas.microsoft.com/office/drawing/2014/main" id="{D80B699C-BA60-4AA9-2C54-85BBC261B578}"/>
                    </a:ext>
                  </a:extLst>
                </p:cNvPr>
                <p:cNvSpPr>
                  <a:spLocks noChangeAspect="1"/>
                </p:cNvSpPr>
                <p:nvPr/>
              </p:nvSpPr>
              <p:spPr>
                <a:xfrm>
                  <a:off x="4867401" y="41582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61" name="Oval 4260">
                  <a:extLst>
                    <a:ext uri="{FF2B5EF4-FFF2-40B4-BE49-F238E27FC236}">
                      <a16:creationId xmlns:a16="http://schemas.microsoft.com/office/drawing/2014/main" id="{C691F2E8-C44E-EF64-646E-37BB730EDA72}"/>
                    </a:ext>
                  </a:extLst>
                </p:cNvPr>
                <p:cNvSpPr>
                  <a:spLocks noChangeAspect="1"/>
                </p:cNvSpPr>
                <p:nvPr/>
              </p:nvSpPr>
              <p:spPr>
                <a:xfrm>
                  <a:off x="4722130" y="41582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62" name="Oval 4261">
                  <a:extLst>
                    <a:ext uri="{FF2B5EF4-FFF2-40B4-BE49-F238E27FC236}">
                      <a16:creationId xmlns:a16="http://schemas.microsoft.com/office/drawing/2014/main" id="{A7C086A7-9D3D-85FA-6DBB-E73FE1B229D0}"/>
                    </a:ext>
                  </a:extLst>
                </p:cNvPr>
                <p:cNvSpPr>
                  <a:spLocks noChangeAspect="1"/>
                </p:cNvSpPr>
                <p:nvPr/>
              </p:nvSpPr>
              <p:spPr>
                <a:xfrm>
                  <a:off x="4553118" y="42279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63" name="Oval 4262">
                  <a:extLst>
                    <a:ext uri="{FF2B5EF4-FFF2-40B4-BE49-F238E27FC236}">
                      <a16:creationId xmlns:a16="http://schemas.microsoft.com/office/drawing/2014/main" id="{2432FC15-FFCE-07D9-C379-E6420283324B}"/>
                    </a:ext>
                  </a:extLst>
                </p:cNvPr>
                <p:cNvSpPr>
                  <a:spLocks noChangeAspect="1"/>
                </p:cNvSpPr>
                <p:nvPr/>
              </p:nvSpPr>
              <p:spPr>
                <a:xfrm>
                  <a:off x="4407672" y="42279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64" name="Oval 4263">
                  <a:extLst>
                    <a:ext uri="{FF2B5EF4-FFF2-40B4-BE49-F238E27FC236}">
                      <a16:creationId xmlns:a16="http://schemas.microsoft.com/office/drawing/2014/main" id="{4905F872-60DD-5F23-E199-107E610B6684}"/>
                    </a:ext>
                  </a:extLst>
                </p:cNvPr>
                <p:cNvSpPr>
                  <a:spLocks noChangeAspect="1"/>
                </p:cNvSpPr>
                <p:nvPr/>
              </p:nvSpPr>
              <p:spPr>
                <a:xfrm>
                  <a:off x="5482530" y="58283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65" name="Oval 4264">
                  <a:extLst>
                    <a:ext uri="{FF2B5EF4-FFF2-40B4-BE49-F238E27FC236}">
                      <a16:creationId xmlns:a16="http://schemas.microsoft.com/office/drawing/2014/main" id="{BFFC1FC5-8127-E715-8088-AB1C4C79D967}"/>
                    </a:ext>
                  </a:extLst>
                </p:cNvPr>
                <p:cNvSpPr>
                  <a:spLocks noChangeAspect="1"/>
                </p:cNvSpPr>
                <p:nvPr/>
              </p:nvSpPr>
              <p:spPr>
                <a:xfrm>
                  <a:off x="5337086" y="58283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66" name="Oval 4265">
                  <a:extLst>
                    <a:ext uri="{FF2B5EF4-FFF2-40B4-BE49-F238E27FC236}">
                      <a16:creationId xmlns:a16="http://schemas.microsoft.com/office/drawing/2014/main" id="{C1D1B408-1A0A-81F9-6B90-9BA0A52DDD2C}"/>
                    </a:ext>
                  </a:extLst>
                </p:cNvPr>
                <p:cNvSpPr>
                  <a:spLocks noChangeAspect="1"/>
                </p:cNvSpPr>
                <p:nvPr/>
              </p:nvSpPr>
              <p:spPr>
                <a:xfrm>
                  <a:off x="5164001" y="56823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67" name="Oval 4266">
                  <a:extLst>
                    <a:ext uri="{FF2B5EF4-FFF2-40B4-BE49-F238E27FC236}">
                      <a16:creationId xmlns:a16="http://schemas.microsoft.com/office/drawing/2014/main" id="{FEC0DC59-C228-0C6F-4F0B-A8E4337FD9FE}"/>
                    </a:ext>
                  </a:extLst>
                </p:cNvPr>
                <p:cNvSpPr>
                  <a:spLocks noChangeAspect="1"/>
                </p:cNvSpPr>
                <p:nvPr/>
              </p:nvSpPr>
              <p:spPr>
                <a:xfrm>
                  <a:off x="5015939" y="57581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68" name="Oval 4267">
                  <a:extLst>
                    <a:ext uri="{FF2B5EF4-FFF2-40B4-BE49-F238E27FC236}">
                      <a16:creationId xmlns:a16="http://schemas.microsoft.com/office/drawing/2014/main" id="{87DE1908-12BB-03EE-CBA8-4A9624B3EB0F}"/>
                    </a:ext>
                  </a:extLst>
                </p:cNvPr>
                <p:cNvSpPr>
                  <a:spLocks noChangeAspect="1"/>
                </p:cNvSpPr>
                <p:nvPr/>
              </p:nvSpPr>
              <p:spPr>
                <a:xfrm>
                  <a:off x="4871661" y="58283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69" name="Oval 4268">
                  <a:extLst>
                    <a:ext uri="{FF2B5EF4-FFF2-40B4-BE49-F238E27FC236}">
                      <a16:creationId xmlns:a16="http://schemas.microsoft.com/office/drawing/2014/main" id="{0415ACC6-6E64-6EA6-8D1C-7B1512110FDA}"/>
                    </a:ext>
                  </a:extLst>
                </p:cNvPr>
                <p:cNvSpPr>
                  <a:spLocks noChangeAspect="1"/>
                </p:cNvSpPr>
                <p:nvPr/>
              </p:nvSpPr>
              <p:spPr>
                <a:xfrm>
                  <a:off x="4726207" y="58283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70" name="Oval 4269">
                  <a:extLst>
                    <a:ext uri="{FF2B5EF4-FFF2-40B4-BE49-F238E27FC236}">
                      <a16:creationId xmlns:a16="http://schemas.microsoft.com/office/drawing/2014/main" id="{EDDC6CF1-2985-7800-11EF-D9B20A393131}"/>
                    </a:ext>
                  </a:extLst>
                </p:cNvPr>
                <p:cNvSpPr>
                  <a:spLocks noChangeAspect="1"/>
                </p:cNvSpPr>
                <p:nvPr/>
              </p:nvSpPr>
              <p:spPr>
                <a:xfrm>
                  <a:off x="4554216" y="56788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71" name="Oval 4270">
                  <a:extLst>
                    <a:ext uri="{FF2B5EF4-FFF2-40B4-BE49-F238E27FC236}">
                      <a16:creationId xmlns:a16="http://schemas.microsoft.com/office/drawing/2014/main" id="{50AE50B9-811F-0104-5708-019D44B86755}"/>
                    </a:ext>
                  </a:extLst>
                </p:cNvPr>
                <p:cNvSpPr>
                  <a:spLocks noChangeAspect="1"/>
                </p:cNvSpPr>
                <p:nvPr/>
              </p:nvSpPr>
              <p:spPr>
                <a:xfrm>
                  <a:off x="4407672" y="56823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72" name="Oval 4271">
                  <a:extLst>
                    <a:ext uri="{FF2B5EF4-FFF2-40B4-BE49-F238E27FC236}">
                      <a16:creationId xmlns:a16="http://schemas.microsoft.com/office/drawing/2014/main" id="{F862ECB6-6E8B-8B0C-888B-6FFC0D2749C3}"/>
                    </a:ext>
                  </a:extLst>
                </p:cNvPr>
                <p:cNvSpPr>
                  <a:spLocks noChangeAspect="1"/>
                </p:cNvSpPr>
                <p:nvPr/>
              </p:nvSpPr>
              <p:spPr>
                <a:xfrm>
                  <a:off x="4256705" y="57002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73" name="Oval 4272">
                  <a:extLst>
                    <a:ext uri="{FF2B5EF4-FFF2-40B4-BE49-F238E27FC236}">
                      <a16:creationId xmlns:a16="http://schemas.microsoft.com/office/drawing/2014/main" id="{F9EDA232-B973-D320-55E8-A0CE7352D463}"/>
                    </a:ext>
                  </a:extLst>
                </p:cNvPr>
                <p:cNvSpPr>
                  <a:spLocks noChangeAspect="1"/>
                </p:cNvSpPr>
                <p:nvPr/>
              </p:nvSpPr>
              <p:spPr>
                <a:xfrm>
                  <a:off x="5333021" y="73580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74" name="Oval 4273">
                  <a:extLst>
                    <a:ext uri="{FF2B5EF4-FFF2-40B4-BE49-F238E27FC236}">
                      <a16:creationId xmlns:a16="http://schemas.microsoft.com/office/drawing/2014/main" id="{D5013609-7817-FCC8-904E-EEEFDEE81B7F}"/>
                    </a:ext>
                  </a:extLst>
                </p:cNvPr>
                <p:cNvSpPr>
                  <a:spLocks noChangeAspect="1"/>
                </p:cNvSpPr>
                <p:nvPr/>
              </p:nvSpPr>
              <p:spPr>
                <a:xfrm>
                  <a:off x="5168854" y="73580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75" name="Oval 4274">
                  <a:extLst>
                    <a:ext uri="{FF2B5EF4-FFF2-40B4-BE49-F238E27FC236}">
                      <a16:creationId xmlns:a16="http://schemas.microsoft.com/office/drawing/2014/main" id="{B44C9BBA-3316-5B83-419A-B43E0C92D89D}"/>
                    </a:ext>
                  </a:extLst>
                </p:cNvPr>
                <p:cNvSpPr>
                  <a:spLocks noChangeAspect="1"/>
                </p:cNvSpPr>
                <p:nvPr/>
              </p:nvSpPr>
              <p:spPr>
                <a:xfrm>
                  <a:off x="5013029" y="73994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76" name="Oval 4275">
                  <a:extLst>
                    <a:ext uri="{FF2B5EF4-FFF2-40B4-BE49-F238E27FC236}">
                      <a16:creationId xmlns:a16="http://schemas.microsoft.com/office/drawing/2014/main" id="{2849EB5C-6480-6355-E2A8-05F72411EEF4}"/>
                    </a:ext>
                  </a:extLst>
                </p:cNvPr>
                <p:cNvSpPr>
                  <a:spLocks noChangeAspect="1"/>
                </p:cNvSpPr>
                <p:nvPr/>
              </p:nvSpPr>
              <p:spPr>
                <a:xfrm>
                  <a:off x="4867596" y="73580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77" name="Oval 4276">
                  <a:extLst>
                    <a:ext uri="{FF2B5EF4-FFF2-40B4-BE49-F238E27FC236}">
                      <a16:creationId xmlns:a16="http://schemas.microsoft.com/office/drawing/2014/main" id="{973B7E88-CE15-A24A-22B4-3F1C3F26DF18}"/>
                    </a:ext>
                  </a:extLst>
                </p:cNvPr>
                <p:cNvSpPr>
                  <a:spLocks noChangeAspect="1"/>
                </p:cNvSpPr>
                <p:nvPr/>
              </p:nvSpPr>
              <p:spPr>
                <a:xfrm>
                  <a:off x="4722130" y="73580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78" name="Oval 4277">
                  <a:extLst>
                    <a:ext uri="{FF2B5EF4-FFF2-40B4-BE49-F238E27FC236}">
                      <a16:creationId xmlns:a16="http://schemas.microsoft.com/office/drawing/2014/main" id="{A4481EAD-FE57-42B0-54C0-82497DCAD11A}"/>
                    </a:ext>
                  </a:extLst>
                </p:cNvPr>
                <p:cNvSpPr>
                  <a:spLocks noChangeAspect="1"/>
                </p:cNvSpPr>
                <p:nvPr/>
              </p:nvSpPr>
              <p:spPr>
                <a:xfrm>
                  <a:off x="4557975" y="73580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79" name="Oval 4278">
                  <a:extLst>
                    <a:ext uri="{FF2B5EF4-FFF2-40B4-BE49-F238E27FC236}">
                      <a16:creationId xmlns:a16="http://schemas.microsoft.com/office/drawing/2014/main" id="{2018B246-9D95-AA4F-C55E-B8CCA5EE5288}"/>
                    </a:ext>
                  </a:extLst>
                </p:cNvPr>
                <p:cNvSpPr>
                  <a:spLocks noChangeAspect="1"/>
                </p:cNvSpPr>
                <p:nvPr/>
              </p:nvSpPr>
              <p:spPr>
                <a:xfrm>
                  <a:off x="4402155" y="73580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80" name="Oval 4279">
                  <a:extLst>
                    <a:ext uri="{FF2B5EF4-FFF2-40B4-BE49-F238E27FC236}">
                      <a16:creationId xmlns:a16="http://schemas.microsoft.com/office/drawing/2014/main" id="{E66E931F-F67C-7CFF-83DF-F4BE7118D109}"/>
                    </a:ext>
                  </a:extLst>
                </p:cNvPr>
                <p:cNvSpPr>
                  <a:spLocks noChangeAspect="1"/>
                </p:cNvSpPr>
                <p:nvPr/>
              </p:nvSpPr>
              <p:spPr>
                <a:xfrm>
                  <a:off x="4256705" y="73994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81" name="Oval 4280">
                  <a:extLst>
                    <a:ext uri="{FF2B5EF4-FFF2-40B4-BE49-F238E27FC236}">
                      <a16:creationId xmlns:a16="http://schemas.microsoft.com/office/drawing/2014/main" id="{851F7CE4-73EA-7131-ACE3-7ACACF757CED}"/>
                    </a:ext>
                  </a:extLst>
                </p:cNvPr>
                <p:cNvSpPr>
                  <a:spLocks noChangeAspect="1"/>
                </p:cNvSpPr>
                <p:nvPr/>
              </p:nvSpPr>
              <p:spPr>
                <a:xfrm>
                  <a:off x="5478149" y="88125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82" name="Oval 4281">
                  <a:extLst>
                    <a:ext uri="{FF2B5EF4-FFF2-40B4-BE49-F238E27FC236}">
                      <a16:creationId xmlns:a16="http://schemas.microsoft.com/office/drawing/2014/main" id="{60894126-19F2-D93E-1B1E-64E6246F5C38}"/>
                    </a:ext>
                  </a:extLst>
                </p:cNvPr>
                <p:cNvSpPr>
                  <a:spLocks noChangeAspect="1"/>
                </p:cNvSpPr>
                <p:nvPr/>
              </p:nvSpPr>
              <p:spPr>
                <a:xfrm>
                  <a:off x="5332706" y="88125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83" name="Oval 4282">
                  <a:extLst>
                    <a:ext uri="{FF2B5EF4-FFF2-40B4-BE49-F238E27FC236}">
                      <a16:creationId xmlns:a16="http://schemas.microsoft.com/office/drawing/2014/main" id="{4CC4CE61-09C0-297A-7793-8F86E71476A7}"/>
                    </a:ext>
                  </a:extLst>
                </p:cNvPr>
                <p:cNvSpPr>
                  <a:spLocks noChangeAspect="1"/>
                </p:cNvSpPr>
                <p:nvPr/>
              </p:nvSpPr>
              <p:spPr>
                <a:xfrm>
                  <a:off x="5167225" y="88125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84" name="Oval 4283">
                  <a:extLst>
                    <a:ext uri="{FF2B5EF4-FFF2-40B4-BE49-F238E27FC236}">
                      <a16:creationId xmlns:a16="http://schemas.microsoft.com/office/drawing/2014/main" id="{B0D6542C-EF68-DA07-EB20-8488E0CAE7C5}"/>
                    </a:ext>
                  </a:extLst>
                </p:cNvPr>
                <p:cNvSpPr>
                  <a:spLocks noChangeAspect="1"/>
                </p:cNvSpPr>
                <p:nvPr/>
              </p:nvSpPr>
              <p:spPr>
                <a:xfrm>
                  <a:off x="5012002" y="88578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85" name="Oval 4284">
                  <a:extLst>
                    <a:ext uri="{FF2B5EF4-FFF2-40B4-BE49-F238E27FC236}">
                      <a16:creationId xmlns:a16="http://schemas.microsoft.com/office/drawing/2014/main" id="{19EF37C4-573A-3AFB-28E7-585D1CE85505}"/>
                    </a:ext>
                  </a:extLst>
                </p:cNvPr>
                <p:cNvSpPr>
                  <a:spLocks noChangeAspect="1"/>
                </p:cNvSpPr>
                <p:nvPr/>
              </p:nvSpPr>
              <p:spPr>
                <a:xfrm>
                  <a:off x="4867281" y="88125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86" name="Oval 4285">
                  <a:extLst>
                    <a:ext uri="{FF2B5EF4-FFF2-40B4-BE49-F238E27FC236}">
                      <a16:creationId xmlns:a16="http://schemas.microsoft.com/office/drawing/2014/main" id="{670B2786-D967-D193-A938-CC32A631E28D}"/>
                    </a:ext>
                  </a:extLst>
                </p:cNvPr>
                <p:cNvSpPr>
                  <a:spLocks noChangeAspect="1"/>
                </p:cNvSpPr>
                <p:nvPr/>
              </p:nvSpPr>
              <p:spPr>
                <a:xfrm>
                  <a:off x="4721826" y="88125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87" name="Oval 4286">
                  <a:extLst>
                    <a:ext uri="{FF2B5EF4-FFF2-40B4-BE49-F238E27FC236}">
                      <a16:creationId xmlns:a16="http://schemas.microsoft.com/office/drawing/2014/main" id="{D288ABDA-7408-85BA-21A2-90C273081749}"/>
                    </a:ext>
                  </a:extLst>
                </p:cNvPr>
                <p:cNvSpPr>
                  <a:spLocks noChangeAspect="1"/>
                </p:cNvSpPr>
                <p:nvPr/>
              </p:nvSpPr>
              <p:spPr>
                <a:xfrm>
                  <a:off x="4562231" y="88345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88" name="Oval 4287">
                  <a:extLst>
                    <a:ext uri="{FF2B5EF4-FFF2-40B4-BE49-F238E27FC236}">
                      <a16:creationId xmlns:a16="http://schemas.microsoft.com/office/drawing/2014/main" id="{29047AE5-E830-DA2B-A944-B826507C19DA}"/>
                    </a:ext>
                  </a:extLst>
                </p:cNvPr>
                <p:cNvSpPr>
                  <a:spLocks noChangeAspect="1"/>
                </p:cNvSpPr>
                <p:nvPr/>
              </p:nvSpPr>
              <p:spPr>
                <a:xfrm>
                  <a:off x="4407672" y="88822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89" name="Oval 4288">
                  <a:extLst>
                    <a:ext uri="{FF2B5EF4-FFF2-40B4-BE49-F238E27FC236}">
                      <a16:creationId xmlns:a16="http://schemas.microsoft.com/office/drawing/2014/main" id="{CD94AB9C-0B85-EBF5-D267-9CB50A81DE36}"/>
                    </a:ext>
                  </a:extLst>
                </p:cNvPr>
                <p:cNvSpPr>
                  <a:spLocks noChangeAspect="1"/>
                </p:cNvSpPr>
                <p:nvPr/>
              </p:nvSpPr>
              <p:spPr>
                <a:xfrm>
                  <a:off x="5478453" y="102670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90" name="Oval 4289">
                  <a:extLst>
                    <a:ext uri="{FF2B5EF4-FFF2-40B4-BE49-F238E27FC236}">
                      <a16:creationId xmlns:a16="http://schemas.microsoft.com/office/drawing/2014/main" id="{CDA34696-0A07-A1EA-3686-AE984C9469D4}"/>
                    </a:ext>
                  </a:extLst>
                </p:cNvPr>
                <p:cNvSpPr>
                  <a:spLocks noChangeAspect="1"/>
                </p:cNvSpPr>
                <p:nvPr/>
              </p:nvSpPr>
              <p:spPr>
                <a:xfrm>
                  <a:off x="5164001" y="103366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91" name="Oval 4290">
                  <a:extLst>
                    <a:ext uri="{FF2B5EF4-FFF2-40B4-BE49-F238E27FC236}">
                      <a16:creationId xmlns:a16="http://schemas.microsoft.com/office/drawing/2014/main" id="{A5708E9C-A538-27D6-E7ED-93674FAD4687}"/>
                    </a:ext>
                  </a:extLst>
                </p:cNvPr>
                <p:cNvSpPr>
                  <a:spLocks noChangeAspect="1"/>
                </p:cNvSpPr>
                <p:nvPr/>
              </p:nvSpPr>
              <p:spPr>
                <a:xfrm>
                  <a:off x="5018557" y="103366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92" name="Oval 4291">
                  <a:extLst>
                    <a:ext uri="{FF2B5EF4-FFF2-40B4-BE49-F238E27FC236}">
                      <a16:creationId xmlns:a16="http://schemas.microsoft.com/office/drawing/2014/main" id="{2AF28395-AB94-2826-AAC0-92186DEE92EA}"/>
                    </a:ext>
                  </a:extLst>
                </p:cNvPr>
                <p:cNvSpPr>
                  <a:spLocks noChangeAspect="1"/>
                </p:cNvSpPr>
                <p:nvPr/>
              </p:nvSpPr>
              <p:spPr>
                <a:xfrm>
                  <a:off x="4871575" y="103423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93" name="Oval 4292">
                  <a:extLst>
                    <a:ext uri="{FF2B5EF4-FFF2-40B4-BE49-F238E27FC236}">
                      <a16:creationId xmlns:a16="http://schemas.microsoft.com/office/drawing/2014/main" id="{104CEF16-1410-FBA8-9B9C-E9F642E46101}"/>
                    </a:ext>
                  </a:extLst>
                </p:cNvPr>
                <p:cNvSpPr>
                  <a:spLocks noChangeAspect="1"/>
                </p:cNvSpPr>
                <p:nvPr/>
              </p:nvSpPr>
              <p:spPr>
                <a:xfrm>
                  <a:off x="4722130" y="102670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94" name="Oval 4293">
                  <a:extLst>
                    <a:ext uri="{FF2B5EF4-FFF2-40B4-BE49-F238E27FC236}">
                      <a16:creationId xmlns:a16="http://schemas.microsoft.com/office/drawing/2014/main" id="{01BDA8EA-BF0F-FDFA-5BDE-482BAFA0480E}"/>
                    </a:ext>
                  </a:extLst>
                </p:cNvPr>
                <p:cNvSpPr>
                  <a:spLocks noChangeAspect="1"/>
                </p:cNvSpPr>
                <p:nvPr/>
              </p:nvSpPr>
              <p:spPr>
                <a:xfrm>
                  <a:off x="5166618" y="118475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95" name="Oval 4294">
                  <a:extLst>
                    <a:ext uri="{FF2B5EF4-FFF2-40B4-BE49-F238E27FC236}">
                      <a16:creationId xmlns:a16="http://schemas.microsoft.com/office/drawing/2014/main" id="{1E019464-94AF-C722-CDB8-857D4073BE19}"/>
                    </a:ext>
                  </a:extLst>
                </p:cNvPr>
                <p:cNvSpPr>
                  <a:spLocks noChangeAspect="1"/>
                </p:cNvSpPr>
                <p:nvPr/>
              </p:nvSpPr>
              <p:spPr>
                <a:xfrm>
                  <a:off x="5013029" y="118475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96" name="Oval 4295">
                  <a:extLst>
                    <a:ext uri="{FF2B5EF4-FFF2-40B4-BE49-F238E27FC236}">
                      <a16:creationId xmlns:a16="http://schemas.microsoft.com/office/drawing/2014/main" id="{E59436AA-F399-0956-F0E6-8A08D409CE2A}"/>
                    </a:ext>
                  </a:extLst>
                </p:cNvPr>
                <p:cNvSpPr>
                  <a:spLocks noChangeAspect="1"/>
                </p:cNvSpPr>
                <p:nvPr/>
              </p:nvSpPr>
              <p:spPr>
                <a:xfrm>
                  <a:off x="4871661" y="119370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97" name="Oval 4296">
                  <a:extLst>
                    <a:ext uri="{FF2B5EF4-FFF2-40B4-BE49-F238E27FC236}">
                      <a16:creationId xmlns:a16="http://schemas.microsoft.com/office/drawing/2014/main" id="{35896FA7-FA99-9D19-FA77-FA5183CBD151}"/>
                    </a:ext>
                  </a:extLst>
                </p:cNvPr>
                <p:cNvSpPr>
                  <a:spLocks noChangeAspect="1"/>
                </p:cNvSpPr>
                <p:nvPr/>
              </p:nvSpPr>
              <p:spPr>
                <a:xfrm>
                  <a:off x="4726207" y="119370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98" name="Oval 4297">
                  <a:extLst>
                    <a:ext uri="{FF2B5EF4-FFF2-40B4-BE49-F238E27FC236}">
                      <a16:creationId xmlns:a16="http://schemas.microsoft.com/office/drawing/2014/main" id="{285B770C-F1AA-B4A0-A45A-D27B538738C4}"/>
                    </a:ext>
                  </a:extLst>
                </p:cNvPr>
                <p:cNvSpPr>
                  <a:spLocks noChangeAspect="1"/>
                </p:cNvSpPr>
                <p:nvPr/>
              </p:nvSpPr>
              <p:spPr>
                <a:xfrm>
                  <a:off x="4554780" y="117953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99" name="Oval 4298">
                  <a:extLst>
                    <a:ext uri="{FF2B5EF4-FFF2-40B4-BE49-F238E27FC236}">
                      <a16:creationId xmlns:a16="http://schemas.microsoft.com/office/drawing/2014/main" id="{B53C830B-C545-CFB3-7942-6EA7B0CA5C0C}"/>
                    </a:ext>
                  </a:extLst>
                </p:cNvPr>
                <p:cNvSpPr>
                  <a:spLocks noChangeAspect="1"/>
                </p:cNvSpPr>
                <p:nvPr/>
              </p:nvSpPr>
              <p:spPr>
                <a:xfrm>
                  <a:off x="5333021" y="134667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00" name="Oval 4299">
                  <a:extLst>
                    <a:ext uri="{FF2B5EF4-FFF2-40B4-BE49-F238E27FC236}">
                      <a16:creationId xmlns:a16="http://schemas.microsoft.com/office/drawing/2014/main" id="{40723F18-EE61-6020-8753-E335CC85FD1D}"/>
                    </a:ext>
                  </a:extLst>
                </p:cNvPr>
                <p:cNvSpPr>
                  <a:spLocks noChangeAspect="1"/>
                </p:cNvSpPr>
                <p:nvPr/>
              </p:nvSpPr>
              <p:spPr>
                <a:xfrm>
                  <a:off x="5164318" y="135193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01" name="Oval 4300">
                  <a:extLst>
                    <a:ext uri="{FF2B5EF4-FFF2-40B4-BE49-F238E27FC236}">
                      <a16:creationId xmlns:a16="http://schemas.microsoft.com/office/drawing/2014/main" id="{DD1DA018-4C3E-CCA6-5557-25DBB65D3B1C}"/>
                    </a:ext>
                  </a:extLst>
                </p:cNvPr>
                <p:cNvSpPr>
                  <a:spLocks noChangeAspect="1"/>
                </p:cNvSpPr>
                <p:nvPr/>
              </p:nvSpPr>
              <p:spPr>
                <a:xfrm>
                  <a:off x="5013029" y="135081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02" name="Oval 4301">
                  <a:extLst>
                    <a:ext uri="{FF2B5EF4-FFF2-40B4-BE49-F238E27FC236}">
                      <a16:creationId xmlns:a16="http://schemas.microsoft.com/office/drawing/2014/main" id="{CA7B9921-DACF-3AE6-8365-B6341A4EA2F2}"/>
                    </a:ext>
                  </a:extLst>
                </p:cNvPr>
                <p:cNvSpPr>
                  <a:spLocks noChangeAspect="1"/>
                </p:cNvSpPr>
                <p:nvPr/>
              </p:nvSpPr>
              <p:spPr>
                <a:xfrm>
                  <a:off x="4867596" y="134667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03" name="Oval 4302">
                  <a:extLst>
                    <a:ext uri="{FF2B5EF4-FFF2-40B4-BE49-F238E27FC236}">
                      <a16:creationId xmlns:a16="http://schemas.microsoft.com/office/drawing/2014/main" id="{9B351AEF-014B-F18B-BC50-C8791664F41F}"/>
                    </a:ext>
                  </a:extLst>
                </p:cNvPr>
                <p:cNvSpPr>
                  <a:spLocks noChangeAspect="1"/>
                </p:cNvSpPr>
                <p:nvPr/>
              </p:nvSpPr>
              <p:spPr>
                <a:xfrm>
                  <a:off x="4722130" y="134667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04" name="Oval 4303">
                  <a:extLst>
                    <a:ext uri="{FF2B5EF4-FFF2-40B4-BE49-F238E27FC236}">
                      <a16:creationId xmlns:a16="http://schemas.microsoft.com/office/drawing/2014/main" id="{DDDEB684-2CDD-AFAF-36E7-FF5B6AAEE397}"/>
                    </a:ext>
                  </a:extLst>
                </p:cNvPr>
                <p:cNvSpPr>
                  <a:spLocks noChangeAspect="1"/>
                </p:cNvSpPr>
                <p:nvPr/>
              </p:nvSpPr>
              <p:spPr>
                <a:xfrm>
                  <a:off x="4557975" y="134667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05" name="Oval 4304">
                  <a:extLst>
                    <a:ext uri="{FF2B5EF4-FFF2-40B4-BE49-F238E27FC236}">
                      <a16:creationId xmlns:a16="http://schemas.microsoft.com/office/drawing/2014/main" id="{E4A6BCD5-922F-BAE8-786E-8372301703D0}"/>
                    </a:ext>
                  </a:extLst>
                </p:cNvPr>
                <p:cNvSpPr>
                  <a:spLocks noChangeAspect="1"/>
                </p:cNvSpPr>
                <p:nvPr/>
              </p:nvSpPr>
              <p:spPr>
                <a:xfrm>
                  <a:off x="4402155" y="134667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06" name="Oval 4305">
                  <a:extLst>
                    <a:ext uri="{FF2B5EF4-FFF2-40B4-BE49-F238E27FC236}">
                      <a16:creationId xmlns:a16="http://schemas.microsoft.com/office/drawing/2014/main" id="{45337CC1-818E-1D41-2092-671527C14D04}"/>
                    </a:ext>
                  </a:extLst>
                </p:cNvPr>
                <p:cNvSpPr>
                  <a:spLocks noChangeAspect="1"/>
                </p:cNvSpPr>
                <p:nvPr/>
              </p:nvSpPr>
              <p:spPr>
                <a:xfrm>
                  <a:off x="5622884" y="149664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07" name="Oval 4306">
                  <a:extLst>
                    <a:ext uri="{FF2B5EF4-FFF2-40B4-BE49-F238E27FC236}">
                      <a16:creationId xmlns:a16="http://schemas.microsoft.com/office/drawing/2014/main" id="{CB64FFB0-C854-924B-59AA-1BB331FAF141}"/>
                    </a:ext>
                  </a:extLst>
                </p:cNvPr>
                <p:cNvSpPr>
                  <a:spLocks noChangeAspect="1"/>
                </p:cNvSpPr>
                <p:nvPr/>
              </p:nvSpPr>
              <p:spPr>
                <a:xfrm>
                  <a:off x="5478149" y="149214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08" name="Oval 4307">
                  <a:extLst>
                    <a:ext uri="{FF2B5EF4-FFF2-40B4-BE49-F238E27FC236}">
                      <a16:creationId xmlns:a16="http://schemas.microsoft.com/office/drawing/2014/main" id="{2274B5E9-9D1D-9666-58C6-C113642D3E7C}"/>
                    </a:ext>
                  </a:extLst>
                </p:cNvPr>
                <p:cNvSpPr>
                  <a:spLocks noChangeAspect="1"/>
                </p:cNvSpPr>
                <p:nvPr/>
              </p:nvSpPr>
              <p:spPr>
                <a:xfrm>
                  <a:off x="5332706" y="149214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09" name="Oval 4308">
                  <a:extLst>
                    <a:ext uri="{FF2B5EF4-FFF2-40B4-BE49-F238E27FC236}">
                      <a16:creationId xmlns:a16="http://schemas.microsoft.com/office/drawing/2014/main" id="{1E4232A1-CADE-43F6-FD89-FF7AB4B86455}"/>
                    </a:ext>
                  </a:extLst>
                </p:cNvPr>
                <p:cNvSpPr>
                  <a:spLocks noChangeAspect="1"/>
                </p:cNvSpPr>
                <p:nvPr/>
              </p:nvSpPr>
              <p:spPr>
                <a:xfrm>
                  <a:off x="5164001" y="149909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10" name="Oval 4309">
                  <a:extLst>
                    <a:ext uri="{FF2B5EF4-FFF2-40B4-BE49-F238E27FC236}">
                      <a16:creationId xmlns:a16="http://schemas.microsoft.com/office/drawing/2014/main" id="{596EED22-5A71-4583-014C-720E9FB093D2}"/>
                    </a:ext>
                  </a:extLst>
                </p:cNvPr>
                <p:cNvSpPr>
                  <a:spLocks noChangeAspect="1"/>
                </p:cNvSpPr>
                <p:nvPr/>
              </p:nvSpPr>
              <p:spPr>
                <a:xfrm>
                  <a:off x="5012002" y="149664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11" name="Oval 4310">
                  <a:extLst>
                    <a:ext uri="{FF2B5EF4-FFF2-40B4-BE49-F238E27FC236}">
                      <a16:creationId xmlns:a16="http://schemas.microsoft.com/office/drawing/2014/main" id="{086E2589-D148-5AB4-91F0-848F456391C0}"/>
                    </a:ext>
                  </a:extLst>
                </p:cNvPr>
                <p:cNvSpPr>
                  <a:spLocks noChangeAspect="1"/>
                </p:cNvSpPr>
                <p:nvPr/>
              </p:nvSpPr>
              <p:spPr>
                <a:xfrm>
                  <a:off x="4867281" y="1492145"/>
                  <a:ext cx="95108"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12" name="Oval 4311">
                  <a:extLst>
                    <a:ext uri="{FF2B5EF4-FFF2-40B4-BE49-F238E27FC236}">
                      <a16:creationId xmlns:a16="http://schemas.microsoft.com/office/drawing/2014/main" id="{639817B3-22F4-E239-8016-9EB44B3DA549}"/>
                    </a:ext>
                  </a:extLst>
                </p:cNvPr>
                <p:cNvSpPr>
                  <a:spLocks noChangeAspect="1"/>
                </p:cNvSpPr>
                <p:nvPr/>
              </p:nvSpPr>
              <p:spPr>
                <a:xfrm>
                  <a:off x="4721826" y="149214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13" name="Oval 4312">
                  <a:extLst>
                    <a:ext uri="{FF2B5EF4-FFF2-40B4-BE49-F238E27FC236}">
                      <a16:creationId xmlns:a16="http://schemas.microsoft.com/office/drawing/2014/main" id="{636C40DC-7D59-CA6B-E18E-E65D60324A6D}"/>
                    </a:ext>
                  </a:extLst>
                </p:cNvPr>
                <p:cNvSpPr>
                  <a:spLocks noChangeAspect="1"/>
                </p:cNvSpPr>
                <p:nvPr/>
              </p:nvSpPr>
              <p:spPr>
                <a:xfrm>
                  <a:off x="4554224" y="149214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14" name="Oval 4313">
                  <a:extLst>
                    <a:ext uri="{FF2B5EF4-FFF2-40B4-BE49-F238E27FC236}">
                      <a16:creationId xmlns:a16="http://schemas.microsoft.com/office/drawing/2014/main" id="{1314D110-D8A6-8F51-3FE7-6070810B0B01}"/>
                    </a:ext>
                  </a:extLst>
                </p:cNvPr>
                <p:cNvSpPr>
                  <a:spLocks noChangeAspect="1"/>
                </p:cNvSpPr>
                <p:nvPr/>
              </p:nvSpPr>
              <p:spPr>
                <a:xfrm>
                  <a:off x="4407672" y="149909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15" name="Oval 4314">
                  <a:extLst>
                    <a:ext uri="{FF2B5EF4-FFF2-40B4-BE49-F238E27FC236}">
                      <a16:creationId xmlns:a16="http://schemas.microsoft.com/office/drawing/2014/main" id="{3EBE0B0A-F964-4105-8E28-6BA35F83A7A6}"/>
                    </a:ext>
                  </a:extLst>
                </p:cNvPr>
                <p:cNvSpPr>
                  <a:spLocks noChangeAspect="1"/>
                </p:cNvSpPr>
                <p:nvPr/>
              </p:nvSpPr>
              <p:spPr>
                <a:xfrm>
                  <a:off x="8823739" y="163757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16" name="Oval 4315">
                  <a:extLst>
                    <a:ext uri="{FF2B5EF4-FFF2-40B4-BE49-F238E27FC236}">
                      <a16:creationId xmlns:a16="http://schemas.microsoft.com/office/drawing/2014/main" id="{99511CC0-FBE5-B09E-EEDE-BA4F7C1FE9DF}"/>
                    </a:ext>
                  </a:extLst>
                </p:cNvPr>
                <p:cNvSpPr>
                  <a:spLocks noChangeAspect="1"/>
                </p:cNvSpPr>
                <p:nvPr/>
              </p:nvSpPr>
              <p:spPr>
                <a:xfrm>
                  <a:off x="8678306" y="164512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17" name="Oval 4316">
                  <a:extLst>
                    <a:ext uri="{FF2B5EF4-FFF2-40B4-BE49-F238E27FC236}">
                      <a16:creationId xmlns:a16="http://schemas.microsoft.com/office/drawing/2014/main" id="{8A9E62E0-3C78-FD93-07C4-1956A93C3F8B}"/>
                    </a:ext>
                  </a:extLst>
                </p:cNvPr>
                <p:cNvSpPr>
                  <a:spLocks noChangeAspect="1"/>
                </p:cNvSpPr>
                <p:nvPr/>
              </p:nvSpPr>
              <p:spPr>
                <a:xfrm>
                  <a:off x="8509275" y="164454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18" name="Oval 4317">
                  <a:extLst>
                    <a:ext uri="{FF2B5EF4-FFF2-40B4-BE49-F238E27FC236}">
                      <a16:creationId xmlns:a16="http://schemas.microsoft.com/office/drawing/2014/main" id="{A3C09240-9F55-D8FA-D0A5-1CCF1B5F62E8}"/>
                    </a:ext>
                  </a:extLst>
                </p:cNvPr>
                <p:cNvSpPr>
                  <a:spLocks noChangeAspect="1"/>
                </p:cNvSpPr>
                <p:nvPr/>
              </p:nvSpPr>
              <p:spPr>
                <a:xfrm>
                  <a:off x="5626811" y="165298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19" name="Oval 4318">
                  <a:extLst>
                    <a:ext uri="{FF2B5EF4-FFF2-40B4-BE49-F238E27FC236}">
                      <a16:creationId xmlns:a16="http://schemas.microsoft.com/office/drawing/2014/main" id="{205064F5-F3C4-733C-EB2B-3C78FA6FEA59}"/>
                    </a:ext>
                  </a:extLst>
                </p:cNvPr>
                <p:cNvSpPr>
                  <a:spLocks noChangeAspect="1"/>
                </p:cNvSpPr>
                <p:nvPr/>
              </p:nvSpPr>
              <p:spPr>
                <a:xfrm>
                  <a:off x="5478453" y="163757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20" name="Oval 4319">
                  <a:extLst>
                    <a:ext uri="{FF2B5EF4-FFF2-40B4-BE49-F238E27FC236}">
                      <a16:creationId xmlns:a16="http://schemas.microsoft.com/office/drawing/2014/main" id="{B1111ADE-9353-C11C-6908-717A98846E0A}"/>
                    </a:ext>
                  </a:extLst>
                </p:cNvPr>
                <p:cNvSpPr>
                  <a:spLocks noChangeAspect="1"/>
                </p:cNvSpPr>
                <p:nvPr/>
              </p:nvSpPr>
              <p:spPr>
                <a:xfrm>
                  <a:off x="5333021" y="164512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21" name="Oval 4320">
                  <a:extLst>
                    <a:ext uri="{FF2B5EF4-FFF2-40B4-BE49-F238E27FC236}">
                      <a16:creationId xmlns:a16="http://schemas.microsoft.com/office/drawing/2014/main" id="{46ED73D7-9BD9-6F97-7131-BC5B6C44FD24}"/>
                    </a:ext>
                  </a:extLst>
                </p:cNvPr>
                <p:cNvSpPr>
                  <a:spLocks noChangeAspect="1"/>
                </p:cNvSpPr>
                <p:nvPr/>
              </p:nvSpPr>
              <p:spPr>
                <a:xfrm>
                  <a:off x="5164001" y="164454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22" name="Oval 4321">
                  <a:extLst>
                    <a:ext uri="{FF2B5EF4-FFF2-40B4-BE49-F238E27FC236}">
                      <a16:creationId xmlns:a16="http://schemas.microsoft.com/office/drawing/2014/main" id="{AFC2CCEC-8957-E4D4-CDFA-F56C6A0FCA99}"/>
                    </a:ext>
                  </a:extLst>
                </p:cNvPr>
                <p:cNvSpPr>
                  <a:spLocks noChangeAspect="1"/>
                </p:cNvSpPr>
                <p:nvPr/>
              </p:nvSpPr>
              <p:spPr>
                <a:xfrm>
                  <a:off x="5018557" y="164454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23" name="Oval 4322">
                  <a:extLst>
                    <a:ext uri="{FF2B5EF4-FFF2-40B4-BE49-F238E27FC236}">
                      <a16:creationId xmlns:a16="http://schemas.microsoft.com/office/drawing/2014/main" id="{FB3CC9BD-4F46-5F1F-E1F8-DFADE936A252}"/>
                    </a:ext>
                  </a:extLst>
                </p:cNvPr>
                <p:cNvSpPr>
                  <a:spLocks noChangeAspect="1"/>
                </p:cNvSpPr>
                <p:nvPr/>
              </p:nvSpPr>
              <p:spPr>
                <a:xfrm>
                  <a:off x="4871575" y="164512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24" name="Oval 4323">
                  <a:extLst>
                    <a:ext uri="{FF2B5EF4-FFF2-40B4-BE49-F238E27FC236}">
                      <a16:creationId xmlns:a16="http://schemas.microsoft.com/office/drawing/2014/main" id="{8D9DE076-9138-46E1-9898-794DE61D604F}"/>
                    </a:ext>
                  </a:extLst>
                </p:cNvPr>
                <p:cNvSpPr>
                  <a:spLocks noChangeAspect="1"/>
                </p:cNvSpPr>
                <p:nvPr/>
              </p:nvSpPr>
              <p:spPr>
                <a:xfrm>
                  <a:off x="4722130" y="164512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25" name="Oval 4324">
                  <a:extLst>
                    <a:ext uri="{FF2B5EF4-FFF2-40B4-BE49-F238E27FC236}">
                      <a16:creationId xmlns:a16="http://schemas.microsoft.com/office/drawing/2014/main" id="{67E56926-BF88-38BA-9069-0F94D5A3D97B}"/>
                    </a:ext>
                  </a:extLst>
                </p:cNvPr>
                <p:cNvSpPr>
                  <a:spLocks noChangeAspect="1"/>
                </p:cNvSpPr>
                <p:nvPr/>
              </p:nvSpPr>
              <p:spPr>
                <a:xfrm>
                  <a:off x="4553118" y="164454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26" name="Oval 4325">
                  <a:extLst>
                    <a:ext uri="{FF2B5EF4-FFF2-40B4-BE49-F238E27FC236}">
                      <a16:creationId xmlns:a16="http://schemas.microsoft.com/office/drawing/2014/main" id="{D9241215-375A-0989-D700-824876A48C65}"/>
                    </a:ext>
                  </a:extLst>
                </p:cNvPr>
                <p:cNvSpPr>
                  <a:spLocks noChangeAspect="1"/>
                </p:cNvSpPr>
                <p:nvPr/>
              </p:nvSpPr>
              <p:spPr>
                <a:xfrm>
                  <a:off x="4407672" y="164454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27" name="Oval 4326">
                  <a:extLst>
                    <a:ext uri="{FF2B5EF4-FFF2-40B4-BE49-F238E27FC236}">
                      <a16:creationId xmlns:a16="http://schemas.microsoft.com/office/drawing/2014/main" id="{2128EEF3-062B-7DE5-C598-57E4C68062AC}"/>
                    </a:ext>
                  </a:extLst>
                </p:cNvPr>
                <p:cNvSpPr>
                  <a:spLocks noChangeAspect="1"/>
                </p:cNvSpPr>
                <p:nvPr/>
              </p:nvSpPr>
              <p:spPr>
                <a:xfrm>
                  <a:off x="4260685" y="164512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28" name="Oval 4327">
                  <a:extLst>
                    <a:ext uri="{FF2B5EF4-FFF2-40B4-BE49-F238E27FC236}">
                      <a16:creationId xmlns:a16="http://schemas.microsoft.com/office/drawing/2014/main" id="{FA232EAD-AE8A-D7EB-9A4E-34192F1DD944}"/>
                    </a:ext>
                  </a:extLst>
                </p:cNvPr>
                <p:cNvSpPr>
                  <a:spLocks noChangeAspect="1"/>
                </p:cNvSpPr>
                <p:nvPr/>
              </p:nvSpPr>
              <p:spPr>
                <a:xfrm>
                  <a:off x="8969172" y="179629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29" name="Oval 4328">
                  <a:extLst>
                    <a:ext uri="{FF2B5EF4-FFF2-40B4-BE49-F238E27FC236}">
                      <a16:creationId xmlns:a16="http://schemas.microsoft.com/office/drawing/2014/main" id="{108EB00A-1F2E-7874-E1A9-3C2E26C26798}"/>
                    </a:ext>
                  </a:extLst>
                </p:cNvPr>
                <p:cNvSpPr>
                  <a:spLocks noChangeAspect="1"/>
                </p:cNvSpPr>
                <p:nvPr/>
              </p:nvSpPr>
              <p:spPr>
                <a:xfrm>
                  <a:off x="8823739" y="181210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30" name="Oval 4329">
                  <a:extLst>
                    <a:ext uri="{FF2B5EF4-FFF2-40B4-BE49-F238E27FC236}">
                      <a16:creationId xmlns:a16="http://schemas.microsoft.com/office/drawing/2014/main" id="{0DB3C9A2-88A0-9206-6CFD-5D26D69DA000}"/>
                    </a:ext>
                  </a:extLst>
                </p:cNvPr>
                <p:cNvSpPr>
                  <a:spLocks noChangeAspect="1"/>
                </p:cNvSpPr>
                <p:nvPr/>
              </p:nvSpPr>
              <p:spPr>
                <a:xfrm>
                  <a:off x="8659573" y="181210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31" name="Oval 4330">
                  <a:extLst>
                    <a:ext uri="{FF2B5EF4-FFF2-40B4-BE49-F238E27FC236}">
                      <a16:creationId xmlns:a16="http://schemas.microsoft.com/office/drawing/2014/main" id="{FFC1E0E4-538A-10B5-57CE-CB02BE47D6C0}"/>
                    </a:ext>
                  </a:extLst>
                </p:cNvPr>
                <p:cNvSpPr>
                  <a:spLocks noChangeAspect="1"/>
                </p:cNvSpPr>
                <p:nvPr/>
              </p:nvSpPr>
              <p:spPr>
                <a:xfrm>
                  <a:off x="8503874" y="181210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32" name="Oval 4331">
                  <a:extLst>
                    <a:ext uri="{FF2B5EF4-FFF2-40B4-BE49-F238E27FC236}">
                      <a16:creationId xmlns:a16="http://schemas.microsoft.com/office/drawing/2014/main" id="{BA2B2FDD-57CA-CD5D-13B0-DFF10C81830C}"/>
                    </a:ext>
                  </a:extLst>
                </p:cNvPr>
                <p:cNvSpPr>
                  <a:spLocks noChangeAspect="1"/>
                </p:cNvSpPr>
                <p:nvPr/>
              </p:nvSpPr>
              <p:spPr>
                <a:xfrm>
                  <a:off x="8358314" y="181210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33" name="Oval 4332">
                  <a:extLst>
                    <a:ext uri="{FF2B5EF4-FFF2-40B4-BE49-F238E27FC236}">
                      <a16:creationId xmlns:a16="http://schemas.microsoft.com/office/drawing/2014/main" id="{E12B426D-921C-4CCF-AFD7-3EF47383D364}"/>
                    </a:ext>
                  </a:extLst>
                </p:cNvPr>
                <p:cNvSpPr>
                  <a:spLocks noChangeAspect="1"/>
                </p:cNvSpPr>
                <p:nvPr/>
              </p:nvSpPr>
              <p:spPr>
                <a:xfrm>
                  <a:off x="5478453" y="181210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34" name="Oval 4333">
                  <a:extLst>
                    <a:ext uri="{FF2B5EF4-FFF2-40B4-BE49-F238E27FC236}">
                      <a16:creationId xmlns:a16="http://schemas.microsoft.com/office/drawing/2014/main" id="{DC1DA010-3AB0-867F-F4E3-4C399F15734C}"/>
                    </a:ext>
                  </a:extLst>
                </p:cNvPr>
                <p:cNvSpPr>
                  <a:spLocks noChangeAspect="1"/>
                </p:cNvSpPr>
                <p:nvPr/>
              </p:nvSpPr>
              <p:spPr>
                <a:xfrm>
                  <a:off x="5333021" y="181210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35" name="Oval 4334">
                  <a:extLst>
                    <a:ext uri="{FF2B5EF4-FFF2-40B4-BE49-F238E27FC236}">
                      <a16:creationId xmlns:a16="http://schemas.microsoft.com/office/drawing/2014/main" id="{A6E355C5-DDC9-834B-92A2-4B6727F4B192}"/>
                    </a:ext>
                  </a:extLst>
                </p:cNvPr>
                <p:cNvSpPr>
                  <a:spLocks noChangeAspect="1"/>
                </p:cNvSpPr>
                <p:nvPr/>
              </p:nvSpPr>
              <p:spPr>
                <a:xfrm>
                  <a:off x="5158589" y="181210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36" name="Oval 4335">
                  <a:extLst>
                    <a:ext uri="{FF2B5EF4-FFF2-40B4-BE49-F238E27FC236}">
                      <a16:creationId xmlns:a16="http://schemas.microsoft.com/office/drawing/2014/main" id="{ECE7E55C-44B0-E376-8A77-F4A3822F461F}"/>
                    </a:ext>
                  </a:extLst>
                </p:cNvPr>
                <p:cNvSpPr>
                  <a:spLocks noChangeAspect="1"/>
                </p:cNvSpPr>
                <p:nvPr/>
              </p:nvSpPr>
              <p:spPr>
                <a:xfrm>
                  <a:off x="5013029" y="181210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37" name="Oval 4336">
                  <a:extLst>
                    <a:ext uri="{FF2B5EF4-FFF2-40B4-BE49-F238E27FC236}">
                      <a16:creationId xmlns:a16="http://schemas.microsoft.com/office/drawing/2014/main" id="{589FE590-CC09-F32F-8F5E-D46EEC8AD20E}"/>
                    </a:ext>
                  </a:extLst>
                </p:cNvPr>
                <p:cNvSpPr>
                  <a:spLocks noChangeAspect="1"/>
                </p:cNvSpPr>
                <p:nvPr/>
              </p:nvSpPr>
              <p:spPr>
                <a:xfrm>
                  <a:off x="4867596" y="181210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38" name="Oval 4337">
                  <a:extLst>
                    <a:ext uri="{FF2B5EF4-FFF2-40B4-BE49-F238E27FC236}">
                      <a16:creationId xmlns:a16="http://schemas.microsoft.com/office/drawing/2014/main" id="{E5400275-DDAC-2D5F-A0B0-643BDA4D8E41}"/>
                    </a:ext>
                  </a:extLst>
                </p:cNvPr>
                <p:cNvSpPr>
                  <a:spLocks noChangeAspect="1"/>
                </p:cNvSpPr>
                <p:nvPr/>
              </p:nvSpPr>
              <p:spPr>
                <a:xfrm>
                  <a:off x="4722130" y="181210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39" name="Oval 4338">
                  <a:extLst>
                    <a:ext uri="{FF2B5EF4-FFF2-40B4-BE49-F238E27FC236}">
                      <a16:creationId xmlns:a16="http://schemas.microsoft.com/office/drawing/2014/main" id="{1D8B83DA-7061-1727-7CB8-E9088183BB24}"/>
                    </a:ext>
                  </a:extLst>
                </p:cNvPr>
                <p:cNvSpPr>
                  <a:spLocks noChangeAspect="1"/>
                </p:cNvSpPr>
                <p:nvPr/>
              </p:nvSpPr>
              <p:spPr>
                <a:xfrm>
                  <a:off x="4557975" y="181210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40" name="Oval 4339">
                  <a:extLst>
                    <a:ext uri="{FF2B5EF4-FFF2-40B4-BE49-F238E27FC236}">
                      <a16:creationId xmlns:a16="http://schemas.microsoft.com/office/drawing/2014/main" id="{AB98D379-AE7D-1B15-662B-162E38833F02}"/>
                    </a:ext>
                  </a:extLst>
                </p:cNvPr>
                <p:cNvSpPr>
                  <a:spLocks noChangeAspect="1"/>
                </p:cNvSpPr>
                <p:nvPr/>
              </p:nvSpPr>
              <p:spPr>
                <a:xfrm>
                  <a:off x="4402155" y="181210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41" name="Oval 4340">
                  <a:extLst>
                    <a:ext uri="{FF2B5EF4-FFF2-40B4-BE49-F238E27FC236}">
                      <a16:creationId xmlns:a16="http://schemas.microsoft.com/office/drawing/2014/main" id="{92284DD1-7CE4-359E-3DB4-E3901D691875}"/>
                    </a:ext>
                  </a:extLst>
                </p:cNvPr>
                <p:cNvSpPr>
                  <a:spLocks noChangeAspect="1"/>
                </p:cNvSpPr>
                <p:nvPr/>
              </p:nvSpPr>
              <p:spPr>
                <a:xfrm>
                  <a:off x="4256705" y="181625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42" name="Oval 4341">
                  <a:extLst>
                    <a:ext uri="{FF2B5EF4-FFF2-40B4-BE49-F238E27FC236}">
                      <a16:creationId xmlns:a16="http://schemas.microsoft.com/office/drawing/2014/main" id="{9B75D418-D0D1-0F6D-87C4-0B14A893545E}"/>
                    </a:ext>
                  </a:extLst>
                </p:cNvPr>
                <p:cNvSpPr>
                  <a:spLocks noChangeAspect="1"/>
                </p:cNvSpPr>
                <p:nvPr/>
              </p:nvSpPr>
              <p:spPr>
                <a:xfrm>
                  <a:off x="4115329" y="180458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43" name="Oval 4342">
                  <a:extLst>
                    <a:ext uri="{FF2B5EF4-FFF2-40B4-BE49-F238E27FC236}">
                      <a16:creationId xmlns:a16="http://schemas.microsoft.com/office/drawing/2014/main" id="{C87B1250-9367-664E-F082-AF17B15FED74}"/>
                    </a:ext>
                  </a:extLst>
                </p:cNvPr>
                <p:cNvSpPr>
                  <a:spLocks noChangeAspect="1"/>
                </p:cNvSpPr>
                <p:nvPr/>
              </p:nvSpPr>
              <p:spPr>
                <a:xfrm>
                  <a:off x="8969172" y="196168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44" name="Oval 4343">
                  <a:extLst>
                    <a:ext uri="{FF2B5EF4-FFF2-40B4-BE49-F238E27FC236}">
                      <a16:creationId xmlns:a16="http://schemas.microsoft.com/office/drawing/2014/main" id="{E378E10E-2471-BCA1-44D4-44393166A273}"/>
                    </a:ext>
                  </a:extLst>
                </p:cNvPr>
                <p:cNvSpPr>
                  <a:spLocks noChangeAspect="1"/>
                </p:cNvSpPr>
                <p:nvPr/>
              </p:nvSpPr>
              <p:spPr>
                <a:xfrm>
                  <a:off x="8678306" y="195756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45" name="Oval 4344">
                  <a:extLst>
                    <a:ext uri="{FF2B5EF4-FFF2-40B4-BE49-F238E27FC236}">
                      <a16:creationId xmlns:a16="http://schemas.microsoft.com/office/drawing/2014/main" id="{66066087-BCE6-0289-3814-7C00CA33441F}"/>
                    </a:ext>
                  </a:extLst>
                </p:cNvPr>
                <p:cNvSpPr>
                  <a:spLocks noChangeAspect="1"/>
                </p:cNvSpPr>
                <p:nvPr/>
              </p:nvSpPr>
              <p:spPr>
                <a:xfrm>
                  <a:off x="8509603" y="196281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46" name="Oval 4345">
                  <a:extLst>
                    <a:ext uri="{FF2B5EF4-FFF2-40B4-BE49-F238E27FC236}">
                      <a16:creationId xmlns:a16="http://schemas.microsoft.com/office/drawing/2014/main" id="{36E3138F-6B09-1CFA-66AF-42BB614A52A7}"/>
                    </a:ext>
                  </a:extLst>
                </p:cNvPr>
                <p:cNvSpPr>
                  <a:spLocks noChangeAspect="1"/>
                </p:cNvSpPr>
                <p:nvPr/>
              </p:nvSpPr>
              <p:spPr>
                <a:xfrm>
                  <a:off x="8358314" y="196152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47" name="Oval 4346">
                  <a:extLst>
                    <a:ext uri="{FF2B5EF4-FFF2-40B4-BE49-F238E27FC236}">
                      <a16:creationId xmlns:a16="http://schemas.microsoft.com/office/drawing/2014/main" id="{3DE55FF5-6A75-2C9F-C0B8-08E4990C81F2}"/>
                    </a:ext>
                  </a:extLst>
                </p:cNvPr>
                <p:cNvSpPr>
                  <a:spLocks noChangeAspect="1"/>
                </p:cNvSpPr>
                <p:nvPr/>
              </p:nvSpPr>
              <p:spPr>
                <a:xfrm>
                  <a:off x="8212848" y="195756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48" name="Oval 4347">
                  <a:extLst>
                    <a:ext uri="{FF2B5EF4-FFF2-40B4-BE49-F238E27FC236}">
                      <a16:creationId xmlns:a16="http://schemas.microsoft.com/office/drawing/2014/main" id="{FCCC6DBD-FB56-E7F4-FD08-CC4E3E3633E9}"/>
                    </a:ext>
                  </a:extLst>
                </p:cNvPr>
                <p:cNvSpPr>
                  <a:spLocks noChangeAspect="1"/>
                </p:cNvSpPr>
                <p:nvPr/>
              </p:nvSpPr>
              <p:spPr>
                <a:xfrm>
                  <a:off x="7898714" y="196282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49" name="Oval 4348">
                  <a:extLst>
                    <a:ext uri="{FF2B5EF4-FFF2-40B4-BE49-F238E27FC236}">
                      <a16:creationId xmlns:a16="http://schemas.microsoft.com/office/drawing/2014/main" id="{686F1D7C-6E8D-3EAE-4D8F-F9F58E6784B5}"/>
                    </a:ext>
                  </a:extLst>
                </p:cNvPr>
                <p:cNvSpPr>
                  <a:spLocks noChangeAspect="1"/>
                </p:cNvSpPr>
                <p:nvPr/>
              </p:nvSpPr>
              <p:spPr>
                <a:xfrm>
                  <a:off x="5623919" y="196168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50" name="Oval 4349">
                  <a:extLst>
                    <a:ext uri="{FF2B5EF4-FFF2-40B4-BE49-F238E27FC236}">
                      <a16:creationId xmlns:a16="http://schemas.microsoft.com/office/drawing/2014/main" id="{9103A47F-F62F-D9AA-5E03-EF1D07C664BF}"/>
                    </a:ext>
                  </a:extLst>
                </p:cNvPr>
                <p:cNvSpPr>
                  <a:spLocks noChangeAspect="1"/>
                </p:cNvSpPr>
                <p:nvPr/>
              </p:nvSpPr>
              <p:spPr>
                <a:xfrm>
                  <a:off x="5478453" y="195756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51" name="Oval 4350">
                  <a:extLst>
                    <a:ext uri="{FF2B5EF4-FFF2-40B4-BE49-F238E27FC236}">
                      <a16:creationId xmlns:a16="http://schemas.microsoft.com/office/drawing/2014/main" id="{6FE67A22-C172-BAC6-1B4F-928A7FD88330}"/>
                    </a:ext>
                  </a:extLst>
                </p:cNvPr>
                <p:cNvSpPr>
                  <a:spLocks noChangeAspect="1"/>
                </p:cNvSpPr>
                <p:nvPr/>
              </p:nvSpPr>
              <p:spPr>
                <a:xfrm>
                  <a:off x="5333021" y="195756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52" name="Oval 4351">
                  <a:extLst>
                    <a:ext uri="{FF2B5EF4-FFF2-40B4-BE49-F238E27FC236}">
                      <a16:creationId xmlns:a16="http://schemas.microsoft.com/office/drawing/2014/main" id="{AC3E2F5B-49FA-48DE-8C8C-9D6465117EEA}"/>
                    </a:ext>
                  </a:extLst>
                </p:cNvPr>
                <p:cNvSpPr>
                  <a:spLocks noChangeAspect="1"/>
                </p:cNvSpPr>
                <p:nvPr/>
              </p:nvSpPr>
              <p:spPr>
                <a:xfrm>
                  <a:off x="5164318" y="196282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53" name="Oval 4352">
                  <a:extLst>
                    <a:ext uri="{FF2B5EF4-FFF2-40B4-BE49-F238E27FC236}">
                      <a16:creationId xmlns:a16="http://schemas.microsoft.com/office/drawing/2014/main" id="{FA43C8FB-F42B-FECC-EE4C-AFE6B0D4AE31}"/>
                    </a:ext>
                  </a:extLst>
                </p:cNvPr>
                <p:cNvSpPr>
                  <a:spLocks noChangeAspect="1"/>
                </p:cNvSpPr>
                <p:nvPr/>
              </p:nvSpPr>
              <p:spPr>
                <a:xfrm>
                  <a:off x="4867596" y="195756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54" name="Oval 4353">
                  <a:extLst>
                    <a:ext uri="{FF2B5EF4-FFF2-40B4-BE49-F238E27FC236}">
                      <a16:creationId xmlns:a16="http://schemas.microsoft.com/office/drawing/2014/main" id="{8CAFDCAD-06FA-3EE2-7825-A3580EECE239}"/>
                    </a:ext>
                  </a:extLst>
                </p:cNvPr>
                <p:cNvSpPr>
                  <a:spLocks noChangeAspect="1"/>
                </p:cNvSpPr>
                <p:nvPr/>
              </p:nvSpPr>
              <p:spPr>
                <a:xfrm>
                  <a:off x="4722130" y="195756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55" name="Oval 4354">
                  <a:extLst>
                    <a:ext uri="{FF2B5EF4-FFF2-40B4-BE49-F238E27FC236}">
                      <a16:creationId xmlns:a16="http://schemas.microsoft.com/office/drawing/2014/main" id="{FA28A627-F5BE-FB3D-D6B6-DEA8EEE441B2}"/>
                    </a:ext>
                  </a:extLst>
                </p:cNvPr>
                <p:cNvSpPr>
                  <a:spLocks noChangeAspect="1"/>
                </p:cNvSpPr>
                <p:nvPr/>
              </p:nvSpPr>
              <p:spPr>
                <a:xfrm>
                  <a:off x="4557975" y="195756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56" name="Oval 4355">
                  <a:extLst>
                    <a:ext uri="{FF2B5EF4-FFF2-40B4-BE49-F238E27FC236}">
                      <a16:creationId xmlns:a16="http://schemas.microsoft.com/office/drawing/2014/main" id="{1E89FDA3-D9D0-5DCD-6BC9-22FDC2A2A51B}"/>
                    </a:ext>
                  </a:extLst>
                </p:cNvPr>
                <p:cNvSpPr>
                  <a:spLocks noChangeAspect="1"/>
                </p:cNvSpPr>
                <p:nvPr/>
              </p:nvSpPr>
              <p:spPr>
                <a:xfrm>
                  <a:off x="4402155" y="196154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57" name="Oval 4356">
                  <a:extLst>
                    <a:ext uri="{FF2B5EF4-FFF2-40B4-BE49-F238E27FC236}">
                      <a16:creationId xmlns:a16="http://schemas.microsoft.com/office/drawing/2014/main" id="{232BD996-FA1A-1606-39CF-016AEFDA300F}"/>
                    </a:ext>
                  </a:extLst>
                </p:cNvPr>
                <p:cNvSpPr>
                  <a:spLocks noChangeAspect="1"/>
                </p:cNvSpPr>
                <p:nvPr/>
              </p:nvSpPr>
              <p:spPr>
                <a:xfrm>
                  <a:off x="4256705" y="195756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58" name="Oval 4357">
                  <a:extLst>
                    <a:ext uri="{FF2B5EF4-FFF2-40B4-BE49-F238E27FC236}">
                      <a16:creationId xmlns:a16="http://schemas.microsoft.com/office/drawing/2014/main" id="{30C59806-CB91-66C5-FCC2-80D19A7D3814}"/>
                    </a:ext>
                  </a:extLst>
                </p:cNvPr>
                <p:cNvSpPr>
                  <a:spLocks noChangeAspect="1"/>
                </p:cNvSpPr>
                <p:nvPr/>
              </p:nvSpPr>
              <p:spPr>
                <a:xfrm>
                  <a:off x="4111259" y="195756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59" name="Oval 4358">
                  <a:extLst>
                    <a:ext uri="{FF2B5EF4-FFF2-40B4-BE49-F238E27FC236}">
                      <a16:creationId xmlns:a16="http://schemas.microsoft.com/office/drawing/2014/main" id="{7D455857-699F-2060-B627-FA2EE01E8AAE}"/>
                    </a:ext>
                  </a:extLst>
                </p:cNvPr>
                <p:cNvSpPr>
                  <a:spLocks noChangeAspect="1"/>
                </p:cNvSpPr>
                <p:nvPr/>
              </p:nvSpPr>
              <p:spPr>
                <a:xfrm>
                  <a:off x="8823433" y="195756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60" name="Oval 4359">
                  <a:extLst>
                    <a:ext uri="{FF2B5EF4-FFF2-40B4-BE49-F238E27FC236}">
                      <a16:creationId xmlns:a16="http://schemas.microsoft.com/office/drawing/2014/main" id="{88BBF837-35F8-AB2B-D303-A4A00661A8CC}"/>
                    </a:ext>
                  </a:extLst>
                </p:cNvPr>
                <p:cNvSpPr>
                  <a:spLocks noChangeAspect="1"/>
                </p:cNvSpPr>
                <p:nvPr/>
              </p:nvSpPr>
              <p:spPr>
                <a:xfrm>
                  <a:off x="8968160" y="210753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61" name="Oval 4360">
                  <a:extLst>
                    <a:ext uri="{FF2B5EF4-FFF2-40B4-BE49-F238E27FC236}">
                      <a16:creationId xmlns:a16="http://schemas.microsoft.com/office/drawing/2014/main" id="{BD2F57BE-BAE1-2656-3E27-10C5541D7FDF}"/>
                    </a:ext>
                  </a:extLst>
                </p:cNvPr>
                <p:cNvSpPr>
                  <a:spLocks noChangeAspect="1"/>
                </p:cNvSpPr>
                <p:nvPr/>
              </p:nvSpPr>
              <p:spPr>
                <a:xfrm>
                  <a:off x="8663834" y="210520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62" name="Oval 4361">
                  <a:extLst>
                    <a:ext uri="{FF2B5EF4-FFF2-40B4-BE49-F238E27FC236}">
                      <a16:creationId xmlns:a16="http://schemas.microsoft.com/office/drawing/2014/main" id="{5295CD4D-7E8B-17C7-89BF-4089DDB12658}"/>
                    </a:ext>
                  </a:extLst>
                </p:cNvPr>
                <p:cNvSpPr>
                  <a:spLocks noChangeAspect="1"/>
                </p:cNvSpPr>
                <p:nvPr/>
              </p:nvSpPr>
              <p:spPr>
                <a:xfrm>
                  <a:off x="8509275" y="210998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63" name="Oval 4362">
                  <a:extLst>
                    <a:ext uri="{FF2B5EF4-FFF2-40B4-BE49-F238E27FC236}">
                      <a16:creationId xmlns:a16="http://schemas.microsoft.com/office/drawing/2014/main" id="{2ACA10A7-693F-BE29-09C2-524C0B49EE2C}"/>
                    </a:ext>
                  </a:extLst>
                </p:cNvPr>
                <p:cNvSpPr>
                  <a:spLocks noChangeAspect="1"/>
                </p:cNvSpPr>
                <p:nvPr/>
              </p:nvSpPr>
              <p:spPr>
                <a:xfrm>
                  <a:off x="8363821" y="210998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64" name="Oval 4363">
                  <a:extLst>
                    <a:ext uri="{FF2B5EF4-FFF2-40B4-BE49-F238E27FC236}">
                      <a16:creationId xmlns:a16="http://schemas.microsoft.com/office/drawing/2014/main" id="{053804D7-460A-CCDC-6DBD-A825FE850CBF}"/>
                    </a:ext>
                  </a:extLst>
                </p:cNvPr>
                <p:cNvSpPr>
                  <a:spLocks noChangeAspect="1"/>
                </p:cNvSpPr>
                <p:nvPr/>
              </p:nvSpPr>
              <p:spPr>
                <a:xfrm>
                  <a:off x="8212672" y="210300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65" name="Oval 4364">
                  <a:extLst>
                    <a:ext uri="{FF2B5EF4-FFF2-40B4-BE49-F238E27FC236}">
                      <a16:creationId xmlns:a16="http://schemas.microsoft.com/office/drawing/2014/main" id="{908483FE-A811-411C-C5DC-C3B3AB0D1FEF}"/>
                    </a:ext>
                  </a:extLst>
                </p:cNvPr>
                <p:cNvSpPr>
                  <a:spLocks noChangeAspect="1"/>
                </p:cNvSpPr>
                <p:nvPr/>
              </p:nvSpPr>
              <p:spPr>
                <a:xfrm>
                  <a:off x="8067416" y="210300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66" name="Oval 4365">
                  <a:extLst>
                    <a:ext uri="{FF2B5EF4-FFF2-40B4-BE49-F238E27FC236}">
                      <a16:creationId xmlns:a16="http://schemas.microsoft.com/office/drawing/2014/main" id="{5623F169-34F8-1928-3363-F48FCF505B12}"/>
                    </a:ext>
                  </a:extLst>
                </p:cNvPr>
                <p:cNvSpPr>
                  <a:spLocks noChangeAspect="1"/>
                </p:cNvSpPr>
                <p:nvPr/>
              </p:nvSpPr>
              <p:spPr>
                <a:xfrm>
                  <a:off x="7288626" y="210300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67" name="Oval 4366">
                  <a:extLst>
                    <a:ext uri="{FF2B5EF4-FFF2-40B4-BE49-F238E27FC236}">
                      <a16:creationId xmlns:a16="http://schemas.microsoft.com/office/drawing/2014/main" id="{B77D3FAD-C15A-4000-9441-57742E93384E}"/>
                    </a:ext>
                  </a:extLst>
                </p:cNvPr>
                <p:cNvSpPr>
                  <a:spLocks noChangeAspect="1"/>
                </p:cNvSpPr>
                <p:nvPr/>
              </p:nvSpPr>
              <p:spPr>
                <a:xfrm>
                  <a:off x="5929995" y="210998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68" name="Oval 4367">
                  <a:extLst>
                    <a:ext uri="{FF2B5EF4-FFF2-40B4-BE49-F238E27FC236}">
                      <a16:creationId xmlns:a16="http://schemas.microsoft.com/office/drawing/2014/main" id="{6FCD683E-4305-C2D4-6E33-867B678CBEF1}"/>
                    </a:ext>
                  </a:extLst>
                </p:cNvPr>
                <p:cNvSpPr>
                  <a:spLocks noChangeAspect="1"/>
                </p:cNvSpPr>
                <p:nvPr/>
              </p:nvSpPr>
              <p:spPr>
                <a:xfrm>
                  <a:off x="5774880" y="210998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69" name="Oval 4368">
                  <a:extLst>
                    <a:ext uri="{FF2B5EF4-FFF2-40B4-BE49-F238E27FC236}">
                      <a16:creationId xmlns:a16="http://schemas.microsoft.com/office/drawing/2014/main" id="{68372F24-CBDD-7E16-C004-D0FBECBEDE8D}"/>
                    </a:ext>
                  </a:extLst>
                </p:cNvPr>
                <p:cNvSpPr>
                  <a:spLocks noChangeAspect="1"/>
                </p:cNvSpPr>
                <p:nvPr/>
              </p:nvSpPr>
              <p:spPr>
                <a:xfrm>
                  <a:off x="5626187" y="210520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70" name="Oval 4369">
                  <a:extLst>
                    <a:ext uri="{FF2B5EF4-FFF2-40B4-BE49-F238E27FC236}">
                      <a16:creationId xmlns:a16="http://schemas.microsoft.com/office/drawing/2014/main" id="{F0894BDD-F47D-7F53-8705-B61FF0AE30C0}"/>
                    </a:ext>
                  </a:extLst>
                </p:cNvPr>
                <p:cNvSpPr>
                  <a:spLocks noChangeAspect="1"/>
                </p:cNvSpPr>
                <p:nvPr/>
              </p:nvSpPr>
              <p:spPr>
                <a:xfrm>
                  <a:off x="5478278" y="210300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71" name="Oval 4370">
                  <a:extLst>
                    <a:ext uri="{FF2B5EF4-FFF2-40B4-BE49-F238E27FC236}">
                      <a16:creationId xmlns:a16="http://schemas.microsoft.com/office/drawing/2014/main" id="{757ED77F-7145-0EAA-08B4-BD84795D1ACF}"/>
                    </a:ext>
                  </a:extLst>
                </p:cNvPr>
                <p:cNvSpPr>
                  <a:spLocks noChangeAspect="1"/>
                </p:cNvSpPr>
                <p:nvPr/>
              </p:nvSpPr>
              <p:spPr>
                <a:xfrm>
                  <a:off x="5333021" y="210300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72" name="Oval 4371">
                  <a:extLst>
                    <a:ext uri="{FF2B5EF4-FFF2-40B4-BE49-F238E27FC236}">
                      <a16:creationId xmlns:a16="http://schemas.microsoft.com/office/drawing/2014/main" id="{C0EDF8DE-AB2F-4AA4-DDE1-1F12630823CC}"/>
                    </a:ext>
                  </a:extLst>
                </p:cNvPr>
                <p:cNvSpPr>
                  <a:spLocks noChangeAspect="1"/>
                </p:cNvSpPr>
                <p:nvPr/>
              </p:nvSpPr>
              <p:spPr>
                <a:xfrm>
                  <a:off x="5164001" y="210998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73" name="Oval 4372">
                  <a:extLst>
                    <a:ext uri="{FF2B5EF4-FFF2-40B4-BE49-F238E27FC236}">
                      <a16:creationId xmlns:a16="http://schemas.microsoft.com/office/drawing/2014/main" id="{440566A9-83E6-D518-2C68-FD296BDED2BB}"/>
                    </a:ext>
                  </a:extLst>
                </p:cNvPr>
                <p:cNvSpPr>
                  <a:spLocks noChangeAspect="1"/>
                </p:cNvSpPr>
                <p:nvPr/>
              </p:nvSpPr>
              <p:spPr>
                <a:xfrm>
                  <a:off x="5018557" y="210998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74" name="Oval 4373">
                  <a:extLst>
                    <a:ext uri="{FF2B5EF4-FFF2-40B4-BE49-F238E27FC236}">
                      <a16:creationId xmlns:a16="http://schemas.microsoft.com/office/drawing/2014/main" id="{7FCA0637-325E-A2FA-495E-9078EA4F9EAE}"/>
                    </a:ext>
                  </a:extLst>
                </p:cNvPr>
                <p:cNvSpPr>
                  <a:spLocks noChangeAspect="1"/>
                </p:cNvSpPr>
                <p:nvPr/>
              </p:nvSpPr>
              <p:spPr>
                <a:xfrm>
                  <a:off x="4867401" y="210300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75" name="Oval 4374">
                  <a:extLst>
                    <a:ext uri="{FF2B5EF4-FFF2-40B4-BE49-F238E27FC236}">
                      <a16:creationId xmlns:a16="http://schemas.microsoft.com/office/drawing/2014/main" id="{7352123E-D422-9ACD-F129-42498076DC0F}"/>
                    </a:ext>
                  </a:extLst>
                </p:cNvPr>
                <p:cNvSpPr>
                  <a:spLocks noChangeAspect="1"/>
                </p:cNvSpPr>
                <p:nvPr/>
              </p:nvSpPr>
              <p:spPr>
                <a:xfrm>
                  <a:off x="4722130" y="210300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76" name="Oval 4375">
                  <a:extLst>
                    <a:ext uri="{FF2B5EF4-FFF2-40B4-BE49-F238E27FC236}">
                      <a16:creationId xmlns:a16="http://schemas.microsoft.com/office/drawing/2014/main" id="{A2439843-1554-C110-CAB5-23888CDEA4CA}"/>
                    </a:ext>
                  </a:extLst>
                </p:cNvPr>
                <p:cNvSpPr>
                  <a:spLocks noChangeAspect="1"/>
                </p:cNvSpPr>
                <p:nvPr/>
              </p:nvSpPr>
              <p:spPr>
                <a:xfrm>
                  <a:off x="4554224" y="210300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77" name="Oval 4376">
                  <a:extLst>
                    <a:ext uri="{FF2B5EF4-FFF2-40B4-BE49-F238E27FC236}">
                      <a16:creationId xmlns:a16="http://schemas.microsoft.com/office/drawing/2014/main" id="{6307835B-ABD8-5AE6-1E46-EA83DA9904BA}"/>
                    </a:ext>
                  </a:extLst>
                </p:cNvPr>
                <p:cNvSpPr>
                  <a:spLocks noChangeAspect="1"/>
                </p:cNvSpPr>
                <p:nvPr/>
              </p:nvSpPr>
              <p:spPr>
                <a:xfrm>
                  <a:off x="4407672" y="210998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78" name="Oval 4377">
                  <a:extLst>
                    <a:ext uri="{FF2B5EF4-FFF2-40B4-BE49-F238E27FC236}">
                      <a16:creationId xmlns:a16="http://schemas.microsoft.com/office/drawing/2014/main" id="{7F6EE7BB-A1E9-11D4-9D66-80CA440D1A04}"/>
                    </a:ext>
                  </a:extLst>
                </p:cNvPr>
                <p:cNvSpPr>
                  <a:spLocks noChangeAspect="1"/>
                </p:cNvSpPr>
                <p:nvPr/>
              </p:nvSpPr>
              <p:spPr>
                <a:xfrm>
                  <a:off x="4258989" y="210520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79" name="Oval 4378">
                  <a:extLst>
                    <a:ext uri="{FF2B5EF4-FFF2-40B4-BE49-F238E27FC236}">
                      <a16:creationId xmlns:a16="http://schemas.microsoft.com/office/drawing/2014/main" id="{30945DD2-20BF-0902-0F2B-9CBF1488504C}"/>
                    </a:ext>
                  </a:extLst>
                </p:cNvPr>
                <p:cNvSpPr>
                  <a:spLocks noChangeAspect="1"/>
                </p:cNvSpPr>
                <p:nvPr/>
              </p:nvSpPr>
              <p:spPr>
                <a:xfrm>
                  <a:off x="4110951" y="210300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80" name="Oval 4379">
                  <a:extLst>
                    <a:ext uri="{FF2B5EF4-FFF2-40B4-BE49-F238E27FC236}">
                      <a16:creationId xmlns:a16="http://schemas.microsoft.com/office/drawing/2014/main" id="{D5A94283-E49D-758C-E8C5-51211D5CE255}"/>
                    </a:ext>
                  </a:extLst>
                </p:cNvPr>
                <p:cNvSpPr>
                  <a:spLocks noChangeAspect="1"/>
                </p:cNvSpPr>
                <p:nvPr/>
              </p:nvSpPr>
              <p:spPr>
                <a:xfrm>
                  <a:off x="3951355" y="210520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81" name="Oval 4380">
                  <a:extLst>
                    <a:ext uri="{FF2B5EF4-FFF2-40B4-BE49-F238E27FC236}">
                      <a16:creationId xmlns:a16="http://schemas.microsoft.com/office/drawing/2014/main" id="{52283AAB-76A4-960C-AE8B-2CDF26B40001}"/>
                    </a:ext>
                  </a:extLst>
                </p:cNvPr>
                <p:cNvSpPr>
                  <a:spLocks noChangeAspect="1"/>
                </p:cNvSpPr>
                <p:nvPr/>
              </p:nvSpPr>
              <p:spPr>
                <a:xfrm>
                  <a:off x="3796796" y="210998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82" name="Oval 4381">
                  <a:extLst>
                    <a:ext uri="{FF2B5EF4-FFF2-40B4-BE49-F238E27FC236}">
                      <a16:creationId xmlns:a16="http://schemas.microsoft.com/office/drawing/2014/main" id="{94778C23-8BD9-6238-827F-CD7ABF52DB90}"/>
                    </a:ext>
                  </a:extLst>
                </p:cNvPr>
                <p:cNvSpPr>
                  <a:spLocks noChangeAspect="1"/>
                </p:cNvSpPr>
                <p:nvPr/>
              </p:nvSpPr>
              <p:spPr>
                <a:xfrm>
                  <a:off x="3500196" y="210300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83" name="Oval 4382">
                  <a:extLst>
                    <a:ext uri="{FF2B5EF4-FFF2-40B4-BE49-F238E27FC236}">
                      <a16:creationId xmlns:a16="http://schemas.microsoft.com/office/drawing/2014/main" id="{4B532C85-1098-63A1-A630-CB539B286673}"/>
                    </a:ext>
                  </a:extLst>
                </p:cNvPr>
                <p:cNvSpPr>
                  <a:spLocks noChangeAspect="1"/>
                </p:cNvSpPr>
                <p:nvPr/>
              </p:nvSpPr>
              <p:spPr>
                <a:xfrm>
                  <a:off x="8661806" y="225659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84" name="Oval 4383">
                  <a:extLst>
                    <a:ext uri="{FF2B5EF4-FFF2-40B4-BE49-F238E27FC236}">
                      <a16:creationId xmlns:a16="http://schemas.microsoft.com/office/drawing/2014/main" id="{BDFC3284-8681-297B-41C7-A2A179F29473}"/>
                    </a:ext>
                  </a:extLst>
                </p:cNvPr>
                <p:cNvSpPr>
                  <a:spLocks noChangeAspect="1"/>
                </p:cNvSpPr>
                <p:nvPr/>
              </p:nvSpPr>
              <p:spPr>
                <a:xfrm>
                  <a:off x="8509275" y="225541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85" name="Oval 4384">
                  <a:extLst>
                    <a:ext uri="{FF2B5EF4-FFF2-40B4-BE49-F238E27FC236}">
                      <a16:creationId xmlns:a16="http://schemas.microsoft.com/office/drawing/2014/main" id="{0C361E09-DA81-87CF-7C2C-B8A5D449FADB}"/>
                    </a:ext>
                  </a:extLst>
                </p:cNvPr>
                <p:cNvSpPr>
                  <a:spLocks noChangeAspect="1"/>
                </p:cNvSpPr>
                <p:nvPr/>
              </p:nvSpPr>
              <p:spPr>
                <a:xfrm>
                  <a:off x="8363821" y="225541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86" name="Oval 4385">
                  <a:extLst>
                    <a:ext uri="{FF2B5EF4-FFF2-40B4-BE49-F238E27FC236}">
                      <a16:creationId xmlns:a16="http://schemas.microsoft.com/office/drawing/2014/main" id="{DE8AFC1F-FE9E-4136-76CA-F7DF929CFAB5}"/>
                    </a:ext>
                  </a:extLst>
                </p:cNvPr>
                <p:cNvSpPr>
                  <a:spLocks noChangeAspect="1"/>
                </p:cNvSpPr>
                <p:nvPr/>
              </p:nvSpPr>
              <p:spPr>
                <a:xfrm>
                  <a:off x="8216925" y="227001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87" name="Oval 4386">
                  <a:extLst>
                    <a:ext uri="{FF2B5EF4-FFF2-40B4-BE49-F238E27FC236}">
                      <a16:creationId xmlns:a16="http://schemas.microsoft.com/office/drawing/2014/main" id="{E4C3B530-2233-0B3C-9E91-92ABF904E442}"/>
                    </a:ext>
                  </a:extLst>
                </p:cNvPr>
                <p:cNvSpPr>
                  <a:spLocks noChangeAspect="1"/>
                </p:cNvSpPr>
                <p:nvPr/>
              </p:nvSpPr>
              <p:spPr>
                <a:xfrm>
                  <a:off x="8067416" y="225598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88" name="Oval 4387">
                  <a:extLst>
                    <a:ext uri="{FF2B5EF4-FFF2-40B4-BE49-F238E27FC236}">
                      <a16:creationId xmlns:a16="http://schemas.microsoft.com/office/drawing/2014/main" id="{3366298F-5DC4-1CD9-3606-667A8A3D674A}"/>
                    </a:ext>
                  </a:extLst>
                </p:cNvPr>
                <p:cNvSpPr>
                  <a:spLocks noChangeAspect="1"/>
                </p:cNvSpPr>
                <p:nvPr/>
              </p:nvSpPr>
              <p:spPr>
                <a:xfrm>
                  <a:off x="7898396" y="225541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89" name="Oval 4388">
                  <a:extLst>
                    <a:ext uri="{FF2B5EF4-FFF2-40B4-BE49-F238E27FC236}">
                      <a16:creationId xmlns:a16="http://schemas.microsoft.com/office/drawing/2014/main" id="{F4E51AD7-EF5D-89EF-617E-B1794EADE334}"/>
                    </a:ext>
                  </a:extLst>
                </p:cNvPr>
                <p:cNvSpPr>
                  <a:spLocks noChangeAspect="1"/>
                </p:cNvSpPr>
                <p:nvPr/>
              </p:nvSpPr>
              <p:spPr>
                <a:xfrm>
                  <a:off x="7752952" y="225541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90" name="Oval 4389">
                  <a:extLst>
                    <a:ext uri="{FF2B5EF4-FFF2-40B4-BE49-F238E27FC236}">
                      <a16:creationId xmlns:a16="http://schemas.microsoft.com/office/drawing/2014/main" id="{4588AD0D-6C51-39F9-7E87-89693F78F640}"/>
                    </a:ext>
                  </a:extLst>
                </p:cNvPr>
                <p:cNvSpPr>
                  <a:spLocks noChangeAspect="1"/>
                </p:cNvSpPr>
                <p:nvPr/>
              </p:nvSpPr>
              <p:spPr>
                <a:xfrm>
                  <a:off x="7289184" y="225584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91" name="Oval 4390">
                  <a:extLst>
                    <a:ext uri="{FF2B5EF4-FFF2-40B4-BE49-F238E27FC236}">
                      <a16:creationId xmlns:a16="http://schemas.microsoft.com/office/drawing/2014/main" id="{E0EF14EB-71EC-9D0F-95D7-C8A57CF55CEC}"/>
                    </a:ext>
                  </a:extLst>
                </p:cNvPr>
                <p:cNvSpPr>
                  <a:spLocks noChangeAspect="1"/>
                </p:cNvSpPr>
                <p:nvPr/>
              </p:nvSpPr>
              <p:spPr>
                <a:xfrm>
                  <a:off x="6531204" y="225541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92" name="Oval 4391">
                  <a:extLst>
                    <a:ext uri="{FF2B5EF4-FFF2-40B4-BE49-F238E27FC236}">
                      <a16:creationId xmlns:a16="http://schemas.microsoft.com/office/drawing/2014/main" id="{9632F2CB-F3D1-A65D-F225-DE6126484CC6}"/>
                    </a:ext>
                  </a:extLst>
                </p:cNvPr>
                <p:cNvSpPr>
                  <a:spLocks noChangeAspect="1"/>
                </p:cNvSpPr>
                <p:nvPr/>
              </p:nvSpPr>
              <p:spPr>
                <a:xfrm>
                  <a:off x="6385750" y="225541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93" name="Oval 4392">
                  <a:extLst>
                    <a:ext uri="{FF2B5EF4-FFF2-40B4-BE49-F238E27FC236}">
                      <a16:creationId xmlns:a16="http://schemas.microsoft.com/office/drawing/2014/main" id="{4AAEC395-0730-38B6-D1DD-459E093FE123}"/>
                    </a:ext>
                  </a:extLst>
                </p:cNvPr>
                <p:cNvSpPr>
                  <a:spLocks noChangeAspect="1"/>
                </p:cNvSpPr>
                <p:nvPr/>
              </p:nvSpPr>
              <p:spPr>
                <a:xfrm>
                  <a:off x="6238757" y="225598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94" name="Oval 4393">
                  <a:extLst>
                    <a:ext uri="{FF2B5EF4-FFF2-40B4-BE49-F238E27FC236}">
                      <a16:creationId xmlns:a16="http://schemas.microsoft.com/office/drawing/2014/main" id="{B0503A92-E7D6-E224-6567-B992718850D1}"/>
                    </a:ext>
                  </a:extLst>
                </p:cNvPr>
                <p:cNvSpPr>
                  <a:spLocks noChangeAspect="1"/>
                </p:cNvSpPr>
                <p:nvPr/>
              </p:nvSpPr>
              <p:spPr>
                <a:xfrm>
                  <a:off x="6089344" y="225598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95" name="Oval 4394">
                  <a:extLst>
                    <a:ext uri="{FF2B5EF4-FFF2-40B4-BE49-F238E27FC236}">
                      <a16:creationId xmlns:a16="http://schemas.microsoft.com/office/drawing/2014/main" id="{1AD04AA3-5546-229E-3828-D7896FC63C0B}"/>
                    </a:ext>
                  </a:extLst>
                </p:cNvPr>
                <p:cNvSpPr>
                  <a:spLocks noChangeAspect="1"/>
                </p:cNvSpPr>
                <p:nvPr/>
              </p:nvSpPr>
              <p:spPr>
                <a:xfrm>
                  <a:off x="5929995" y="225584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96" name="Oval 4395">
                  <a:extLst>
                    <a:ext uri="{FF2B5EF4-FFF2-40B4-BE49-F238E27FC236}">
                      <a16:creationId xmlns:a16="http://schemas.microsoft.com/office/drawing/2014/main" id="{AB24570F-908D-B1FF-D0BA-44FEE7D1BB20}"/>
                    </a:ext>
                  </a:extLst>
                </p:cNvPr>
                <p:cNvSpPr>
                  <a:spLocks noChangeAspect="1"/>
                </p:cNvSpPr>
                <p:nvPr/>
              </p:nvSpPr>
              <p:spPr>
                <a:xfrm>
                  <a:off x="5774880" y="225541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97" name="Oval 4396">
                  <a:extLst>
                    <a:ext uri="{FF2B5EF4-FFF2-40B4-BE49-F238E27FC236}">
                      <a16:creationId xmlns:a16="http://schemas.microsoft.com/office/drawing/2014/main" id="{A551C0B9-80CF-4481-C725-8A8F8B7C20C6}"/>
                    </a:ext>
                  </a:extLst>
                </p:cNvPr>
                <p:cNvSpPr>
                  <a:spLocks noChangeAspect="1"/>
                </p:cNvSpPr>
                <p:nvPr/>
              </p:nvSpPr>
              <p:spPr>
                <a:xfrm>
                  <a:off x="5626811" y="226385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98" name="Oval 4397">
                  <a:extLst>
                    <a:ext uri="{FF2B5EF4-FFF2-40B4-BE49-F238E27FC236}">
                      <a16:creationId xmlns:a16="http://schemas.microsoft.com/office/drawing/2014/main" id="{DDB8A9E7-2845-BFC5-9BB4-7C619D862D60}"/>
                    </a:ext>
                  </a:extLst>
                </p:cNvPr>
                <p:cNvSpPr>
                  <a:spLocks noChangeAspect="1"/>
                </p:cNvSpPr>
                <p:nvPr/>
              </p:nvSpPr>
              <p:spPr>
                <a:xfrm>
                  <a:off x="5482530" y="227001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99" name="Oval 4398">
                  <a:extLst>
                    <a:ext uri="{FF2B5EF4-FFF2-40B4-BE49-F238E27FC236}">
                      <a16:creationId xmlns:a16="http://schemas.microsoft.com/office/drawing/2014/main" id="{BA3811D6-F405-9ED0-5545-3B196A5902E8}"/>
                    </a:ext>
                  </a:extLst>
                </p:cNvPr>
                <p:cNvSpPr>
                  <a:spLocks noChangeAspect="1"/>
                </p:cNvSpPr>
                <p:nvPr/>
              </p:nvSpPr>
              <p:spPr>
                <a:xfrm>
                  <a:off x="5333021" y="225598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00" name="Oval 4399">
                  <a:extLst>
                    <a:ext uri="{FF2B5EF4-FFF2-40B4-BE49-F238E27FC236}">
                      <a16:creationId xmlns:a16="http://schemas.microsoft.com/office/drawing/2014/main" id="{D1DA4D00-2194-AB31-B1EB-60E68F855207}"/>
                    </a:ext>
                  </a:extLst>
                </p:cNvPr>
                <p:cNvSpPr>
                  <a:spLocks noChangeAspect="1"/>
                </p:cNvSpPr>
                <p:nvPr/>
              </p:nvSpPr>
              <p:spPr>
                <a:xfrm>
                  <a:off x="5164001" y="225541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01" name="Oval 4400">
                  <a:extLst>
                    <a:ext uri="{FF2B5EF4-FFF2-40B4-BE49-F238E27FC236}">
                      <a16:creationId xmlns:a16="http://schemas.microsoft.com/office/drawing/2014/main" id="{63EAF207-0F64-7F3D-6FE1-592424249468}"/>
                    </a:ext>
                  </a:extLst>
                </p:cNvPr>
                <p:cNvSpPr>
                  <a:spLocks noChangeAspect="1"/>
                </p:cNvSpPr>
                <p:nvPr/>
              </p:nvSpPr>
              <p:spPr>
                <a:xfrm>
                  <a:off x="5018557" y="225541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02" name="Oval 4401">
                  <a:extLst>
                    <a:ext uri="{FF2B5EF4-FFF2-40B4-BE49-F238E27FC236}">
                      <a16:creationId xmlns:a16="http://schemas.microsoft.com/office/drawing/2014/main" id="{C1669B27-D23D-9337-B6CD-AC76E206EEFB}"/>
                    </a:ext>
                  </a:extLst>
                </p:cNvPr>
                <p:cNvSpPr>
                  <a:spLocks noChangeAspect="1"/>
                </p:cNvSpPr>
                <p:nvPr/>
              </p:nvSpPr>
              <p:spPr>
                <a:xfrm>
                  <a:off x="4871575" y="225598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03" name="Oval 4402">
                  <a:extLst>
                    <a:ext uri="{FF2B5EF4-FFF2-40B4-BE49-F238E27FC236}">
                      <a16:creationId xmlns:a16="http://schemas.microsoft.com/office/drawing/2014/main" id="{963993BA-3EB9-C1FB-434B-2C925E2B625A}"/>
                    </a:ext>
                  </a:extLst>
                </p:cNvPr>
                <p:cNvSpPr>
                  <a:spLocks noChangeAspect="1"/>
                </p:cNvSpPr>
                <p:nvPr/>
              </p:nvSpPr>
              <p:spPr>
                <a:xfrm>
                  <a:off x="4722130" y="225598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04" name="Oval 4403">
                  <a:extLst>
                    <a:ext uri="{FF2B5EF4-FFF2-40B4-BE49-F238E27FC236}">
                      <a16:creationId xmlns:a16="http://schemas.microsoft.com/office/drawing/2014/main" id="{BE0273BE-DDF4-82C1-17EE-918EBAC7B62D}"/>
                    </a:ext>
                  </a:extLst>
                </p:cNvPr>
                <p:cNvSpPr>
                  <a:spLocks noChangeAspect="1"/>
                </p:cNvSpPr>
                <p:nvPr/>
              </p:nvSpPr>
              <p:spPr>
                <a:xfrm>
                  <a:off x="4553118" y="225541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05" name="Oval 4404">
                  <a:extLst>
                    <a:ext uri="{FF2B5EF4-FFF2-40B4-BE49-F238E27FC236}">
                      <a16:creationId xmlns:a16="http://schemas.microsoft.com/office/drawing/2014/main" id="{A8465BF9-7D62-47E2-E597-890E29418960}"/>
                    </a:ext>
                  </a:extLst>
                </p:cNvPr>
                <p:cNvSpPr>
                  <a:spLocks noChangeAspect="1"/>
                </p:cNvSpPr>
                <p:nvPr/>
              </p:nvSpPr>
              <p:spPr>
                <a:xfrm>
                  <a:off x="4407672" y="225541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06" name="Oval 4405">
                  <a:extLst>
                    <a:ext uri="{FF2B5EF4-FFF2-40B4-BE49-F238E27FC236}">
                      <a16:creationId xmlns:a16="http://schemas.microsoft.com/office/drawing/2014/main" id="{BB7C7B5C-7F85-313E-6D4D-86043B00D4BE}"/>
                    </a:ext>
                  </a:extLst>
                </p:cNvPr>
                <p:cNvSpPr>
                  <a:spLocks noChangeAspect="1"/>
                </p:cNvSpPr>
                <p:nvPr/>
              </p:nvSpPr>
              <p:spPr>
                <a:xfrm>
                  <a:off x="4260685" y="225598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07" name="Oval 4406">
                  <a:extLst>
                    <a:ext uri="{FF2B5EF4-FFF2-40B4-BE49-F238E27FC236}">
                      <a16:creationId xmlns:a16="http://schemas.microsoft.com/office/drawing/2014/main" id="{EB5B64C8-4DDA-4FAE-4572-72ACF56F58F9}"/>
                    </a:ext>
                  </a:extLst>
                </p:cNvPr>
                <p:cNvSpPr>
                  <a:spLocks noChangeAspect="1"/>
                </p:cNvSpPr>
                <p:nvPr/>
              </p:nvSpPr>
              <p:spPr>
                <a:xfrm>
                  <a:off x="4115329" y="227001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08" name="Oval 4407">
                  <a:extLst>
                    <a:ext uri="{FF2B5EF4-FFF2-40B4-BE49-F238E27FC236}">
                      <a16:creationId xmlns:a16="http://schemas.microsoft.com/office/drawing/2014/main" id="{45FA834D-559C-7CF0-B548-322C0F46D531}"/>
                    </a:ext>
                  </a:extLst>
                </p:cNvPr>
                <p:cNvSpPr>
                  <a:spLocks noChangeAspect="1"/>
                </p:cNvSpPr>
                <p:nvPr/>
              </p:nvSpPr>
              <p:spPr>
                <a:xfrm>
                  <a:off x="3965813" y="225598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09" name="Oval 4408">
                  <a:extLst>
                    <a:ext uri="{FF2B5EF4-FFF2-40B4-BE49-F238E27FC236}">
                      <a16:creationId xmlns:a16="http://schemas.microsoft.com/office/drawing/2014/main" id="{73506E40-0859-9DE8-E32B-07F26AAC86F5}"/>
                    </a:ext>
                  </a:extLst>
                </p:cNvPr>
                <p:cNvSpPr>
                  <a:spLocks noChangeAspect="1"/>
                </p:cNvSpPr>
                <p:nvPr/>
              </p:nvSpPr>
              <p:spPr>
                <a:xfrm>
                  <a:off x="3796796" y="225541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10" name="Oval 4409">
                  <a:extLst>
                    <a:ext uri="{FF2B5EF4-FFF2-40B4-BE49-F238E27FC236}">
                      <a16:creationId xmlns:a16="http://schemas.microsoft.com/office/drawing/2014/main" id="{A8282BC2-7050-0560-3876-A30F980A1678}"/>
                    </a:ext>
                  </a:extLst>
                </p:cNvPr>
                <p:cNvSpPr>
                  <a:spLocks noChangeAspect="1"/>
                </p:cNvSpPr>
                <p:nvPr/>
              </p:nvSpPr>
              <p:spPr>
                <a:xfrm>
                  <a:off x="3651349" y="225541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11" name="Oval 4410">
                  <a:extLst>
                    <a:ext uri="{FF2B5EF4-FFF2-40B4-BE49-F238E27FC236}">
                      <a16:creationId xmlns:a16="http://schemas.microsoft.com/office/drawing/2014/main" id="{4DD17138-F0F1-1397-71B9-2071E398BBB5}"/>
                    </a:ext>
                  </a:extLst>
                </p:cNvPr>
                <p:cNvSpPr>
                  <a:spLocks noChangeAspect="1"/>
                </p:cNvSpPr>
                <p:nvPr/>
              </p:nvSpPr>
              <p:spPr>
                <a:xfrm>
                  <a:off x="3504361" y="225598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12" name="Oval 4411">
                  <a:extLst>
                    <a:ext uri="{FF2B5EF4-FFF2-40B4-BE49-F238E27FC236}">
                      <a16:creationId xmlns:a16="http://schemas.microsoft.com/office/drawing/2014/main" id="{A95FDECF-6792-5D74-4F87-E1BEE2F95F20}"/>
                    </a:ext>
                  </a:extLst>
                </p:cNvPr>
                <p:cNvSpPr>
                  <a:spLocks noChangeAspect="1"/>
                </p:cNvSpPr>
                <p:nvPr/>
              </p:nvSpPr>
              <p:spPr>
                <a:xfrm>
                  <a:off x="3354936" y="225598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13" name="Oval 4412">
                  <a:extLst>
                    <a:ext uri="{FF2B5EF4-FFF2-40B4-BE49-F238E27FC236}">
                      <a16:creationId xmlns:a16="http://schemas.microsoft.com/office/drawing/2014/main" id="{C13607C8-2A0C-2B2B-7F37-9A7B305E87E2}"/>
                    </a:ext>
                  </a:extLst>
                </p:cNvPr>
                <p:cNvSpPr>
                  <a:spLocks noChangeAspect="1"/>
                </p:cNvSpPr>
                <p:nvPr/>
              </p:nvSpPr>
              <p:spPr>
                <a:xfrm>
                  <a:off x="8503874"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14" name="Oval 4413">
                  <a:extLst>
                    <a:ext uri="{FF2B5EF4-FFF2-40B4-BE49-F238E27FC236}">
                      <a16:creationId xmlns:a16="http://schemas.microsoft.com/office/drawing/2014/main" id="{423D6ECF-EDA2-5808-9193-5BECAA7A3456}"/>
                    </a:ext>
                  </a:extLst>
                </p:cNvPr>
                <p:cNvSpPr>
                  <a:spLocks noChangeAspect="1"/>
                </p:cNvSpPr>
                <p:nvPr/>
              </p:nvSpPr>
              <p:spPr>
                <a:xfrm>
                  <a:off x="8358314" y="242713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15" name="Oval 4414">
                  <a:extLst>
                    <a:ext uri="{FF2B5EF4-FFF2-40B4-BE49-F238E27FC236}">
                      <a16:creationId xmlns:a16="http://schemas.microsoft.com/office/drawing/2014/main" id="{E911B614-36ED-D367-7049-F31A12A1B186}"/>
                    </a:ext>
                  </a:extLst>
                </p:cNvPr>
                <p:cNvSpPr>
                  <a:spLocks noChangeAspect="1"/>
                </p:cNvSpPr>
                <p:nvPr/>
              </p:nvSpPr>
              <p:spPr>
                <a:xfrm>
                  <a:off x="8212848"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16" name="Oval 4415">
                  <a:extLst>
                    <a:ext uri="{FF2B5EF4-FFF2-40B4-BE49-F238E27FC236}">
                      <a16:creationId xmlns:a16="http://schemas.microsoft.com/office/drawing/2014/main" id="{0FAE7A1B-4D02-6389-109C-F2D8DD150CA5}"/>
                    </a:ext>
                  </a:extLst>
                </p:cNvPr>
                <p:cNvSpPr>
                  <a:spLocks noChangeAspect="1"/>
                </p:cNvSpPr>
                <p:nvPr/>
              </p:nvSpPr>
              <p:spPr>
                <a:xfrm>
                  <a:off x="8044023" y="2399605"/>
                  <a:ext cx="141895" cy="141884"/>
                </a:xfrm>
                <a:prstGeom prst="ellipse">
                  <a:avLst/>
                </a:prstGeom>
                <a:solidFill>
                  <a:srgbClr val="385723"/>
                </a:solidFill>
                <a:ln w="10484" cap="flat">
                  <a:solidFill>
                    <a:sysClr val="window" lastClr="FFFFFF"/>
                  </a:solidFill>
                  <a:prstDash val="solid"/>
                  <a:miter/>
                </a:ln>
                <a:effectLst>
                  <a:outerShdw blurRad="38100" algn="c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4417" name="Oval 4416">
                  <a:extLst>
                    <a:ext uri="{FF2B5EF4-FFF2-40B4-BE49-F238E27FC236}">
                      <a16:creationId xmlns:a16="http://schemas.microsoft.com/office/drawing/2014/main" id="{2D5F31EA-7027-8DFB-B4A2-2C6C9D038372}"/>
                    </a:ext>
                  </a:extLst>
                </p:cNvPr>
                <p:cNvSpPr>
                  <a:spLocks noChangeAspect="1"/>
                </p:cNvSpPr>
                <p:nvPr/>
              </p:nvSpPr>
              <p:spPr>
                <a:xfrm>
                  <a:off x="7903249"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18" name="Oval 4417">
                  <a:extLst>
                    <a:ext uri="{FF2B5EF4-FFF2-40B4-BE49-F238E27FC236}">
                      <a16:creationId xmlns:a16="http://schemas.microsoft.com/office/drawing/2014/main" id="{5D3ED5F1-E484-CDA3-E839-90CFA5E82924}"/>
                    </a:ext>
                  </a:extLst>
                </p:cNvPr>
                <p:cNvSpPr>
                  <a:spLocks noChangeAspect="1"/>
                </p:cNvSpPr>
                <p:nvPr/>
              </p:nvSpPr>
              <p:spPr>
                <a:xfrm>
                  <a:off x="7747424"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19" name="Oval 4418">
                  <a:extLst>
                    <a:ext uri="{FF2B5EF4-FFF2-40B4-BE49-F238E27FC236}">
                      <a16:creationId xmlns:a16="http://schemas.microsoft.com/office/drawing/2014/main" id="{0B89E93E-0681-7528-E420-42889BCF983B}"/>
                    </a:ext>
                  </a:extLst>
                </p:cNvPr>
                <p:cNvSpPr>
                  <a:spLocks noChangeAspect="1"/>
                </p:cNvSpPr>
                <p:nvPr/>
              </p:nvSpPr>
              <p:spPr>
                <a:xfrm>
                  <a:off x="7606056" y="241547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20" name="Oval 4419">
                  <a:extLst>
                    <a:ext uri="{FF2B5EF4-FFF2-40B4-BE49-F238E27FC236}">
                      <a16:creationId xmlns:a16="http://schemas.microsoft.com/office/drawing/2014/main" id="{91787456-1B37-6DFB-57CB-043B2326791C}"/>
                    </a:ext>
                  </a:extLst>
                </p:cNvPr>
                <p:cNvSpPr>
                  <a:spLocks noChangeAspect="1"/>
                </p:cNvSpPr>
                <p:nvPr/>
              </p:nvSpPr>
              <p:spPr>
                <a:xfrm>
                  <a:off x="7460602" y="241547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21" name="Oval 4420">
                  <a:extLst>
                    <a:ext uri="{FF2B5EF4-FFF2-40B4-BE49-F238E27FC236}">
                      <a16:creationId xmlns:a16="http://schemas.microsoft.com/office/drawing/2014/main" id="{A09532D9-6EA2-F831-34E2-E2249F34ADA8}"/>
                    </a:ext>
                  </a:extLst>
                </p:cNvPr>
                <p:cNvSpPr>
                  <a:spLocks noChangeAspect="1"/>
                </p:cNvSpPr>
                <p:nvPr/>
              </p:nvSpPr>
              <p:spPr>
                <a:xfrm>
                  <a:off x="7292378"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22" name="Oval 4421">
                  <a:extLst>
                    <a:ext uri="{FF2B5EF4-FFF2-40B4-BE49-F238E27FC236}">
                      <a16:creationId xmlns:a16="http://schemas.microsoft.com/office/drawing/2014/main" id="{9328B11E-2DD9-5817-0F62-00E82DE8AC6D}"/>
                    </a:ext>
                  </a:extLst>
                </p:cNvPr>
                <p:cNvSpPr>
                  <a:spLocks noChangeAspect="1"/>
                </p:cNvSpPr>
                <p:nvPr/>
              </p:nvSpPr>
              <p:spPr>
                <a:xfrm>
                  <a:off x="7136566"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23" name="Oval 4422">
                  <a:extLst>
                    <a:ext uri="{FF2B5EF4-FFF2-40B4-BE49-F238E27FC236}">
                      <a16:creationId xmlns:a16="http://schemas.microsoft.com/office/drawing/2014/main" id="{CE416B11-5B57-4D99-2AE1-F624AA867172}"/>
                    </a:ext>
                  </a:extLst>
                </p:cNvPr>
                <p:cNvSpPr>
                  <a:spLocks noChangeAspect="1"/>
                </p:cNvSpPr>
                <p:nvPr/>
              </p:nvSpPr>
              <p:spPr>
                <a:xfrm>
                  <a:off x="6849733" y="241547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24" name="Oval 4423">
                  <a:extLst>
                    <a:ext uri="{FF2B5EF4-FFF2-40B4-BE49-F238E27FC236}">
                      <a16:creationId xmlns:a16="http://schemas.microsoft.com/office/drawing/2014/main" id="{AFD8454C-5329-B507-74AA-BDEFC52B49B1}"/>
                    </a:ext>
                  </a:extLst>
                </p:cNvPr>
                <p:cNvSpPr>
                  <a:spLocks noChangeAspect="1"/>
                </p:cNvSpPr>
                <p:nvPr/>
              </p:nvSpPr>
              <p:spPr>
                <a:xfrm>
                  <a:off x="6704278" y="241547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25" name="Oval 4424">
                  <a:extLst>
                    <a:ext uri="{FF2B5EF4-FFF2-40B4-BE49-F238E27FC236}">
                      <a16:creationId xmlns:a16="http://schemas.microsoft.com/office/drawing/2014/main" id="{1A7FC45D-2ABC-7204-2295-17445EE4F200}"/>
                    </a:ext>
                  </a:extLst>
                </p:cNvPr>
                <p:cNvSpPr>
                  <a:spLocks noChangeAspect="1"/>
                </p:cNvSpPr>
                <p:nvPr/>
              </p:nvSpPr>
              <p:spPr>
                <a:xfrm>
                  <a:off x="6525803"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26" name="Oval 4425">
                  <a:extLst>
                    <a:ext uri="{FF2B5EF4-FFF2-40B4-BE49-F238E27FC236}">
                      <a16:creationId xmlns:a16="http://schemas.microsoft.com/office/drawing/2014/main" id="{2EFA3656-AFE1-A737-5C13-AA06935588A3}"/>
                    </a:ext>
                  </a:extLst>
                </p:cNvPr>
                <p:cNvSpPr>
                  <a:spLocks noChangeAspect="1"/>
                </p:cNvSpPr>
                <p:nvPr/>
              </p:nvSpPr>
              <p:spPr>
                <a:xfrm>
                  <a:off x="6380243"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27" name="Oval 4426">
                  <a:extLst>
                    <a:ext uri="{FF2B5EF4-FFF2-40B4-BE49-F238E27FC236}">
                      <a16:creationId xmlns:a16="http://schemas.microsoft.com/office/drawing/2014/main" id="{98F0B1C5-562E-FAB8-7285-DD47204B1954}"/>
                    </a:ext>
                  </a:extLst>
                </p:cNvPr>
                <p:cNvSpPr>
                  <a:spLocks noChangeAspect="1"/>
                </p:cNvSpPr>
                <p:nvPr/>
              </p:nvSpPr>
              <p:spPr>
                <a:xfrm>
                  <a:off x="6234777"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28" name="Oval 4427">
                  <a:extLst>
                    <a:ext uri="{FF2B5EF4-FFF2-40B4-BE49-F238E27FC236}">
                      <a16:creationId xmlns:a16="http://schemas.microsoft.com/office/drawing/2014/main" id="{755F0DC1-B63D-9876-EBB0-C4AFF030591E}"/>
                    </a:ext>
                  </a:extLst>
                </p:cNvPr>
                <p:cNvSpPr>
                  <a:spLocks noChangeAspect="1"/>
                </p:cNvSpPr>
                <p:nvPr/>
              </p:nvSpPr>
              <p:spPr>
                <a:xfrm>
                  <a:off x="6089344"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29" name="Oval 4428">
                  <a:extLst>
                    <a:ext uri="{FF2B5EF4-FFF2-40B4-BE49-F238E27FC236}">
                      <a16:creationId xmlns:a16="http://schemas.microsoft.com/office/drawing/2014/main" id="{665E0CD7-6772-B1C2-CAD6-E91F61B5812F}"/>
                    </a:ext>
                  </a:extLst>
                </p:cNvPr>
                <p:cNvSpPr>
                  <a:spLocks noChangeAspect="1"/>
                </p:cNvSpPr>
                <p:nvPr/>
              </p:nvSpPr>
              <p:spPr>
                <a:xfrm>
                  <a:off x="5929995"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30" name="Oval 4429">
                  <a:extLst>
                    <a:ext uri="{FF2B5EF4-FFF2-40B4-BE49-F238E27FC236}">
                      <a16:creationId xmlns:a16="http://schemas.microsoft.com/office/drawing/2014/main" id="{5F55A07E-D27F-B03D-B45C-1EDBEAFF9832}"/>
                    </a:ext>
                  </a:extLst>
                </p:cNvPr>
                <p:cNvSpPr>
                  <a:spLocks noChangeAspect="1"/>
                </p:cNvSpPr>
                <p:nvPr/>
              </p:nvSpPr>
              <p:spPr>
                <a:xfrm>
                  <a:off x="5769352"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31" name="Oval 4430">
                  <a:extLst>
                    <a:ext uri="{FF2B5EF4-FFF2-40B4-BE49-F238E27FC236}">
                      <a16:creationId xmlns:a16="http://schemas.microsoft.com/office/drawing/2014/main" id="{995E750A-A837-3D4B-A8E0-D4DB1D1B04D1}"/>
                    </a:ext>
                  </a:extLst>
                </p:cNvPr>
                <p:cNvSpPr>
                  <a:spLocks noChangeAspect="1"/>
                </p:cNvSpPr>
                <p:nvPr/>
              </p:nvSpPr>
              <p:spPr>
                <a:xfrm>
                  <a:off x="5623919" y="242713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32" name="Oval 4431">
                  <a:extLst>
                    <a:ext uri="{FF2B5EF4-FFF2-40B4-BE49-F238E27FC236}">
                      <a16:creationId xmlns:a16="http://schemas.microsoft.com/office/drawing/2014/main" id="{E6450FDC-1DD4-4647-9B05-07525889D710}"/>
                    </a:ext>
                  </a:extLst>
                </p:cNvPr>
                <p:cNvSpPr>
                  <a:spLocks noChangeAspect="1"/>
                </p:cNvSpPr>
                <p:nvPr/>
              </p:nvSpPr>
              <p:spPr>
                <a:xfrm>
                  <a:off x="5478453"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33" name="Oval 4432">
                  <a:extLst>
                    <a:ext uri="{FF2B5EF4-FFF2-40B4-BE49-F238E27FC236}">
                      <a16:creationId xmlns:a16="http://schemas.microsoft.com/office/drawing/2014/main" id="{6B3D6A87-0A31-8F63-C88C-4AACB985F4C3}"/>
                    </a:ext>
                  </a:extLst>
                </p:cNvPr>
                <p:cNvSpPr>
                  <a:spLocks noChangeAspect="1"/>
                </p:cNvSpPr>
                <p:nvPr/>
              </p:nvSpPr>
              <p:spPr>
                <a:xfrm>
                  <a:off x="5333021"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34" name="Oval 4433">
                  <a:extLst>
                    <a:ext uri="{FF2B5EF4-FFF2-40B4-BE49-F238E27FC236}">
                      <a16:creationId xmlns:a16="http://schemas.microsoft.com/office/drawing/2014/main" id="{79736AE5-C3DC-716E-DE95-E28B1DEB5859}"/>
                    </a:ext>
                  </a:extLst>
                </p:cNvPr>
                <p:cNvSpPr>
                  <a:spLocks noChangeAspect="1"/>
                </p:cNvSpPr>
                <p:nvPr/>
              </p:nvSpPr>
              <p:spPr>
                <a:xfrm>
                  <a:off x="5158589"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35" name="Oval 4434">
                  <a:extLst>
                    <a:ext uri="{FF2B5EF4-FFF2-40B4-BE49-F238E27FC236}">
                      <a16:creationId xmlns:a16="http://schemas.microsoft.com/office/drawing/2014/main" id="{05E21575-B14E-1884-F554-D9F2B9C7115A}"/>
                    </a:ext>
                  </a:extLst>
                </p:cNvPr>
                <p:cNvSpPr>
                  <a:spLocks noChangeAspect="1"/>
                </p:cNvSpPr>
                <p:nvPr/>
              </p:nvSpPr>
              <p:spPr>
                <a:xfrm>
                  <a:off x="5013029" y="242713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36" name="Oval 4435">
                  <a:extLst>
                    <a:ext uri="{FF2B5EF4-FFF2-40B4-BE49-F238E27FC236}">
                      <a16:creationId xmlns:a16="http://schemas.microsoft.com/office/drawing/2014/main" id="{118C8B5D-B3B3-0AF2-FD4E-EA262AEB2D4F}"/>
                    </a:ext>
                  </a:extLst>
                </p:cNvPr>
                <p:cNvSpPr>
                  <a:spLocks noChangeAspect="1"/>
                </p:cNvSpPr>
                <p:nvPr/>
              </p:nvSpPr>
              <p:spPr>
                <a:xfrm>
                  <a:off x="4867596"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37" name="Oval 4436">
                  <a:extLst>
                    <a:ext uri="{FF2B5EF4-FFF2-40B4-BE49-F238E27FC236}">
                      <a16:creationId xmlns:a16="http://schemas.microsoft.com/office/drawing/2014/main" id="{9B5C8E92-14C6-4713-4C42-D90007E90882}"/>
                    </a:ext>
                  </a:extLst>
                </p:cNvPr>
                <p:cNvSpPr>
                  <a:spLocks noChangeAspect="1"/>
                </p:cNvSpPr>
                <p:nvPr/>
              </p:nvSpPr>
              <p:spPr>
                <a:xfrm>
                  <a:off x="4722130"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38" name="Oval 4437">
                  <a:extLst>
                    <a:ext uri="{FF2B5EF4-FFF2-40B4-BE49-F238E27FC236}">
                      <a16:creationId xmlns:a16="http://schemas.microsoft.com/office/drawing/2014/main" id="{8ECC278C-92A1-9DF9-2375-2F7033514676}"/>
                    </a:ext>
                  </a:extLst>
                </p:cNvPr>
                <p:cNvSpPr>
                  <a:spLocks noChangeAspect="1"/>
                </p:cNvSpPr>
                <p:nvPr/>
              </p:nvSpPr>
              <p:spPr>
                <a:xfrm>
                  <a:off x="4557975"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39" name="Oval 4438">
                  <a:extLst>
                    <a:ext uri="{FF2B5EF4-FFF2-40B4-BE49-F238E27FC236}">
                      <a16:creationId xmlns:a16="http://schemas.microsoft.com/office/drawing/2014/main" id="{9028B581-3DB6-AF3E-892F-B78664680C15}"/>
                    </a:ext>
                  </a:extLst>
                </p:cNvPr>
                <p:cNvSpPr>
                  <a:spLocks noChangeAspect="1"/>
                </p:cNvSpPr>
                <p:nvPr/>
              </p:nvSpPr>
              <p:spPr>
                <a:xfrm>
                  <a:off x="4402155"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40" name="Oval 4439">
                  <a:extLst>
                    <a:ext uri="{FF2B5EF4-FFF2-40B4-BE49-F238E27FC236}">
                      <a16:creationId xmlns:a16="http://schemas.microsoft.com/office/drawing/2014/main" id="{3E37CB9B-F925-07CF-E44E-A91E6F2BADD9}"/>
                    </a:ext>
                  </a:extLst>
                </p:cNvPr>
                <p:cNvSpPr>
                  <a:spLocks noChangeAspect="1"/>
                </p:cNvSpPr>
                <p:nvPr/>
              </p:nvSpPr>
              <p:spPr>
                <a:xfrm>
                  <a:off x="4256705"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41" name="Oval 4440">
                  <a:extLst>
                    <a:ext uri="{FF2B5EF4-FFF2-40B4-BE49-F238E27FC236}">
                      <a16:creationId xmlns:a16="http://schemas.microsoft.com/office/drawing/2014/main" id="{739E0B05-CF53-0B95-514C-BC1B33ABE8D8}"/>
                    </a:ext>
                  </a:extLst>
                </p:cNvPr>
                <p:cNvSpPr>
                  <a:spLocks noChangeAspect="1"/>
                </p:cNvSpPr>
                <p:nvPr/>
              </p:nvSpPr>
              <p:spPr>
                <a:xfrm>
                  <a:off x="4111259"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42" name="Oval 4441">
                  <a:extLst>
                    <a:ext uri="{FF2B5EF4-FFF2-40B4-BE49-F238E27FC236}">
                      <a16:creationId xmlns:a16="http://schemas.microsoft.com/office/drawing/2014/main" id="{FEDBA18B-8035-6270-DB90-F4A23D948AF2}"/>
                    </a:ext>
                  </a:extLst>
                </p:cNvPr>
                <p:cNvSpPr>
                  <a:spLocks noChangeAspect="1"/>
                </p:cNvSpPr>
                <p:nvPr/>
              </p:nvSpPr>
              <p:spPr>
                <a:xfrm>
                  <a:off x="3965813"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43" name="Oval 4442">
                  <a:extLst>
                    <a:ext uri="{FF2B5EF4-FFF2-40B4-BE49-F238E27FC236}">
                      <a16:creationId xmlns:a16="http://schemas.microsoft.com/office/drawing/2014/main" id="{FC230BEA-9789-D037-41AB-888C40A4792A}"/>
                    </a:ext>
                  </a:extLst>
                </p:cNvPr>
                <p:cNvSpPr>
                  <a:spLocks noChangeAspect="1"/>
                </p:cNvSpPr>
                <p:nvPr/>
              </p:nvSpPr>
              <p:spPr>
                <a:xfrm>
                  <a:off x="3791277"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44" name="Oval 4443">
                  <a:extLst>
                    <a:ext uri="{FF2B5EF4-FFF2-40B4-BE49-F238E27FC236}">
                      <a16:creationId xmlns:a16="http://schemas.microsoft.com/office/drawing/2014/main" id="{9CB24ECB-3D58-7056-D73C-9CBF1BFA0859}"/>
                    </a:ext>
                  </a:extLst>
                </p:cNvPr>
                <p:cNvSpPr>
                  <a:spLocks noChangeAspect="1"/>
                </p:cNvSpPr>
                <p:nvPr/>
              </p:nvSpPr>
              <p:spPr>
                <a:xfrm>
                  <a:off x="3645831" y="242713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45" name="Oval 4444">
                  <a:extLst>
                    <a:ext uri="{FF2B5EF4-FFF2-40B4-BE49-F238E27FC236}">
                      <a16:creationId xmlns:a16="http://schemas.microsoft.com/office/drawing/2014/main" id="{7448C06B-D664-FA89-A874-487C439AE13D}"/>
                    </a:ext>
                  </a:extLst>
                </p:cNvPr>
                <p:cNvSpPr>
                  <a:spLocks noChangeAspect="1"/>
                </p:cNvSpPr>
                <p:nvPr/>
              </p:nvSpPr>
              <p:spPr>
                <a:xfrm>
                  <a:off x="3500382"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46" name="Oval 4445">
                  <a:extLst>
                    <a:ext uri="{FF2B5EF4-FFF2-40B4-BE49-F238E27FC236}">
                      <a16:creationId xmlns:a16="http://schemas.microsoft.com/office/drawing/2014/main" id="{851AF581-3369-5907-060F-80C981A99D0C}"/>
                    </a:ext>
                  </a:extLst>
                </p:cNvPr>
                <p:cNvSpPr>
                  <a:spLocks noChangeAspect="1"/>
                </p:cNvSpPr>
                <p:nvPr/>
              </p:nvSpPr>
              <p:spPr>
                <a:xfrm>
                  <a:off x="8509603" y="257368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47" name="Oval 4446">
                  <a:extLst>
                    <a:ext uri="{FF2B5EF4-FFF2-40B4-BE49-F238E27FC236}">
                      <a16:creationId xmlns:a16="http://schemas.microsoft.com/office/drawing/2014/main" id="{2BBB1CC3-81E0-543D-7E81-2227D0557CAD}"/>
                    </a:ext>
                  </a:extLst>
                </p:cNvPr>
                <p:cNvSpPr>
                  <a:spLocks noChangeAspect="1"/>
                </p:cNvSpPr>
                <p:nvPr/>
              </p:nvSpPr>
              <p:spPr>
                <a:xfrm>
                  <a:off x="8358314" y="257256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48" name="Oval 4447">
                  <a:extLst>
                    <a:ext uri="{FF2B5EF4-FFF2-40B4-BE49-F238E27FC236}">
                      <a16:creationId xmlns:a16="http://schemas.microsoft.com/office/drawing/2014/main" id="{2C61DB2C-EBE2-CAEA-ACF7-50DE19DE6B2A}"/>
                    </a:ext>
                  </a:extLst>
                </p:cNvPr>
                <p:cNvSpPr>
                  <a:spLocks noChangeAspect="1"/>
                </p:cNvSpPr>
                <p:nvPr/>
              </p:nvSpPr>
              <p:spPr>
                <a:xfrm>
                  <a:off x="7747424" y="257240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49" name="Oval 4448">
                  <a:extLst>
                    <a:ext uri="{FF2B5EF4-FFF2-40B4-BE49-F238E27FC236}">
                      <a16:creationId xmlns:a16="http://schemas.microsoft.com/office/drawing/2014/main" id="{44918557-9E76-E999-3DB0-7E651CB89584}"/>
                    </a:ext>
                  </a:extLst>
                </p:cNvPr>
                <p:cNvSpPr>
                  <a:spLocks noChangeAspect="1"/>
                </p:cNvSpPr>
                <p:nvPr/>
              </p:nvSpPr>
              <p:spPr>
                <a:xfrm>
                  <a:off x="7292378" y="256842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50" name="Oval 4449">
                  <a:extLst>
                    <a:ext uri="{FF2B5EF4-FFF2-40B4-BE49-F238E27FC236}">
                      <a16:creationId xmlns:a16="http://schemas.microsoft.com/office/drawing/2014/main" id="{F1083DBE-D0D1-BBAA-477C-0654052BD9B5}"/>
                    </a:ext>
                  </a:extLst>
                </p:cNvPr>
                <p:cNvSpPr>
                  <a:spLocks noChangeAspect="1"/>
                </p:cNvSpPr>
                <p:nvPr/>
              </p:nvSpPr>
              <p:spPr>
                <a:xfrm>
                  <a:off x="7142391" y="257368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51" name="Oval 4450">
                  <a:extLst>
                    <a:ext uri="{FF2B5EF4-FFF2-40B4-BE49-F238E27FC236}">
                      <a16:creationId xmlns:a16="http://schemas.microsoft.com/office/drawing/2014/main" id="{F85A8695-B47B-9785-861B-5DA642A781B8}"/>
                    </a:ext>
                  </a:extLst>
                </p:cNvPr>
                <p:cNvSpPr>
                  <a:spLocks noChangeAspect="1"/>
                </p:cNvSpPr>
                <p:nvPr/>
              </p:nvSpPr>
              <p:spPr>
                <a:xfrm>
                  <a:off x="6991100" y="257256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52" name="Oval 4451">
                  <a:extLst>
                    <a:ext uri="{FF2B5EF4-FFF2-40B4-BE49-F238E27FC236}">
                      <a16:creationId xmlns:a16="http://schemas.microsoft.com/office/drawing/2014/main" id="{7E4FE940-B15A-F7E9-C2D1-C6AB3264B0C5}"/>
                    </a:ext>
                  </a:extLst>
                </p:cNvPr>
                <p:cNvSpPr>
                  <a:spLocks noChangeAspect="1"/>
                </p:cNvSpPr>
                <p:nvPr/>
              </p:nvSpPr>
              <p:spPr>
                <a:xfrm>
                  <a:off x="6845668" y="256842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53" name="Oval 4452">
                  <a:extLst>
                    <a:ext uri="{FF2B5EF4-FFF2-40B4-BE49-F238E27FC236}">
                      <a16:creationId xmlns:a16="http://schemas.microsoft.com/office/drawing/2014/main" id="{9FB04DB6-5001-B58A-CF68-326271F43577}"/>
                    </a:ext>
                  </a:extLst>
                </p:cNvPr>
                <p:cNvSpPr>
                  <a:spLocks noChangeAspect="1"/>
                </p:cNvSpPr>
                <p:nvPr/>
              </p:nvSpPr>
              <p:spPr>
                <a:xfrm>
                  <a:off x="6681501" y="256842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54" name="Oval 4453">
                  <a:extLst>
                    <a:ext uri="{FF2B5EF4-FFF2-40B4-BE49-F238E27FC236}">
                      <a16:creationId xmlns:a16="http://schemas.microsoft.com/office/drawing/2014/main" id="{EA7A24C3-C99B-71D1-F3AE-46440BC70674}"/>
                    </a:ext>
                  </a:extLst>
                </p:cNvPr>
                <p:cNvSpPr>
                  <a:spLocks noChangeAspect="1"/>
                </p:cNvSpPr>
                <p:nvPr/>
              </p:nvSpPr>
              <p:spPr>
                <a:xfrm>
                  <a:off x="6531510" y="257368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55" name="Oval 4454">
                  <a:extLst>
                    <a:ext uri="{FF2B5EF4-FFF2-40B4-BE49-F238E27FC236}">
                      <a16:creationId xmlns:a16="http://schemas.microsoft.com/office/drawing/2014/main" id="{A0AB4264-5C7D-D824-190D-726D812313A9}"/>
                    </a:ext>
                  </a:extLst>
                </p:cNvPr>
                <p:cNvSpPr>
                  <a:spLocks noChangeAspect="1"/>
                </p:cNvSpPr>
                <p:nvPr/>
              </p:nvSpPr>
              <p:spPr>
                <a:xfrm>
                  <a:off x="6380243" y="257240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56" name="Oval 4455">
                  <a:extLst>
                    <a:ext uri="{FF2B5EF4-FFF2-40B4-BE49-F238E27FC236}">
                      <a16:creationId xmlns:a16="http://schemas.microsoft.com/office/drawing/2014/main" id="{305C37D9-36C2-E506-8926-BE1EDEB3FE75}"/>
                    </a:ext>
                  </a:extLst>
                </p:cNvPr>
                <p:cNvSpPr>
                  <a:spLocks noChangeAspect="1"/>
                </p:cNvSpPr>
                <p:nvPr/>
              </p:nvSpPr>
              <p:spPr>
                <a:xfrm>
                  <a:off x="6234777" y="256842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57" name="Oval 4456">
                  <a:extLst>
                    <a:ext uri="{FF2B5EF4-FFF2-40B4-BE49-F238E27FC236}">
                      <a16:creationId xmlns:a16="http://schemas.microsoft.com/office/drawing/2014/main" id="{DC874B91-CCCA-9B7A-93E6-BFEFE12A992F}"/>
                    </a:ext>
                  </a:extLst>
                </p:cNvPr>
                <p:cNvSpPr>
                  <a:spLocks noChangeAspect="1"/>
                </p:cNvSpPr>
                <p:nvPr/>
              </p:nvSpPr>
              <p:spPr>
                <a:xfrm>
                  <a:off x="6089344" y="256842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58" name="Oval 4457">
                  <a:extLst>
                    <a:ext uri="{FF2B5EF4-FFF2-40B4-BE49-F238E27FC236}">
                      <a16:creationId xmlns:a16="http://schemas.microsoft.com/office/drawing/2014/main" id="{6AB04473-A3AF-EBB1-522E-A6B55AD79510}"/>
                    </a:ext>
                  </a:extLst>
                </p:cNvPr>
                <p:cNvSpPr>
                  <a:spLocks noChangeAspect="1"/>
                </p:cNvSpPr>
                <p:nvPr/>
              </p:nvSpPr>
              <p:spPr>
                <a:xfrm>
                  <a:off x="5929995" y="256842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59" name="Oval 4458">
                  <a:extLst>
                    <a:ext uri="{FF2B5EF4-FFF2-40B4-BE49-F238E27FC236}">
                      <a16:creationId xmlns:a16="http://schemas.microsoft.com/office/drawing/2014/main" id="{0C7A2FB1-6CBD-0F48-2F9E-7D02E1564AC4}"/>
                    </a:ext>
                  </a:extLst>
                </p:cNvPr>
                <p:cNvSpPr>
                  <a:spLocks noChangeAspect="1"/>
                </p:cNvSpPr>
                <p:nvPr/>
              </p:nvSpPr>
              <p:spPr>
                <a:xfrm>
                  <a:off x="5769352" y="256842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60" name="Oval 4459">
                  <a:extLst>
                    <a:ext uri="{FF2B5EF4-FFF2-40B4-BE49-F238E27FC236}">
                      <a16:creationId xmlns:a16="http://schemas.microsoft.com/office/drawing/2014/main" id="{CC2B5564-EBD4-CD94-703B-887E43E2ABEA}"/>
                    </a:ext>
                  </a:extLst>
                </p:cNvPr>
                <p:cNvSpPr>
                  <a:spLocks noChangeAspect="1"/>
                </p:cNvSpPr>
                <p:nvPr/>
              </p:nvSpPr>
              <p:spPr>
                <a:xfrm>
                  <a:off x="5333021" y="256842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61" name="Oval 4460">
                  <a:extLst>
                    <a:ext uri="{FF2B5EF4-FFF2-40B4-BE49-F238E27FC236}">
                      <a16:creationId xmlns:a16="http://schemas.microsoft.com/office/drawing/2014/main" id="{2D11678A-DE88-ABF0-E5F5-C1A830F7F51B}"/>
                    </a:ext>
                  </a:extLst>
                </p:cNvPr>
                <p:cNvSpPr>
                  <a:spLocks noChangeAspect="1"/>
                </p:cNvSpPr>
                <p:nvPr/>
              </p:nvSpPr>
              <p:spPr>
                <a:xfrm>
                  <a:off x="5164318" y="257368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62" name="Oval 4461">
                  <a:extLst>
                    <a:ext uri="{FF2B5EF4-FFF2-40B4-BE49-F238E27FC236}">
                      <a16:creationId xmlns:a16="http://schemas.microsoft.com/office/drawing/2014/main" id="{305CAF61-0F59-3BE7-F299-6ED8DA2B8C8A}"/>
                    </a:ext>
                  </a:extLst>
                </p:cNvPr>
                <p:cNvSpPr>
                  <a:spLocks noChangeAspect="1"/>
                </p:cNvSpPr>
                <p:nvPr/>
              </p:nvSpPr>
              <p:spPr>
                <a:xfrm>
                  <a:off x="5013029" y="257240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63" name="Oval 4462">
                  <a:extLst>
                    <a:ext uri="{FF2B5EF4-FFF2-40B4-BE49-F238E27FC236}">
                      <a16:creationId xmlns:a16="http://schemas.microsoft.com/office/drawing/2014/main" id="{1F99A13C-9FA6-E8F5-7E85-BEC9FD8CF361}"/>
                    </a:ext>
                  </a:extLst>
                </p:cNvPr>
                <p:cNvSpPr>
                  <a:spLocks noChangeAspect="1"/>
                </p:cNvSpPr>
                <p:nvPr/>
              </p:nvSpPr>
              <p:spPr>
                <a:xfrm>
                  <a:off x="4722130" y="256842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64" name="Oval 4463">
                  <a:extLst>
                    <a:ext uri="{FF2B5EF4-FFF2-40B4-BE49-F238E27FC236}">
                      <a16:creationId xmlns:a16="http://schemas.microsoft.com/office/drawing/2014/main" id="{7F5B09FC-61D0-7EAD-BAB6-7119CBA114C7}"/>
                    </a:ext>
                  </a:extLst>
                </p:cNvPr>
                <p:cNvSpPr>
                  <a:spLocks noChangeAspect="1"/>
                </p:cNvSpPr>
                <p:nvPr/>
              </p:nvSpPr>
              <p:spPr>
                <a:xfrm>
                  <a:off x="4557975" y="256842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65" name="Oval 4464">
                  <a:extLst>
                    <a:ext uri="{FF2B5EF4-FFF2-40B4-BE49-F238E27FC236}">
                      <a16:creationId xmlns:a16="http://schemas.microsoft.com/office/drawing/2014/main" id="{24F72ED6-5182-FE29-8C96-A0E194082D93}"/>
                    </a:ext>
                  </a:extLst>
                </p:cNvPr>
                <p:cNvSpPr>
                  <a:spLocks noChangeAspect="1"/>
                </p:cNvSpPr>
                <p:nvPr/>
              </p:nvSpPr>
              <p:spPr>
                <a:xfrm>
                  <a:off x="4402155" y="257240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66" name="Oval 4465">
                  <a:extLst>
                    <a:ext uri="{FF2B5EF4-FFF2-40B4-BE49-F238E27FC236}">
                      <a16:creationId xmlns:a16="http://schemas.microsoft.com/office/drawing/2014/main" id="{6052DE41-E6E4-3FC8-7680-AC587184D64F}"/>
                    </a:ext>
                  </a:extLst>
                </p:cNvPr>
                <p:cNvSpPr>
                  <a:spLocks noChangeAspect="1"/>
                </p:cNvSpPr>
                <p:nvPr/>
              </p:nvSpPr>
              <p:spPr>
                <a:xfrm>
                  <a:off x="4256705" y="256842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67" name="Oval 4466">
                  <a:extLst>
                    <a:ext uri="{FF2B5EF4-FFF2-40B4-BE49-F238E27FC236}">
                      <a16:creationId xmlns:a16="http://schemas.microsoft.com/office/drawing/2014/main" id="{38575EE4-4B72-B45D-4A38-620E0E96E2F2}"/>
                    </a:ext>
                  </a:extLst>
                </p:cNvPr>
                <p:cNvSpPr>
                  <a:spLocks noChangeAspect="1"/>
                </p:cNvSpPr>
                <p:nvPr/>
              </p:nvSpPr>
              <p:spPr>
                <a:xfrm>
                  <a:off x="4111259" y="256842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68" name="Oval 4467">
                  <a:extLst>
                    <a:ext uri="{FF2B5EF4-FFF2-40B4-BE49-F238E27FC236}">
                      <a16:creationId xmlns:a16="http://schemas.microsoft.com/office/drawing/2014/main" id="{A4318EE3-BEDA-ADA8-90AB-1972E884961F}"/>
                    </a:ext>
                  </a:extLst>
                </p:cNvPr>
                <p:cNvSpPr>
                  <a:spLocks noChangeAspect="1"/>
                </p:cNvSpPr>
                <p:nvPr/>
              </p:nvSpPr>
              <p:spPr>
                <a:xfrm>
                  <a:off x="3947098" y="256842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69" name="Oval 4468">
                  <a:extLst>
                    <a:ext uri="{FF2B5EF4-FFF2-40B4-BE49-F238E27FC236}">
                      <a16:creationId xmlns:a16="http://schemas.microsoft.com/office/drawing/2014/main" id="{4199DB10-57C3-1FA1-69F9-7279C3E0343A}"/>
                    </a:ext>
                  </a:extLst>
                </p:cNvPr>
                <p:cNvSpPr>
                  <a:spLocks noChangeAspect="1"/>
                </p:cNvSpPr>
                <p:nvPr/>
              </p:nvSpPr>
              <p:spPr>
                <a:xfrm>
                  <a:off x="3797115" y="257368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70" name="Oval 4469">
                  <a:extLst>
                    <a:ext uri="{FF2B5EF4-FFF2-40B4-BE49-F238E27FC236}">
                      <a16:creationId xmlns:a16="http://schemas.microsoft.com/office/drawing/2014/main" id="{554C2975-66AA-2656-48EE-0E0AA172C9A7}"/>
                    </a:ext>
                  </a:extLst>
                </p:cNvPr>
                <p:cNvSpPr>
                  <a:spLocks noChangeAspect="1"/>
                </p:cNvSpPr>
                <p:nvPr/>
              </p:nvSpPr>
              <p:spPr>
                <a:xfrm>
                  <a:off x="3645831" y="257258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71" name="Oval 4470">
                  <a:extLst>
                    <a:ext uri="{FF2B5EF4-FFF2-40B4-BE49-F238E27FC236}">
                      <a16:creationId xmlns:a16="http://schemas.microsoft.com/office/drawing/2014/main" id="{F57118FA-D053-4F1F-9A84-82FC5D94D7DE}"/>
                    </a:ext>
                  </a:extLst>
                </p:cNvPr>
                <p:cNvSpPr>
                  <a:spLocks noChangeAspect="1"/>
                </p:cNvSpPr>
                <p:nvPr/>
              </p:nvSpPr>
              <p:spPr>
                <a:xfrm>
                  <a:off x="8212544" y="256842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72" name="Oval 4471">
                  <a:extLst>
                    <a:ext uri="{FF2B5EF4-FFF2-40B4-BE49-F238E27FC236}">
                      <a16:creationId xmlns:a16="http://schemas.microsoft.com/office/drawing/2014/main" id="{88283F2A-658B-99AC-9F95-65D60852B91F}"/>
                    </a:ext>
                  </a:extLst>
                </p:cNvPr>
                <p:cNvSpPr>
                  <a:spLocks noChangeAspect="1"/>
                </p:cNvSpPr>
                <p:nvPr/>
              </p:nvSpPr>
              <p:spPr>
                <a:xfrm>
                  <a:off x="8067109" y="256842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73" name="Oval 4472">
                  <a:extLst>
                    <a:ext uri="{FF2B5EF4-FFF2-40B4-BE49-F238E27FC236}">
                      <a16:creationId xmlns:a16="http://schemas.microsoft.com/office/drawing/2014/main" id="{046D1B45-3694-8D1D-1F67-F13CCCB370E4}"/>
                    </a:ext>
                  </a:extLst>
                </p:cNvPr>
                <p:cNvSpPr>
                  <a:spLocks noChangeAspect="1"/>
                </p:cNvSpPr>
                <p:nvPr/>
              </p:nvSpPr>
              <p:spPr>
                <a:xfrm>
                  <a:off x="7901620" y="256842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74" name="Oval 4473">
                  <a:extLst>
                    <a:ext uri="{FF2B5EF4-FFF2-40B4-BE49-F238E27FC236}">
                      <a16:creationId xmlns:a16="http://schemas.microsoft.com/office/drawing/2014/main" id="{5524D58E-1216-6871-2061-549B63D33E6E}"/>
                    </a:ext>
                  </a:extLst>
                </p:cNvPr>
                <p:cNvSpPr>
                  <a:spLocks noChangeAspect="1"/>
                </p:cNvSpPr>
                <p:nvPr/>
              </p:nvSpPr>
              <p:spPr>
                <a:xfrm>
                  <a:off x="5623919" y="256886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75" name="Oval 4474">
                  <a:extLst>
                    <a:ext uri="{FF2B5EF4-FFF2-40B4-BE49-F238E27FC236}">
                      <a16:creationId xmlns:a16="http://schemas.microsoft.com/office/drawing/2014/main" id="{50C42901-1482-92B2-9CA1-B9431F6CD14B}"/>
                    </a:ext>
                  </a:extLst>
                </p:cNvPr>
                <p:cNvSpPr>
                  <a:spLocks noChangeAspect="1"/>
                </p:cNvSpPr>
                <p:nvPr/>
              </p:nvSpPr>
              <p:spPr>
                <a:xfrm>
                  <a:off x="5478149" y="256842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76" name="Oval 4475">
                  <a:extLst>
                    <a:ext uri="{FF2B5EF4-FFF2-40B4-BE49-F238E27FC236}">
                      <a16:creationId xmlns:a16="http://schemas.microsoft.com/office/drawing/2014/main" id="{A0B6F0BA-0845-C0C8-9D7F-BCDF600443FE}"/>
                    </a:ext>
                  </a:extLst>
                </p:cNvPr>
                <p:cNvSpPr>
                  <a:spLocks noChangeAspect="1"/>
                </p:cNvSpPr>
                <p:nvPr/>
              </p:nvSpPr>
              <p:spPr>
                <a:xfrm>
                  <a:off x="4867281" y="256842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77" name="Oval 4476">
                  <a:extLst>
                    <a:ext uri="{FF2B5EF4-FFF2-40B4-BE49-F238E27FC236}">
                      <a16:creationId xmlns:a16="http://schemas.microsoft.com/office/drawing/2014/main" id="{8834FDD4-0E54-48BE-3F0A-C0B2BB042CA4}"/>
                    </a:ext>
                  </a:extLst>
                </p:cNvPr>
                <p:cNvSpPr>
                  <a:spLocks noChangeAspect="1"/>
                </p:cNvSpPr>
                <p:nvPr/>
              </p:nvSpPr>
              <p:spPr>
                <a:xfrm>
                  <a:off x="3500074" y="256842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78" name="Oval 4477">
                  <a:extLst>
                    <a:ext uri="{FF2B5EF4-FFF2-40B4-BE49-F238E27FC236}">
                      <a16:creationId xmlns:a16="http://schemas.microsoft.com/office/drawing/2014/main" id="{77BCE127-3CA6-0C30-1816-44E566338175}"/>
                    </a:ext>
                  </a:extLst>
                </p:cNvPr>
                <p:cNvSpPr>
                  <a:spLocks noChangeAspect="1"/>
                </p:cNvSpPr>
                <p:nvPr/>
              </p:nvSpPr>
              <p:spPr>
                <a:xfrm>
                  <a:off x="8509275" y="272083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79" name="Oval 4478">
                  <a:extLst>
                    <a:ext uri="{FF2B5EF4-FFF2-40B4-BE49-F238E27FC236}">
                      <a16:creationId xmlns:a16="http://schemas.microsoft.com/office/drawing/2014/main" id="{4BE5E947-DC12-6FBB-384A-6380432AFC07}"/>
                    </a:ext>
                  </a:extLst>
                </p:cNvPr>
                <p:cNvSpPr>
                  <a:spLocks noChangeAspect="1"/>
                </p:cNvSpPr>
                <p:nvPr/>
              </p:nvSpPr>
              <p:spPr>
                <a:xfrm>
                  <a:off x="8363821" y="272083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80" name="Oval 4479">
                  <a:extLst>
                    <a:ext uri="{FF2B5EF4-FFF2-40B4-BE49-F238E27FC236}">
                      <a16:creationId xmlns:a16="http://schemas.microsoft.com/office/drawing/2014/main" id="{ECBE5EB0-094F-9735-4865-67350E6CBDCD}"/>
                    </a:ext>
                  </a:extLst>
                </p:cNvPr>
                <p:cNvSpPr>
                  <a:spLocks noChangeAspect="1"/>
                </p:cNvSpPr>
                <p:nvPr/>
              </p:nvSpPr>
              <p:spPr>
                <a:xfrm>
                  <a:off x="8212672" y="271389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81" name="Oval 4480">
                  <a:extLst>
                    <a:ext uri="{FF2B5EF4-FFF2-40B4-BE49-F238E27FC236}">
                      <a16:creationId xmlns:a16="http://schemas.microsoft.com/office/drawing/2014/main" id="{D3E49766-6612-926C-618A-FF55021FFDB8}"/>
                    </a:ext>
                  </a:extLst>
                </p:cNvPr>
                <p:cNvSpPr>
                  <a:spLocks noChangeAspect="1"/>
                </p:cNvSpPr>
                <p:nvPr/>
              </p:nvSpPr>
              <p:spPr>
                <a:xfrm>
                  <a:off x="7456525" y="271389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82" name="Oval 4481">
                  <a:extLst>
                    <a:ext uri="{FF2B5EF4-FFF2-40B4-BE49-F238E27FC236}">
                      <a16:creationId xmlns:a16="http://schemas.microsoft.com/office/drawing/2014/main" id="{9B72E275-EA06-9547-3C35-D9E8543EAF9C}"/>
                    </a:ext>
                  </a:extLst>
                </p:cNvPr>
                <p:cNvSpPr>
                  <a:spLocks noChangeAspect="1"/>
                </p:cNvSpPr>
                <p:nvPr/>
              </p:nvSpPr>
              <p:spPr>
                <a:xfrm>
                  <a:off x="7311092" y="271972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83" name="Oval 4482">
                  <a:extLst>
                    <a:ext uri="{FF2B5EF4-FFF2-40B4-BE49-F238E27FC236}">
                      <a16:creationId xmlns:a16="http://schemas.microsoft.com/office/drawing/2014/main" id="{DC620079-EBCC-3136-C432-221A077AF22C}"/>
                    </a:ext>
                  </a:extLst>
                </p:cNvPr>
                <p:cNvSpPr>
                  <a:spLocks noChangeAspect="1"/>
                </p:cNvSpPr>
                <p:nvPr/>
              </p:nvSpPr>
              <p:spPr>
                <a:xfrm>
                  <a:off x="7142073" y="272083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84" name="Oval 4483">
                  <a:extLst>
                    <a:ext uri="{FF2B5EF4-FFF2-40B4-BE49-F238E27FC236}">
                      <a16:creationId xmlns:a16="http://schemas.microsoft.com/office/drawing/2014/main" id="{E661F12B-D338-E534-381F-FB763C2666CD}"/>
                    </a:ext>
                  </a:extLst>
                </p:cNvPr>
                <p:cNvSpPr>
                  <a:spLocks noChangeAspect="1"/>
                </p:cNvSpPr>
                <p:nvPr/>
              </p:nvSpPr>
              <p:spPr>
                <a:xfrm>
                  <a:off x="6996628" y="272083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85" name="Oval 4484">
                  <a:extLst>
                    <a:ext uri="{FF2B5EF4-FFF2-40B4-BE49-F238E27FC236}">
                      <a16:creationId xmlns:a16="http://schemas.microsoft.com/office/drawing/2014/main" id="{1DC8785E-EEE8-F78A-8FF2-65F6BB688D0A}"/>
                    </a:ext>
                  </a:extLst>
                </p:cNvPr>
                <p:cNvSpPr>
                  <a:spLocks noChangeAspect="1"/>
                </p:cNvSpPr>
                <p:nvPr/>
              </p:nvSpPr>
              <p:spPr>
                <a:xfrm>
                  <a:off x="6845668" y="271389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86" name="Oval 4485">
                  <a:extLst>
                    <a:ext uri="{FF2B5EF4-FFF2-40B4-BE49-F238E27FC236}">
                      <a16:creationId xmlns:a16="http://schemas.microsoft.com/office/drawing/2014/main" id="{A94D6293-CAAB-9D8C-7783-8ACD5A1E11CC}"/>
                    </a:ext>
                  </a:extLst>
                </p:cNvPr>
                <p:cNvSpPr>
                  <a:spLocks noChangeAspect="1"/>
                </p:cNvSpPr>
                <p:nvPr/>
              </p:nvSpPr>
              <p:spPr>
                <a:xfrm>
                  <a:off x="6700201" y="271389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87" name="Oval 4486">
                  <a:extLst>
                    <a:ext uri="{FF2B5EF4-FFF2-40B4-BE49-F238E27FC236}">
                      <a16:creationId xmlns:a16="http://schemas.microsoft.com/office/drawing/2014/main" id="{8EC03B3A-37B1-F88B-1C3C-FCAD42F90CA5}"/>
                    </a:ext>
                  </a:extLst>
                </p:cNvPr>
                <p:cNvSpPr>
                  <a:spLocks noChangeAspect="1"/>
                </p:cNvSpPr>
                <p:nvPr/>
              </p:nvSpPr>
              <p:spPr>
                <a:xfrm>
                  <a:off x="6531204" y="272085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88" name="Oval 4487">
                  <a:extLst>
                    <a:ext uri="{FF2B5EF4-FFF2-40B4-BE49-F238E27FC236}">
                      <a16:creationId xmlns:a16="http://schemas.microsoft.com/office/drawing/2014/main" id="{92D914E7-B675-4C0F-1DF2-80E56539DF4A}"/>
                    </a:ext>
                  </a:extLst>
                </p:cNvPr>
                <p:cNvSpPr>
                  <a:spLocks noChangeAspect="1"/>
                </p:cNvSpPr>
                <p:nvPr/>
              </p:nvSpPr>
              <p:spPr>
                <a:xfrm>
                  <a:off x="6385750" y="272085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89" name="Oval 4488">
                  <a:extLst>
                    <a:ext uri="{FF2B5EF4-FFF2-40B4-BE49-F238E27FC236}">
                      <a16:creationId xmlns:a16="http://schemas.microsoft.com/office/drawing/2014/main" id="{C9848262-E35C-5A1C-67BB-8B9C5390F7CE}"/>
                    </a:ext>
                  </a:extLst>
                </p:cNvPr>
                <p:cNvSpPr>
                  <a:spLocks noChangeAspect="1"/>
                </p:cNvSpPr>
                <p:nvPr/>
              </p:nvSpPr>
              <p:spPr>
                <a:xfrm>
                  <a:off x="6234601" y="271389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90" name="Oval 4489">
                  <a:extLst>
                    <a:ext uri="{FF2B5EF4-FFF2-40B4-BE49-F238E27FC236}">
                      <a16:creationId xmlns:a16="http://schemas.microsoft.com/office/drawing/2014/main" id="{61BE78CF-B417-49E7-38E5-A9A82A9C6A0B}"/>
                    </a:ext>
                  </a:extLst>
                </p:cNvPr>
                <p:cNvSpPr>
                  <a:spLocks noChangeAspect="1"/>
                </p:cNvSpPr>
                <p:nvPr/>
              </p:nvSpPr>
              <p:spPr>
                <a:xfrm>
                  <a:off x="6089344" y="271389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91" name="Oval 4490">
                  <a:extLst>
                    <a:ext uri="{FF2B5EF4-FFF2-40B4-BE49-F238E27FC236}">
                      <a16:creationId xmlns:a16="http://schemas.microsoft.com/office/drawing/2014/main" id="{BE4C0440-2484-0C92-C0BE-9A46AE81A46D}"/>
                    </a:ext>
                  </a:extLst>
                </p:cNvPr>
                <p:cNvSpPr>
                  <a:spLocks noChangeAspect="1"/>
                </p:cNvSpPr>
                <p:nvPr/>
              </p:nvSpPr>
              <p:spPr>
                <a:xfrm>
                  <a:off x="5929995" y="272085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92" name="Oval 4491">
                  <a:extLst>
                    <a:ext uri="{FF2B5EF4-FFF2-40B4-BE49-F238E27FC236}">
                      <a16:creationId xmlns:a16="http://schemas.microsoft.com/office/drawing/2014/main" id="{965BA58B-5A5F-2A70-88F9-4D80BFC2E964}"/>
                    </a:ext>
                  </a:extLst>
                </p:cNvPr>
                <p:cNvSpPr>
                  <a:spLocks noChangeAspect="1"/>
                </p:cNvSpPr>
                <p:nvPr/>
              </p:nvSpPr>
              <p:spPr>
                <a:xfrm>
                  <a:off x="5774880" y="272085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93" name="Oval 4492">
                  <a:extLst>
                    <a:ext uri="{FF2B5EF4-FFF2-40B4-BE49-F238E27FC236}">
                      <a16:creationId xmlns:a16="http://schemas.microsoft.com/office/drawing/2014/main" id="{121E91A1-5A1B-DDBF-2744-C73B9ADFB683}"/>
                    </a:ext>
                  </a:extLst>
                </p:cNvPr>
                <p:cNvSpPr>
                  <a:spLocks noChangeAspect="1"/>
                </p:cNvSpPr>
                <p:nvPr/>
              </p:nvSpPr>
              <p:spPr>
                <a:xfrm>
                  <a:off x="5626187" y="271609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94" name="Oval 4493">
                  <a:extLst>
                    <a:ext uri="{FF2B5EF4-FFF2-40B4-BE49-F238E27FC236}">
                      <a16:creationId xmlns:a16="http://schemas.microsoft.com/office/drawing/2014/main" id="{6579D50F-A676-BA6E-A5A6-C769E5C64A68}"/>
                    </a:ext>
                  </a:extLst>
                </p:cNvPr>
                <p:cNvSpPr>
                  <a:spLocks noChangeAspect="1"/>
                </p:cNvSpPr>
                <p:nvPr/>
              </p:nvSpPr>
              <p:spPr>
                <a:xfrm>
                  <a:off x="5478453" y="271389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95" name="Oval 4494">
                  <a:extLst>
                    <a:ext uri="{FF2B5EF4-FFF2-40B4-BE49-F238E27FC236}">
                      <a16:creationId xmlns:a16="http://schemas.microsoft.com/office/drawing/2014/main" id="{0EC73839-754E-10D5-862F-FB3BA0FF9D50}"/>
                    </a:ext>
                  </a:extLst>
                </p:cNvPr>
                <p:cNvSpPr>
                  <a:spLocks noChangeAspect="1"/>
                </p:cNvSpPr>
                <p:nvPr/>
              </p:nvSpPr>
              <p:spPr>
                <a:xfrm>
                  <a:off x="5333021" y="271389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96" name="Oval 4495">
                  <a:extLst>
                    <a:ext uri="{FF2B5EF4-FFF2-40B4-BE49-F238E27FC236}">
                      <a16:creationId xmlns:a16="http://schemas.microsoft.com/office/drawing/2014/main" id="{73967E89-0B31-98A7-AC20-3B92B3F4EE36}"/>
                    </a:ext>
                  </a:extLst>
                </p:cNvPr>
                <p:cNvSpPr>
                  <a:spLocks noChangeAspect="1"/>
                </p:cNvSpPr>
                <p:nvPr/>
              </p:nvSpPr>
              <p:spPr>
                <a:xfrm>
                  <a:off x="5164001" y="272085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97" name="Oval 4496">
                  <a:extLst>
                    <a:ext uri="{FF2B5EF4-FFF2-40B4-BE49-F238E27FC236}">
                      <a16:creationId xmlns:a16="http://schemas.microsoft.com/office/drawing/2014/main" id="{6FB222B5-18D8-D391-53B3-09860938009F}"/>
                    </a:ext>
                  </a:extLst>
                </p:cNvPr>
                <p:cNvSpPr>
                  <a:spLocks noChangeAspect="1"/>
                </p:cNvSpPr>
                <p:nvPr/>
              </p:nvSpPr>
              <p:spPr>
                <a:xfrm>
                  <a:off x="5018557" y="272085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98" name="Oval 4497">
                  <a:extLst>
                    <a:ext uri="{FF2B5EF4-FFF2-40B4-BE49-F238E27FC236}">
                      <a16:creationId xmlns:a16="http://schemas.microsoft.com/office/drawing/2014/main" id="{4EC142A7-77C0-90BB-4BB3-3E460F542129}"/>
                    </a:ext>
                  </a:extLst>
                </p:cNvPr>
                <p:cNvSpPr>
                  <a:spLocks noChangeAspect="1"/>
                </p:cNvSpPr>
                <p:nvPr/>
              </p:nvSpPr>
              <p:spPr>
                <a:xfrm>
                  <a:off x="4867401" y="271389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99" name="Oval 4498">
                  <a:extLst>
                    <a:ext uri="{FF2B5EF4-FFF2-40B4-BE49-F238E27FC236}">
                      <a16:creationId xmlns:a16="http://schemas.microsoft.com/office/drawing/2014/main" id="{CB5BCF83-4909-AAAD-FBE8-F03C9D66747A}"/>
                    </a:ext>
                  </a:extLst>
                </p:cNvPr>
                <p:cNvSpPr>
                  <a:spLocks noChangeAspect="1"/>
                </p:cNvSpPr>
                <p:nvPr/>
              </p:nvSpPr>
              <p:spPr>
                <a:xfrm>
                  <a:off x="4722130" y="271389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00" name="Oval 4499">
                  <a:extLst>
                    <a:ext uri="{FF2B5EF4-FFF2-40B4-BE49-F238E27FC236}">
                      <a16:creationId xmlns:a16="http://schemas.microsoft.com/office/drawing/2014/main" id="{10984E1B-D2AD-BA42-3F7F-E8A7588E1AE9}"/>
                    </a:ext>
                  </a:extLst>
                </p:cNvPr>
                <p:cNvSpPr>
                  <a:spLocks noChangeAspect="1"/>
                </p:cNvSpPr>
                <p:nvPr/>
              </p:nvSpPr>
              <p:spPr>
                <a:xfrm>
                  <a:off x="4553118" y="272085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01" name="Oval 4500">
                  <a:extLst>
                    <a:ext uri="{FF2B5EF4-FFF2-40B4-BE49-F238E27FC236}">
                      <a16:creationId xmlns:a16="http://schemas.microsoft.com/office/drawing/2014/main" id="{6B5B0015-0590-D007-6CD8-D5A337AE8F54}"/>
                    </a:ext>
                  </a:extLst>
                </p:cNvPr>
                <p:cNvSpPr>
                  <a:spLocks noChangeAspect="1"/>
                </p:cNvSpPr>
                <p:nvPr/>
              </p:nvSpPr>
              <p:spPr>
                <a:xfrm>
                  <a:off x="4407672" y="272085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02" name="Oval 4501">
                  <a:extLst>
                    <a:ext uri="{FF2B5EF4-FFF2-40B4-BE49-F238E27FC236}">
                      <a16:creationId xmlns:a16="http://schemas.microsoft.com/office/drawing/2014/main" id="{B796D25C-D0E0-4B65-DC62-46EE5C4D41AF}"/>
                    </a:ext>
                  </a:extLst>
                </p:cNvPr>
                <p:cNvSpPr>
                  <a:spLocks noChangeAspect="1"/>
                </p:cNvSpPr>
                <p:nvPr/>
              </p:nvSpPr>
              <p:spPr>
                <a:xfrm>
                  <a:off x="4256521" y="271389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03" name="Oval 4502">
                  <a:extLst>
                    <a:ext uri="{FF2B5EF4-FFF2-40B4-BE49-F238E27FC236}">
                      <a16:creationId xmlns:a16="http://schemas.microsoft.com/office/drawing/2014/main" id="{779569EB-E574-F7D2-709E-C132867B4378}"/>
                    </a:ext>
                  </a:extLst>
                </p:cNvPr>
                <p:cNvSpPr>
                  <a:spLocks noChangeAspect="1"/>
                </p:cNvSpPr>
                <p:nvPr/>
              </p:nvSpPr>
              <p:spPr>
                <a:xfrm>
                  <a:off x="4111259" y="271389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04" name="Oval 4503">
                  <a:extLst>
                    <a:ext uri="{FF2B5EF4-FFF2-40B4-BE49-F238E27FC236}">
                      <a16:creationId xmlns:a16="http://schemas.microsoft.com/office/drawing/2014/main" id="{A2BF7AD5-7F25-E7D2-E942-964E2782C4DD}"/>
                    </a:ext>
                  </a:extLst>
                </p:cNvPr>
                <p:cNvSpPr>
                  <a:spLocks noChangeAspect="1"/>
                </p:cNvSpPr>
                <p:nvPr/>
              </p:nvSpPr>
              <p:spPr>
                <a:xfrm>
                  <a:off x="3965813" y="271389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05" name="Oval 4504">
                  <a:extLst>
                    <a:ext uri="{FF2B5EF4-FFF2-40B4-BE49-F238E27FC236}">
                      <a16:creationId xmlns:a16="http://schemas.microsoft.com/office/drawing/2014/main" id="{981B3964-7214-3E48-5BE7-5C687E457D51}"/>
                    </a:ext>
                  </a:extLst>
                </p:cNvPr>
                <p:cNvSpPr>
                  <a:spLocks noChangeAspect="1"/>
                </p:cNvSpPr>
                <p:nvPr/>
              </p:nvSpPr>
              <p:spPr>
                <a:xfrm>
                  <a:off x="3796796" y="272085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06" name="Oval 4505">
                  <a:extLst>
                    <a:ext uri="{FF2B5EF4-FFF2-40B4-BE49-F238E27FC236}">
                      <a16:creationId xmlns:a16="http://schemas.microsoft.com/office/drawing/2014/main" id="{A22CACAB-7ABA-7D75-956D-9B8EB97CB455}"/>
                    </a:ext>
                  </a:extLst>
                </p:cNvPr>
                <p:cNvSpPr>
                  <a:spLocks noChangeAspect="1"/>
                </p:cNvSpPr>
                <p:nvPr/>
              </p:nvSpPr>
              <p:spPr>
                <a:xfrm>
                  <a:off x="3651349" y="272085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07" name="Oval 4506">
                  <a:extLst>
                    <a:ext uri="{FF2B5EF4-FFF2-40B4-BE49-F238E27FC236}">
                      <a16:creationId xmlns:a16="http://schemas.microsoft.com/office/drawing/2014/main" id="{372812A3-C44A-D088-BE93-F620FDB3C233}"/>
                    </a:ext>
                  </a:extLst>
                </p:cNvPr>
                <p:cNvSpPr>
                  <a:spLocks noChangeAspect="1"/>
                </p:cNvSpPr>
                <p:nvPr/>
              </p:nvSpPr>
              <p:spPr>
                <a:xfrm>
                  <a:off x="8358314" y="287194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08" name="Oval 4507">
                  <a:extLst>
                    <a:ext uri="{FF2B5EF4-FFF2-40B4-BE49-F238E27FC236}">
                      <a16:creationId xmlns:a16="http://schemas.microsoft.com/office/drawing/2014/main" id="{92F56C81-766B-9391-ED73-AFA6445D2EEB}"/>
                    </a:ext>
                  </a:extLst>
                </p:cNvPr>
                <p:cNvSpPr>
                  <a:spLocks noChangeAspect="1"/>
                </p:cNvSpPr>
                <p:nvPr/>
              </p:nvSpPr>
              <p:spPr>
                <a:xfrm>
                  <a:off x="8216925" y="288089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09" name="Oval 4508">
                  <a:extLst>
                    <a:ext uri="{FF2B5EF4-FFF2-40B4-BE49-F238E27FC236}">
                      <a16:creationId xmlns:a16="http://schemas.microsoft.com/office/drawing/2014/main" id="{9B085019-B954-1242-A425-8FFB17999082}"/>
                    </a:ext>
                  </a:extLst>
                </p:cNvPr>
                <p:cNvSpPr>
                  <a:spLocks noChangeAspect="1"/>
                </p:cNvSpPr>
                <p:nvPr/>
              </p:nvSpPr>
              <p:spPr>
                <a:xfrm>
                  <a:off x="8071492" y="288089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10" name="Oval 4509">
                  <a:extLst>
                    <a:ext uri="{FF2B5EF4-FFF2-40B4-BE49-F238E27FC236}">
                      <a16:creationId xmlns:a16="http://schemas.microsoft.com/office/drawing/2014/main" id="{16388619-A05F-C597-26CB-38251774E5F8}"/>
                    </a:ext>
                  </a:extLst>
                </p:cNvPr>
                <p:cNvSpPr>
                  <a:spLocks noChangeAspect="1"/>
                </p:cNvSpPr>
                <p:nvPr/>
              </p:nvSpPr>
              <p:spPr>
                <a:xfrm>
                  <a:off x="7900050" y="286672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11" name="Oval 4510">
                  <a:extLst>
                    <a:ext uri="{FF2B5EF4-FFF2-40B4-BE49-F238E27FC236}">
                      <a16:creationId xmlns:a16="http://schemas.microsoft.com/office/drawing/2014/main" id="{39CC60AB-74E1-7833-EB6F-919B98EE5A53}"/>
                    </a:ext>
                  </a:extLst>
                </p:cNvPr>
                <p:cNvSpPr>
                  <a:spLocks noChangeAspect="1"/>
                </p:cNvSpPr>
                <p:nvPr/>
              </p:nvSpPr>
              <p:spPr>
                <a:xfrm>
                  <a:off x="7142073" y="286630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12" name="Oval 4511">
                  <a:extLst>
                    <a:ext uri="{FF2B5EF4-FFF2-40B4-BE49-F238E27FC236}">
                      <a16:creationId xmlns:a16="http://schemas.microsoft.com/office/drawing/2014/main" id="{533906D7-EBB9-3891-C9D7-33ED999F7886}"/>
                    </a:ext>
                  </a:extLst>
                </p:cNvPr>
                <p:cNvSpPr>
                  <a:spLocks noChangeAspect="1"/>
                </p:cNvSpPr>
                <p:nvPr/>
              </p:nvSpPr>
              <p:spPr>
                <a:xfrm>
                  <a:off x="6991100" y="286808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13" name="Oval 4512">
                  <a:extLst>
                    <a:ext uri="{FF2B5EF4-FFF2-40B4-BE49-F238E27FC236}">
                      <a16:creationId xmlns:a16="http://schemas.microsoft.com/office/drawing/2014/main" id="{5F659C6D-BE21-CA54-0FBC-9DC661FBA504}"/>
                    </a:ext>
                  </a:extLst>
                </p:cNvPr>
                <p:cNvSpPr>
                  <a:spLocks noChangeAspect="1"/>
                </p:cNvSpPr>
                <p:nvPr/>
              </p:nvSpPr>
              <p:spPr>
                <a:xfrm>
                  <a:off x="6849733" y="288089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14" name="Oval 4513">
                  <a:extLst>
                    <a:ext uri="{FF2B5EF4-FFF2-40B4-BE49-F238E27FC236}">
                      <a16:creationId xmlns:a16="http://schemas.microsoft.com/office/drawing/2014/main" id="{76EF7693-0E3C-221A-1CD3-B7158023EAFB}"/>
                    </a:ext>
                  </a:extLst>
                </p:cNvPr>
                <p:cNvSpPr>
                  <a:spLocks noChangeAspect="1"/>
                </p:cNvSpPr>
                <p:nvPr/>
              </p:nvSpPr>
              <p:spPr>
                <a:xfrm>
                  <a:off x="6704278" y="288089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15" name="Oval 4514">
                  <a:extLst>
                    <a:ext uri="{FF2B5EF4-FFF2-40B4-BE49-F238E27FC236}">
                      <a16:creationId xmlns:a16="http://schemas.microsoft.com/office/drawing/2014/main" id="{BD3915B8-C6D3-A2A4-A36B-6CA4A5A7232F}"/>
                    </a:ext>
                  </a:extLst>
                </p:cNvPr>
                <p:cNvSpPr>
                  <a:spLocks noChangeAspect="1"/>
                </p:cNvSpPr>
                <p:nvPr/>
              </p:nvSpPr>
              <p:spPr>
                <a:xfrm>
                  <a:off x="6532861" y="286672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16" name="Oval 4515">
                  <a:extLst>
                    <a:ext uri="{FF2B5EF4-FFF2-40B4-BE49-F238E27FC236}">
                      <a16:creationId xmlns:a16="http://schemas.microsoft.com/office/drawing/2014/main" id="{0D812516-0EB7-D1B6-D9E2-CC742E0EF101}"/>
                    </a:ext>
                  </a:extLst>
                </p:cNvPr>
                <p:cNvSpPr>
                  <a:spLocks noChangeAspect="1"/>
                </p:cNvSpPr>
                <p:nvPr/>
              </p:nvSpPr>
              <p:spPr>
                <a:xfrm>
                  <a:off x="6385750" y="286630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17" name="Oval 4516">
                  <a:extLst>
                    <a:ext uri="{FF2B5EF4-FFF2-40B4-BE49-F238E27FC236}">
                      <a16:creationId xmlns:a16="http://schemas.microsoft.com/office/drawing/2014/main" id="{B9BB97D8-5B6B-B36C-39F9-41965C98E490}"/>
                    </a:ext>
                  </a:extLst>
                </p:cNvPr>
                <p:cNvSpPr>
                  <a:spLocks noChangeAspect="1"/>
                </p:cNvSpPr>
                <p:nvPr/>
              </p:nvSpPr>
              <p:spPr>
                <a:xfrm>
                  <a:off x="6238854" y="288089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18" name="Oval 4517">
                  <a:extLst>
                    <a:ext uri="{FF2B5EF4-FFF2-40B4-BE49-F238E27FC236}">
                      <a16:creationId xmlns:a16="http://schemas.microsoft.com/office/drawing/2014/main" id="{58099479-C203-A743-21C0-B4D67A52B374}"/>
                    </a:ext>
                  </a:extLst>
                </p:cNvPr>
                <p:cNvSpPr>
                  <a:spLocks noChangeAspect="1"/>
                </p:cNvSpPr>
                <p:nvPr/>
              </p:nvSpPr>
              <p:spPr>
                <a:xfrm>
                  <a:off x="6093409" y="288089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19" name="Oval 4518">
                  <a:extLst>
                    <a:ext uri="{FF2B5EF4-FFF2-40B4-BE49-F238E27FC236}">
                      <a16:creationId xmlns:a16="http://schemas.microsoft.com/office/drawing/2014/main" id="{CB700F00-5CF8-612D-904D-023DF984D2C6}"/>
                    </a:ext>
                  </a:extLst>
                </p:cNvPr>
                <p:cNvSpPr>
                  <a:spLocks noChangeAspect="1"/>
                </p:cNvSpPr>
                <p:nvPr/>
              </p:nvSpPr>
              <p:spPr>
                <a:xfrm>
                  <a:off x="5929995" y="286746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20" name="Oval 4519">
                  <a:extLst>
                    <a:ext uri="{FF2B5EF4-FFF2-40B4-BE49-F238E27FC236}">
                      <a16:creationId xmlns:a16="http://schemas.microsoft.com/office/drawing/2014/main" id="{D5CA8883-8055-CE77-8A63-3FEE55FF90A7}"/>
                    </a:ext>
                  </a:extLst>
                </p:cNvPr>
                <p:cNvSpPr>
                  <a:spLocks noChangeAspect="1"/>
                </p:cNvSpPr>
                <p:nvPr/>
              </p:nvSpPr>
              <p:spPr>
                <a:xfrm>
                  <a:off x="5774880" y="286630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21" name="Oval 4520">
                  <a:extLst>
                    <a:ext uri="{FF2B5EF4-FFF2-40B4-BE49-F238E27FC236}">
                      <a16:creationId xmlns:a16="http://schemas.microsoft.com/office/drawing/2014/main" id="{98A2CFED-7D5A-762E-9136-232F8CEB883A}"/>
                    </a:ext>
                  </a:extLst>
                </p:cNvPr>
                <p:cNvSpPr>
                  <a:spLocks noChangeAspect="1"/>
                </p:cNvSpPr>
                <p:nvPr/>
              </p:nvSpPr>
              <p:spPr>
                <a:xfrm>
                  <a:off x="5623919" y="287194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22" name="Oval 4521">
                  <a:extLst>
                    <a:ext uri="{FF2B5EF4-FFF2-40B4-BE49-F238E27FC236}">
                      <a16:creationId xmlns:a16="http://schemas.microsoft.com/office/drawing/2014/main" id="{E7E275FC-75AD-C10C-AAE8-ABD9CDDBE88D}"/>
                    </a:ext>
                  </a:extLst>
                </p:cNvPr>
                <p:cNvSpPr>
                  <a:spLocks noChangeAspect="1"/>
                </p:cNvSpPr>
                <p:nvPr/>
              </p:nvSpPr>
              <p:spPr>
                <a:xfrm>
                  <a:off x="5482530" y="288089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23" name="Oval 4522">
                  <a:extLst>
                    <a:ext uri="{FF2B5EF4-FFF2-40B4-BE49-F238E27FC236}">
                      <a16:creationId xmlns:a16="http://schemas.microsoft.com/office/drawing/2014/main" id="{153587C9-0FD5-364A-63C6-B5D99FE34E04}"/>
                    </a:ext>
                  </a:extLst>
                </p:cNvPr>
                <p:cNvSpPr>
                  <a:spLocks noChangeAspect="1"/>
                </p:cNvSpPr>
                <p:nvPr/>
              </p:nvSpPr>
              <p:spPr>
                <a:xfrm>
                  <a:off x="5333021" y="286686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24" name="Oval 4523">
                  <a:extLst>
                    <a:ext uri="{FF2B5EF4-FFF2-40B4-BE49-F238E27FC236}">
                      <a16:creationId xmlns:a16="http://schemas.microsoft.com/office/drawing/2014/main" id="{8936F06C-FE3D-6E8D-BD43-EB31CC102FF9}"/>
                    </a:ext>
                  </a:extLst>
                </p:cNvPr>
                <p:cNvSpPr>
                  <a:spLocks noChangeAspect="1"/>
                </p:cNvSpPr>
                <p:nvPr/>
              </p:nvSpPr>
              <p:spPr>
                <a:xfrm>
                  <a:off x="5164001" y="286630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25" name="Oval 4524">
                  <a:extLst>
                    <a:ext uri="{FF2B5EF4-FFF2-40B4-BE49-F238E27FC236}">
                      <a16:creationId xmlns:a16="http://schemas.microsoft.com/office/drawing/2014/main" id="{736043E9-EAF3-CEED-26A1-82753E8C315D}"/>
                    </a:ext>
                  </a:extLst>
                </p:cNvPr>
                <p:cNvSpPr>
                  <a:spLocks noChangeAspect="1"/>
                </p:cNvSpPr>
                <p:nvPr/>
              </p:nvSpPr>
              <p:spPr>
                <a:xfrm>
                  <a:off x="5015939" y="287388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26" name="Oval 4525">
                  <a:extLst>
                    <a:ext uri="{FF2B5EF4-FFF2-40B4-BE49-F238E27FC236}">
                      <a16:creationId xmlns:a16="http://schemas.microsoft.com/office/drawing/2014/main" id="{CEF0C669-E14A-4D52-7161-F27D59A8ADE7}"/>
                    </a:ext>
                  </a:extLst>
                </p:cNvPr>
                <p:cNvSpPr>
                  <a:spLocks noChangeAspect="1"/>
                </p:cNvSpPr>
                <p:nvPr/>
              </p:nvSpPr>
              <p:spPr>
                <a:xfrm>
                  <a:off x="4871661" y="288089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27" name="Oval 4526">
                  <a:extLst>
                    <a:ext uri="{FF2B5EF4-FFF2-40B4-BE49-F238E27FC236}">
                      <a16:creationId xmlns:a16="http://schemas.microsoft.com/office/drawing/2014/main" id="{799149C0-453F-91B5-5ED3-DE17D550A82B}"/>
                    </a:ext>
                  </a:extLst>
                </p:cNvPr>
                <p:cNvSpPr>
                  <a:spLocks noChangeAspect="1"/>
                </p:cNvSpPr>
                <p:nvPr/>
              </p:nvSpPr>
              <p:spPr>
                <a:xfrm>
                  <a:off x="4726207" y="288089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28" name="Oval 4527">
                  <a:extLst>
                    <a:ext uri="{FF2B5EF4-FFF2-40B4-BE49-F238E27FC236}">
                      <a16:creationId xmlns:a16="http://schemas.microsoft.com/office/drawing/2014/main" id="{796EF69F-4618-3B64-BE4B-8C5B1A9719F6}"/>
                    </a:ext>
                  </a:extLst>
                </p:cNvPr>
                <p:cNvSpPr>
                  <a:spLocks noChangeAspect="1"/>
                </p:cNvSpPr>
                <p:nvPr/>
              </p:nvSpPr>
              <p:spPr>
                <a:xfrm>
                  <a:off x="4560207" y="286746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29" name="Oval 4528">
                  <a:extLst>
                    <a:ext uri="{FF2B5EF4-FFF2-40B4-BE49-F238E27FC236}">
                      <a16:creationId xmlns:a16="http://schemas.microsoft.com/office/drawing/2014/main" id="{9165B746-7A3B-CEA1-1A2A-F4EE298E3431}"/>
                    </a:ext>
                  </a:extLst>
                </p:cNvPr>
                <p:cNvSpPr>
                  <a:spLocks noChangeAspect="1"/>
                </p:cNvSpPr>
                <p:nvPr/>
              </p:nvSpPr>
              <p:spPr>
                <a:xfrm>
                  <a:off x="4407672" y="286630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30" name="Oval 4529">
                  <a:extLst>
                    <a:ext uri="{FF2B5EF4-FFF2-40B4-BE49-F238E27FC236}">
                      <a16:creationId xmlns:a16="http://schemas.microsoft.com/office/drawing/2014/main" id="{07B93B88-8030-5945-2430-DA2DABF14454}"/>
                    </a:ext>
                  </a:extLst>
                </p:cNvPr>
                <p:cNvSpPr>
                  <a:spLocks noChangeAspect="1"/>
                </p:cNvSpPr>
                <p:nvPr/>
              </p:nvSpPr>
              <p:spPr>
                <a:xfrm>
                  <a:off x="4256705" y="286808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31" name="Oval 4530">
                  <a:extLst>
                    <a:ext uri="{FF2B5EF4-FFF2-40B4-BE49-F238E27FC236}">
                      <a16:creationId xmlns:a16="http://schemas.microsoft.com/office/drawing/2014/main" id="{32884F13-5977-3991-A84D-5C2229CFB18B}"/>
                    </a:ext>
                  </a:extLst>
                </p:cNvPr>
                <p:cNvSpPr>
                  <a:spLocks noChangeAspect="1"/>
                </p:cNvSpPr>
                <p:nvPr/>
              </p:nvSpPr>
              <p:spPr>
                <a:xfrm>
                  <a:off x="4115329" y="288089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32" name="Oval 4531">
                  <a:extLst>
                    <a:ext uri="{FF2B5EF4-FFF2-40B4-BE49-F238E27FC236}">
                      <a16:creationId xmlns:a16="http://schemas.microsoft.com/office/drawing/2014/main" id="{FE37CCA0-D509-AE94-F12A-EADEA6D16053}"/>
                    </a:ext>
                  </a:extLst>
                </p:cNvPr>
                <p:cNvSpPr>
                  <a:spLocks noChangeAspect="1"/>
                </p:cNvSpPr>
                <p:nvPr/>
              </p:nvSpPr>
              <p:spPr>
                <a:xfrm>
                  <a:off x="3969883" y="288089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33" name="Oval 4532">
                  <a:extLst>
                    <a:ext uri="{FF2B5EF4-FFF2-40B4-BE49-F238E27FC236}">
                      <a16:creationId xmlns:a16="http://schemas.microsoft.com/office/drawing/2014/main" id="{0C9CB068-9C73-DF28-F89D-9734377D1064}"/>
                    </a:ext>
                  </a:extLst>
                </p:cNvPr>
                <p:cNvSpPr>
                  <a:spLocks noChangeAspect="1"/>
                </p:cNvSpPr>
                <p:nvPr/>
              </p:nvSpPr>
              <p:spPr>
                <a:xfrm>
                  <a:off x="3796796" y="286630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34" name="Oval 4533">
                  <a:extLst>
                    <a:ext uri="{FF2B5EF4-FFF2-40B4-BE49-F238E27FC236}">
                      <a16:creationId xmlns:a16="http://schemas.microsoft.com/office/drawing/2014/main" id="{53219430-13B4-1417-FFEB-3D72E0109F3C}"/>
                    </a:ext>
                  </a:extLst>
                </p:cNvPr>
                <p:cNvSpPr>
                  <a:spLocks noChangeAspect="1"/>
                </p:cNvSpPr>
                <p:nvPr/>
              </p:nvSpPr>
              <p:spPr>
                <a:xfrm>
                  <a:off x="3648737" y="287388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35" name="Oval 4534">
                  <a:extLst>
                    <a:ext uri="{FF2B5EF4-FFF2-40B4-BE49-F238E27FC236}">
                      <a16:creationId xmlns:a16="http://schemas.microsoft.com/office/drawing/2014/main" id="{FDA28306-5467-3F93-9C2A-6A52F77402CC}"/>
                    </a:ext>
                  </a:extLst>
                </p:cNvPr>
                <p:cNvSpPr>
                  <a:spLocks noChangeAspect="1"/>
                </p:cNvSpPr>
                <p:nvPr/>
              </p:nvSpPr>
              <p:spPr>
                <a:xfrm>
                  <a:off x="8358314" y="303800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36" name="Oval 4535">
                  <a:extLst>
                    <a:ext uri="{FF2B5EF4-FFF2-40B4-BE49-F238E27FC236}">
                      <a16:creationId xmlns:a16="http://schemas.microsoft.com/office/drawing/2014/main" id="{1FE08C1C-BADF-AA09-349A-5F3982B20EDA}"/>
                    </a:ext>
                  </a:extLst>
                </p:cNvPr>
                <p:cNvSpPr>
                  <a:spLocks noChangeAspect="1"/>
                </p:cNvSpPr>
                <p:nvPr/>
              </p:nvSpPr>
              <p:spPr>
                <a:xfrm>
                  <a:off x="8212848"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37" name="Oval 4536">
                  <a:extLst>
                    <a:ext uri="{FF2B5EF4-FFF2-40B4-BE49-F238E27FC236}">
                      <a16:creationId xmlns:a16="http://schemas.microsoft.com/office/drawing/2014/main" id="{ECB3AB8F-CF33-D449-946D-47A1CEC6232C}"/>
                    </a:ext>
                  </a:extLst>
                </p:cNvPr>
                <p:cNvSpPr>
                  <a:spLocks noChangeAspect="1"/>
                </p:cNvSpPr>
                <p:nvPr/>
              </p:nvSpPr>
              <p:spPr>
                <a:xfrm>
                  <a:off x="7903249"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38" name="Oval 4537">
                  <a:extLst>
                    <a:ext uri="{FF2B5EF4-FFF2-40B4-BE49-F238E27FC236}">
                      <a16:creationId xmlns:a16="http://schemas.microsoft.com/office/drawing/2014/main" id="{20BAEA50-38A5-C79F-B4F4-583D2F5B95D7}"/>
                    </a:ext>
                  </a:extLst>
                </p:cNvPr>
                <p:cNvSpPr>
                  <a:spLocks noChangeAspect="1"/>
                </p:cNvSpPr>
                <p:nvPr/>
              </p:nvSpPr>
              <p:spPr>
                <a:xfrm>
                  <a:off x="7292378"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39" name="Oval 4538">
                  <a:extLst>
                    <a:ext uri="{FF2B5EF4-FFF2-40B4-BE49-F238E27FC236}">
                      <a16:creationId xmlns:a16="http://schemas.microsoft.com/office/drawing/2014/main" id="{EB3F62B4-E6AA-364F-7F4F-2170FAD6E0A0}"/>
                    </a:ext>
                  </a:extLst>
                </p:cNvPr>
                <p:cNvSpPr>
                  <a:spLocks noChangeAspect="1"/>
                </p:cNvSpPr>
                <p:nvPr/>
              </p:nvSpPr>
              <p:spPr>
                <a:xfrm>
                  <a:off x="7136566"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40" name="Oval 4539">
                  <a:extLst>
                    <a:ext uri="{FF2B5EF4-FFF2-40B4-BE49-F238E27FC236}">
                      <a16:creationId xmlns:a16="http://schemas.microsoft.com/office/drawing/2014/main" id="{46B9F2A9-DC4E-967B-A968-546A72EBF482}"/>
                    </a:ext>
                  </a:extLst>
                </p:cNvPr>
                <p:cNvSpPr>
                  <a:spLocks noChangeAspect="1"/>
                </p:cNvSpPr>
                <p:nvPr/>
              </p:nvSpPr>
              <p:spPr>
                <a:xfrm>
                  <a:off x="6991100" y="303800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41" name="Oval 4540">
                  <a:extLst>
                    <a:ext uri="{FF2B5EF4-FFF2-40B4-BE49-F238E27FC236}">
                      <a16:creationId xmlns:a16="http://schemas.microsoft.com/office/drawing/2014/main" id="{1A115E77-5AF6-72FC-A4C2-C72EFA30F8CE}"/>
                    </a:ext>
                  </a:extLst>
                </p:cNvPr>
                <p:cNvSpPr>
                  <a:spLocks noChangeAspect="1"/>
                </p:cNvSpPr>
                <p:nvPr/>
              </p:nvSpPr>
              <p:spPr>
                <a:xfrm>
                  <a:off x="6845668"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42" name="Oval 4541">
                  <a:extLst>
                    <a:ext uri="{FF2B5EF4-FFF2-40B4-BE49-F238E27FC236}">
                      <a16:creationId xmlns:a16="http://schemas.microsoft.com/office/drawing/2014/main" id="{89EF660E-E2D3-982C-5C0A-EC3FA38CBCD2}"/>
                    </a:ext>
                  </a:extLst>
                </p:cNvPr>
                <p:cNvSpPr>
                  <a:spLocks noChangeAspect="1"/>
                </p:cNvSpPr>
                <p:nvPr/>
              </p:nvSpPr>
              <p:spPr>
                <a:xfrm>
                  <a:off x="6700201"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43" name="Oval 4542">
                  <a:extLst>
                    <a:ext uri="{FF2B5EF4-FFF2-40B4-BE49-F238E27FC236}">
                      <a16:creationId xmlns:a16="http://schemas.microsoft.com/office/drawing/2014/main" id="{2B9E79BF-F501-8204-2762-32B81B8FE582}"/>
                    </a:ext>
                  </a:extLst>
                </p:cNvPr>
                <p:cNvSpPr>
                  <a:spLocks noChangeAspect="1"/>
                </p:cNvSpPr>
                <p:nvPr/>
              </p:nvSpPr>
              <p:spPr>
                <a:xfrm>
                  <a:off x="6536054"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44" name="Oval 4543">
                  <a:extLst>
                    <a:ext uri="{FF2B5EF4-FFF2-40B4-BE49-F238E27FC236}">
                      <a16:creationId xmlns:a16="http://schemas.microsoft.com/office/drawing/2014/main" id="{392AA646-28E0-7B54-37B8-9F344D110E2A}"/>
                    </a:ext>
                  </a:extLst>
                </p:cNvPr>
                <p:cNvSpPr>
                  <a:spLocks noChangeAspect="1"/>
                </p:cNvSpPr>
                <p:nvPr/>
              </p:nvSpPr>
              <p:spPr>
                <a:xfrm>
                  <a:off x="6380243" y="303800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45" name="Oval 4544">
                  <a:extLst>
                    <a:ext uri="{FF2B5EF4-FFF2-40B4-BE49-F238E27FC236}">
                      <a16:creationId xmlns:a16="http://schemas.microsoft.com/office/drawing/2014/main" id="{DC6A08E8-748E-7DAC-6597-5D9F6CBE5FDC}"/>
                    </a:ext>
                  </a:extLst>
                </p:cNvPr>
                <p:cNvSpPr>
                  <a:spLocks noChangeAspect="1"/>
                </p:cNvSpPr>
                <p:nvPr/>
              </p:nvSpPr>
              <p:spPr>
                <a:xfrm>
                  <a:off x="6234777"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46" name="Oval 4545">
                  <a:extLst>
                    <a:ext uri="{FF2B5EF4-FFF2-40B4-BE49-F238E27FC236}">
                      <a16:creationId xmlns:a16="http://schemas.microsoft.com/office/drawing/2014/main" id="{EDA3867F-DDF9-8B0A-9684-F05CBDFFAB7F}"/>
                    </a:ext>
                  </a:extLst>
                </p:cNvPr>
                <p:cNvSpPr>
                  <a:spLocks noChangeAspect="1"/>
                </p:cNvSpPr>
                <p:nvPr/>
              </p:nvSpPr>
              <p:spPr>
                <a:xfrm>
                  <a:off x="6089344"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47" name="Oval 4546">
                  <a:extLst>
                    <a:ext uri="{FF2B5EF4-FFF2-40B4-BE49-F238E27FC236}">
                      <a16:creationId xmlns:a16="http://schemas.microsoft.com/office/drawing/2014/main" id="{4876B57F-D756-892F-9081-C90F517D10A9}"/>
                    </a:ext>
                  </a:extLst>
                </p:cNvPr>
                <p:cNvSpPr>
                  <a:spLocks noChangeAspect="1"/>
                </p:cNvSpPr>
                <p:nvPr/>
              </p:nvSpPr>
              <p:spPr>
                <a:xfrm>
                  <a:off x="5929995"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48" name="Oval 4547">
                  <a:extLst>
                    <a:ext uri="{FF2B5EF4-FFF2-40B4-BE49-F238E27FC236}">
                      <a16:creationId xmlns:a16="http://schemas.microsoft.com/office/drawing/2014/main" id="{39F2A96A-A7C0-9B8F-1CD8-58225B8E121B}"/>
                    </a:ext>
                  </a:extLst>
                </p:cNvPr>
                <p:cNvSpPr>
                  <a:spLocks noChangeAspect="1"/>
                </p:cNvSpPr>
                <p:nvPr/>
              </p:nvSpPr>
              <p:spPr>
                <a:xfrm>
                  <a:off x="5769352"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49" name="Oval 4548">
                  <a:extLst>
                    <a:ext uri="{FF2B5EF4-FFF2-40B4-BE49-F238E27FC236}">
                      <a16:creationId xmlns:a16="http://schemas.microsoft.com/office/drawing/2014/main" id="{BB8CAA25-3E45-B049-606E-2208DF8DD054}"/>
                    </a:ext>
                  </a:extLst>
                </p:cNvPr>
                <p:cNvSpPr>
                  <a:spLocks noChangeAspect="1"/>
                </p:cNvSpPr>
                <p:nvPr/>
              </p:nvSpPr>
              <p:spPr>
                <a:xfrm>
                  <a:off x="5623919" y="303800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50" name="Oval 4549">
                  <a:extLst>
                    <a:ext uri="{FF2B5EF4-FFF2-40B4-BE49-F238E27FC236}">
                      <a16:creationId xmlns:a16="http://schemas.microsoft.com/office/drawing/2014/main" id="{91FAB6D7-8301-4346-9B1F-0A7B2BCB39B5}"/>
                    </a:ext>
                  </a:extLst>
                </p:cNvPr>
                <p:cNvSpPr>
                  <a:spLocks noChangeAspect="1"/>
                </p:cNvSpPr>
                <p:nvPr/>
              </p:nvSpPr>
              <p:spPr>
                <a:xfrm>
                  <a:off x="5478453"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51" name="Oval 4550">
                  <a:extLst>
                    <a:ext uri="{FF2B5EF4-FFF2-40B4-BE49-F238E27FC236}">
                      <a16:creationId xmlns:a16="http://schemas.microsoft.com/office/drawing/2014/main" id="{0ACD3B30-ADCF-ACEE-A378-7530D8864B5B}"/>
                    </a:ext>
                  </a:extLst>
                </p:cNvPr>
                <p:cNvSpPr>
                  <a:spLocks noChangeAspect="1"/>
                </p:cNvSpPr>
                <p:nvPr/>
              </p:nvSpPr>
              <p:spPr>
                <a:xfrm>
                  <a:off x="5333021"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52" name="Oval 4551">
                  <a:extLst>
                    <a:ext uri="{FF2B5EF4-FFF2-40B4-BE49-F238E27FC236}">
                      <a16:creationId xmlns:a16="http://schemas.microsoft.com/office/drawing/2014/main" id="{D2186084-9E3D-3B66-ACF6-8293CF91B01F}"/>
                    </a:ext>
                  </a:extLst>
                </p:cNvPr>
                <p:cNvSpPr>
                  <a:spLocks noChangeAspect="1"/>
                </p:cNvSpPr>
                <p:nvPr/>
              </p:nvSpPr>
              <p:spPr>
                <a:xfrm>
                  <a:off x="5158461"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53" name="Oval 4552">
                  <a:extLst>
                    <a:ext uri="{FF2B5EF4-FFF2-40B4-BE49-F238E27FC236}">
                      <a16:creationId xmlns:a16="http://schemas.microsoft.com/office/drawing/2014/main" id="{2C54A393-BA24-BE3D-607A-59C3C1733448}"/>
                    </a:ext>
                  </a:extLst>
                </p:cNvPr>
                <p:cNvSpPr>
                  <a:spLocks noChangeAspect="1"/>
                </p:cNvSpPr>
                <p:nvPr/>
              </p:nvSpPr>
              <p:spPr>
                <a:xfrm>
                  <a:off x="5013029" y="303800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54" name="Oval 4553">
                  <a:extLst>
                    <a:ext uri="{FF2B5EF4-FFF2-40B4-BE49-F238E27FC236}">
                      <a16:creationId xmlns:a16="http://schemas.microsoft.com/office/drawing/2014/main" id="{0A09D5B2-7DCB-22E7-AD16-4900AF495F96}"/>
                    </a:ext>
                  </a:extLst>
                </p:cNvPr>
                <p:cNvSpPr>
                  <a:spLocks noChangeAspect="1"/>
                </p:cNvSpPr>
                <p:nvPr/>
              </p:nvSpPr>
              <p:spPr>
                <a:xfrm>
                  <a:off x="4867596"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55" name="Oval 4554">
                  <a:extLst>
                    <a:ext uri="{FF2B5EF4-FFF2-40B4-BE49-F238E27FC236}">
                      <a16:creationId xmlns:a16="http://schemas.microsoft.com/office/drawing/2014/main" id="{C519EC8E-EC19-B7BD-3001-EF1359813DD2}"/>
                    </a:ext>
                  </a:extLst>
                </p:cNvPr>
                <p:cNvSpPr>
                  <a:spLocks noChangeAspect="1"/>
                </p:cNvSpPr>
                <p:nvPr/>
              </p:nvSpPr>
              <p:spPr>
                <a:xfrm>
                  <a:off x="4722130"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56" name="Oval 4555">
                  <a:extLst>
                    <a:ext uri="{FF2B5EF4-FFF2-40B4-BE49-F238E27FC236}">
                      <a16:creationId xmlns:a16="http://schemas.microsoft.com/office/drawing/2014/main" id="{CA628FD9-6924-8A12-2EE9-AF4C163BF47A}"/>
                    </a:ext>
                  </a:extLst>
                </p:cNvPr>
                <p:cNvSpPr>
                  <a:spLocks noChangeAspect="1"/>
                </p:cNvSpPr>
                <p:nvPr/>
              </p:nvSpPr>
              <p:spPr>
                <a:xfrm>
                  <a:off x="4557975"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57" name="Oval 4556">
                  <a:extLst>
                    <a:ext uri="{FF2B5EF4-FFF2-40B4-BE49-F238E27FC236}">
                      <a16:creationId xmlns:a16="http://schemas.microsoft.com/office/drawing/2014/main" id="{40278108-3DD5-0889-BB11-D29A80E6ED5C}"/>
                    </a:ext>
                  </a:extLst>
                </p:cNvPr>
                <p:cNvSpPr>
                  <a:spLocks noChangeAspect="1"/>
                </p:cNvSpPr>
                <p:nvPr/>
              </p:nvSpPr>
              <p:spPr>
                <a:xfrm>
                  <a:off x="4402155"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58" name="Oval 4557">
                  <a:extLst>
                    <a:ext uri="{FF2B5EF4-FFF2-40B4-BE49-F238E27FC236}">
                      <a16:creationId xmlns:a16="http://schemas.microsoft.com/office/drawing/2014/main" id="{EA124F12-ACCD-FCC6-0490-3A9BC3A9218E}"/>
                    </a:ext>
                  </a:extLst>
                </p:cNvPr>
                <p:cNvSpPr>
                  <a:spLocks noChangeAspect="1"/>
                </p:cNvSpPr>
                <p:nvPr/>
              </p:nvSpPr>
              <p:spPr>
                <a:xfrm>
                  <a:off x="4256705" y="303800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59" name="Oval 4558">
                  <a:extLst>
                    <a:ext uri="{FF2B5EF4-FFF2-40B4-BE49-F238E27FC236}">
                      <a16:creationId xmlns:a16="http://schemas.microsoft.com/office/drawing/2014/main" id="{FA10515F-520D-1C5F-CD9C-CADAC027040B}"/>
                    </a:ext>
                  </a:extLst>
                </p:cNvPr>
                <p:cNvSpPr>
                  <a:spLocks noChangeAspect="1"/>
                </p:cNvSpPr>
                <p:nvPr/>
              </p:nvSpPr>
              <p:spPr>
                <a:xfrm>
                  <a:off x="4111259"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60" name="Oval 4559">
                  <a:extLst>
                    <a:ext uri="{FF2B5EF4-FFF2-40B4-BE49-F238E27FC236}">
                      <a16:creationId xmlns:a16="http://schemas.microsoft.com/office/drawing/2014/main" id="{EA11D02B-4E02-93AA-5650-DA6A5B7FAE02}"/>
                    </a:ext>
                  </a:extLst>
                </p:cNvPr>
                <p:cNvSpPr>
                  <a:spLocks noChangeAspect="1"/>
                </p:cNvSpPr>
                <p:nvPr/>
              </p:nvSpPr>
              <p:spPr>
                <a:xfrm>
                  <a:off x="3965813"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61" name="Oval 4560">
                  <a:extLst>
                    <a:ext uri="{FF2B5EF4-FFF2-40B4-BE49-F238E27FC236}">
                      <a16:creationId xmlns:a16="http://schemas.microsoft.com/office/drawing/2014/main" id="{C4E85977-20B7-5756-925B-554F167E541F}"/>
                    </a:ext>
                  </a:extLst>
                </p:cNvPr>
                <p:cNvSpPr>
                  <a:spLocks noChangeAspect="1"/>
                </p:cNvSpPr>
                <p:nvPr/>
              </p:nvSpPr>
              <p:spPr>
                <a:xfrm>
                  <a:off x="3791277"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62" name="Oval 4561">
                  <a:extLst>
                    <a:ext uri="{FF2B5EF4-FFF2-40B4-BE49-F238E27FC236}">
                      <a16:creationId xmlns:a16="http://schemas.microsoft.com/office/drawing/2014/main" id="{4B781049-2455-FB56-A970-94249E9779D6}"/>
                    </a:ext>
                  </a:extLst>
                </p:cNvPr>
                <p:cNvSpPr>
                  <a:spLocks noChangeAspect="1"/>
                </p:cNvSpPr>
                <p:nvPr/>
              </p:nvSpPr>
              <p:spPr>
                <a:xfrm>
                  <a:off x="3645831" y="303800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63" name="Oval 4562">
                  <a:extLst>
                    <a:ext uri="{FF2B5EF4-FFF2-40B4-BE49-F238E27FC236}">
                      <a16:creationId xmlns:a16="http://schemas.microsoft.com/office/drawing/2014/main" id="{18543B25-3F0E-AEF3-FBA3-224A7E3A4F93}"/>
                    </a:ext>
                  </a:extLst>
                </p:cNvPr>
                <p:cNvSpPr>
                  <a:spLocks noChangeAspect="1"/>
                </p:cNvSpPr>
                <p:nvPr/>
              </p:nvSpPr>
              <p:spPr>
                <a:xfrm>
                  <a:off x="3500382"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64" name="Oval 4563">
                  <a:extLst>
                    <a:ext uri="{FF2B5EF4-FFF2-40B4-BE49-F238E27FC236}">
                      <a16:creationId xmlns:a16="http://schemas.microsoft.com/office/drawing/2014/main" id="{7E331FC5-F888-147B-8E8D-9C915AAF74BF}"/>
                    </a:ext>
                  </a:extLst>
                </p:cNvPr>
                <p:cNvSpPr>
                  <a:spLocks noChangeAspect="1"/>
                </p:cNvSpPr>
                <p:nvPr/>
              </p:nvSpPr>
              <p:spPr>
                <a:xfrm>
                  <a:off x="3354936"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65" name="Oval 4564">
                  <a:extLst>
                    <a:ext uri="{FF2B5EF4-FFF2-40B4-BE49-F238E27FC236}">
                      <a16:creationId xmlns:a16="http://schemas.microsoft.com/office/drawing/2014/main" id="{E025E5D9-CE41-8809-C6F1-5DE27D412C3B}"/>
                    </a:ext>
                  </a:extLst>
                </p:cNvPr>
                <p:cNvSpPr>
                  <a:spLocks noChangeAspect="1"/>
                </p:cNvSpPr>
                <p:nvPr/>
              </p:nvSpPr>
              <p:spPr>
                <a:xfrm>
                  <a:off x="3190774"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66" name="Oval 4565">
                  <a:extLst>
                    <a:ext uri="{FF2B5EF4-FFF2-40B4-BE49-F238E27FC236}">
                      <a16:creationId xmlns:a16="http://schemas.microsoft.com/office/drawing/2014/main" id="{06940E50-620E-63C3-CF46-9211CD978CB8}"/>
                    </a:ext>
                  </a:extLst>
                </p:cNvPr>
                <p:cNvSpPr>
                  <a:spLocks noChangeAspect="1"/>
                </p:cNvSpPr>
                <p:nvPr/>
              </p:nvSpPr>
              <p:spPr>
                <a:xfrm>
                  <a:off x="3034954"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67" name="Oval 4566">
                  <a:extLst>
                    <a:ext uri="{FF2B5EF4-FFF2-40B4-BE49-F238E27FC236}">
                      <a16:creationId xmlns:a16="http://schemas.microsoft.com/office/drawing/2014/main" id="{A3EF7BE4-5261-2E7C-5F00-AA58E7BAC69F}"/>
                    </a:ext>
                  </a:extLst>
                </p:cNvPr>
                <p:cNvSpPr>
                  <a:spLocks noChangeAspect="1"/>
                </p:cNvSpPr>
                <p:nvPr/>
              </p:nvSpPr>
              <p:spPr>
                <a:xfrm>
                  <a:off x="7142398" y="319384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68" name="Oval 4567">
                  <a:extLst>
                    <a:ext uri="{FF2B5EF4-FFF2-40B4-BE49-F238E27FC236}">
                      <a16:creationId xmlns:a16="http://schemas.microsoft.com/office/drawing/2014/main" id="{22B63D7B-60E4-8EC8-B7AE-0D539201A91F}"/>
                    </a:ext>
                  </a:extLst>
                </p:cNvPr>
                <p:cNvSpPr>
                  <a:spLocks noChangeAspect="1"/>
                </p:cNvSpPr>
                <p:nvPr/>
              </p:nvSpPr>
              <p:spPr>
                <a:xfrm>
                  <a:off x="6700201" y="317931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69" name="Oval 4568">
                  <a:extLst>
                    <a:ext uri="{FF2B5EF4-FFF2-40B4-BE49-F238E27FC236}">
                      <a16:creationId xmlns:a16="http://schemas.microsoft.com/office/drawing/2014/main" id="{22C20B6F-D18F-442F-5ED1-F99B2DF1BA1F}"/>
                    </a:ext>
                  </a:extLst>
                </p:cNvPr>
                <p:cNvSpPr>
                  <a:spLocks noChangeAspect="1"/>
                </p:cNvSpPr>
                <p:nvPr/>
              </p:nvSpPr>
              <p:spPr>
                <a:xfrm>
                  <a:off x="6531510" y="318457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70" name="Oval 4569">
                  <a:extLst>
                    <a:ext uri="{FF2B5EF4-FFF2-40B4-BE49-F238E27FC236}">
                      <a16:creationId xmlns:a16="http://schemas.microsoft.com/office/drawing/2014/main" id="{F9589FEA-4A1F-CC20-F854-F285ECBFC954}"/>
                    </a:ext>
                  </a:extLst>
                </p:cNvPr>
                <p:cNvSpPr>
                  <a:spLocks noChangeAspect="1"/>
                </p:cNvSpPr>
                <p:nvPr/>
              </p:nvSpPr>
              <p:spPr>
                <a:xfrm>
                  <a:off x="5775206" y="319384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71" name="Oval 4570">
                  <a:extLst>
                    <a:ext uri="{FF2B5EF4-FFF2-40B4-BE49-F238E27FC236}">
                      <a16:creationId xmlns:a16="http://schemas.microsoft.com/office/drawing/2014/main" id="{30FD9377-AC5B-32B3-9CA7-E08D3B340682}"/>
                    </a:ext>
                  </a:extLst>
                </p:cNvPr>
                <p:cNvSpPr>
                  <a:spLocks noChangeAspect="1"/>
                </p:cNvSpPr>
                <p:nvPr/>
              </p:nvSpPr>
              <p:spPr>
                <a:xfrm>
                  <a:off x="4408000" y="319384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72" name="Oval 4571">
                  <a:extLst>
                    <a:ext uri="{FF2B5EF4-FFF2-40B4-BE49-F238E27FC236}">
                      <a16:creationId xmlns:a16="http://schemas.microsoft.com/office/drawing/2014/main" id="{457036D7-3325-09AE-28B4-1570DA7CF905}"/>
                    </a:ext>
                  </a:extLst>
                </p:cNvPr>
                <p:cNvSpPr>
                  <a:spLocks noChangeAspect="1"/>
                </p:cNvSpPr>
                <p:nvPr/>
              </p:nvSpPr>
              <p:spPr>
                <a:xfrm>
                  <a:off x="4111259" y="317931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73" name="Oval 4572">
                  <a:extLst>
                    <a:ext uri="{FF2B5EF4-FFF2-40B4-BE49-F238E27FC236}">
                      <a16:creationId xmlns:a16="http://schemas.microsoft.com/office/drawing/2014/main" id="{43C3E815-D4C6-119B-0A3C-A0F999ABB9F3}"/>
                    </a:ext>
                  </a:extLst>
                </p:cNvPr>
                <p:cNvSpPr>
                  <a:spLocks noChangeAspect="1"/>
                </p:cNvSpPr>
                <p:nvPr/>
              </p:nvSpPr>
              <p:spPr>
                <a:xfrm>
                  <a:off x="3797123" y="319384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74" name="Oval 4573">
                  <a:extLst>
                    <a:ext uri="{FF2B5EF4-FFF2-40B4-BE49-F238E27FC236}">
                      <a16:creationId xmlns:a16="http://schemas.microsoft.com/office/drawing/2014/main" id="{689F6301-E818-D6AA-7C23-705452A55587}"/>
                    </a:ext>
                  </a:extLst>
                </p:cNvPr>
                <p:cNvSpPr>
                  <a:spLocks noChangeAspect="1"/>
                </p:cNvSpPr>
                <p:nvPr/>
              </p:nvSpPr>
              <p:spPr>
                <a:xfrm>
                  <a:off x="3645831" y="318329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75" name="Oval 4574">
                  <a:extLst>
                    <a:ext uri="{FF2B5EF4-FFF2-40B4-BE49-F238E27FC236}">
                      <a16:creationId xmlns:a16="http://schemas.microsoft.com/office/drawing/2014/main" id="{89626037-7875-E708-AB87-D7479DF56DD4}"/>
                    </a:ext>
                  </a:extLst>
                </p:cNvPr>
                <p:cNvSpPr>
                  <a:spLocks noChangeAspect="1"/>
                </p:cNvSpPr>
                <p:nvPr/>
              </p:nvSpPr>
              <p:spPr>
                <a:xfrm>
                  <a:off x="8212544" y="317931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76" name="Oval 4575">
                  <a:extLst>
                    <a:ext uri="{FF2B5EF4-FFF2-40B4-BE49-F238E27FC236}">
                      <a16:creationId xmlns:a16="http://schemas.microsoft.com/office/drawing/2014/main" id="{0196C224-1554-7B58-C3E8-08065A79F2D9}"/>
                    </a:ext>
                  </a:extLst>
                </p:cNvPr>
                <p:cNvSpPr>
                  <a:spLocks noChangeAspect="1"/>
                </p:cNvSpPr>
                <p:nvPr/>
              </p:nvSpPr>
              <p:spPr>
                <a:xfrm>
                  <a:off x="7899512" y="317931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77" name="Oval 4576">
                  <a:extLst>
                    <a:ext uri="{FF2B5EF4-FFF2-40B4-BE49-F238E27FC236}">
                      <a16:creationId xmlns:a16="http://schemas.microsoft.com/office/drawing/2014/main" id="{89E23ECC-8B7F-87D9-15DB-5866EC732720}"/>
                    </a:ext>
                  </a:extLst>
                </p:cNvPr>
                <p:cNvSpPr>
                  <a:spLocks noChangeAspect="1"/>
                </p:cNvSpPr>
                <p:nvPr/>
              </p:nvSpPr>
              <p:spPr>
                <a:xfrm>
                  <a:off x="7456221" y="317931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78" name="Oval 4577">
                  <a:extLst>
                    <a:ext uri="{FF2B5EF4-FFF2-40B4-BE49-F238E27FC236}">
                      <a16:creationId xmlns:a16="http://schemas.microsoft.com/office/drawing/2014/main" id="{AF9465B8-C10C-F0AC-CCE1-008C4B4A3223}"/>
                    </a:ext>
                  </a:extLst>
                </p:cNvPr>
                <p:cNvSpPr>
                  <a:spLocks noChangeAspect="1"/>
                </p:cNvSpPr>
                <p:nvPr/>
              </p:nvSpPr>
              <p:spPr>
                <a:xfrm>
                  <a:off x="7297191" y="317931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79" name="Oval 4578">
                  <a:extLst>
                    <a:ext uri="{FF2B5EF4-FFF2-40B4-BE49-F238E27FC236}">
                      <a16:creationId xmlns:a16="http://schemas.microsoft.com/office/drawing/2014/main" id="{733BF259-96C9-F01D-AE71-01DDA99775F7}"/>
                    </a:ext>
                  </a:extLst>
                </p:cNvPr>
                <p:cNvSpPr>
                  <a:spLocks noChangeAspect="1"/>
                </p:cNvSpPr>
                <p:nvPr/>
              </p:nvSpPr>
              <p:spPr>
                <a:xfrm>
                  <a:off x="6991100" y="317973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80" name="Oval 4579">
                  <a:extLst>
                    <a:ext uri="{FF2B5EF4-FFF2-40B4-BE49-F238E27FC236}">
                      <a16:creationId xmlns:a16="http://schemas.microsoft.com/office/drawing/2014/main" id="{8C9C784D-D17B-6647-2923-E1528185DF8E}"/>
                    </a:ext>
                  </a:extLst>
                </p:cNvPr>
                <p:cNvSpPr>
                  <a:spLocks noChangeAspect="1"/>
                </p:cNvSpPr>
                <p:nvPr/>
              </p:nvSpPr>
              <p:spPr>
                <a:xfrm>
                  <a:off x="6845353" y="317931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81" name="Oval 4580">
                  <a:extLst>
                    <a:ext uri="{FF2B5EF4-FFF2-40B4-BE49-F238E27FC236}">
                      <a16:creationId xmlns:a16="http://schemas.microsoft.com/office/drawing/2014/main" id="{E19F9562-1F0B-6E9E-A587-BB9FCAA9C5A4}"/>
                    </a:ext>
                  </a:extLst>
                </p:cNvPr>
                <p:cNvSpPr>
                  <a:spLocks noChangeAspect="1"/>
                </p:cNvSpPr>
                <p:nvPr/>
              </p:nvSpPr>
              <p:spPr>
                <a:xfrm>
                  <a:off x="6382441" y="318158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82" name="Oval 4581">
                  <a:extLst>
                    <a:ext uri="{FF2B5EF4-FFF2-40B4-BE49-F238E27FC236}">
                      <a16:creationId xmlns:a16="http://schemas.microsoft.com/office/drawing/2014/main" id="{BBD2E419-3512-45B5-9FA1-5BE27F29218C}"/>
                    </a:ext>
                  </a:extLst>
                </p:cNvPr>
                <p:cNvSpPr>
                  <a:spLocks noChangeAspect="1"/>
                </p:cNvSpPr>
                <p:nvPr/>
              </p:nvSpPr>
              <p:spPr>
                <a:xfrm>
                  <a:off x="6234472" y="317931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83" name="Oval 4582">
                  <a:extLst>
                    <a:ext uri="{FF2B5EF4-FFF2-40B4-BE49-F238E27FC236}">
                      <a16:creationId xmlns:a16="http://schemas.microsoft.com/office/drawing/2014/main" id="{B1CDE491-47B7-42F3-3F3B-57ACA05E9EA4}"/>
                    </a:ext>
                  </a:extLst>
                </p:cNvPr>
                <p:cNvSpPr>
                  <a:spLocks noChangeAspect="1"/>
                </p:cNvSpPr>
                <p:nvPr/>
              </p:nvSpPr>
              <p:spPr>
                <a:xfrm>
                  <a:off x="6089029" y="317931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84" name="Oval 4583">
                  <a:extLst>
                    <a:ext uri="{FF2B5EF4-FFF2-40B4-BE49-F238E27FC236}">
                      <a16:creationId xmlns:a16="http://schemas.microsoft.com/office/drawing/2014/main" id="{E37232A6-7745-52B1-51CF-B9D3CD280336}"/>
                    </a:ext>
                  </a:extLst>
                </p:cNvPr>
                <p:cNvSpPr>
                  <a:spLocks noChangeAspect="1"/>
                </p:cNvSpPr>
                <p:nvPr/>
              </p:nvSpPr>
              <p:spPr>
                <a:xfrm>
                  <a:off x="5932113" y="317931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85" name="Oval 4584">
                  <a:extLst>
                    <a:ext uri="{FF2B5EF4-FFF2-40B4-BE49-F238E27FC236}">
                      <a16:creationId xmlns:a16="http://schemas.microsoft.com/office/drawing/2014/main" id="{8D1E9C44-6591-BCE9-0BDB-02C15AB42219}"/>
                    </a:ext>
                  </a:extLst>
                </p:cNvPr>
                <p:cNvSpPr>
                  <a:spLocks noChangeAspect="1"/>
                </p:cNvSpPr>
                <p:nvPr/>
              </p:nvSpPr>
              <p:spPr>
                <a:xfrm>
                  <a:off x="5623919" y="317973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86" name="Oval 4585">
                  <a:extLst>
                    <a:ext uri="{FF2B5EF4-FFF2-40B4-BE49-F238E27FC236}">
                      <a16:creationId xmlns:a16="http://schemas.microsoft.com/office/drawing/2014/main" id="{DF7B0C6D-EFC2-05B0-E432-6B51A10F6950}"/>
                    </a:ext>
                  </a:extLst>
                </p:cNvPr>
                <p:cNvSpPr>
                  <a:spLocks noChangeAspect="1"/>
                </p:cNvSpPr>
                <p:nvPr/>
              </p:nvSpPr>
              <p:spPr>
                <a:xfrm>
                  <a:off x="5478149" y="317931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87" name="Oval 4586">
                  <a:extLst>
                    <a:ext uri="{FF2B5EF4-FFF2-40B4-BE49-F238E27FC236}">
                      <a16:creationId xmlns:a16="http://schemas.microsoft.com/office/drawing/2014/main" id="{A14C83B6-74E2-A20E-5307-339B7166547E}"/>
                    </a:ext>
                  </a:extLst>
                </p:cNvPr>
                <p:cNvSpPr>
                  <a:spLocks noChangeAspect="1"/>
                </p:cNvSpPr>
                <p:nvPr/>
              </p:nvSpPr>
              <p:spPr>
                <a:xfrm>
                  <a:off x="5332706" y="317931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88" name="Oval 4587">
                  <a:extLst>
                    <a:ext uri="{FF2B5EF4-FFF2-40B4-BE49-F238E27FC236}">
                      <a16:creationId xmlns:a16="http://schemas.microsoft.com/office/drawing/2014/main" id="{B5F437F0-1C51-4E60-9089-A14ECD0B7402}"/>
                    </a:ext>
                  </a:extLst>
                </p:cNvPr>
                <p:cNvSpPr>
                  <a:spLocks noChangeAspect="1"/>
                </p:cNvSpPr>
                <p:nvPr/>
              </p:nvSpPr>
              <p:spPr>
                <a:xfrm>
                  <a:off x="5167225" y="317931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89" name="Oval 4588">
                  <a:extLst>
                    <a:ext uri="{FF2B5EF4-FFF2-40B4-BE49-F238E27FC236}">
                      <a16:creationId xmlns:a16="http://schemas.microsoft.com/office/drawing/2014/main" id="{5AFE29D4-62BE-F945-7E29-D2117ED2B7C8}"/>
                    </a:ext>
                  </a:extLst>
                </p:cNvPr>
                <p:cNvSpPr>
                  <a:spLocks noChangeAspect="1"/>
                </p:cNvSpPr>
                <p:nvPr/>
              </p:nvSpPr>
              <p:spPr>
                <a:xfrm>
                  <a:off x="5015227" y="318158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90" name="Oval 4589">
                  <a:extLst>
                    <a:ext uri="{FF2B5EF4-FFF2-40B4-BE49-F238E27FC236}">
                      <a16:creationId xmlns:a16="http://schemas.microsoft.com/office/drawing/2014/main" id="{7AAC7704-06B6-0B5A-0B6A-321156BC8B1F}"/>
                    </a:ext>
                  </a:extLst>
                </p:cNvPr>
                <p:cNvSpPr>
                  <a:spLocks noChangeAspect="1"/>
                </p:cNvSpPr>
                <p:nvPr/>
              </p:nvSpPr>
              <p:spPr>
                <a:xfrm>
                  <a:off x="4867281" y="317931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91" name="Oval 4590">
                  <a:extLst>
                    <a:ext uri="{FF2B5EF4-FFF2-40B4-BE49-F238E27FC236}">
                      <a16:creationId xmlns:a16="http://schemas.microsoft.com/office/drawing/2014/main" id="{4B647766-7856-2FFA-BF8A-2E15CACD1442}"/>
                    </a:ext>
                  </a:extLst>
                </p:cNvPr>
                <p:cNvSpPr>
                  <a:spLocks noChangeAspect="1"/>
                </p:cNvSpPr>
                <p:nvPr/>
              </p:nvSpPr>
              <p:spPr>
                <a:xfrm>
                  <a:off x="4721826" y="317931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92" name="Oval 4591">
                  <a:extLst>
                    <a:ext uri="{FF2B5EF4-FFF2-40B4-BE49-F238E27FC236}">
                      <a16:creationId xmlns:a16="http://schemas.microsoft.com/office/drawing/2014/main" id="{22F3D541-0A05-E0E4-1E94-5D8064DEAD50}"/>
                    </a:ext>
                  </a:extLst>
                </p:cNvPr>
                <p:cNvSpPr>
                  <a:spLocks noChangeAspect="1"/>
                </p:cNvSpPr>
                <p:nvPr/>
              </p:nvSpPr>
              <p:spPr>
                <a:xfrm>
                  <a:off x="4556349" y="317931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93" name="Oval 4592">
                  <a:extLst>
                    <a:ext uri="{FF2B5EF4-FFF2-40B4-BE49-F238E27FC236}">
                      <a16:creationId xmlns:a16="http://schemas.microsoft.com/office/drawing/2014/main" id="{B396BE02-E058-F2DE-ED0A-3298ABBA23A9}"/>
                    </a:ext>
                  </a:extLst>
                </p:cNvPr>
                <p:cNvSpPr>
                  <a:spLocks noChangeAspect="1"/>
                </p:cNvSpPr>
                <p:nvPr/>
              </p:nvSpPr>
              <p:spPr>
                <a:xfrm>
                  <a:off x="4256705" y="317973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94" name="Oval 4593">
                  <a:extLst>
                    <a:ext uri="{FF2B5EF4-FFF2-40B4-BE49-F238E27FC236}">
                      <a16:creationId xmlns:a16="http://schemas.microsoft.com/office/drawing/2014/main" id="{F73C8CC5-E406-0370-0409-C55BDFAE094B}"/>
                    </a:ext>
                  </a:extLst>
                </p:cNvPr>
                <p:cNvSpPr>
                  <a:spLocks noChangeAspect="1"/>
                </p:cNvSpPr>
                <p:nvPr/>
              </p:nvSpPr>
              <p:spPr>
                <a:xfrm>
                  <a:off x="3951912" y="317931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95" name="Oval 4594">
                  <a:extLst>
                    <a:ext uri="{FF2B5EF4-FFF2-40B4-BE49-F238E27FC236}">
                      <a16:creationId xmlns:a16="http://schemas.microsoft.com/office/drawing/2014/main" id="{70378EA6-926E-5583-C7E5-98F659AB7E3B}"/>
                    </a:ext>
                  </a:extLst>
                </p:cNvPr>
                <p:cNvSpPr>
                  <a:spLocks noChangeAspect="1"/>
                </p:cNvSpPr>
                <p:nvPr/>
              </p:nvSpPr>
              <p:spPr>
                <a:xfrm>
                  <a:off x="3500074" y="317931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96" name="Oval 4595">
                  <a:extLst>
                    <a:ext uri="{FF2B5EF4-FFF2-40B4-BE49-F238E27FC236}">
                      <a16:creationId xmlns:a16="http://schemas.microsoft.com/office/drawing/2014/main" id="{CB8D2BDF-59CF-E76B-3BFA-B283FE249BB4}"/>
                    </a:ext>
                  </a:extLst>
                </p:cNvPr>
                <p:cNvSpPr>
                  <a:spLocks noChangeAspect="1"/>
                </p:cNvSpPr>
                <p:nvPr/>
              </p:nvSpPr>
              <p:spPr>
                <a:xfrm>
                  <a:off x="3354627" y="317931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97" name="Oval 4596">
                  <a:extLst>
                    <a:ext uri="{FF2B5EF4-FFF2-40B4-BE49-F238E27FC236}">
                      <a16:creationId xmlns:a16="http://schemas.microsoft.com/office/drawing/2014/main" id="{2AE9546F-FFA5-05F9-EA69-79CF1E775469}"/>
                    </a:ext>
                  </a:extLst>
                </p:cNvPr>
                <p:cNvSpPr>
                  <a:spLocks noChangeAspect="1"/>
                </p:cNvSpPr>
                <p:nvPr/>
              </p:nvSpPr>
              <p:spPr>
                <a:xfrm>
                  <a:off x="3189152" y="317931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98" name="Oval 4597">
                  <a:extLst>
                    <a:ext uri="{FF2B5EF4-FFF2-40B4-BE49-F238E27FC236}">
                      <a16:creationId xmlns:a16="http://schemas.microsoft.com/office/drawing/2014/main" id="{40A09B37-2906-20E8-14A6-80868D3AE5E5}"/>
                    </a:ext>
                  </a:extLst>
                </p:cNvPr>
                <p:cNvSpPr>
                  <a:spLocks noChangeAspect="1"/>
                </p:cNvSpPr>
                <p:nvPr/>
              </p:nvSpPr>
              <p:spPr>
                <a:xfrm>
                  <a:off x="3040471" y="318628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99" name="Oval 4598">
                  <a:extLst>
                    <a:ext uri="{FF2B5EF4-FFF2-40B4-BE49-F238E27FC236}">
                      <a16:creationId xmlns:a16="http://schemas.microsoft.com/office/drawing/2014/main" id="{23EAFB73-094D-6B36-09A0-D54471F48861}"/>
                    </a:ext>
                  </a:extLst>
                </p:cNvPr>
                <p:cNvSpPr>
                  <a:spLocks noChangeAspect="1"/>
                </p:cNvSpPr>
                <p:nvPr/>
              </p:nvSpPr>
              <p:spPr>
                <a:xfrm>
                  <a:off x="8212672" y="332475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00" name="Oval 4599">
                  <a:extLst>
                    <a:ext uri="{FF2B5EF4-FFF2-40B4-BE49-F238E27FC236}">
                      <a16:creationId xmlns:a16="http://schemas.microsoft.com/office/drawing/2014/main" id="{FC6D9C63-DC5F-9147-10E3-C2536BC16F28}"/>
                    </a:ext>
                  </a:extLst>
                </p:cNvPr>
                <p:cNvSpPr>
                  <a:spLocks noChangeAspect="1"/>
                </p:cNvSpPr>
                <p:nvPr/>
              </p:nvSpPr>
              <p:spPr>
                <a:xfrm>
                  <a:off x="7287527" y="333173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01" name="Oval 4600">
                  <a:extLst>
                    <a:ext uri="{FF2B5EF4-FFF2-40B4-BE49-F238E27FC236}">
                      <a16:creationId xmlns:a16="http://schemas.microsoft.com/office/drawing/2014/main" id="{F13B5970-B6E0-7A8E-D30F-EF43FBA8ECA6}"/>
                    </a:ext>
                  </a:extLst>
                </p:cNvPr>
                <p:cNvSpPr>
                  <a:spLocks noChangeAspect="1"/>
                </p:cNvSpPr>
                <p:nvPr/>
              </p:nvSpPr>
              <p:spPr>
                <a:xfrm>
                  <a:off x="7142073" y="333173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02" name="Oval 4601">
                  <a:extLst>
                    <a:ext uri="{FF2B5EF4-FFF2-40B4-BE49-F238E27FC236}">
                      <a16:creationId xmlns:a16="http://schemas.microsoft.com/office/drawing/2014/main" id="{E6E8DD0A-7D62-2E68-74E4-BA08C80D13B7}"/>
                    </a:ext>
                  </a:extLst>
                </p:cNvPr>
                <p:cNvSpPr>
                  <a:spLocks noChangeAspect="1"/>
                </p:cNvSpPr>
                <p:nvPr/>
              </p:nvSpPr>
              <p:spPr>
                <a:xfrm>
                  <a:off x="6996628" y="333173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03" name="Oval 4602">
                  <a:extLst>
                    <a:ext uri="{FF2B5EF4-FFF2-40B4-BE49-F238E27FC236}">
                      <a16:creationId xmlns:a16="http://schemas.microsoft.com/office/drawing/2014/main" id="{75804993-205B-BADE-9074-A50FEDD2F868}"/>
                    </a:ext>
                  </a:extLst>
                </p:cNvPr>
                <p:cNvSpPr>
                  <a:spLocks noChangeAspect="1"/>
                </p:cNvSpPr>
                <p:nvPr/>
              </p:nvSpPr>
              <p:spPr>
                <a:xfrm>
                  <a:off x="6845668" y="332475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04" name="Oval 4603">
                  <a:extLst>
                    <a:ext uri="{FF2B5EF4-FFF2-40B4-BE49-F238E27FC236}">
                      <a16:creationId xmlns:a16="http://schemas.microsoft.com/office/drawing/2014/main" id="{DC835D3F-132F-F000-BE6F-8B6D8F15F7D0}"/>
                    </a:ext>
                  </a:extLst>
                </p:cNvPr>
                <p:cNvSpPr>
                  <a:spLocks noChangeAspect="1"/>
                </p:cNvSpPr>
                <p:nvPr/>
              </p:nvSpPr>
              <p:spPr>
                <a:xfrm>
                  <a:off x="6700201" y="332475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05" name="Oval 4604">
                  <a:extLst>
                    <a:ext uri="{FF2B5EF4-FFF2-40B4-BE49-F238E27FC236}">
                      <a16:creationId xmlns:a16="http://schemas.microsoft.com/office/drawing/2014/main" id="{23D7B2B5-EC81-E859-F394-6071B262BD77}"/>
                    </a:ext>
                  </a:extLst>
                </p:cNvPr>
                <p:cNvSpPr>
                  <a:spLocks noChangeAspect="1"/>
                </p:cNvSpPr>
                <p:nvPr/>
              </p:nvSpPr>
              <p:spPr>
                <a:xfrm>
                  <a:off x="6531204" y="333173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06" name="Oval 4605">
                  <a:extLst>
                    <a:ext uri="{FF2B5EF4-FFF2-40B4-BE49-F238E27FC236}">
                      <a16:creationId xmlns:a16="http://schemas.microsoft.com/office/drawing/2014/main" id="{60075C71-B4D7-5A54-7887-6F82480837A1}"/>
                    </a:ext>
                  </a:extLst>
                </p:cNvPr>
                <p:cNvSpPr>
                  <a:spLocks noChangeAspect="1"/>
                </p:cNvSpPr>
                <p:nvPr/>
              </p:nvSpPr>
              <p:spPr>
                <a:xfrm>
                  <a:off x="6385750" y="333173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07" name="Oval 4606">
                  <a:extLst>
                    <a:ext uri="{FF2B5EF4-FFF2-40B4-BE49-F238E27FC236}">
                      <a16:creationId xmlns:a16="http://schemas.microsoft.com/office/drawing/2014/main" id="{D5FCCD92-9883-32B3-1B83-501909B267C1}"/>
                    </a:ext>
                  </a:extLst>
                </p:cNvPr>
                <p:cNvSpPr>
                  <a:spLocks noChangeAspect="1"/>
                </p:cNvSpPr>
                <p:nvPr/>
              </p:nvSpPr>
              <p:spPr>
                <a:xfrm>
                  <a:off x="6234601" y="332475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08" name="Oval 4607">
                  <a:extLst>
                    <a:ext uri="{FF2B5EF4-FFF2-40B4-BE49-F238E27FC236}">
                      <a16:creationId xmlns:a16="http://schemas.microsoft.com/office/drawing/2014/main" id="{823B7760-3B55-D41A-0F12-30D8C8B4529F}"/>
                    </a:ext>
                  </a:extLst>
                </p:cNvPr>
                <p:cNvSpPr>
                  <a:spLocks noChangeAspect="1"/>
                </p:cNvSpPr>
                <p:nvPr/>
              </p:nvSpPr>
              <p:spPr>
                <a:xfrm>
                  <a:off x="6089344" y="332475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09" name="Oval 4608">
                  <a:extLst>
                    <a:ext uri="{FF2B5EF4-FFF2-40B4-BE49-F238E27FC236}">
                      <a16:creationId xmlns:a16="http://schemas.microsoft.com/office/drawing/2014/main" id="{6018CC48-59ED-603E-2D92-8653889B3F41}"/>
                    </a:ext>
                  </a:extLst>
                </p:cNvPr>
                <p:cNvSpPr>
                  <a:spLocks noChangeAspect="1"/>
                </p:cNvSpPr>
                <p:nvPr/>
              </p:nvSpPr>
              <p:spPr>
                <a:xfrm>
                  <a:off x="5932113" y="333173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10" name="Oval 4609">
                  <a:extLst>
                    <a:ext uri="{FF2B5EF4-FFF2-40B4-BE49-F238E27FC236}">
                      <a16:creationId xmlns:a16="http://schemas.microsoft.com/office/drawing/2014/main" id="{6EE77866-3F9C-E964-54AB-E67FB49CB410}"/>
                    </a:ext>
                  </a:extLst>
                </p:cNvPr>
                <p:cNvSpPr>
                  <a:spLocks noChangeAspect="1"/>
                </p:cNvSpPr>
                <p:nvPr/>
              </p:nvSpPr>
              <p:spPr>
                <a:xfrm>
                  <a:off x="5774880" y="333173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11" name="Oval 4610">
                  <a:extLst>
                    <a:ext uri="{FF2B5EF4-FFF2-40B4-BE49-F238E27FC236}">
                      <a16:creationId xmlns:a16="http://schemas.microsoft.com/office/drawing/2014/main" id="{10B05939-C1BA-E014-F28C-DC3A563F828C}"/>
                    </a:ext>
                  </a:extLst>
                </p:cNvPr>
                <p:cNvSpPr>
                  <a:spLocks noChangeAspect="1"/>
                </p:cNvSpPr>
                <p:nvPr/>
              </p:nvSpPr>
              <p:spPr>
                <a:xfrm>
                  <a:off x="5622884" y="332928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12" name="Oval 4611">
                  <a:extLst>
                    <a:ext uri="{FF2B5EF4-FFF2-40B4-BE49-F238E27FC236}">
                      <a16:creationId xmlns:a16="http://schemas.microsoft.com/office/drawing/2014/main" id="{DB55FA12-D248-45B1-1C83-167C413ED03B}"/>
                    </a:ext>
                  </a:extLst>
                </p:cNvPr>
                <p:cNvSpPr>
                  <a:spLocks noChangeAspect="1"/>
                </p:cNvSpPr>
                <p:nvPr/>
              </p:nvSpPr>
              <p:spPr>
                <a:xfrm>
                  <a:off x="5478453" y="332475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13" name="Oval 4612">
                  <a:extLst>
                    <a:ext uri="{FF2B5EF4-FFF2-40B4-BE49-F238E27FC236}">
                      <a16:creationId xmlns:a16="http://schemas.microsoft.com/office/drawing/2014/main" id="{9A3565CB-35FA-5EBF-4597-4CCB435D29D0}"/>
                    </a:ext>
                  </a:extLst>
                </p:cNvPr>
                <p:cNvSpPr>
                  <a:spLocks noChangeAspect="1"/>
                </p:cNvSpPr>
                <p:nvPr/>
              </p:nvSpPr>
              <p:spPr>
                <a:xfrm>
                  <a:off x="5333021" y="333060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14" name="Oval 4613">
                  <a:extLst>
                    <a:ext uri="{FF2B5EF4-FFF2-40B4-BE49-F238E27FC236}">
                      <a16:creationId xmlns:a16="http://schemas.microsoft.com/office/drawing/2014/main" id="{CFC43DAD-8272-D246-A155-DB328F9538AD}"/>
                    </a:ext>
                  </a:extLst>
                </p:cNvPr>
                <p:cNvSpPr>
                  <a:spLocks noChangeAspect="1"/>
                </p:cNvSpPr>
                <p:nvPr/>
              </p:nvSpPr>
              <p:spPr>
                <a:xfrm>
                  <a:off x="5164001" y="333173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15" name="Oval 4614">
                  <a:extLst>
                    <a:ext uri="{FF2B5EF4-FFF2-40B4-BE49-F238E27FC236}">
                      <a16:creationId xmlns:a16="http://schemas.microsoft.com/office/drawing/2014/main" id="{71F13BD6-5E90-E1D0-4C1E-8FE9DA207473}"/>
                    </a:ext>
                  </a:extLst>
                </p:cNvPr>
                <p:cNvSpPr>
                  <a:spLocks noChangeAspect="1"/>
                </p:cNvSpPr>
                <p:nvPr/>
              </p:nvSpPr>
              <p:spPr>
                <a:xfrm>
                  <a:off x="5018557" y="333173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16" name="Oval 4615">
                  <a:extLst>
                    <a:ext uri="{FF2B5EF4-FFF2-40B4-BE49-F238E27FC236}">
                      <a16:creationId xmlns:a16="http://schemas.microsoft.com/office/drawing/2014/main" id="{4AB2E563-44B1-630B-582E-1CA892EE063C}"/>
                    </a:ext>
                  </a:extLst>
                </p:cNvPr>
                <p:cNvSpPr>
                  <a:spLocks noChangeAspect="1"/>
                </p:cNvSpPr>
                <p:nvPr/>
              </p:nvSpPr>
              <p:spPr>
                <a:xfrm>
                  <a:off x="4867401" y="332475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17" name="Oval 4616">
                  <a:extLst>
                    <a:ext uri="{FF2B5EF4-FFF2-40B4-BE49-F238E27FC236}">
                      <a16:creationId xmlns:a16="http://schemas.microsoft.com/office/drawing/2014/main" id="{6CA92CC2-6B3C-D6C2-F5C2-062F75356BCA}"/>
                    </a:ext>
                  </a:extLst>
                </p:cNvPr>
                <p:cNvSpPr>
                  <a:spLocks noChangeAspect="1"/>
                </p:cNvSpPr>
                <p:nvPr/>
              </p:nvSpPr>
              <p:spPr>
                <a:xfrm>
                  <a:off x="4722130" y="332475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18" name="Oval 4617">
                  <a:extLst>
                    <a:ext uri="{FF2B5EF4-FFF2-40B4-BE49-F238E27FC236}">
                      <a16:creationId xmlns:a16="http://schemas.microsoft.com/office/drawing/2014/main" id="{2365F38A-E5D4-4DF1-3C52-9AD90722C820}"/>
                    </a:ext>
                  </a:extLst>
                </p:cNvPr>
                <p:cNvSpPr>
                  <a:spLocks noChangeAspect="1"/>
                </p:cNvSpPr>
                <p:nvPr/>
              </p:nvSpPr>
              <p:spPr>
                <a:xfrm>
                  <a:off x="4553118" y="333173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19" name="Oval 4618">
                  <a:extLst>
                    <a:ext uri="{FF2B5EF4-FFF2-40B4-BE49-F238E27FC236}">
                      <a16:creationId xmlns:a16="http://schemas.microsoft.com/office/drawing/2014/main" id="{9E0BDD70-EFA3-1344-6CB3-6131BC96D287}"/>
                    </a:ext>
                  </a:extLst>
                </p:cNvPr>
                <p:cNvSpPr>
                  <a:spLocks noChangeAspect="1"/>
                </p:cNvSpPr>
                <p:nvPr/>
              </p:nvSpPr>
              <p:spPr>
                <a:xfrm>
                  <a:off x="4407672" y="333173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20" name="Oval 4619">
                  <a:extLst>
                    <a:ext uri="{FF2B5EF4-FFF2-40B4-BE49-F238E27FC236}">
                      <a16:creationId xmlns:a16="http://schemas.microsoft.com/office/drawing/2014/main" id="{1D9236B5-41F3-587F-E7FC-C324A6DADF15}"/>
                    </a:ext>
                  </a:extLst>
                </p:cNvPr>
                <p:cNvSpPr>
                  <a:spLocks noChangeAspect="1"/>
                </p:cNvSpPr>
                <p:nvPr/>
              </p:nvSpPr>
              <p:spPr>
                <a:xfrm>
                  <a:off x="4263884" y="332475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21" name="Oval 4620">
                  <a:extLst>
                    <a:ext uri="{FF2B5EF4-FFF2-40B4-BE49-F238E27FC236}">
                      <a16:creationId xmlns:a16="http://schemas.microsoft.com/office/drawing/2014/main" id="{6A197D32-0D5A-311E-63BB-094E6532D52F}"/>
                    </a:ext>
                  </a:extLst>
                </p:cNvPr>
                <p:cNvSpPr>
                  <a:spLocks noChangeAspect="1"/>
                </p:cNvSpPr>
                <p:nvPr/>
              </p:nvSpPr>
              <p:spPr>
                <a:xfrm>
                  <a:off x="4111259" y="332475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22" name="Oval 4621">
                  <a:extLst>
                    <a:ext uri="{FF2B5EF4-FFF2-40B4-BE49-F238E27FC236}">
                      <a16:creationId xmlns:a16="http://schemas.microsoft.com/office/drawing/2014/main" id="{36D93CC4-1CA7-1666-4A8E-8161831C6C35}"/>
                    </a:ext>
                  </a:extLst>
                </p:cNvPr>
                <p:cNvSpPr>
                  <a:spLocks noChangeAspect="1"/>
                </p:cNvSpPr>
                <p:nvPr/>
              </p:nvSpPr>
              <p:spPr>
                <a:xfrm>
                  <a:off x="3796796" y="333173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23" name="Oval 4622">
                  <a:extLst>
                    <a:ext uri="{FF2B5EF4-FFF2-40B4-BE49-F238E27FC236}">
                      <a16:creationId xmlns:a16="http://schemas.microsoft.com/office/drawing/2014/main" id="{F9B9AC35-CDA4-F3F3-4075-C792CB1737EB}"/>
                    </a:ext>
                  </a:extLst>
                </p:cNvPr>
                <p:cNvSpPr>
                  <a:spLocks noChangeAspect="1"/>
                </p:cNvSpPr>
                <p:nvPr/>
              </p:nvSpPr>
              <p:spPr>
                <a:xfrm>
                  <a:off x="3651349" y="333173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24" name="Oval 4623">
                  <a:extLst>
                    <a:ext uri="{FF2B5EF4-FFF2-40B4-BE49-F238E27FC236}">
                      <a16:creationId xmlns:a16="http://schemas.microsoft.com/office/drawing/2014/main" id="{B5A0C5C4-273F-2F5F-1F9C-A169FF015724}"/>
                    </a:ext>
                  </a:extLst>
                </p:cNvPr>
                <p:cNvSpPr>
                  <a:spLocks noChangeAspect="1"/>
                </p:cNvSpPr>
                <p:nvPr/>
              </p:nvSpPr>
              <p:spPr>
                <a:xfrm>
                  <a:off x="3500382" y="332475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25" name="Oval 4624">
                  <a:extLst>
                    <a:ext uri="{FF2B5EF4-FFF2-40B4-BE49-F238E27FC236}">
                      <a16:creationId xmlns:a16="http://schemas.microsoft.com/office/drawing/2014/main" id="{C39BC477-16C1-DBBF-DFAC-51CF730BB261}"/>
                    </a:ext>
                  </a:extLst>
                </p:cNvPr>
                <p:cNvSpPr>
                  <a:spLocks noChangeAspect="1"/>
                </p:cNvSpPr>
                <p:nvPr/>
              </p:nvSpPr>
              <p:spPr>
                <a:xfrm>
                  <a:off x="3354936" y="332475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26" name="Oval 4625">
                  <a:extLst>
                    <a:ext uri="{FF2B5EF4-FFF2-40B4-BE49-F238E27FC236}">
                      <a16:creationId xmlns:a16="http://schemas.microsoft.com/office/drawing/2014/main" id="{36FC46BC-C516-B8B8-2C4A-CCF686B9C7C8}"/>
                    </a:ext>
                  </a:extLst>
                </p:cNvPr>
                <p:cNvSpPr>
                  <a:spLocks noChangeAspect="1"/>
                </p:cNvSpPr>
                <p:nvPr/>
              </p:nvSpPr>
              <p:spPr>
                <a:xfrm>
                  <a:off x="3185918" y="333173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27" name="Oval 4626">
                  <a:extLst>
                    <a:ext uri="{FF2B5EF4-FFF2-40B4-BE49-F238E27FC236}">
                      <a16:creationId xmlns:a16="http://schemas.microsoft.com/office/drawing/2014/main" id="{AB06922A-03D0-C674-51C4-40A5DABDEFC7}"/>
                    </a:ext>
                  </a:extLst>
                </p:cNvPr>
                <p:cNvSpPr>
                  <a:spLocks noChangeAspect="1"/>
                </p:cNvSpPr>
                <p:nvPr/>
              </p:nvSpPr>
              <p:spPr>
                <a:xfrm>
                  <a:off x="7460602" y="349177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28" name="Oval 4627">
                  <a:extLst>
                    <a:ext uri="{FF2B5EF4-FFF2-40B4-BE49-F238E27FC236}">
                      <a16:creationId xmlns:a16="http://schemas.microsoft.com/office/drawing/2014/main" id="{01E1B4F5-5371-097F-EC40-5EB4EA29E9A2}"/>
                    </a:ext>
                  </a:extLst>
                </p:cNvPr>
                <p:cNvSpPr>
                  <a:spLocks noChangeAspect="1"/>
                </p:cNvSpPr>
                <p:nvPr/>
              </p:nvSpPr>
              <p:spPr>
                <a:xfrm>
                  <a:off x="7295277" y="348374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29" name="Oval 4628">
                  <a:extLst>
                    <a:ext uri="{FF2B5EF4-FFF2-40B4-BE49-F238E27FC236}">
                      <a16:creationId xmlns:a16="http://schemas.microsoft.com/office/drawing/2014/main" id="{3113BA87-D40F-AC64-5163-6E8192DCAD4B}"/>
                    </a:ext>
                  </a:extLst>
                </p:cNvPr>
                <p:cNvSpPr>
                  <a:spLocks noChangeAspect="1"/>
                </p:cNvSpPr>
                <p:nvPr/>
              </p:nvSpPr>
              <p:spPr>
                <a:xfrm>
                  <a:off x="7144093" y="34864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30" name="Oval 4629">
                  <a:extLst>
                    <a:ext uri="{FF2B5EF4-FFF2-40B4-BE49-F238E27FC236}">
                      <a16:creationId xmlns:a16="http://schemas.microsoft.com/office/drawing/2014/main" id="{93755C7B-A9BF-D24B-2CD4-DB248ACAEF4B}"/>
                    </a:ext>
                  </a:extLst>
                </p:cNvPr>
                <p:cNvSpPr>
                  <a:spLocks noChangeAspect="1"/>
                </p:cNvSpPr>
                <p:nvPr/>
              </p:nvSpPr>
              <p:spPr>
                <a:xfrm>
                  <a:off x="6991100" y="348347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31" name="Oval 4630">
                  <a:extLst>
                    <a:ext uri="{FF2B5EF4-FFF2-40B4-BE49-F238E27FC236}">
                      <a16:creationId xmlns:a16="http://schemas.microsoft.com/office/drawing/2014/main" id="{2DB19F4E-EAC9-0431-D1D3-E8DE5D2AC829}"/>
                    </a:ext>
                  </a:extLst>
                </p:cNvPr>
                <p:cNvSpPr>
                  <a:spLocks noChangeAspect="1"/>
                </p:cNvSpPr>
                <p:nvPr/>
              </p:nvSpPr>
              <p:spPr>
                <a:xfrm>
                  <a:off x="6849733" y="349177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32" name="Oval 4631">
                  <a:extLst>
                    <a:ext uri="{FF2B5EF4-FFF2-40B4-BE49-F238E27FC236}">
                      <a16:creationId xmlns:a16="http://schemas.microsoft.com/office/drawing/2014/main" id="{939E47DD-792C-E8A8-4DD0-0EDDD4FB5947}"/>
                    </a:ext>
                  </a:extLst>
                </p:cNvPr>
                <p:cNvSpPr>
                  <a:spLocks noChangeAspect="1"/>
                </p:cNvSpPr>
                <p:nvPr/>
              </p:nvSpPr>
              <p:spPr>
                <a:xfrm>
                  <a:off x="6704278" y="349177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33" name="Oval 4632">
                  <a:extLst>
                    <a:ext uri="{FF2B5EF4-FFF2-40B4-BE49-F238E27FC236}">
                      <a16:creationId xmlns:a16="http://schemas.microsoft.com/office/drawing/2014/main" id="{D68F0718-293A-7979-6D44-314E8DC8DF26}"/>
                    </a:ext>
                  </a:extLst>
                </p:cNvPr>
                <p:cNvSpPr>
                  <a:spLocks noChangeAspect="1"/>
                </p:cNvSpPr>
                <p:nvPr/>
              </p:nvSpPr>
              <p:spPr>
                <a:xfrm>
                  <a:off x="6533811" y="348280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34" name="Oval 4633">
                  <a:extLst>
                    <a:ext uri="{FF2B5EF4-FFF2-40B4-BE49-F238E27FC236}">
                      <a16:creationId xmlns:a16="http://schemas.microsoft.com/office/drawing/2014/main" id="{A93E7678-0AD7-FA46-5A16-E58A5D03E4B1}"/>
                    </a:ext>
                  </a:extLst>
                </p:cNvPr>
                <p:cNvSpPr>
                  <a:spLocks noChangeAspect="1"/>
                </p:cNvSpPr>
                <p:nvPr/>
              </p:nvSpPr>
              <p:spPr>
                <a:xfrm>
                  <a:off x="6380243" y="348280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35" name="Oval 4634">
                  <a:extLst>
                    <a:ext uri="{FF2B5EF4-FFF2-40B4-BE49-F238E27FC236}">
                      <a16:creationId xmlns:a16="http://schemas.microsoft.com/office/drawing/2014/main" id="{4E581196-CE29-A681-F8E9-5932A058541C}"/>
                    </a:ext>
                  </a:extLst>
                </p:cNvPr>
                <p:cNvSpPr>
                  <a:spLocks noChangeAspect="1"/>
                </p:cNvSpPr>
                <p:nvPr/>
              </p:nvSpPr>
              <p:spPr>
                <a:xfrm>
                  <a:off x="6238854" y="349177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36" name="Oval 4635">
                  <a:extLst>
                    <a:ext uri="{FF2B5EF4-FFF2-40B4-BE49-F238E27FC236}">
                      <a16:creationId xmlns:a16="http://schemas.microsoft.com/office/drawing/2014/main" id="{F099A4D7-AC70-1620-2A09-A257B810EB04}"/>
                    </a:ext>
                  </a:extLst>
                </p:cNvPr>
                <p:cNvSpPr>
                  <a:spLocks noChangeAspect="1"/>
                </p:cNvSpPr>
                <p:nvPr/>
              </p:nvSpPr>
              <p:spPr>
                <a:xfrm>
                  <a:off x="6093409" y="349177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37" name="Oval 4636">
                  <a:extLst>
                    <a:ext uri="{FF2B5EF4-FFF2-40B4-BE49-F238E27FC236}">
                      <a16:creationId xmlns:a16="http://schemas.microsoft.com/office/drawing/2014/main" id="{A1B80276-15DA-218A-3F05-C85D5D91FB5E}"/>
                    </a:ext>
                  </a:extLst>
                </p:cNvPr>
                <p:cNvSpPr>
                  <a:spLocks noChangeAspect="1"/>
                </p:cNvSpPr>
                <p:nvPr/>
              </p:nvSpPr>
              <p:spPr>
                <a:xfrm>
                  <a:off x="5932113" y="348374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38" name="Oval 4637">
                  <a:extLst>
                    <a:ext uri="{FF2B5EF4-FFF2-40B4-BE49-F238E27FC236}">
                      <a16:creationId xmlns:a16="http://schemas.microsoft.com/office/drawing/2014/main" id="{7AFD5635-1425-11D3-795A-F2353C6627FE}"/>
                    </a:ext>
                  </a:extLst>
                </p:cNvPr>
                <p:cNvSpPr>
                  <a:spLocks noChangeAspect="1"/>
                </p:cNvSpPr>
                <p:nvPr/>
              </p:nvSpPr>
              <p:spPr>
                <a:xfrm>
                  <a:off x="5774880" y="347717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39" name="Oval 4638">
                  <a:extLst>
                    <a:ext uri="{FF2B5EF4-FFF2-40B4-BE49-F238E27FC236}">
                      <a16:creationId xmlns:a16="http://schemas.microsoft.com/office/drawing/2014/main" id="{9DAE8E0D-F703-F6DC-558D-8312E44044F1}"/>
                    </a:ext>
                  </a:extLst>
                </p:cNvPr>
                <p:cNvSpPr>
                  <a:spLocks noChangeAspect="1"/>
                </p:cNvSpPr>
                <p:nvPr/>
              </p:nvSpPr>
              <p:spPr>
                <a:xfrm>
                  <a:off x="5623919" y="348347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40" name="Oval 4639">
                  <a:extLst>
                    <a:ext uri="{FF2B5EF4-FFF2-40B4-BE49-F238E27FC236}">
                      <a16:creationId xmlns:a16="http://schemas.microsoft.com/office/drawing/2014/main" id="{402D90F3-76FF-322D-1FA0-AF08EB864061}"/>
                    </a:ext>
                  </a:extLst>
                </p:cNvPr>
                <p:cNvSpPr>
                  <a:spLocks noChangeAspect="1"/>
                </p:cNvSpPr>
                <p:nvPr/>
              </p:nvSpPr>
              <p:spPr>
                <a:xfrm>
                  <a:off x="5482530" y="349177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41" name="Oval 4640">
                  <a:extLst>
                    <a:ext uri="{FF2B5EF4-FFF2-40B4-BE49-F238E27FC236}">
                      <a16:creationId xmlns:a16="http://schemas.microsoft.com/office/drawing/2014/main" id="{3033005C-0A1C-5A4D-3098-0BF3BAC125A1}"/>
                    </a:ext>
                  </a:extLst>
                </p:cNvPr>
                <p:cNvSpPr>
                  <a:spLocks noChangeAspect="1"/>
                </p:cNvSpPr>
                <p:nvPr/>
              </p:nvSpPr>
              <p:spPr>
                <a:xfrm>
                  <a:off x="5337086" y="349177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42" name="Oval 4641">
                  <a:extLst>
                    <a:ext uri="{FF2B5EF4-FFF2-40B4-BE49-F238E27FC236}">
                      <a16:creationId xmlns:a16="http://schemas.microsoft.com/office/drawing/2014/main" id="{CEB69C52-E24A-1F29-2787-D3D01161FEF9}"/>
                    </a:ext>
                  </a:extLst>
                </p:cNvPr>
                <p:cNvSpPr>
                  <a:spLocks noChangeAspect="1"/>
                </p:cNvSpPr>
                <p:nvPr/>
              </p:nvSpPr>
              <p:spPr>
                <a:xfrm>
                  <a:off x="5166618" y="348280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43" name="Oval 4642">
                  <a:extLst>
                    <a:ext uri="{FF2B5EF4-FFF2-40B4-BE49-F238E27FC236}">
                      <a16:creationId xmlns:a16="http://schemas.microsoft.com/office/drawing/2014/main" id="{94BC6A41-2944-9A6C-0137-45C4CCAC8F80}"/>
                    </a:ext>
                  </a:extLst>
                </p:cNvPr>
                <p:cNvSpPr>
                  <a:spLocks noChangeAspect="1"/>
                </p:cNvSpPr>
                <p:nvPr/>
              </p:nvSpPr>
              <p:spPr>
                <a:xfrm>
                  <a:off x="5013029" y="348280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44" name="Oval 4643">
                  <a:extLst>
                    <a:ext uri="{FF2B5EF4-FFF2-40B4-BE49-F238E27FC236}">
                      <a16:creationId xmlns:a16="http://schemas.microsoft.com/office/drawing/2014/main" id="{69D7FA07-14CD-6082-4C06-0217AD46E174}"/>
                    </a:ext>
                  </a:extLst>
                </p:cNvPr>
                <p:cNvSpPr>
                  <a:spLocks noChangeAspect="1"/>
                </p:cNvSpPr>
                <p:nvPr/>
              </p:nvSpPr>
              <p:spPr>
                <a:xfrm>
                  <a:off x="4871661" y="349177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45" name="Oval 4644">
                  <a:extLst>
                    <a:ext uri="{FF2B5EF4-FFF2-40B4-BE49-F238E27FC236}">
                      <a16:creationId xmlns:a16="http://schemas.microsoft.com/office/drawing/2014/main" id="{8D3DDB88-DA00-8972-22E5-B988C214FB67}"/>
                    </a:ext>
                  </a:extLst>
                </p:cNvPr>
                <p:cNvSpPr>
                  <a:spLocks noChangeAspect="1"/>
                </p:cNvSpPr>
                <p:nvPr/>
              </p:nvSpPr>
              <p:spPr>
                <a:xfrm>
                  <a:off x="4726207" y="349177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46" name="Oval 4645">
                  <a:extLst>
                    <a:ext uri="{FF2B5EF4-FFF2-40B4-BE49-F238E27FC236}">
                      <a16:creationId xmlns:a16="http://schemas.microsoft.com/office/drawing/2014/main" id="{C23DF34B-ECA8-DFB9-FDD7-9EF849E7C990}"/>
                    </a:ext>
                  </a:extLst>
                </p:cNvPr>
                <p:cNvSpPr>
                  <a:spLocks noChangeAspect="1"/>
                </p:cNvSpPr>
                <p:nvPr/>
              </p:nvSpPr>
              <p:spPr>
                <a:xfrm>
                  <a:off x="4560862" y="348374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47" name="Oval 4646">
                  <a:extLst>
                    <a:ext uri="{FF2B5EF4-FFF2-40B4-BE49-F238E27FC236}">
                      <a16:creationId xmlns:a16="http://schemas.microsoft.com/office/drawing/2014/main" id="{FE1B6792-BA46-04D6-47D7-47326038C460}"/>
                    </a:ext>
                  </a:extLst>
                </p:cNvPr>
                <p:cNvSpPr>
                  <a:spLocks noChangeAspect="1"/>
                </p:cNvSpPr>
                <p:nvPr/>
              </p:nvSpPr>
              <p:spPr>
                <a:xfrm>
                  <a:off x="4402155" y="348280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48" name="Oval 4647">
                  <a:extLst>
                    <a:ext uri="{FF2B5EF4-FFF2-40B4-BE49-F238E27FC236}">
                      <a16:creationId xmlns:a16="http://schemas.microsoft.com/office/drawing/2014/main" id="{36B8F31A-1B84-D122-0C25-7F65E5674307}"/>
                    </a:ext>
                  </a:extLst>
                </p:cNvPr>
                <p:cNvSpPr>
                  <a:spLocks noChangeAspect="1"/>
                </p:cNvSpPr>
                <p:nvPr/>
              </p:nvSpPr>
              <p:spPr>
                <a:xfrm>
                  <a:off x="4256705" y="348347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49" name="Oval 4648">
                  <a:extLst>
                    <a:ext uri="{FF2B5EF4-FFF2-40B4-BE49-F238E27FC236}">
                      <a16:creationId xmlns:a16="http://schemas.microsoft.com/office/drawing/2014/main" id="{3453436B-EC5A-4741-E6EF-611908BA6181}"/>
                    </a:ext>
                  </a:extLst>
                </p:cNvPr>
                <p:cNvSpPr>
                  <a:spLocks noChangeAspect="1"/>
                </p:cNvSpPr>
                <p:nvPr/>
              </p:nvSpPr>
              <p:spPr>
                <a:xfrm>
                  <a:off x="4115329" y="349177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50" name="Oval 4649">
                  <a:extLst>
                    <a:ext uri="{FF2B5EF4-FFF2-40B4-BE49-F238E27FC236}">
                      <a16:creationId xmlns:a16="http://schemas.microsoft.com/office/drawing/2014/main" id="{7E619F81-E5E4-17A1-9B61-40E145A89656}"/>
                    </a:ext>
                  </a:extLst>
                </p:cNvPr>
                <p:cNvSpPr>
                  <a:spLocks noChangeAspect="1"/>
                </p:cNvSpPr>
                <p:nvPr/>
              </p:nvSpPr>
              <p:spPr>
                <a:xfrm>
                  <a:off x="3796796" y="347717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51" name="Oval 4650">
                  <a:extLst>
                    <a:ext uri="{FF2B5EF4-FFF2-40B4-BE49-F238E27FC236}">
                      <a16:creationId xmlns:a16="http://schemas.microsoft.com/office/drawing/2014/main" id="{CC08B61E-4B11-8F95-657B-2C67265803B5}"/>
                    </a:ext>
                  </a:extLst>
                </p:cNvPr>
                <p:cNvSpPr>
                  <a:spLocks noChangeAspect="1"/>
                </p:cNvSpPr>
                <p:nvPr/>
              </p:nvSpPr>
              <p:spPr>
                <a:xfrm>
                  <a:off x="3645831" y="348280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52" name="Oval 4651">
                  <a:extLst>
                    <a:ext uri="{FF2B5EF4-FFF2-40B4-BE49-F238E27FC236}">
                      <a16:creationId xmlns:a16="http://schemas.microsoft.com/office/drawing/2014/main" id="{0CFBD004-9BF7-D56C-9FF5-670CB332E346}"/>
                    </a:ext>
                  </a:extLst>
                </p:cNvPr>
                <p:cNvSpPr>
                  <a:spLocks noChangeAspect="1"/>
                </p:cNvSpPr>
                <p:nvPr/>
              </p:nvSpPr>
              <p:spPr>
                <a:xfrm>
                  <a:off x="3504452" y="349177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53" name="Oval 4652">
                  <a:extLst>
                    <a:ext uri="{FF2B5EF4-FFF2-40B4-BE49-F238E27FC236}">
                      <a16:creationId xmlns:a16="http://schemas.microsoft.com/office/drawing/2014/main" id="{A6978F61-ECD2-C5CF-F0E7-A2BA2680163E}"/>
                    </a:ext>
                  </a:extLst>
                </p:cNvPr>
                <p:cNvSpPr>
                  <a:spLocks noChangeAspect="1"/>
                </p:cNvSpPr>
                <p:nvPr/>
              </p:nvSpPr>
              <p:spPr>
                <a:xfrm>
                  <a:off x="3359006" y="349177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54" name="Oval 4653">
                  <a:extLst>
                    <a:ext uri="{FF2B5EF4-FFF2-40B4-BE49-F238E27FC236}">
                      <a16:creationId xmlns:a16="http://schemas.microsoft.com/office/drawing/2014/main" id="{790B778C-0D0B-9C00-9207-00CF5C8395FE}"/>
                    </a:ext>
                  </a:extLst>
                </p:cNvPr>
                <p:cNvSpPr>
                  <a:spLocks noChangeAspect="1"/>
                </p:cNvSpPr>
                <p:nvPr/>
              </p:nvSpPr>
              <p:spPr>
                <a:xfrm>
                  <a:off x="3188538" y="348280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55" name="Oval 4654">
                  <a:extLst>
                    <a:ext uri="{FF2B5EF4-FFF2-40B4-BE49-F238E27FC236}">
                      <a16:creationId xmlns:a16="http://schemas.microsoft.com/office/drawing/2014/main" id="{56F7D0DC-AD9D-F069-7F30-8F4CF971E315}"/>
                    </a:ext>
                  </a:extLst>
                </p:cNvPr>
                <p:cNvSpPr>
                  <a:spLocks noChangeAspect="1"/>
                </p:cNvSpPr>
                <p:nvPr/>
              </p:nvSpPr>
              <p:spPr>
                <a:xfrm>
                  <a:off x="6991100" y="364888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56" name="Oval 4655">
                  <a:extLst>
                    <a:ext uri="{FF2B5EF4-FFF2-40B4-BE49-F238E27FC236}">
                      <a16:creationId xmlns:a16="http://schemas.microsoft.com/office/drawing/2014/main" id="{1A932B46-1ABB-D177-76C2-D8AE640E0FE6}"/>
                    </a:ext>
                  </a:extLst>
                </p:cNvPr>
                <p:cNvSpPr>
                  <a:spLocks noChangeAspect="1"/>
                </p:cNvSpPr>
                <p:nvPr/>
              </p:nvSpPr>
              <p:spPr>
                <a:xfrm>
                  <a:off x="6845668" y="364474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57" name="Oval 4656">
                  <a:extLst>
                    <a:ext uri="{FF2B5EF4-FFF2-40B4-BE49-F238E27FC236}">
                      <a16:creationId xmlns:a16="http://schemas.microsoft.com/office/drawing/2014/main" id="{66513B44-3CFA-0175-F5D9-5C1DE5C2B5F6}"/>
                    </a:ext>
                  </a:extLst>
                </p:cNvPr>
                <p:cNvSpPr>
                  <a:spLocks noChangeAspect="1"/>
                </p:cNvSpPr>
                <p:nvPr/>
              </p:nvSpPr>
              <p:spPr>
                <a:xfrm>
                  <a:off x="6700201" y="364474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58" name="Oval 4657">
                  <a:extLst>
                    <a:ext uri="{FF2B5EF4-FFF2-40B4-BE49-F238E27FC236}">
                      <a16:creationId xmlns:a16="http://schemas.microsoft.com/office/drawing/2014/main" id="{8BD16371-7D93-AEC9-C342-3736525EF6E6}"/>
                    </a:ext>
                  </a:extLst>
                </p:cNvPr>
                <p:cNvSpPr>
                  <a:spLocks noChangeAspect="1"/>
                </p:cNvSpPr>
                <p:nvPr/>
              </p:nvSpPr>
              <p:spPr>
                <a:xfrm>
                  <a:off x="6536054" y="364474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59" name="Oval 4658">
                  <a:extLst>
                    <a:ext uri="{FF2B5EF4-FFF2-40B4-BE49-F238E27FC236}">
                      <a16:creationId xmlns:a16="http://schemas.microsoft.com/office/drawing/2014/main" id="{BD45DEDB-4763-266C-85C6-2990ED3FD4E1}"/>
                    </a:ext>
                  </a:extLst>
                </p:cNvPr>
                <p:cNvSpPr>
                  <a:spLocks noChangeAspect="1"/>
                </p:cNvSpPr>
                <p:nvPr/>
              </p:nvSpPr>
              <p:spPr>
                <a:xfrm>
                  <a:off x="6380243" y="364872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60" name="Oval 4659">
                  <a:extLst>
                    <a:ext uri="{FF2B5EF4-FFF2-40B4-BE49-F238E27FC236}">
                      <a16:creationId xmlns:a16="http://schemas.microsoft.com/office/drawing/2014/main" id="{E85694DF-0897-C17D-D066-11E5BB9A3D51}"/>
                    </a:ext>
                  </a:extLst>
                </p:cNvPr>
                <p:cNvSpPr>
                  <a:spLocks noChangeAspect="1"/>
                </p:cNvSpPr>
                <p:nvPr/>
              </p:nvSpPr>
              <p:spPr>
                <a:xfrm>
                  <a:off x="6234777" y="364474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61" name="Oval 4660">
                  <a:extLst>
                    <a:ext uri="{FF2B5EF4-FFF2-40B4-BE49-F238E27FC236}">
                      <a16:creationId xmlns:a16="http://schemas.microsoft.com/office/drawing/2014/main" id="{FAC1A0C5-05D4-17F7-53AA-88CA803D948B}"/>
                    </a:ext>
                  </a:extLst>
                </p:cNvPr>
                <p:cNvSpPr>
                  <a:spLocks noChangeAspect="1"/>
                </p:cNvSpPr>
                <p:nvPr/>
              </p:nvSpPr>
              <p:spPr>
                <a:xfrm>
                  <a:off x="6089344" y="364474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62" name="Oval 4661">
                  <a:extLst>
                    <a:ext uri="{FF2B5EF4-FFF2-40B4-BE49-F238E27FC236}">
                      <a16:creationId xmlns:a16="http://schemas.microsoft.com/office/drawing/2014/main" id="{54BD7A83-3DF5-5D89-5D48-5471BFDE11FB}"/>
                    </a:ext>
                  </a:extLst>
                </p:cNvPr>
                <p:cNvSpPr>
                  <a:spLocks noChangeAspect="1"/>
                </p:cNvSpPr>
                <p:nvPr/>
              </p:nvSpPr>
              <p:spPr>
                <a:xfrm>
                  <a:off x="5929348" y="364474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63" name="Oval 4662">
                  <a:extLst>
                    <a:ext uri="{FF2B5EF4-FFF2-40B4-BE49-F238E27FC236}">
                      <a16:creationId xmlns:a16="http://schemas.microsoft.com/office/drawing/2014/main" id="{1F045FBA-3F72-94B8-F530-581F1076A214}"/>
                    </a:ext>
                  </a:extLst>
                </p:cNvPr>
                <p:cNvSpPr>
                  <a:spLocks noChangeAspect="1"/>
                </p:cNvSpPr>
                <p:nvPr/>
              </p:nvSpPr>
              <p:spPr>
                <a:xfrm>
                  <a:off x="5769352" y="364474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64" name="Oval 4663">
                  <a:extLst>
                    <a:ext uri="{FF2B5EF4-FFF2-40B4-BE49-F238E27FC236}">
                      <a16:creationId xmlns:a16="http://schemas.microsoft.com/office/drawing/2014/main" id="{18961FB6-316E-E63A-9DBC-EC5312873A7F}"/>
                    </a:ext>
                  </a:extLst>
                </p:cNvPr>
                <p:cNvSpPr>
                  <a:spLocks noChangeAspect="1"/>
                </p:cNvSpPr>
                <p:nvPr/>
              </p:nvSpPr>
              <p:spPr>
                <a:xfrm>
                  <a:off x="5623919" y="364888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65" name="Oval 4664">
                  <a:extLst>
                    <a:ext uri="{FF2B5EF4-FFF2-40B4-BE49-F238E27FC236}">
                      <a16:creationId xmlns:a16="http://schemas.microsoft.com/office/drawing/2014/main" id="{90D644B4-50C8-E5E4-206C-94099E70FFE2}"/>
                    </a:ext>
                  </a:extLst>
                </p:cNvPr>
                <p:cNvSpPr>
                  <a:spLocks noChangeAspect="1"/>
                </p:cNvSpPr>
                <p:nvPr/>
              </p:nvSpPr>
              <p:spPr>
                <a:xfrm>
                  <a:off x="5478453" y="364474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66" name="Oval 4665">
                  <a:extLst>
                    <a:ext uri="{FF2B5EF4-FFF2-40B4-BE49-F238E27FC236}">
                      <a16:creationId xmlns:a16="http://schemas.microsoft.com/office/drawing/2014/main" id="{1C158FF3-AF63-58A1-6523-F0E4A383EBFD}"/>
                    </a:ext>
                  </a:extLst>
                </p:cNvPr>
                <p:cNvSpPr>
                  <a:spLocks noChangeAspect="1"/>
                </p:cNvSpPr>
                <p:nvPr/>
              </p:nvSpPr>
              <p:spPr>
                <a:xfrm>
                  <a:off x="5333021" y="364474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67" name="Oval 4666">
                  <a:extLst>
                    <a:ext uri="{FF2B5EF4-FFF2-40B4-BE49-F238E27FC236}">
                      <a16:creationId xmlns:a16="http://schemas.microsoft.com/office/drawing/2014/main" id="{02CC11B2-2E54-D082-E2A7-C0889DD0B255}"/>
                    </a:ext>
                  </a:extLst>
                </p:cNvPr>
                <p:cNvSpPr>
                  <a:spLocks noChangeAspect="1"/>
                </p:cNvSpPr>
                <p:nvPr/>
              </p:nvSpPr>
              <p:spPr>
                <a:xfrm>
                  <a:off x="5164318" y="365000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68" name="Oval 4667">
                  <a:extLst>
                    <a:ext uri="{FF2B5EF4-FFF2-40B4-BE49-F238E27FC236}">
                      <a16:creationId xmlns:a16="http://schemas.microsoft.com/office/drawing/2014/main" id="{00C8DF58-BDA5-34AD-76A0-97A2D59E19B3}"/>
                    </a:ext>
                  </a:extLst>
                </p:cNvPr>
                <p:cNvSpPr>
                  <a:spLocks noChangeAspect="1"/>
                </p:cNvSpPr>
                <p:nvPr/>
              </p:nvSpPr>
              <p:spPr>
                <a:xfrm>
                  <a:off x="5013029" y="364888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69" name="Oval 4668">
                  <a:extLst>
                    <a:ext uri="{FF2B5EF4-FFF2-40B4-BE49-F238E27FC236}">
                      <a16:creationId xmlns:a16="http://schemas.microsoft.com/office/drawing/2014/main" id="{E8C703ED-94F8-23ED-E17F-C870C697DA37}"/>
                    </a:ext>
                  </a:extLst>
                </p:cNvPr>
                <p:cNvSpPr>
                  <a:spLocks noChangeAspect="1"/>
                </p:cNvSpPr>
                <p:nvPr/>
              </p:nvSpPr>
              <p:spPr>
                <a:xfrm>
                  <a:off x="4867596" y="364474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70" name="Oval 4669">
                  <a:extLst>
                    <a:ext uri="{FF2B5EF4-FFF2-40B4-BE49-F238E27FC236}">
                      <a16:creationId xmlns:a16="http://schemas.microsoft.com/office/drawing/2014/main" id="{E5B1DFC7-6DF3-C5D6-BFE0-E34B64CDF931}"/>
                    </a:ext>
                  </a:extLst>
                </p:cNvPr>
                <p:cNvSpPr>
                  <a:spLocks noChangeAspect="1"/>
                </p:cNvSpPr>
                <p:nvPr/>
              </p:nvSpPr>
              <p:spPr>
                <a:xfrm>
                  <a:off x="4722130" y="364474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71" name="Oval 4670">
                  <a:extLst>
                    <a:ext uri="{FF2B5EF4-FFF2-40B4-BE49-F238E27FC236}">
                      <a16:creationId xmlns:a16="http://schemas.microsoft.com/office/drawing/2014/main" id="{CA3DB59F-CC6D-00B4-DB23-8C1A1F00CF37}"/>
                    </a:ext>
                  </a:extLst>
                </p:cNvPr>
                <p:cNvSpPr>
                  <a:spLocks noChangeAspect="1"/>
                </p:cNvSpPr>
                <p:nvPr/>
              </p:nvSpPr>
              <p:spPr>
                <a:xfrm>
                  <a:off x="4557975" y="364474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72" name="Oval 4671">
                  <a:extLst>
                    <a:ext uri="{FF2B5EF4-FFF2-40B4-BE49-F238E27FC236}">
                      <a16:creationId xmlns:a16="http://schemas.microsoft.com/office/drawing/2014/main" id="{3F038F1F-CE3C-0341-8302-16E010F1E24C}"/>
                    </a:ext>
                  </a:extLst>
                </p:cNvPr>
                <p:cNvSpPr>
                  <a:spLocks noChangeAspect="1"/>
                </p:cNvSpPr>
                <p:nvPr/>
              </p:nvSpPr>
              <p:spPr>
                <a:xfrm>
                  <a:off x="4402155" y="364474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73" name="Oval 4672">
                  <a:extLst>
                    <a:ext uri="{FF2B5EF4-FFF2-40B4-BE49-F238E27FC236}">
                      <a16:creationId xmlns:a16="http://schemas.microsoft.com/office/drawing/2014/main" id="{2293596E-E344-22E7-B364-AD8466436567}"/>
                    </a:ext>
                  </a:extLst>
                </p:cNvPr>
                <p:cNvSpPr>
                  <a:spLocks noChangeAspect="1"/>
                </p:cNvSpPr>
                <p:nvPr/>
              </p:nvSpPr>
              <p:spPr>
                <a:xfrm>
                  <a:off x="4256705" y="364888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74" name="Oval 4673">
                  <a:extLst>
                    <a:ext uri="{FF2B5EF4-FFF2-40B4-BE49-F238E27FC236}">
                      <a16:creationId xmlns:a16="http://schemas.microsoft.com/office/drawing/2014/main" id="{F415AB50-59B8-EE17-5034-958AA10302FB}"/>
                    </a:ext>
                  </a:extLst>
                </p:cNvPr>
                <p:cNvSpPr>
                  <a:spLocks noChangeAspect="1"/>
                </p:cNvSpPr>
                <p:nvPr/>
              </p:nvSpPr>
              <p:spPr>
                <a:xfrm>
                  <a:off x="4111259" y="364474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75" name="Oval 4674">
                  <a:extLst>
                    <a:ext uri="{FF2B5EF4-FFF2-40B4-BE49-F238E27FC236}">
                      <a16:creationId xmlns:a16="http://schemas.microsoft.com/office/drawing/2014/main" id="{B7C18C42-430F-BD60-E8CD-DE3C90998D7E}"/>
                    </a:ext>
                  </a:extLst>
                </p:cNvPr>
                <p:cNvSpPr>
                  <a:spLocks noChangeAspect="1"/>
                </p:cNvSpPr>
                <p:nvPr/>
              </p:nvSpPr>
              <p:spPr>
                <a:xfrm>
                  <a:off x="3791277" y="364474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76" name="Oval 4675">
                  <a:extLst>
                    <a:ext uri="{FF2B5EF4-FFF2-40B4-BE49-F238E27FC236}">
                      <a16:creationId xmlns:a16="http://schemas.microsoft.com/office/drawing/2014/main" id="{CAA23897-319C-4FE7-6AFD-F894FD761A7F}"/>
                    </a:ext>
                  </a:extLst>
                </p:cNvPr>
                <p:cNvSpPr>
                  <a:spLocks noChangeAspect="1"/>
                </p:cNvSpPr>
                <p:nvPr/>
              </p:nvSpPr>
              <p:spPr>
                <a:xfrm>
                  <a:off x="3645831" y="364888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77" name="Oval 4676">
                  <a:extLst>
                    <a:ext uri="{FF2B5EF4-FFF2-40B4-BE49-F238E27FC236}">
                      <a16:creationId xmlns:a16="http://schemas.microsoft.com/office/drawing/2014/main" id="{2002C252-D884-652E-98B1-3463435F5706}"/>
                    </a:ext>
                  </a:extLst>
                </p:cNvPr>
                <p:cNvSpPr>
                  <a:spLocks noChangeAspect="1"/>
                </p:cNvSpPr>
                <p:nvPr/>
              </p:nvSpPr>
              <p:spPr>
                <a:xfrm>
                  <a:off x="3500382" y="364474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78" name="Oval 4677">
                  <a:extLst>
                    <a:ext uri="{FF2B5EF4-FFF2-40B4-BE49-F238E27FC236}">
                      <a16:creationId xmlns:a16="http://schemas.microsoft.com/office/drawing/2014/main" id="{E16F696B-4BBB-532F-147C-50F357601B5F}"/>
                    </a:ext>
                  </a:extLst>
                </p:cNvPr>
                <p:cNvSpPr>
                  <a:spLocks noChangeAspect="1"/>
                </p:cNvSpPr>
                <p:nvPr/>
              </p:nvSpPr>
              <p:spPr>
                <a:xfrm>
                  <a:off x="3336220" y="364474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79" name="Oval 4678">
                  <a:extLst>
                    <a:ext uri="{FF2B5EF4-FFF2-40B4-BE49-F238E27FC236}">
                      <a16:creationId xmlns:a16="http://schemas.microsoft.com/office/drawing/2014/main" id="{1B81CF01-9F2F-E8CA-E150-2F6AB81DDDA3}"/>
                    </a:ext>
                  </a:extLst>
                </p:cNvPr>
                <p:cNvSpPr>
                  <a:spLocks noChangeAspect="1"/>
                </p:cNvSpPr>
                <p:nvPr/>
              </p:nvSpPr>
              <p:spPr>
                <a:xfrm>
                  <a:off x="6990088" y="379471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80" name="Oval 4679">
                  <a:extLst>
                    <a:ext uri="{FF2B5EF4-FFF2-40B4-BE49-F238E27FC236}">
                      <a16:creationId xmlns:a16="http://schemas.microsoft.com/office/drawing/2014/main" id="{D4976B6C-470B-C4AE-7896-5648AFF15883}"/>
                    </a:ext>
                  </a:extLst>
                </p:cNvPr>
                <p:cNvSpPr>
                  <a:spLocks noChangeAspect="1"/>
                </p:cNvSpPr>
                <p:nvPr/>
              </p:nvSpPr>
              <p:spPr>
                <a:xfrm>
                  <a:off x="6845353" y="379017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81" name="Oval 4680">
                  <a:extLst>
                    <a:ext uri="{FF2B5EF4-FFF2-40B4-BE49-F238E27FC236}">
                      <a16:creationId xmlns:a16="http://schemas.microsoft.com/office/drawing/2014/main" id="{01B1DA28-F15A-DE5A-02DC-2A6654494424}"/>
                    </a:ext>
                  </a:extLst>
                </p:cNvPr>
                <p:cNvSpPr>
                  <a:spLocks noChangeAspect="1"/>
                </p:cNvSpPr>
                <p:nvPr/>
              </p:nvSpPr>
              <p:spPr>
                <a:xfrm>
                  <a:off x="6699897" y="379017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82" name="Oval 4681">
                  <a:extLst>
                    <a:ext uri="{FF2B5EF4-FFF2-40B4-BE49-F238E27FC236}">
                      <a16:creationId xmlns:a16="http://schemas.microsoft.com/office/drawing/2014/main" id="{7169C8B9-92DF-9FA0-D8F0-1A386D9B0370}"/>
                    </a:ext>
                  </a:extLst>
                </p:cNvPr>
                <p:cNvSpPr>
                  <a:spLocks noChangeAspect="1"/>
                </p:cNvSpPr>
                <p:nvPr/>
              </p:nvSpPr>
              <p:spPr>
                <a:xfrm>
                  <a:off x="6532303" y="379017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83" name="Oval 4682">
                  <a:extLst>
                    <a:ext uri="{FF2B5EF4-FFF2-40B4-BE49-F238E27FC236}">
                      <a16:creationId xmlns:a16="http://schemas.microsoft.com/office/drawing/2014/main" id="{9D805A88-BA4E-21AB-B6DF-80D060CBB80E}"/>
                    </a:ext>
                  </a:extLst>
                </p:cNvPr>
                <p:cNvSpPr>
                  <a:spLocks noChangeAspect="1"/>
                </p:cNvSpPr>
                <p:nvPr/>
              </p:nvSpPr>
              <p:spPr>
                <a:xfrm>
                  <a:off x="6379207" y="379471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84" name="Oval 4683">
                  <a:extLst>
                    <a:ext uri="{FF2B5EF4-FFF2-40B4-BE49-F238E27FC236}">
                      <a16:creationId xmlns:a16="http://schemas.microsoft.com/office/drawing/2014/main" id="{402815F5-A534-BAFE-332A-35F27D69663A}"/>
                    </a:ext>
                  </a:extLst>
                </p:cNvPr>
                <p:cNvSpPr>
                  <a:spLocks noChangeAspect="1"/>
                </p:cNvSpPr>
                <p:nvPr/>
              </p:nvSpPr>
              <p:spPr>
                <a:xfrm>
                  <a:off x="6234472" y="379017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85" name="Oval 4684">
                  <a:extLst>
                    <a:ext uri="{FF2B5EF4-FFF2-40B4-BE49-F238E27FC236}">
                      <a16:creationId xmlns:a16="http://schemas.microsoft.com/office/drawing/2014/main" id="{BE4FDCAA-FA08-BFCD-BA27-4E855FC5BED3}"/>
                    </a:ext>
                  </a:extLst>
                </p:cNvPr>
                <p:cNvSpPr>
                  <a:spLocks noChangeAspect="1"/>
                </p:cNvSpPr>
                <p:nvPr/>
              </p:nvSpPr>
              <p:spPr>
                <a:xfrm>
                  <a:off x="6089029" y="379017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86" name="Oval 4685">
                  <a:extLst>
                    <a:ext uri="{FF2B5EF4-FFF2-40B4-BE49-F238E27FC236}">
                      <a16:creationId xmlns:a16="http://schemas.microsoft.com/office/drawing/2014/main" id="{E88D7337-852A-F4B4-9292-B6F94D556858}"/>
                    </a:ext>
                  </a:extLst>
                </p:cNvPr>
                <p:cNvSpPr>
                  <a:spLocks noChangeAspect="1"/>
                </p:cNvSpPr>
                <p:nvPr/>
              </p:nvSpPr>
              <p:spPr>
                <a:xfrm>
                  <a:off x="5929348" y="379017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87" name="Oval 4686">
                  <a:extLst>
                    <a:ext uri="{FF2B5EF4-FFF2-40B4-BE49-F238E27FC236}">
                      <a16:creationId xmlns:a16="http://schemas.microsoft.com/office/drawing/2014/main" id="{3429F2AC-F1DD-A66D-CAF7-36E2BC2D1BCE}"/>
                    </a:ext>
                  </a:extLst>
                </p:cNvPr>
                <p:cNvSpPr>
                  <a:spLocks noChangeAspect="1"/>
                </p:cNvSpPr>
                <p:nvPr/>
              </p:nvSpPr>
              <p:spPr>
                <a:xfrm>
                  <a:off x="5774880" y="379715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88" name="Oval 4687">
                  <a:extLst>
                    <a:ext uri="{FF2B5EF4-FFF2-40B4-BE49-F238E27FC236}">
                      <a16:creationId xmlns:a16="http://schemas.microsoft.com/office/drawing/2014/main" id="{8C0C1418-E529-86F2-47D3-C75B060CCFCA}"/>
                    </a:ext>
                  </a:extLst>
                </p:cNvPr>
                <p:cNvSpPr>
                  <a:spLocks noChangeAspect="1"/>
                </p:cNvSpPr>
                <p:nvPr/>
              </p:nvSpPr>
              <p:spPr>
                <a:xfrm>
                  <a:off x="5626187" y="379237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89" name="Oval 4688">
                  <a:extLst>
                    <a:ext uri="{FF2B5EF4-FFF2-40B4-BE49-F238E27FC236}">
                      <a16:creationId xmlns:a16="http://schemas.microsoft.com/office/drawing/2014/main" id="{EB4DD4D6-4496-550B-833D-6F0EF09584B7}"/>
                    </a:ext>
                  </a:extLst>
                </p:cNvPr>
                <p:cNvSpPr>
                  <a:spLocks noChangeAspect="1"/>
                </p:cNvSpPr>
                <p:nvPr/>
              </p:nvSpPr>
              <p:spPr>
                <a:xfrm>
                  <a:off x="5478149" y="379017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90" name="Oval 4689">
                  <a:extLst>
                    <a:ext uri="{FF2B5EF4-FFF2-40B4-BE49-F238E27FC236}">
                      <a16:creationId xmlns:a16="http://schemas.microsoft.com/office/drawing/2014/main" id="{E01CFC7A-E21D-E86A-8FEF-CB2A879323E8}"/>
                    </a:ext>
                  </a:extLst>
                </p:cNvPr>
                <p:cNvSpPr>
                  <a:spLocks noChangeAspect="1"/>
                </p:cNvSpPr>
                <p:nvPr/>
              </p:nvSpPr>
              <p:spPr>
                <a:xfrm>
                  <a:off x="5332706" y="379017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91" name="Oval 4690">
                  <a:extLst>
                    <a:ext uri="{FF2B5EF4-FFF2-40B4-BE49-F238E27FC236}">
                      <a16:creationId xmlns:a16="http://schemas.microsoft.com/office/drawing/2014/main" id="{E31370E3-EE79-6BF3-6C9C-FDBCE6961A32}"/>
                    </a:ext>
                  </a:extLst>
                </p:cNvPr>
                <p:cNvSpPr>
                  <a:spLocks noChangeAspect="1"/>
                </p:cNvSpPr>
                <p:nvPr/>
              </p:nvSpPr>
              <p:spPr>
                <a:xfrm>
                  <a:off x="5165102" y="379017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92" name="Oval 4691">
                  <a:extLst>
                    <a:ext uri="{FF2B5EF4-FFF2-40B4-BE49-F238E27FC236}">
                      <a16:creationId xmlns:a16="http://schemas.microsoft.com/office/drawing/2014/main" id="{87C294D2-C0B7-1449-FDF3-2BA5BC5CEB15}"/>
                    </a:ext>
                  </a:extLst>
                </p:cNvPr>
                <p:cNvSpPr>
                  <a:spLocks noChangeAspect="1"/>
                </p:cNvSpPr>
                <p:nvPr/>
              </p:nvSpPr>
              <p:spPr>
                <a:xfrm>
                  <a:off x="5012002" y="379471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93" name="Oval 4692">
                  <a:extLst>
                    <a:ext uri="{FF2B5EF4-FFF2-40B4-BE49-F238E27FC236}">
                      <a16:creationId xmlns:a16="http://schemas.microsoft.com/office/drawing/2014/main" id="{77D4319E-4BF7-518D-3B44-10561D255E61}"/>
                    </a:ext>
                  </a:extLst>
                </p:cNvPr>
                <p:cNvSpPr>
                  <a:spLocks noChangeAspect="1"/>
                </p:cNvSpPr>
                <p:nvPr/>
              </p:nvSpPr>
              <p:spPr>
                <a:xfrm>
                  <a:off x="4867281" y="379017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94" name="Oval 4693">
                  <a:extLst>
                    <a:ext uri="{FF2B5EF4-FFF2-40B4-BE49-F238E27FC236}">
                      <a16:creationId xmlns:a16="http://schemas.microsoft.com/office/drawing/2014/main" id="{49B15FCF-E1E6-8D67-9933-EE8FD200B32D}"/>
                    </a:ext>
                  </a:extLst>
                </p:cNvPr>
                <p:cNvSpPr>
                  <a:spLocks noChangeAspect="1"/>
                </p:cNvSpPr>
                <p:nvPr/>
              </p:nvSpPr>
              <p:spPr>
                <a:xfrm>
                  <a:off x="4721826" y="379017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95" name="Oval 4694">
                  <a:extLst>
                    <a:ext uri="{FF2B5EF4-FFF2-40B4-BE49-F238E27FC236}">
                      <a16:creationId xmlns:a16="http://schemas.microsoft.com/office/drawing/2014/main" id="{ABF7C341-75C3-79F4-9CDE-648E689D252B}"/>
                    </a:ext>
                  </a:extLst>
                </p:cNvPr>
                <p:cNvSpPr>
                  <a:spLocks noChangeAspect="1"/>
                </p:cNvSpPr>
                <p:nvPr/>
              </p:nvSpPr>
              <p:spPr>
                <a:xfrm>
                  <a:off x="4554224" y="379017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96" name="Oval 4695">
                  <a:extLst>
                    <a:ext uri="{FF2B5EF4-FFF2-40B4-BE49-F238E27FC236}">
                      <a16:creationId xmlns:a16="http://schemas.microsoft.com/office/drawing/2014/main" id="{2B9114E2-2429-8D89-EEFC-4B5C946DAFDF}"/>
                    </a:ext>
                  </a:extLst>
                </p:cNvPr>
                <p:cNvSpPr>
                  <a:spLocks noChangeAspect="1"/>
                </p:cNvSpPr>
                <p:nvPr/>
              </p:nvSpPr>
              <p:spPr>
                <a:xfrm>
                  <a:off x="4407672" y="379715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97" name="Oval 4696">
                  <a:extLst>
                    <a:ext uri="{FF2B5EF4-FFF2-40B4-BE49-F238E27FC236}">
                      <a16:creationId xmlns:a16="http://schemas.microsoft.com/office/drawing/2014/main" id="{1C753232-0C50-9B4C-C2DA-D0F5662EE30E}"/>
                    </a:ext>
                  </a:extLst>
                </p:cNvPr>
                <p:cNvSpPr>
                  <a:spLocks noChangeAspect="1"/>
                </p:cNvSpPr>
                <p:nvPr/>
              </p:nvSpPr>
              <p:spPr>
                <a:xfrm>
                  <a:off x="4258989" y="379239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98" name="Oval 4697">
                  <a:extLst>
                    <a:ext uri="{FF2B5EF4-FFF2-40B4-BE49-F238E27FC236}">
                      <a16:creationId xmlns:a16="http://schemas.microsoft.com/office/drawing/2014/main" id="{E4DF3D2A-BD3C-11C6-61C8-8AC7A024148F}"/>
                    </a:ext>
                  </a:extLst>
                </p:cNvPr>
                <p:cNvSpPr>
                  <a:spLocks noChangeAspect="1"/>
                </p:cNvSpPr>
                <p:nvPr/>
              </p:nvSpPr>
              <p:spPr>
                <a:xfrm>
                  <a:off x="4110951" y="379017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99" name="Oval 4698">
                  <a:extLst>
                    <a:ext uri="{FF2B5EF4-FFF2-40B4-BE49-F238E27FC236}">
                      <a16:creationId xmlns:a16="http://schemas.microsoft.com/office/drawing/2014/main" id="{D1940491-C6F7-CD44-6AA3-20FCD53AB780}"/>
                    </a:ext>
                  </a:extLst>
                </p:cNvPr>
                <p:cNvSpPr>
                  <a:spLocks noChangeAspect="1"/>
                </p:cNvSpPr>
                <p:nvPr/>
              </p:nvSpPr>
              <p:spPr>
                <a:xfrm>
                  <a:off x="3644803" y="379471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00" name="Oval 4699">
                  <a:extLst>
                    <a:ext uri="{FF2B5EF4-FFF2-40B4-BE49-F238E27FC236}">
                      <a16:creationId xmlns:a16="http://schemas.microsoft.com/office/drawing/2014/main" id="{831239A0-2AC6-D784-70A0-90C6569301AF}"/>
                    </a:ext>
                  </a:extLst>
                </p:cNvPr>
                <p:cNvSpPr>
                  <a:spLocks noChangeAspect="1"/>
                </p:cNvSpPr>
                <p:nvPr/>
              </p:nvSpPr>
              <p:spPr>
                <a:xfrm>
                  <a:off x="3500074" y="379017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01" name="Oval 4700">
                  <a:extLst>
                    <a:ext uri="{FF2B5EF4-FFF2-40B4-BE49-F238E27FC236}">
                      <a16:creationId xmlns:a16="http://schemas.microsoft.com/office/drawing/2014/main" id="{659379C8-F50E-F23A-87F0-14F3334430CD}"/>
                    </a:ext>
                  </a:extLst>
                </p:cNvPr>
                <p:cNvSpPr>
                  <a:spLocks noChangeAspect="1"/>
                </p:cNvSpPr>
                <p:nvPr/>
              </p:nvSpPr>
              <p:spPr>
                <a:xfrm>
                  <a:off x="6996628" y="394260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02" name="Oval 4701">
                  <a:extLst>
                    <a:ext uri="{FF2B5EF4-FFF2-40B4-BE49-F238E27FC236}">
                      <a16:creationId xmlns:a16="http://schemas.microsoft.com/office/drawing/2014/main" id="{5A8435D9-9104-D2CB-F52F-E0FC3A50048D}"/>
                    </a:ext>
                  </a:extLst>
                </p:cNvPr>
                <p:cNvSpPr>
                  <a:spLocks noChangeAspect="1"/>
                </p:cNvSpPr>
                <p:nvPr/>
              </p:nvSpPr>
              <p:spPr>
                <a:xfrm>
                  <a:off x="6845668" y="393564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03" name="Oval 4702">
                  <a:extLst>
                    <a:ext uri="{FF2B5EF4-FFF2-40B4-BE49-F238E27FC236}">
                      <a16:creationId xmlns:a16="http://schemas.microsoft.com/office/drawing/2014/main" id="{EAFF6B12-7001-E9A0-674D-5D1A18110B43}"/>
                    </a:ext>
                  </a:extLst>
                </p:cNvPr>
                <p:cNvSpPr>
                  <a:spLocks noChangeAspect="1"/>
                </p:cNvSpPr>
                <p:nvPr/>
              </p:nvSpPr>
              <p:spPr>
                <a:xfrm>
                  <a:off x="6700201" y="394318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04" name="Oval 4703">
                  <a:extLst>
                    <a:ext uri="{FF2B5EF4-FFF2-40B4-BE49-F238E27FC236}">
                      <a16:creationId xmlns:a16="http://schemas.microsoft.com/office/drawing/2014/main" id="{B55840D8-A320-F7EB-4FD5-BDC358FC3E2C}"/>
                    </a:ext>
                  </a:extLst>
                </p:cNvPr>
                <p:cNvSpPr>
                  <a:spLocks noChangeAspect="1"/>
                </p:cNvSpPr>
                <p:nvPr/>
              </p:nvSpPr>
              <p:spPr>
                <a:xfrm>
                  <a:off x="6531204" y="394260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05" name="Oval 4704">
                  <a:extLst>
                    <a:ext uri="{FF2B5EF4-FFF2-40B4-BE49-F238E27FC236}">
                      <a16:creationId xmlns:a16="http://schemas.microsoft.com/office/drawing/2014/main" id="{1184E120-0634-E58A-A1F5-FA50DC379B22}"/>
                    </a:ext>
                  </a:extLst>
                </p:cNvPr>
                <p:cNvSpPr>
                  <a:spLocks noChangeAspect="1"/>
                </p:cNvSpPr>
                <p:nvPr/>
              </p:nvSpPr>
              <p:spPr>
                <a:xfrm>
                  <a:off x="6385750" y="394260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06" name="Oval 4705">
                  <a:extLst>
                    <a:ext uri="{FF2B5EF4-FFF2-40B4-BE49-F238E27FC236}">
                      <a16:creationId xmlns:a16="http://schemas.microsoft.com/office/drawing/2014/main" id="{0696C353-1E28-234D-A9C2-21481F9B6AB1}"/>
                    </a:ext>
                  </a:extLst>
                </p:cNvPr>
                <p:cNvSpPr>
                  <a:spLocks noChangeAspect="1"/>
                </p:cNvSpPr>
                <p:nvPr/>
              </p:nvSpPr>
              <p:spPr>
                <a:xfrm>
                  <a:off x="6238757" y="394318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07" name="Oval 4706">
                  <a:extLst>
                    <a:ext uri="{FF2B5EF4-FFF2-40B4-BE49-F238E27FC236}">
                      <a16:creationId xmlns:a16="http://schemas.microsoft.com/office/drawing/2014/main" id="{8EDEC992-23B1-B050-FFA8-FA5FDF06CE10}"/>
                    </a:ext>
                  </a:extLst>
                </p:cNvPr>
                <p:cNvSpPr>
                  <a:spLocks noChangeAspect="1"/>
                </p:cNvSpPr>
                <p:nvPr/>
              </p:nvSpPr>
              <p:spPr>
                <a:xfrm>
                  <a:off x="6089344" y="393564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08" name="Oval 4707">
                  <a:extLst>
                    <a:ext uri="{FF2B5EF4-FFF2-40B4-BE49-F238E27FC236}">
                      <a16:creationId xmlns:a16="http://schemas.microsoft.com/office/drawing/2014/main" id="{C072B0E9-677C-BF6F-F95D-EBEE2B5C2163}"/>
                    </a:ext>
                  </a:extLst>
                </p:cNvPr>
                <p:cNvSpPr>
                  <a:spLocks noChangeAspect="1"/>
                </p:cNvSpPr>
                <p:nvPr/>
              </p:nvSpPr>
              <p:spPr>
                <a:xfrm>
                  <a:off x="5929348" y="394260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09" name="Oval 4708">
                  <a:extLst>
                    <a:ext uri="{FF2B5EF4-FFF2-40B4-BE49-F238E27FC236}">
                      <a16:creationId xmlns:a16="http://schemas.microsoft.com/office/drawing/2014/main" id="{1B32CC42-ABFA-5656-B8C8-674CD7316C7F}"/>
                    </a:ext>
                  </a:extLst>
                </p:cNvPr>
                <p:cNvSpPr>
                  <a:spLocks noChangeAspect="1"/>
                </p:cNvSpPr>
                <p:nvPr/>
              </p:nvSpPr>
              <p:spPr>
                <a:xfrm>
                  <a:off x="5774880" y="394260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10" name="Oval 4709">
                  <a:extLst>
                    <a:ext uri="{FF2B5EF4-FFF2-40B4-BE49-F238E27FC236}">
                      <a16:creationId xmlns:a16="http://schemas.microsoft.com/office/drawing/2014/main" id="{A55F8501-52BE-A2C4-BBC3-7CD3A89B15E5}"/>
                    </a:ext>
                  </a:extLst>
                </p:cNvPr>
                <p:cNvSpPr>
                  <a:spLocks noChangeAspect="1"/>
                </p:cNvSpPr>
                <p:nvPr/>
              </p:nvSpPr>
              <p:spPr>
                <a:xfrm>
                  <a:off x="5629426" y="394260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11" name="Oval 4710">
                  <a:extLst>
                    <a:ext uri="{FF2B5EF4-FFF2-40B4-BE49-F238E27FC236}">
                      <a16:creationId xmlns:a16="http://schemas.microsoft.com/office/drawing/2014/main" id="{8727A923-E989-EB38-7949-2004CCDE8DF0}"/>
                    </a:ext>
                  </a:extLst>
                </p:cNvPr>
                <p:cNvSpPr>
                  <a:spLocks noChangeAspect="1"/>
                </p:cNvSpPr>
                <p:nvPr/>
              </p:nvSpPr>
              <p:spPr>
                <a:xfrm>
                  <a:off x="5478453" y="393564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12" name="Oval 4711">
                  <a:extLst>
                    <a:ext uri="{FF2B5EF4-FFF2-40B4-BE49-F238E27FC236}">
                      <a16:creationId xmlns:a16="http://schemas.microsoft.com/office/drawing/2014/main" id="{85BD8462-B4BF-F340-D241-9FD8B0C09113}"/>
                    </a:ext>
                  </a:extLst>
                </p:cNvPr>
                <p:cNvSpPr>
                  <a:spLocks noChangeAspect="1"/>
                </p:cNvSpPr>
                <p:nvPr/>
              </p:nvSpPr>
              <p:spPr>
                <a:xfrm>
                  <a:off x="5333021" y="394318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13" name="Oval 4712">
                  <a:extLst>
                    <a:ext uri="{FF2B5EF4-FFF2-40B4-BE49-F238E27FC236}">
                      <a16:creationId xmlns:a16="http://schemas.microsoft.com/office/drawing/2014/main" id="{1F2A3B6D-0721-D492-6305-34B72277C831}"/>
                    </a:ext>
                  </a:extLst>
                </p:cNvPr>
                <p:cNvSpPr>
                  <a:spLocks noChangeAspect="1"/>
                </p:cNvSpPr>
                <p:nvPr/>
              </p:nvSpPr>
              <p:spPr>
                <a:xfrm>
                  <a:off x="5164001" y="394260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14" name="Oval 4713">
                  <a:extLst>
                    <a:ext uri="{FF2B5EF4-FFF2-40B4-BE49-F238E27FC236}">
                      <a16:creationId xmlns:a16="http://schemas.microsoft.com/office/drawing/2014/main" id="{FDB20C38-9998-A9E7-5D8C-FF66ECD9D1BD}"/>
                    </a:ext>
                  </a:extLst>
                </p:cNvPr>
                <p:cNvSpPr>
                  <a:spLocks noChangeAspect="1"/>
                </p:cNvSpPr>
                <p:nvPr/>
              </p:nvSpPr>
              <p:spPr>
                <a:xfrm>
                  <a:off x="5018557" y="394260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15" name="Oval 4714">
                  <a:extLst>
                    <a:ext uri="{FF2B5EF4-FFF2-40B4-BE49-F238E27FC236}">
                      <a16:creationId xmlns:a16="http://schemas.microsoft.com/office/drawing/2014/main" id="{9E3F9602-0947-0A3E-643C-76A47D82AB82}"/>
                    </a:ext>
                  </a:extLst>
                </p:cNvPr>
                <p:cNvSpPr>
                  <a:spLocks noChangeAspect="1"/>
                </p:cNvSpPr>
                <p:nvPr/>
              </p:nvSpPr>
              <p:spPr>
                <a:xfrm>
                  <a:off x="4871575" y="394318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16" name="Oval 4715">
                  <a:extLst>
                    <a:ext uri="{FF2B5EF4-FFF2-40B4-BE49-F238E27FC236}">
                      <a16:creationId xmlns:a16="http://schemas.microsoft.com/office/drawing/2014/main" id="{A56CEAE0-6902-472B-B191-9692089B9303}"/>
                    </a:ext>
                  </a:extLst>
                </p:cNvPr>
                <p:cNvSpPr>
                  <a:spLocks noChangeAspect="1"/>
                </p:cNvSpPr>
                <p:nvPr/>
              </p:nvSpPr>
              <p:spPr>
                <a:xfrm>
                  <a:off x="4722130" y="394318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17" name="Oval 4716">
                  <a:extLst>
                    <a:ext uri="{FF2B5EF4-FFF2-40B4-BE49-F238E27FC236}">
                      <a16:creationId xmlns:a16="http://schemas.microsoft.com/office/drawing/2014/main" id="{CFCC2F56-A59A-940B-2B65-36F1343FF701}"/>
                    </a:ext>
                  </a:extLst>
                </p:cNvPr>
                <p:cNvSpPr>
                  <a:spLocks noChangeAspect="1"/>
                </p:cNvSpPr>
                <p:nvPr/>
              </p:nvSpPr>
              <p:spPr>
                <a:xfrm>
                  <a:off x="4553118" y="394260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18" name="Oval 4717">
                  <a:extLst>
                    <a:ext uri="{FF2B5EF4-FFF2-40B4-BE49-F238E27FC236}">
                      <a16:creationId xmlns:a16="http://schemas.microsoft.com/office/drawing/2014/main" id="{55C76E44-F82A-37AE-11C8-E9D1118AC055}"/>
                    </a:ext>
                  </a:extLst>
                </p:cNvPr>
                <p:cNvSpPr>
                  <a:spLocks noChangeAspect="1"/>
                </p:cNvSpPr>
                <p:nvPr/>
              </p:nvSpPr>
              <p:spPr>
                <a:xfrm>
                  <a:off x="4407672" y="394260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19" name="Oval 4718">
                  <a:extLst>
                    <a:ext uri="{FF2B5EF4-FFF2-40B4-BE49-F238E27FC236}">
                      <a16:creationId xmlns:a16="http://schemas.microsoft.com/office/drawing/2014/main" id="{580B8440-5D50-2D13-E8B9-8030FDAC2DE1}"/>
                    </a:ext>
                  </a:extLst>
                </p:cNvPr>
                <p:cNvSpPr>
                  <a:spLocks noChangeAspect="1"/>
                </p:cNvSpPr>
                <p:nvPr/>
              </p:nvSpPr>
              <p:spPr>
                <a:xfrm>
                  <a:off x="4263445" y="39417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20" name="Oval 4719">
                  <a:extLst>
                    <a:ext uri="{FF2B5EF4-FFF2-40B4-BE49-F238E27FC236}">
                      <a16:creationId xmlns:a16="http://schemas.microsoft.com/office/drawing/2014/main" id="{3FC63815-5458-47B8-DA8D-CAE7B350BCA4}"/>
                    </a:ext>
                  </a:extLst>
                </p:cNvPr>
                <p:cNvSpPr>
                  <a:spLocks noChangeAspect="1"/>
                </p:cNvSpPr>
                <p:nvPr/>
              </p:nvSpPr>
              <p:spPr>
                <a:xfrm>
                  <a:off x="4111259" y="393564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21" name="Oval 4720">
                  <a:extLst>
                    <a:ext uri="{FF2B5EF4-FFF2-40B4-BE49-F238E27FC236}">
                      <a16:creationId xmlns:a16="http://schemas.microsoft.com/office/drawing/2014/main" id="{57E2DA3B-F0C8-97C9-0CF6-B29394AACAF5}"/>
                    </a:ext>
                  </a:extLst>
                </p:cNvPr>
                <p:cNvSpPr>
                  <a:spLocks noChangeAspect="1"/>
                </p:cNvSpPr>
                <p:nvPr/>
              </p:nvSpPr>
              <p:spPr>
                <a:xfrm>
                  <a:off x="3942242" y="394260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22" name="Oval 4721">
                  <a:extLst>
                    <a:ext uri="{FF2B5EF4-FFF2-40B4-BE49-F238E27FC236}">
                      <a16:creationId xmlns:a16="http://schemas.microsoft.com/office/drawing/2014/main" id="{BCD9E379-BF38-7704-5581-109A9497CE80}"/>
                    </a:ext>
                  </a:extLst>
                </p:cNvPr>
                <p:cNvSpPr>
                  <a:spLocks noChangeAspect="1"/>
                </p:cNvSpPr>
                <p:nvPr/>
              </p:nvSpPr>
              <p:spPr>
                <a:xfrm>
                  <a:off x="6704278" y="410264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23" name="Oval 4722">
                  <a:extLst>
                    <a:ext uri="{FF2B5EF4-FFF2-40B4-BE49-F238E27FC236}">
                      <a16:creationId xmlns:a16="http://schemas.microsoft.com/office/drawing/2014/main" id="{46E4FF22-1114-3999-9C94-32DF127E8076}"/>
                    </a:ext>
                  </a:extLst>
                </p:cNvPr>
                <p:cNvSpPr>
                  <a:spLocks noChangeAspect="1"/>
                </p:cNvSpPr>
                <p:nvPr/>
              </p:nvSpPr>
              <p:spPr>
                <a:xfrm>
                  <a:off x="6525803" y="411016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24" name="Oval 4723">
                  <a:extLst>
                    <a:ext uri="{FF2B5EF4-FFF2-40B4-BE49-F238E27FC236}">
                      <a16:creationId xmlns:a16="http://schemas.microsoft.com/office/drawing/2014/main" id="{C4D0E6AD-39BB-912C-44D8-B4848056E6C3}"/>
                    </a:ext>
                  </a:extLst>
                </p:cNvPr>
                <p:cNvSpPr>
                  <a:spLocks noChangeAspect="1"/>
                </p:cNvSpPr>
                <p:nvPr/>
              </p:nvSpPr>
              <p:spPr>
                <a:xfrm>
                  <a:off x="6380243" y="409369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25" name="Oval 4724">
                  <a:extLst>
                    <a:ext uri="{FF2B5EF4-FFF2-40B4-BE49-F238E27FC236}">
                      <a16:creationId xmlns:a16="http://schemas.microsoft.com/office/drawing/2014/main" id="{81A2F280-C94C-DFF6-BC43-F0E922417692}"/>
                    </a:ext>
                  </a:extLst>
                </p:cNvPr>
                <p:cNvSpPr>
                  <a:spLocks noChangeAspect="1"/>
                </p:cNvSpPr>
                <p:nvPr/>
              </p:nvSpPr>
              <p:spPr>
                <a:xfrm>
                  <a:off x="6238854" y="410264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26" name="Oval 4725">
                  <a:extLst>
                    <a:ext uri="{FF2B5EF4-FFF2-40B4-BE49-F238E27FC236}">
                      <a16:creationId xmlns:a16="http://schemas.microsoft.com/office/drawing/2014/main" id="{C27547B5-CB71-4A70-1520-9226F69055DF}"/>
                    </a:ext>
                  </a:extLst>
                </p:cNvPr>
                <p:cNvSpPr>
                  <a:spLocks noChangeAspect="1"/>
                </p:cNvSpPr>
                <p:nvPr/>
              </p:nvSpPr>
              <p:spPr>
                <a:xfrm>
                  <a:off x="6093409" y="410264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27" name="Oval 4726">
                  <a:extLst>
                    <a:ext uri="{FF2B5EF4-FFF2-40B4-BE49-F238E27FC236}">
                      <a16:creationId xmlns:a16="http://schemas.microsoft.com/office/drawing/2014/main" id="{87BC5D8E-27B8-4785-EF8A-291FDC78F764}"/>
                    </a:ext>
                  </a:extLst>
                </p:cNvPr>
                <p:cNvSpPr>
                  <a:spLocks noChangeAspect="1"/>
                </p:cNvSpPr>
                <p:nvPr/>
              </p:nvSpPr>
              <p:spPr>
                <a:xfrm>
                  <a:off x="5929348" y="411016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28" name="Oval 4727">
                  <a:extLst>
                    <a:ext uri="{FF2B5EF4-FFF2-40B4-BE49-F238E27FC236}">
                      <a16:creationId xmlns:a16="http://schemas.microsoft.com/office/drawing/2014/main" id="{546EC92A-637D-018F-A1F6-4BBA3E9DA50B}"/>
                    </a:ext>
                  </a:extLst>
                </p:cNvPr>
                <p:cNvSpPr>
                  <a:spLocks noChangeAspect="1"/>
                </p:cNvSpPr>
                <p:nvPr/>
              </p:nvSpPr>
              <p:spPr>
                <a:xfrm>
                  <a:off x="5769525" y="411016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29" name="Oval 4728">
                  <a:extLst>
                    <a:ext uri="{FF2B5EF4-FFF2-40B4-BE49-F238E27FC236}">
                      <a16:creationId xmlns:a16="http://schemas.microsoft.com/office/drawing/2014/main" id="{1DF10646-536B-E5B9-DFA5-C592BF759557}"/>
                    </a:ext>
                  </a:extLst>
                </p:cNvPr>
                <p:cNvSpPr>
                  <a:spLocks noChangeAspect="1"/>
                </p:cNvSpPr>
                <p:nvPr/>
              </p:nvSpPr>
              <p:spPr>
                <a:xfrm>
                  <a:off x="5623919" y="409435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30" name="Oval 4729">
                  <a:extLst>
                    <a:ext uri="{FF2B5EF4-FFF2-40B4-BE49-F238E27FC236}">
                      <a16:creationId xmlns:a16="http://schemas.microsoft.com/office/drawing/2014/main" id="{7DCA1D6D-0776-C2BE-E11F-215E25A72B28}"/>
                    </a:ext>
                  </a:extLst>
                </p:cNvPr>
                <p:cNvSpPr>
                  <a:spLocks noChangeAspect="1"/>
                </p:cNvSpPr>
                <p:nvPr/>
              </p:nvSpPr>
              <p:spPr>
                <a:xfrm>
                  <a:off x="5482530" y="410264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31" name="Oval 4730">
                  <a:extLst>
                    <a:ext uri="{FF2B5EF4-FFF2-40B4-BE49-F238E27FC236}">
                      <a16:creationId xmlns:a16="http://schemas.microsoft.com/office/drawing/2014/main" id="{22621A0C-8C0C-A3E0-3221-C0C03E30F7CF}"/>
                    </a:ext>
                  </a:extLst>
                </p:cNvPr>
                <p:cNvSpPr>
                  <a:spLocks noChangeAspect="1"/>
                </p:cNvSpPr>
                <p:nvPr/>
              </p:nvSpPr>
              <p:spPr>
                <a:xfrm>
                  <a:off x="5333021" y="411016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32" name="Oval 4731">
                  <a:extLst>
                    <a:ext uri="{FF2B5EF4-FFF2-40B4-BE49-F238E27FC236}">
                      <a16:creationId xmlns:a16="http://schemas.microsoft.com/office/drawing/2014/main" id="{BE202318-03A6-803F-6172-968385B244BD}"/>
                    </a:ext>
                  </a:extLst>
                </p:cNvPr>
                <p:cNvSpPr>
                  <a:spLocks noChangeAspect="1"/>
                </p:cNvSpPr>
                <p:nvPr/>
              </p:nvSpPr>
              <p:spPr>
                <a:xfrm>
                  <a:off x="5158589" y="411016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33" name="Oval 4732">
                  <a:extLst>
                    <a:ext uri="{FF2B5EF4-FFF2-40B4-BE49-F238E27FC236}">
                      <a16:creationId xmlns:a16="http://schemas.microsoft.com/office/drawing/2014/main" id="{01F9F70E-0B8C-72AE-A529-03545957780F}"/>
                    </a:ext>
                  </a:extLst>
                </p:cNvPr>
                <p:cNvSpPr>
                  <a:spLocks noChangeAspect="1"/>
                </p:cNvSpPr>
                <p:nvPr/>
              </p:nvSpPr>
              <p:spPr>
                <a:xfrm>
                  <a:off x="5013029" y="411016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34" name="Oval 4733">
                  <a:extLst>
                    <a:ext uri="{FF2B5EF4-FFF2-40B4-BE49-F238E27FC236}">
                      <a16:creationId xmlns:a16="http://schemas.microsoft.com/office/drawing/2014/main" id="{8E7F133D-C9A3-D9A3-667E-26E57C97FBF0}"/>
                    </a:ext>
                  </a:extLst>
                </p:cNvPr>
                <p:cNvSpPr>
                  <a:spLocks noChangeAspect="1"/>
                </p:cNvSpPr>
                <p:nvPr/>
              </p:nvSpPr>
              <p:spPr>
                <a:xfrm>
                  <a:off x="4867596" y="411016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35" name="Oval 4734">
                  <a:extLst>
                    <a:ext uri="{FF2B5EF4-FFF2-40B4-BE49-F238E27FC236}">
                      <a16:creationId xmlns:a16="http://schemas.microsoft.com/office/drawing/2014/main" id="{F4DDDE11-31FB-938D-4C2E-A4BF30B97322}"/>
                    </a:ext>
                  </a:extLst>
                </p:cNvPr>
                <p:cNvSpPr>
                  <a:spLocks noChangeAspect="1"/>
                </p:cNvSpPr>
                <p:nvPr/>
              </p:nvSpPr>
              <p:spPr>
                <a:xfrm>
                  <a:off x="4722130" y="411016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36" name="Oval 4735">
                  <a:extLst>
                    <a:ext uri="{FF2B5EF4-FFF2-40B4-BE49-F238E27FC236}">
                      <a16:creationId xmlns:a16="http://schemas.microsoft.com/office/drawing/2014/main" id="{F5625ADA-9090-FC51-EC12-C534245FE316}"/>
                    </a:ext>
                  </a:extLst>
                </p:cNvPr>
                <p:cNvSpPr>
                  <a:spLocks noChangeAspect="1"/>
                </p:cNvSpPr>
                <p:nvPr/>
              </p:nvSpPr>
              <p:spPr>
                <a:xfrm>
                  <a:off x="4557975" y="411016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37" name="Oval 4736">
                  <a:extLst>
                    <a:ext uri="{FF2B5EF4-FFF2-40B4-BE49-F238E27FC236}">
                      <a16:creationId xmlns:a16="http://schemas.microsoft.com/office/drawing/2014/main" id="{E8A6A305-CB67-898C-FD0E-956DD1A6A450}"/>
                    </a:ext>
                  </a:extLst>
                </p:cNvPr>
                <p:cNvSpPr>
                  <a:spLocks noChangeAspect="1"/>
                </p:cNvSpPr>
                <p:nvPr/>
              </p:nvSpPr>
              <p:spPr>
                <a:xfrm>
                  <a:off x="4402155" y="411016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38" name="Oval 4737">
                  <a:extLst>
                    <a:ext uri="{FF2B5EF4-FFF2-40B4-BE49-F238E27FC236}">
                      <a16:creationId xmlns:a16="http://schemas.microsoft.com/office/drawing/2014/main" id="{731EBCA9-BB84-5C34-6D52-BC8655575A58}"/>
                    </a:ext>
                  </a:extLst>
                </p:cNvPr>
                <p:cNvSpPr>
                  <a:spLocks noChangeAspect="1"/>
                </p:cNvSpPr>
                <p:nvPr/>
              </p:nvSpPr>
              <p:spPr>
                <a:xfrm>
                  <a:off x="4256705" y="411432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39" name="Oval 4738">
                  <a:extLst>
                    <a:ext uri="{FF2B5EF4-FFF2-40B4-BE49-F238E27FC236}">
                      <a16:creationId xmlns:a16="http://schemas.microsoft.com/office/drawing/2014/main" id="{1CC1909A-E4B0-CE44-4939-01131A1852C4}"/>
                    </a:ext>
                  </a:extLst>
                </p:cNvPr>
                <p:cNvSpPr>
                  <a:spLocks noChangeAspect="1"/>
                </p:cNvSpPr>
                <p:nvPr/>
              </p:nvSpPr>
              <p:spPr>
                <a:xfrm>
                  <a:off x="4111259" y="411016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40" name="Oval 4739">
                  <a:extLst>
                    <a:ext uri="{FF2B5EF4-FFF2-40B4-BE49-F238E27FC236}">
                      <a16:creationId xmlns:a16="http://schemas.microsoft.com/office/drawing/2014/main" id="{7E60E130-619F-ED7D-829D-4A3C6DE16630}"/>
                    </a:ext>
                  </a:extLst>
                </p:cNvPr>
                <p:cNvSpPr>
                  <a:spLocks noChangeAspect="1"/>
                </p:cNvSpPr>
                <p:nvPr/>
              </p:nvSpPr>
              <p:spPr>
                <a:xfrm>
                  <a:off x="3947098" y="411016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41" name="Oval 4740">
                  <a:extLst>
                    <a:ext uri="{FF2B5EF4-FFF2-40B4-BE49-F238E27FC236}">
                      <a16:creationId xmlns:a16="http://schemas.microsoft.com/office/drawing/2014/main" id="{C7E9CB50-D80B-4DAD-8E66-5373ED1F5043}"/>
                    </a:ext>
                  </a:extLst>
                </p:cNvPr>
                <p:cNvSpPr>
                  <a:spLocks noChangeAspect="1"/>
                </p:cNvSpPr>
                <p:nvPr/>
              </p:nvSpPr>
              <p:spPr>
                <a:xfrm>
                  <a:off x="6536054" y="425563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42" name="Oval 4741">
                  <a:extLst>
                    <a:ext uri="{FF2B5EF4-FFF2-40B4-BE49-F238E27FC236}">
                      <a16:creationId xmlns:a16="http://schemas.microsoft.com/office/drawing/2014/main" id="{A8A65E3C-7264-BA28-8C63-25FA23B22D12}"/>
                    </a:ext>
                  </a:extLst>
                </p:cNvPr>
                <p:cNvSpPr>
                  <a:spLocks noChangeAspect="1"/>
                </p:cNvSpPr>
                <p:nvPr/>
              </p:nvSpPr>
              <p:spPr>
                <a:xfrm>
                  <a:off x="6380243" y="425977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43" name="Oval 4742">
                  <a:extLst>
                    <a:ext uri="{FF2B5EF4-FFF2-40B4-BE49-F238E27FC236}">
                      <a16:creationId xmlns:a16="http://schemas.microsoft.com/office/drawing/2014/main" id="{64967B8C-3CD1-6DB4-3264-109AFC6B1798}"/>
                    </a:ext>
                  </a:extLst>
                </p:cNvPr>
                <p:cNvSpPr>
                  <a:spLocks noChangeAspect="1"/>
                </p:cNvSpPr>
                <p:nvPr/>
              </p:nvSpPr>
              <p:spPr>
                <a:xfrm>
                  <a:off x="6234777" y="425977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44" name="Oval 4743">
                  <a:extLst>
                    <a:ext uri="{FF2B5EF4-FFF2-40B4-BE49-F238E27FC236}">
                      <a16:creationId xmlns:a16="http://schemas.microsoft.com/office/drawing/2014/main" id="{5BE6D704-1B05-8DD0-818D-E1E96CC29FA1}"/>
                    </a:ext>
                  </a:extLst>
                </p:cNvPr>
                <p:cNvSpPr>
                  <a:spLocks noChangeAspect="1"/>
                </p:cNvSpPr>
                <p:nvPr/>
              </p:nvSpPr>
              <p:spPr>
                <a:xfrm>
                  <a:off x="6089344" y="425563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45" name="Oval 4744">
                  <a:extLst>
                    <a:ext uri="{FF2B5EF4-FFF2-40B4-BE49-F238E27FC236}">
                      <a16:creationId xmlns:a16="http://schemas.microsoft.com/office/drawing/2014/main" id="{F5B835B3-9878-8EB6-F867-CC2872FAF990}"/>
                    </a:ext>
                  </a:extLst>
                </p:cNvPr>
                <p:cNvSpPr>
                  <a:spLocks noChangeAspect="1"/>
                </p:cNvSpPr>
                <p:nvPr/>
              </p:nvSpPr>
              <p:spPr>
                <a:xfrm>
                  <a:off x="5929348" y="425563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46" name="Oval 4745">
                  <a:extLst>
                    <a:ext uri="{FF2B5EF4-FFF2-40B4-BE49-F238E27FC236}">
                      <a16:creationId xmlns:a16="http://schemas.microsoft.com/office/drawing/2014/main" id="{ED66E467-6A8E-0CF9-D86D-74A1254030A4}"/>
                    </a:ext>
                  </a:extLst>
                </p:cNvPr>
                <p:cNvSpPr>
                  <a:spLocks noChangeAspect="1"/>
                </p:cNvSpPr>
                <p:nvPr/>
              </p:nvSpPr>
              <p:spPr>
                <a:xfrm>
                  <a:off x="5769352" y="425563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47" name="Oval 4746">
                  <a:extLst>
                    <a:ext uri="{FF2B5EF4-FFF2-40B4-BE49-F238E27FC236}">
                      <a16:creationId xmlns:a16="http://schemas.microsoft.com/office/drawing/2014/main" id="{D9365A89-DDB0-FBAC-D5E5-B22D9BCC3789}"/>
                    </a:ext>
                  </a:extLst>
                </p:cNvPr>
                <p:cNvSpPr>
                  <a:spLocks noChangeAspect="1"/>
                </p:cNvSpPr>
                <p:nvPr/>
              </p:nvSpPr>
              <p:spPr>
                <a:xfrm>
                  <a:off x="5623919" y="425977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48" name="Oval 4747">
                  <a:extLst>
                    <a:ext uri="{FF2B5EF4-FFF2-40B4-BE49-F238E27FC236}">
                      <a16:creationId xmlns:a16="http://schemas.microsoft.com/office/drawing/2014/main" id="{A2940ADB-C83C-37F0-BF85-318794339F9C}"/>
                    </a:ext>
                  </a:extLst>
                </p:cNvPr>
                <p:cNvSpPr>
                  <a:spLocks noChangeAspect="1"/>
                </p:cNvSpPr>
                <p:nvPr/>
              </p:nvSpPr>
              <p:spPr>
                <a:xfrm>
                  <a:off x="5478453" y="425563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49" name="Oval 4748">
                  <a:extLst>
                    <a:ext uri="{FF2B5EF4-FFF2-40B4-BE49-F238E27FC236}">
                      <a16:creationId xmlns:a16="http://schemas.microsoft.com/office/drawing/2014/main" id="{B79B827E-BA9B-FABB-A807-3D49FD4293E5}"/>
                    </a:ext>
                  </a:extLst>
                </p:cNvPr>
                <p:cNvSpPr>
                  <a:spLocks noChangeAspect="1"/>
                </p:cNvSpPr>
                <p:nvPr/>
              </p:nvSpPr>
              <p:spPr>
                <a:xfrm>
                  <a:off x="5314292" y="425563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50" name="Oval 4749">
                  <a:extLst>
                    <a:ext uri="{FF2B5EF4-FFF2-40B4-BE49-F238E27FC236}">
                      <a16:creationId xmlns:a16="http://schemas.microsoft.com/office/drawing/2014/main" id="{39984C1B-EB35-AC59-AE1C-658C18DEF62C}"/>
                    </a:ext>
                  </a:extLst>
                </p:cNvPr>
                <p:cNvSpPr>
                  <a:spLocks noChangeAspect="1"/>
                </p:cNvSpPr>
                <p:nvPr/>
              </p:nvSpPr>
              <p:spPr>
                <a:xfrm>
                  <a:off x="5168854" y="425563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51" name="Oval 4750">
                  <a:extLst>
                    <a:ext uri="{FF2B5EF4-FFF2-40B4-BE49-F238E27FC236}">
                      <a16:creationId xmlns:a16="http://schemas.microsoft.com/office/drawing/2014/main" id="{D8B8C52A-CC52-BC0C-8CC5-5DE78282AEA2}"/>
                    </a:ext>
                  </a:extLst>
                </p:cNvPr>
                <p:cNvSpPr>
                  <a:spLocks noChangeAspect="1"/>
                </p:cNvSpPr>
                <p:nvPr/>
              </p:nvSpPr>
              <p:spPr>
                <a:xfrm>
                  <a:off x="5013029" y="425977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52" name="Oval 4751">
                  <a:extLst>
                    <a:ext uri="{FF2B5EF4-FFF2-40B4-BE49-F238E27FC236}">
                      <a16:creationId xmlns:a16="http://schemas.microsoft.com/office/drawing/2014/main" id="{C7951C1B-50F2-7F1A-CC8E-DE5E50FB7BF9}"/>
                    </a:ext>
                  </a:extLst>
                </p:cNvPr>
                <p:cNvSpPr>
                  <a:spLocks noChangeAspect="1"/>
                </p:cNvSpPr>
                <p:nvPr/>
              </p:nvSpPr>
              <p:spPr>
                <a:xfrm>
                  <a:off x="4867596" y="425563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53" name="Oval 4752">
                  <a:extLst>
                    <a:ext uri="{FF2B5EF4-FFF2-40B4-BE49-F238E27FC236}">
                      <a16:creationId xmlns:a16="http://schemas.microsoft.com/office/drawing/2014/main" id="{7177F5E3-8276-2E2F-856E-71F636A1DCBE}"/>
                    </a:ext>
                  </a:extLst>
                </p:cNvPr>
                <p:cNvSpPr>
                  <a:spLocks noChangeAspect="1"/>
                </p:cNvSpPr>
                <p:nvPr/>
              </p:nvSpPr>
              <p:spPr>
                <a:xfrm>
                  <a:off x="4722130" y="425563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54" name="Oval 4753">
                  <a:extLst>
                    <a:ext uri="{FF2B5EF4-FFF2-40B4-BE49-F238E27FC236}">
                      <a16:creationId xmlns:a16="http://schemas.microsoft.com/office/drawing/2014/main" id="{C14BD02A-D435-E6E5-C4CC-98E7D0F3ACC1}"/>
                    </a:ext>
                  </a:extLst>
                </p:cNvPr>
                <p:cNvSpPr>
                  <a:spLocks noChangeAspect="1"/>
                </p:cNvSpPr>
                <p:nvPr/>
              </p:nvSpPr>
              <p:spPr>
                <a:xfrm>
                  <a:off x="4557975" y="425563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55" name="Oval 4754">
                  <a:extLst>
                    <a:ext uri="{FF2B5EF4-FFF2-40B4-BE49-F238E27FC236}">
                      <a16:creationId xmlns:a16="http://schemas.microsoft.com/office/drawing/2014/main" id="{CC19BBEA-7BB2-D22D-A393-38CC1FAC1B40}"/>
                    </a:ext>
                  </a:extLst>
                </p:cNvPr>
                <p:cNvSpPr>
                  <a:spLocks noChangeAspect="1"/>
                </p:cNvSpPr>
                <p:nvPr/>
              </p:nvSpPr>
              <p:spPr>
                <a:xfrm>
                  <a:off x="4402155" y="425961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56" name="Oval 4755">
                  <a:extLst>
                    <a:ext uri="{FF2B5EF4-FFF2-40B4-BE49-F238E27FC236}">
                      <a16:creationId xmlns:a16="http://schemas.microsoft.com/office/drawing/2014/main" id="{F4430F36-13CC-4E46-A42F-1ADC83C8FE6A}"/>
                    </a:ext>
                  </a:extLst>
                </p:cNvPr>
                <p:cNvSpPr>
                  <a:spLocks noChangeAspect="1"/>
                </p:cNvSpPr>
                <p:nvPr/>
              </p:nvSpPr>
              <p:spPr>
                <a:xfrm>
                  <a:off x="4256705" y="425975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57" name="Oval 4756">
                  <a:extLst>
                    <a:ext uri="{FF2B5EF4-FFF2-40B4-BE49-F238E27FC236}">
                      <a16:creationId xmlns:a16="http://schemas.microsoft.com/office/drawing/2014/main" id="{8E71FE01-BFDC-5696-39CC-C963170DC391}"/>
                    </a:ext>
                  </a:extLst>
                </p:cNvPr>
                <p:cNvSpPr>
                  <a:spLocks noChangeAspect="1"/>
                </p:cNvSpPr>
                <p:nvPr/>
              </p:nvSpPr>
              <p:spPr>
                <a:xfrm>
                  <a:off x="4111259" y="425563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58" name="Oval 4757">
                  <a:extLst>
                    <a:ext uri="{FF2B5EF4-FFF2-40B4-BE49-F238E27FC236}">
                      <a16:creationId xmlns:a16="http://schemas.microsoft.com/office/drawing/2014/main" id="{9A8872B7-74CA-4C45-F206-EDFACB31C401}"/>
                    </a:ext>
                  </a:extLst>
                </p:cNvPr>
                <p:cNvSpPr>
                  <a:spLocks noChangeAspect="1"/>
                </p:cNvSpPr>
                <p:nvPr/>
              </p:nvSpPr>
              <p:spPr>
                <a:xfrm>
                  <a:off x="6385750" y="440804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59" name="Oval 4758">
                  <a:extLst>
                    <a:ext uri="{FF2B5EF4-FFF2-40B4-BE49-F238E27FC236}">
                      <a16:creationId xmlns:a16="http://schemas.microsoft.com/office/drawing/2014/main" id="{940E66CC-0AF6-9F80-70B6-E77B349A458B}"/>
                    </a:ext>
                  </a:extLst>
                </p:cNvPr>
                <p:cNvSpPr>
                  <a:spLocks noChangeAspect="1"/>
                </p:cNvSpPr>
                <p:nvPr/>
              </p:nvSpPr>
              <p:spPr>
                <a:xfrm>
                  <a:off x="6234601" y="440106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60" name="Oval 4759">
                  <a:extLst>
                    <a:ext uri="{FF2B5EF4-FFF2-40B4-BE49-F238E27FC236}">
                      <a16:creationId xmlns:a16="http://schemas.microsoft.com/office/drawing/2014/main" id="{B930CF59-8066-E8EB-C1C2-33202335C86F}"/>
                    </a:ext>
                  </a:extLst>
                </p:cNvPr>
                <p:cNvSpPr>
                  <a:spLocks noChangeAspect="1"/>
                </p:cNvSpPr>
                <p:nvPr/>
              </p:nvSpPr>
              <p:spPr>
                <a:xfrm>
                  <a:off x="6089029" y="440106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61" name="Oval 4760">
                  <a:extLst>
                    <a:ext uri="{FF2B5EF4-FFF2-40B4-BE49-F238E27FC236}">
                      <a16:creationId xmlns:a16="http://schemas.microsoft.com/office/drawing/2014/main" id="{176288AA-3D3D-A15D-0663-F819E0581047}"/>
                    </a:ext>
                  </a:extLst>
                </p:cNvPr>
                <p:cNvSpPr>
                  <a:spLocks noChangeAspect="1"/>
                </p:cNvSpPr>
                <p:nvPr/>
              </p:nvSpPr>
              <p:spPr>
                <a:xfrm>
                  <a:off x="5929348" y="440106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62" name="Oval 4761">
                  <a:extLst>
                    <a:ext uri="{FF2B5EF4-FFF2-40B4-BE49-F238E27FC236}">
                      <a16:creationId xmlns:a16="http://schemas.microsoft.com/office/drawing/2014/main" id="{943EBA3B-1553-1873-3378-CBD6619AD3AD}"/>
                    </a:ext>
                  </a:extLst>
                </p:cNvPr>
                <p:cNvSpPr>
                  <a:spLocks noChangeAspect="1"/>
                </p:cNvSpPr>
                <p:nvPr/>
              </p:nvSpPr>
              <p:spPr>
                <a:xfrm>
                  <a:off x="5774880" y="440804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63" name="Oval 4762">
                  <a:extLst>
                    <a:ext uri="{FF2B5EF4-FFF2-40B4-BE49-F238E27FC236}">
                      <a16:creationId xmlns:a16="http://schemas.microsoft.com/office/drawing/2014/main" id="{AADD9FB0-AE87-00B6-4BA4-16B1E114742A}"/>
                    </a:ext>
                  </a:extLst>
                </p:cNvPr>
                <p:cNvSpPr>
                  <a:spLocks noChangeAspect="1"/>
                </p:cNvSpPr>
                <p:nvPr/>
              </p:nvSpPr>
              <p:spPr>
                <a:xfrm>
                  <a:off x="5622884" y="440560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64" name="Oval 4763">
                  <a:extLst>
                    <a:ext uri="{FF2B5EF4-FFF2-40B4-BE49-F238E27FC236}">
                      <a16:creationId xmlns:a16="http://schemas.microsoft.com/office/drawing/2014/main" id="{95E013B4-D1DE-4D42-4CBE-CF866B3BC045}"/>
                    </a:ext>
                  </a:extLst>
                </p:cNvPr>
                <p:cNvSpPr>
                  <a:spLocks noChangeAspect="1"/>
                </p:cNvSpPr>
                <p:nvPr/>
              </p:nvSpPr>
              <p:spPr>
                <a:xfrm>
                  <a:off x="5478149" y="440106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65" name="Oval 4764">
                  <a:extLst>
                    <a:ext uri="{FF2B5EF4-FFF2-40B4-BE49-F238E27FC236}">
                      <a16:creationId xmlns:a16="http://schemas.microsoft.com/office/drawing/2014/main" id="{DCA37394-BB51-EE38-AEEC-B92DA2FDC764}"/>
                    </a:ext>
                  </a:extLst>
                </p:cNvPr>
                <p:cNvSpPr>
                  <a:spLocks noChangeAspect="1"/>
                </p:cNvSpPr>
                <p:nvPr/>
              </p:nvSpPr>
              <p:spPr>
                <a:xfrm>
                  <a:off x="5333021" y="440106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66" name="Oval 4765">
                  <a:extLst>
                    <a:ext uri="{FF2B5EF4-FFF2-40B4-BE49-F238E27FC236}">
                      <a16:creationId xmlns:a16="http://schemas.microsoft.com/office/drawing/2014/main" id="{B51F6AC5-E867-6483-7179-4F809A6CBC1E}"/>
                    </a:ext>
                  </a:extLst>
                </p:cNvPr>
                <p:cNvSpPr>
                  <a:spLocks noChangeAspect="1"/>
                </p:cNvSpPr>
                <p:nvPr/>
              </p:nvSpPr>
              <p:spPr>
                <a:xfrm>
                  <a:off x="5164001" y="440804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67" name="Oval 4766">
                  <a:extLst>
                    <a:ext uri="{FF2B5EF4-FFF2-40B4-BE49-F238E27FC236}">
                      <a16:creationId xmlns:a16="http://schemas.microsoft.com/office/drawing/2014/main" id="{F5569D07-8891-784D-DBEA-0C4111CC831E}"/>
                    </a:ext>
                  </a:extLst>
                </p:cNvPr>
                <p:cNvSpPr>
                  <a:spLocks noChangeAspect="1"/>
                </p:cNvSpPr>
                <p:nvPr/>
              </p:nvSpPr>
              <p:spPr>
                <a:xfrm>
                  <a:off x="5018557" y="440804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68" name="Oval 4767">
                  <a:extLst>
                    <a:ext uri="{FF2B5EF4-FFF2-40B4-BE49-F238E27FC236}">
                      <a16:creationId xmlns:a16="http://schemas.microsoft.com/office/drawing/2014/main" id="{74466112-183C-97D3-729C-BCC0F3F9749D}"/>
                    </a:ext>
                  </a:extLst>
                </p:cNvPr>
                <p:cNvSpPr>
                  <a:spLocks noChangeAspect="1"/>
                </p:cNvSpPr>
                <p:nvPr/>
              </p:nvSpPr>
              <p:spPr>
                <a:xfrm>
                  <a:off x="4867401" y="440106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69" name="Oval 4768">
                  <a:extLst>
                    <a:ext uri="{FF2B5EF4-FFF2-40B4-BE49-F238E27FC236}">
                      <a16:creationId xmlns:a16="http://schemas.microsoft.com/office/drawing/2014/main" id="{A51ACC52-9221-48A1-61B7-684D4A24D083}"/>
                    </a:ext>
                  </a:extLst>
                </p:cNvPr>
                <p:cNvSpPr>
                  <a:spLocks noChangeAspect="1"/>
                </p:cNvSpPr>
                <p:nvPr/>
              </p:nvSpPr>
              <p:spPr>
                <a:xfrm>
                  <a:off x="4722130" y="440106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70" name="Oval 4769">
                  <a:extLst>
                    <a:ext uri="{FF2B5EF4-FFF2-40B4-BE49-F238E27FC236}">
                      <a16:creationId xmlns:a16="http://schemas.microsoft.com/office/drawing/2014/main" id="{4A588F85-4A1E-1813-43B4-5C5B444F5C62}"/>
                    </a:ext>
                  </a:extLst>
                </p:cNvPr>
                <p:cNvSpPr>
                  <a:spLocks noChangeAspect="1"/>
                </p:cNvSpPr>
                <p:nvPr/>
              </p:nvSpPr>
              <p:spPr>
                <a:xfrm>
                  <a:off x="4553118" y="440804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71" name="Oval 4770">
                  <a:extLst>
                    <a:ext uri="{FF2B5EF4-FFF2-40B4-BE49-F238E27FC236}">
                      <a16:creationId xmlns:a16="http://schemas.microsoft.com/office/drawing/2014/main" id="{3A169D06-2E81-735A-A985-AB1F7DAC0D10}"/>
                    </a:ext>
                  </a:extLst>
                </p:cNvPr>
                <p:cNvSpPr>
                  <a:spLocks noChangeAspect="1"/>
                </p:cNvSpPr>
                <p:nvPr/>
              </p:nvSpPr>
              <p:spPr>
                <a:xfrm>
                  <a:off x="4407672" y="440804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72" name="Oval 4771">
                  <a:extLst>
                    <a:ext uri="{FF2B5EF4-FFF2-40B4-BE49-F238E27FC236}">
                      <a16:creationId xmlns:a16="http://schemas.microsoft.com/office/drawing/2014/main" id="{971C9DC8-575B-82FD-FC20-35754E32D40C}"/>
                    </a:ext>
                  </a:extLst>
                </p:cNvPr>
                <p:cNvSpPr>
                  <a:spLocks noChangeAspect="1"/>
                </p:cNvSpPr>
                <p:nvPr/>
              </p:nvSpPr>
              <p:spPr>
                <a:xfrm>
                  <a:off x="4110951" y="440106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73" name="Oval 4772">
                  <a:extLst>
                    <a:ext uri="{FF2B5EF4-FFF2-40B4-BE49-F238E27FC236}">
                      <a16:creationId xmlns:a16="http://schemas.microsoft.com/office/drawing/2014/main" id="{2D0CED9A-A42B-E269-885F-9196A1549FEC}"/>
                    </a:ext>
                  </a:extLst>
                </p:cNvPr>
                <p:cNvSpPr>
                  <a:spLocks noChangeAspect="1"/>
                </p:cNvSpPr>
                <p:nvPr/>
              </p:nvSpPr>
              <p:spPr>
                <a:xfrm>
                  <a:off x="6234777" y="455526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74" name="Oval 4773">
                  <a:extLst>
                    <a:ext uri="{FF2B5EF4-FFF2-40B4-BE49-F238E27FC236}">
                      <a16:creationId xmlns:a16="http://schemas.microsoft.com/office/drawing/2014/main" id="{718529D3-9874-2192-F482-9C80BF9BE053}"/>
                    </a:ext>
                  </a:extLst>
                </p:cNvPr>
                <p:cNvSpPr>
                  <a:spLocks noChangeAspect="1"/>
                </p:cNvSpPr>
                <p:nvPr/>
              </p:nvSpPr>
              <p:spPr>
                <a:xfrm>
                  <a:off x="6089344" y="455404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75" name="Oval 4774">
                  <a:extLst>
                    <a:ext uri="{FF2B5EF4-FFF2-40B4-BE49-F238E27FC236}">
                      <a16:creationId xmlns:a16="http://schemas.microsoft.com/office/drawing/2014/main" id="{7B97ACF4-3ED0-1182-CEA6-59E51BF72295}"/>
                    </a:ext>
                  </a:extLst>
                </p:cNvPr>
                <p:cNvSpPr>
                  <a:spLocks noChangeAspect="1"/>
                </p:cNvSpPr>
                <p:nvPr/>
              </p:nvSpPr>
              <p:spPr>
                <a:xfrm>
                  <a:off x="5929348" y="455465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76" name="Oval 4775">
                  <a:extLst>
                    <a:ext uri="{FF2B5EF4-FFF2-40B4-BE49-F238E27FC236}">
                      <a16:creationId xmlns:a16="http://schemas.microsoft.com/office/drawing/2014/main" id="{3C09F353-830E-51C4-9607-4DD1B4D963A1}"/>
                    </a:ext>
                  </a:extLst>
                </p:cNvPr>
                <p:cNvSpPr>
                  <a:spLocks noChangeAspect="1"/>
                </p:cNvSpPr>
                <p:nvPr/>
              </p:nvSpPr>
              <p:spPr>
                <a:xfrm>
                  <a:off x="5774880" y="455347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77" name="Oval 4776">
                  <a:extLst>
                    <a:ext uri="{FF2B5EF4-FFF2-40B4-BE49-F238E27FC236}">
                      <a16:creationId xmlns:a16="http://schemas.microsoft.com/office/drawing/2014/main" id="{411F7F6E-E599-8B46-DCF9-F7F61C00A2C7}"/>
                    </a:ext>
                  </a:extLst>
                </p:cNvPr>
                <p:cNvSpPr>
                  <a:spLocks noChangeAspect="1"/>
                </p:cNvSpPr>
                <p:nvPr/>
              </p:nvSpPr>
              <p:spPr>
                <a:xfrm>
                  <a:off x="5623919" y="455526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78" name="Oval 4777">
                  <a:extLst>
                    <a:ext uri="{FF2B5EF4-FFF2-40B4-BE49-F238E27FC236}">
                      <a16:creationId xmlns:a16="http://schemas.microsoft.com/office/drawing/2014/main" id="{004972C0-8934-22CE-CE88-CEC5FFEC3C30}"/>
                    </a:ext>
                  </a:extLst>
                </p:cNvPr>
                <p:cNvSpPr>
                  <a:spLocks noChangeAspect="1"/>
                </p:cNvSpPr>
                <p:nvPr/>
              </p:nvSpPr>
              <p:spPr>
                <a:xfrm>
                  <a:off x="5482434" y="455404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79" name="Oval 4778">
                  <a:extLst>
                    <a:ext uri="{FF2B5EF4-FFF2-40B4-BE49-F238E27FC236}">
                      <a16:creationId xmlns:a16="http://schemas.microsoft.com/office/drawing/2014/main" id="{171BDE22-C948-2633-87CA-369B6DC3FABE}"/>
                    </a:ext>
                  </a:extLst>
                </p:cNvPr>
                <p:cNvSpPr>
                  <a:spLocks noChangeAspect="1"/>
                </p:cNvSpPr>
                <p:nvPr/>
              </p:nvSpPr>
              <p:spPr>
                <a:xfrm>
                  <a:off x="5333021" y="455404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80" name="Oval 4779">
                  <a:extLst>
                    <a:ext uri="{FF2B5EF4-FFF2-40B4-BE49-F238E27FC236}">
                      <a16:creationId xmlns:a16="http://schemas.microsoft.com/office/drawing/2014/main" id="{E45AF973-4EB8-F329-8489-01F8D6A60FB4}"/>
                    </a:ext>
                  </a:extLst>
                </p:cNvPr>
                <p:cNvSpPr>
                  <a:spLocks noChangeAspect="1"/>
                </p:cNvSpPr>
                <p:nvPr/>
              </p:nvSpPr>
              <p:spPr>
                <a:xfrm>
                  <a:off x="5018557" y="455347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81" name="Oval 4780">
                  <a:extLst>
                    <a:ext uri="{FF2B5EF4-FFF2-40B4-BE49-F238E27FC236}">
                      <a16:creationId xmlns:a16="http://schemas.microsoft.com/office/drawing/2014/main" id="{76730548-4461-F30D-66D2-EC74A74C1B24}"/>
                    </a:ext>
                  </a:extLst>
                </p:cNvPr>
                <p:cNvSpPr>
                  <a:spLocks noChangeAspect="1"/>
                </p:cNvSpPr>
                <p:nvPr/>
              </p:nvSpPr>
              <p:spPr>
                <a:xfrm>
                  <a:off x="4871575" y="455404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82" name="Oval 4781">
                  <a:extLst>
                    <a:ext uri="{FF2B5EF4-FFF2-40B4-BE49-F238E27FC236}">
                      <a16:creationId xmlns:a16="http://schemas.microsoft.com/office/drawing/2014/main" id="{0C923982-7DF8-5890-147E-EE5B5384B3CF}"/>
                    </a:ext>
                  </a:extLst>
                </p:cNvPr>
                <p:cNvSpPr>
                  <a:spLocks noChangeAspect="1"/>
                </p:cNvSpPr>
                <p:nvPr/>
              </p:nvSpPr>
              <p:spPr>
                <a:xfrm>
                  <a:off x="4722130" y="455404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83" name="Oval 4782">
                  <a:extLst>
                    <a:ext uri="{FF2B5EF4-FFF2-40B4-BE49-F238E27FC236}">
                      <a16:creationId xmlns:a16="http://schemas.microsoft.com/office/drawing/2014/main" id="{B88C1567-5F0F-8E3B-D7E7-09BAC8CFD34B}"/>
                    </a:ext>
                  </a:extLst>
                </p:cNvPr>
                <p:cNvSpPr>
                  <a:spLocks noChangeAspect="1"/>
                </p:cNvSpPr>
                <p:nvPr/>
              </p:nvSpPr>
              <p:spPr>
                <a:xfrm>
                  <a:off x="4554780" y="455389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84" name="Oval 4783">
                  <a:extLst>
                    <a:ext uri="{FF2B5EF4-FFF2-40B4-BE49-F238E27FC236}">
                      <a16:creationId xmlns:a16="http://schemas.microsoft.com/office/drawing/2014/main" id="{B16EFCA4-F881-6E95-B6BB-D10F6C6B6C5D}"/>
                    </a:ext>
                  </a:extLst>
                </p:cNvPr>
                <p:cNvSpPr>
                  <a:spLocks noChangeAspect="1"/>
                </p:cNvSpPr>
                <p:nvPr/>
              </p:nvSpPr>
              <p:spPr>
                <a:xfrm>
                  <a:off x="4407672" y="455347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85" name="Oval 4784">
                  <a:extLst>
                    <a:ext uri="{FF2B5EF4-FFF2-40B4-BE49-F238E27FC236}">
                      <a16:creationId xmlns:a16="http://schemas.microsoft.com/office/drawing/2014/main" id="{0CBA4ED0-96CF-DE84-0050-C5C7B0CE4430}"/>
                    </a:ext>
                  </a:extLst>
                </p:cNvPr>
                <p:cNvSpPr>
                  <a:spLocks noChangeAspect="1"/>
                </p:cNvSpPr>
                <p:nvPr/>
              </p:nvSpPr>
              <p:spPr>
                <a:xfrm>
                  <a:off x="4256705" y="455526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86" name="Oval 4785">
                  <a:extLst>
                    <a:ext uri="{FF2B5EF4-FFF2-40B4-BE49-F238E27FC236}">
                      <a16:creationId xmlns:a16="http://schemas.microsoft.com/office/drawing/2014/main" id="{98AB4FF9-E680-09D0-1C77-387D4CE9B461}"/>
                    </a:ext>
                  </a:extLst>
                </p:cNvPr>
                <p:cNvSpPr>
                  <a:spLocks noChangeAspect="1"/>
                </p:cNvSpPr>
                <p:nvPr/>
              </p:nvSpPr>
              <p:spPr>
                <a:xfrm>
                  <a:off x="4115329" y="456807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87" name="Oval 4786">
                  <a:extLst>
                    <a:ext uri="{FF2B5EF4-FFF2-40B4-BE49-F238E27FC236}">
                      <a16:creationId xmlns:a16="http://schemas.microsoft.com/office/drawing/2014/main" id="{72BB1718-7AD5-D049-CABC-17A08B3B1278}"/>
                    </a:ext>
                  </a:extLst>
                </p:cNvPr>
                <p:cNvSpPr>
                  <a:spLocks noChangeAspect="1"/>
                </p:cNvSpPr>
                <p:nvPr/>
              </p:nvSpPr>
              <p:spPr>
                <a:xfrm>
                  <a:off x="6089344" y="472105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88" name="Oval 4787">
                  <a:extLst>
                    <a:ext uri="{FF2B5EF4-FFF2-40B4-BE49-F238E27FC236}">
                      <a16:creationId xmlns:a16="http://schemas.microsoft.com/office/drawing/2014/main" id="{78BD7452-6B86-C7CF-CDF2-DEB2C5E22534}"/>
                    </a:ext>
                  </a:extLst>
                </p:cNvPr>
                <p:cNvSpPr>
                  <a:spLocks noChangeAspect="1"/>
                </p:cNvSpPr>
                <p:nvPr/>
              </p:nvSpPr>
              <p:spPr>
                <a:xfrm>
                  <a:off x="5929348" y="472105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89" name="Oval 4788">
                  <a:extLst>
                    <a:ext uri="{FF2B5EF4-FFF2-40B4-BE49-F238E27FC236}">
                      <a16:creationId xmlns:a16="http://schemas.microsoft.com/office/drawing/2014/main" id="{32255C89-5EDE-138F-BD75-B42DBE073293}"/>
                    </a:ext>
                  </a:extLst>
                </p:cNvPr>
                <p:cNvSpPr>
                  <a:spLocks noChangeAspect="1"/>
                </p:cNvSpPr>
                <p:nvPr/>
              </p:nvSpPr>
              <p:spPr>
                <a:xfrm>
                  <a:off x="5769352" y="472105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90" name="Oval 4789">
                  <a:extLst>
                    <a:ext uri="{FF2B5EF4-FFF2-40B4-BE49-F238E27FC236}">
                      <a16:creationId xmlns:a16="http://schemas.microsoft.com/office/drawing/2014/main" id="{23E03FCB-FCC0-6150-0039-B1251F3E2C5A}"/>
                    </a:ext>
                  </a:extLst>
                </p:cNvPr>
                <p:cNvSpPr>
                  <a:spLocks noChangeAspect="1"/>
                </p:cNvSpPr>
                <p:nvPr/>
              </p:nvSpPr>
              <p:spPr>
                <a:xfrm>
                  <a:off x="5623919" y="472519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91" name="Oval 4790">
                  <a:extLst>
                    <a:ext uri="{FF2B5EF4-FFF2-40B4-BE49-F238E27FC236}">
                      <a16:creationId xmlns:a16="http://schemas.microsoft.com/office/drawing/2014/main" id="{72ECAF75-2DDF-680C-0767-A3042B63DFCF}"/>
                    </a:ext>
                  </a:extLst>
                </p:cNvPr>
                <p:cNvSpPr>
                  <a:spLocks noChangeAspect="1"/>
                </p:cNvSpPr>
                <p:nvPr/>
              </p:nvSpPr>
              <p:spPr>
                <a:xfrm>
                  <a:off x="5478453" y="472105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92" name="Oval 4791">
                  <a:extLst>
                    <a:ext uri="{FF2B5EF4-FFF2-40B4-BE49-F238E27FC236}">
                      <a16:creationId xmlns:a16="http://schemas.microsoft.com/office/drawing/2014/main" id="{ECFB7193-1538-FA97-0720-9BFA5F602833}"/>
                    </a:ext>
                  </a:extLst>
                </p:cNvPr>
                <p:cNvSpPr>
                  <a:spLocks noChangeAspect="1"/>
                </p:cNvSpPr>
                <p:nvPr/>
              </p:nvSpPr>
              <p:spPr>
                <a:xfrm>
                  <a:off x="5333021" y="472105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93" name="Oval 4792">
                  <a:extLst>
                    <a:ext uri="{FF2B5EF4-FFF2-40B4-BE49-F238E27FC236}">
                      <a16:creationId xmlns:a16="http://schemas.microsoft.com/office/drawing/2014/main" id="{8A98C5D3-6C97-7D3A-01B6-EB38A0698478}"/>
                    </a:ext>
                  </a:extLst>
                </p:cNvPr>
                <p:cNvSpPr>
                  <a:spLocks noChangeAspect="1"/>
                </p:cNvSpPr>
                <p:nvPr/>
              </p:nvSpPr>
              <p:spPr>
                <a:xfrm>
                  <a:off x="5158589" y="472105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94" name="Oval 4793">
                  <a:extLst>
                    <a:ext uri="{FF2B5EF4-FFF2-40B4-BE49-F238E27FC236}">
                      <a16:creationId xmlns:a16="http://schemas.microsoft.com/office/drawing/2014/main" id="{3318F1D4-01C1-434A-DEFF-C4CAC778B8C2}"/>
                    </a:ext>
                  </a:extLst>
                </p:cNvPr>
                <p:cNvSpPr>
                  <a:spLocks noChangeAspect="1"/>
                </p:cNvSpPr>
                <p:nvPr/>
              </p:nvSpPr>
              <p:spPr>
                <a:xfrm>
                  <a:off x="5013029" y="472519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95" name="Oval 4794">
                  <a:extLst>
                    <a:ext uri="{FF2B5EF4-FFF2-40B4-BE49-F238E27FC236}">
                      <a16:creationId xmlns:a16="http://schemas.microsoft.com/office/drawing/2014/main" id="{C5B9DBA5-E38C-4570-7229-936904B9F9B3}"/>
                    </a:ext>
                  </a:extLst>
                </p:cNvPr>
                <p:cNvSpPr>
                  <a:spLocks noChangeAspect="1"/>
                </p:cNvSpPr>
                <p:nvPr/>
              </p:nvSpPr>
              <p:spPr>
                <a:xfrm>
                  <a:off x="4867596" y="472105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96" name="Oval 4795">
                  <a:extLst>
                    <a:ext uri="{FF2B5EF4-FFF2-40B4-BE49-F238E27FC236}">
                      <a16:creationId xmlns:a16="http://schemas.microsoft.com/office/drawing/2014/main" id="{C9FE0D51-D076-DFF2-5E42-2DB6C1B3F0B7}"/>
                    </a:ext>
                  </a:extLst>
                </p:cNvPr>
                <p:cNvSpPr>
                  <a:spLocks noChangeAspect="1"/>
                </p:cNvSpPr>
                <p:nvPr/>
              </p:nvSpPr>
              <p:spPr>
                <a:xfrm>
                  <a:off x="4722130" y="472105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97" name="Oval 4796">
                  <a:extLst>
                    <a:ext uri="{FF2B5EF4-FFF2-40B4-BE49-F238E27FC236}">
                      <a16:creationId xmlns:a16="http://schemas.microsoft.com/office/drawing/2014/main" id="{41D48B39-3ECE-7F1A-9014-A938F2AD2759}"/>
                    </a:ext>
                  </a:extLst>
                </p:cNvPr>
                <p:cNvSpPr>
                  <a:spLocks noChangeAspect="1"/>
                </p:cNvSpPr>
                <p:nvPr/>
              </p:nvSpPr>
              <p:spPr>
                <a:xfrm>
                  <a:off x="4557975" y="472105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98" name="Oval 4797">
                  <a:extLst>
                    <a:ext uri="{FF2B5EF4-FFF2-40B4-BE49-F238E27FC236}">
                      <a16:creationId xmlns:a16="http://schemas.microsoft.com/office/drawing/2014/main" id="{BC57A205-122D-A316-28B1-56F8009A866B}"/>
                    </a:ext>
                  </a:extLst>
                </p:cNvPr>
                <p:cNvSpPr>
                  <a:spLocks noChangeAspect="1"/>
                </p:cNvSpPr>
                <p:nvPr/>
              </p:nvSpPr>
              <p:spPr>
                <a:xfrm>
                  <a:off x="4402155" y="472105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99" name="Oval 4798">
                  <a:extLst>
                    <a:ext uri="{FF2B5EF4-FFF2-40B4-BE49-F238E27FC236}">
                      <a16:creationId xmlns:a16="http://schemas.microsoft.com/office/drawing/2014/main" id="{DBD37CBE-4B43-1725-96F9-628B3E164393}"/>
                    </a:ext>
                  </a:extLst>
                </p:cNvPr>
                <p:cNvSpPr>
                  <a:spLocks noChangeAspect="1"/>
                </p:cNvSpPr>
                <p:nvPr/>
              </p:nvSpPr>
              <p:spPr>
                <a:xfrm>
                  <a:off x="4256705" y="472519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00" name="Oval 4799">
                  <a:extLst>
                    <a:ext uri="{FF2B5EF4-FFF2-40B4-BE49-F238E27FC236}">
                      <a16:creationId xmlns:a16="http://schemas.microsoft.com/office/drawing/2014/main" id="{42DB0FC1-F7DB-2E86-B05A-D737F80923A8}"/>
                    </a:ext>
                  </a:extLst>
                </p:cNvPr>
                <p:cNvSpPr>
                  <a:spLocks noChangeAspect="1"/>
                </p:cNvSpPr>
                <p:nvPr/>
              </p:nvSpPr>
              <p:spPr>
                <a:xfrm>
                  <a:off x="4111259" y="472105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01" name="Oval 4800">
                  <a:extLst>
                    <a:ext uri="{FF2B5EF4-FFF2-40B4-BE49-F238E27FC236}">
                      <a16:creationId xmlns:a16="http://schemas.microsoft.com/office/drawing/2014/main" id="{8E4793D9-5706-ED5F-4E91-C5533E81185F}"/>
                    </a:ext>
                  </a:extLst>
                </p:cNvPr>
                <p:cNvSpPr>
                  <a:spLocks noChangeAspect="1"/>
                </p:cNvSpPr>
                <p:nvPr/>
              </p:nvSpPr>
              <p:spPr>
                <a:xfrm>
                  <a:off x="5478453" y="486649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02" name="Oval 4801">
                  <a:extLst>
                    <a:ext uri="{FF2B5EF4-FFF2-40B4-BE49-F238E27FC236}">
                      <a16:creationId xmlns:a16="http://schemas.microsoft.com/office/drawing/2014/main" id="{CD82C1E1-4B6D-8B17-F751-E24A6172F059}"/>
                    </a:ext>
                  </a:extLst>
                </p:cNvPr>
                <p:cNvSpPr>
                  <a:spLocks noChangeAspect="1"/>
                </p:cNvSpPr>
                <p:nvPr/>
              </p:nvSpPr>
              <p:spPr>
                <a:xfrm>
                  <a:off x="5333021" y="486649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03" name="Oval 4802">
                  <a:extLst>
                    <a:ext uri="{FF2B5EF4-FFF2-40B4-BE49-F238E27FC236}">
                      <a16:creationId xmlns:a16="http://schemas.microsoft.com/office/drawing/2014/main" id="{4C0D19F3-90F4-37BF-9468-ACF8F29D0ED6}"/>
                    </a:ext>
                  </a:extLst>
                </p:cNvPr>
                <p:cNvSpPr>
                  <a:spLocks noChangeAspect="1"/>
                </p:cNvSpPr>
                <p:nvPr/>
              </p:nvSpPr>
              <p:spPr>
                <a:xfrm>
                  <a:off x="5164318" y="48717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04" name="Oval 4803">
                  <a:extLst>
                    <a:ext uri="{FF2B5EF4-FFF2-40B4-BE49-F238E27FC236}">
                      <a16:creationId xmlns:a16="http://schemas.microsoft.com/office/drawing/2014/main" id="{CD39C5AA-DB02-2F5E-7189-C1E163A9C089}"/>
                    </a:ext>
                  </a:extLst>
                </p:cNvPr>
                <p:cNvSpPr>
                  <a:spLocks noChangeAspect="1"/>
                </p:cNvSpPr>
                <p:nvPr/>
              </p:nvSpPr>
              <p:spPr>
                <a:xfrm>
                  <a:off x="5013029" y="487063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05" name="Oval 4804">
                  <a:extLst>
                    <a:ext uri="{FF2B5EF4-FFF2-40B4-BE49-F238E27FC236}">
                      <a16:creationId xmlns:a16="http://schemas.microsoft.com/office/drawing/2014/main" id="{CF7030FE-2B50-CA2D-EF3C-55D5C878B214}"/>
                    </a:ext>
                  </a:extLst>
                </p:cNvPr>
                <p:cNvSpPr>
                  <a:spLocks noChangeAspect="1"/>
                </p:cNvSpPr>
                <p:nvPr/>
              </p:nvSpPr>
              <p:spPr>
                <a:xfrm>
                  <a:off x="4867596" y="486649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06" name="Oval 4805">
                  <a:extLst>
                    <a:ext uri="{FF2B5EF4-FFF2-40B4-BE49-F238E27FC236}">
                      <a16:creationId xmlns:a16="http://schemas.microsoft.com/office/drawing/2014/main" id="{0951AF59-20B9-B84F-8F38-A3E2EFCFACF0}"/>
                    </a:ext>
                  </a:extLst>
                </p:cNvPr>
                <p:cNvSpPr>
                  <a:spLocks noChangeAspect="1"/>
                </p:cNvSpPr>
                <p:nvPr/>
              </p:nvSpPr>
              <p:spPr>
                <a:xfrm>
                  <a:off x="4722130" y="486649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07" name="Oval 4806">
                  <a:extLst>
                    <a:ext uri="{FF2B5EF4-FFF2-40B4-BE49-F238E27FC236}">
                      <a16:creationId xmlns:a16="http://schemas.microsoft.com/office/drawing/2014/main" id="{576C7C1A-DDFD-3973-F07F-7E11038DCC15}"/>
                    </a:ext>
                  </a:extLst>
                </p:cNvPr>
                <p:cNvSpPr>
                  <a:spLocks noChangeAspect="1"/>
                </p:cNvSpPr>
                <p:nvPr/>
              </p:nvSpPr>
              <p:spPr>
                <a:xfrm>
                  <a:off x="4557975" y="486649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08" name="Oval 4807">
                  <a:extLst>
                    <a:ext uri="{FF2B5EF4-FFF2-40B4-BE49-F238E27FC236}">
                      <a16:creationId xmlns:a16="http://schemas.microsoft.com/office/drawing/2014/main" id="{4BBAA2F9-00CD-97E4-F1A9-25A7AA80EC71}"/>
                    </a:ext>
                  </a:extLst>
                </p:cNvPr>
                <p:cNvSpPr>
                  <a:spLocks noChangeAspect="1"/>
                </p:cNvSpPr>
                <p:nvPr/>
              </p:nvSpPr>
              <p:spPr>
                <a:xfrm>
                  <a:off x="4402155" y="487047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09" name="Oval 4808">
                  <a:extLst>
                    <a:ext uri="{FF2B5EF4-FFF2-40B4-BE49-F238E27FC236}">
                      <a16:creationId xmlns:a16="http://schemas.microsoft.com/office/drawing/2014/main" id="{AC525ABA-B54F-2844-99D8-FDA51F26AB19}"/>
                    </a:ext>
                  </a:extLst>
                </p:cNvPr>
                <p:cNvSpPr>
                  <a:spLocks noChangeAspect="1"/>
                </p:cNvSpPr>
                <p:nvPr/>
              </p:nvSpPr>
              <p:spPr>
                <a:xfrm>
                  <a:off x="4256705" y="486649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10" name="Oval 4809">
                  <a:extLst>
                    <a:ext uri="{FF2B5EF4-FFF2-40B4-BE49-F238E27FC236}">
                      <a16:creationId xmlns:a16="http://schemas.microsoft.com/office/drawing/2014/main" id="{78BB6277-66D8-397F-0336-C4F0BEC49D1C}"/>
                    </a:ext>
                  </a:extLst>
                </p:cNvPr>
                <p:cNvSpPr>
                  <a:spLocks noChangeAspect="1"/>
                </p:cNvSpPr>
                <p:nvPr/>
              </p:nvSpPr>
              <p:spPr>
                <a:xfrm>
                  <a:off x="5774880" y="487347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11" name="Oval 4810">
                  <a:extLst>
                    <a:ext uri="{FF2B5EF4-FFF2-40B4-BE49-F238E27FC236}">
                      <a16:creationId xmlns:a16="http://schemas.microsoft.com/office/drawing/2014/main" id="{0D555E15-094E-DB0E-29A4-E0C4E160A6B9}"/>
                    </a:ext>
                  </a:extLst>
                </p:cNvPr>
                <p:cNvSpPr>
                  <a:spLocks noChangeAspect="1"/>
                </p:cNvSpPr>
                <p:nvPr/>
              </p:nvSpPr>
              <p:spPr>
                <a:xfrm>
                  <a:off x="5623919" y="486692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12" name="Oval 4811">
                  <a:extLst>
                    <a:ext uri="{FF2B5EF4-FFF2-40B4-BE49-F238E27FC236}">
                      <a16:creationId xmlns:a16="http://schemas.microsoft.com/office/drawing/2014/main" id="{F1AC7D75-3C3D-84C6-CEF3-9D410F3DB544}"/>
                    </a:ext>
                  </a:extLst>
                </p:cNvPr>
                <p:cNvSpPr>
                  <a:spLocks noChangeAspect="1"/>
                </p:cNvSpPr>
                <p:nvPr/>
              </p:nvSpPr>
              <p:spPr>
                <a:xfrm>
                  <a:off x="4110951" y="486649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13" name="Oval 4812">
                  <a:extLst>
                    <a:ext uri="{FF2B5EF4-FFF2-40B4-BE49-F238E27FC236}">
                      <a16:creationId xmlns:a16="http://schemas.microsoft.com/office/drawing/2014/main" id="{1CFFFFB8-7F59-5198-595F-66FF3880A31F}"/>
                    </a:ext>
                  </a:extLst>
                </p:cNvPr>
                <p:cNvSpPr>
                  <a:spLocks noChangeAspect="1"/>
                </p:cNvSpPr>
                <p:nvPr/>
              </p:nvSpPr>
              <p:spPr>
                <a:xfrm>
                  <a:off x="5622884" y="501645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14" name="Oval 4813">
                  <a:extLst>
                    <a:ext uri="{FF2B5EF4-FFF2-40B4-BE49-F238E27FC236}">
                      <a16:creationId xmlns:a16="http://schemas.microsoft.com/office/drawing/2014/main" id="{F8D0127C-AF67-C75C-DD44-51B397EFD09F}"/>
                    </a:ext>
                  </a:extLst>
                </p:cNvPr>
                <p:cNvSpPr>
                  <a:spLocks noChangeAspect="1"/>
                </p:cNvSpPr>
                <p:nvPr/>
              </p:nvSpPr>
              <p:spPr>
                <a:xfrm>
                  <a:off x="5478278" y="501195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15" name="Oval 4814">
                  <a:extLst>
                    <a:ext uri="{FF2B5EF4-FFF2-40B4-BE49-F238E27FC236}">
                      <a16:creationId xmlns:a16="http://schemas.microsoft.com/office/drawing/2014/main" id="{DEBC7F92-4240-D2F3-BAF9-6CD79F0C5040}"/>
                    </a:ext>
                  </a:extLst>
                </p:cNvPr>
                <p:cNvSpPr>
                  <a:spLocks noChangeAspect="1"/>
                </p:cNvSpPr>
                <p:nvPr/>
              </p:nvSpPr>
              <p:spPr>
                <a:xfrm>
                  <a:off x="5333021" y="501195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16" name="Oval 4815">
                  <a:extLst>
                    <a:ext uri="{FF2B5EF4-FFF2-40B4-BE49-F238E27FC236}">
                      <a16:creationId xmlns:a16="http://schemas.microsoft.com/office/drawing/2014/main" id="{BEC8D590-CC92-5357-4E37-3FDB488983B4}"/>
                    </a:ext>
                  </a:extLst>
                </p:cNvPr>
                <p:cNvSpPr>
                  <a:spLocks noChangeAspect="1"/>
                </p:cNvSpPr>
                <p:nvPr/>
              </p:nvSpPr>
              <p:spPr>
                <a:xfrm>
                  <a:off x="5164001" y="501890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17" name="Oval 4816">
                  <a:extLst>
                    <a:ext uri="{FF2B5EF4-FFF2-40B4-BE49-F238E27FC236}">
                      <a16:creationId xmlns:a16="http://schemas.microsoft.com/office/drawing/2014/main" id="{759E9C23-6720-3206-0A1F-D1D99752DD99}"/>
                    </a:ext>
                  </a:extLst>
                </p:cNvPr>
                <p:cNvSpPr>
                  <a:spLocks noChangeAspect="1"/>
                </p:cNvSpPr>
                <p:nvPr/>
              </p:nvSpPr>
              <p:spPr>
                <a:xfrm>
                  <a:off x="5018557" y="501890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18" name="Oval 4817">
                  <a:extLst>
                    <a:ext uri="{FF2B5EF4-FFF2-40B4-BE49-F238E27FC236}">
                      <a16:creationId xmlns:a16="http://schemas.microsoft.com/office/drawing/2014/main" id="{8C914418-BCF0-451F-E5BE-B5C45AA39287}"/>
                    </a:ext>
                  </a:extLst>
                </p:cNvPr>
                <p:cNvSpPr>
                  <a:spLocks noChangeAspect="1"/>
                </p:cNvSpPr>
                <p:nvPr/>
              </p:nvSpPr>
              <p:spPr>
                <a:xfrm>
                  <a:off x="4867401" y="501195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19" name="Oval 4818">
                  <a:extLst>
                    <a:ext uri="{FF2B5EF4-FFF2-40B4-BE49-F238E27FC236}">
                      <a16:creationId xmlns:a16="http://schemas.microsoft.com/office/drawing/2014/main" id="{7A1B9EF9-44A0-6514-36AE-1652077611D4}"/>
                    </a:ext>
                  </a:extLst>
                </p:cNvPr>
                <p:cNvSpPr>
                  <a:spLocks noChangeAspect="1"/>
                </p:cNvSpPr>
                <p:nvPr/>
              </p:nvSpPr>
              <p:spPr>
                <a:xfrm>
                  <a:off x="4722130" y="501195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20" name="Oval 4819">
                  <a:extLst>
                    <a:ext uri="{FF2B5EF4-FFF2-40B4-BE49-F238E27FC236}">
                      <a16:creationId xmlns:a16="http://schemas.microsoft.com/office/drawing/2014/main" id="{3A0A3D58-68E2-30D9-675C-AFF9ED53CCC0}"/>
                    </a:ext>
                  </a:extLst>
                </p:cNvPr>
                <p:cNvSpPr>
                  <a:spLocks noChangeAspect="1"/>
                </p:cNvSpPr>
                <p:nvPr/>
              </p:nvSpPr>
              <p:spPr>
                <a:xfrm>
                  <a:off x="4553118" y="501890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21" name="Oval 4820">
                  <a:extLst>
                    <a:ext uri="{FF2B5EF4-FFF2-40B4-BE49-F238E27FC236}">
                      <a16:creationId xmlns:a16="http://schemas.microsoft.com/office/drawing/2014/main" id="{14846C18-E848-BD1C-33D7-A96D1839626F}"/>
                    </a:ext>
                  </a:extLst>
                </p:cNvPr>
                <p:cNvSpPr>
                  <a:spLocks noChangeAspect="1"/>
                </p:cNvSpPr>
                <p:nvPr/>
              </p:nvSpPr>
              <p:spPr>
                <a:xfrm>
                  <a:off x="4407672" y="501890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22" name="Oval 4821">
                  <a:extLst>
                    <a:ext uri="{FF2B5EF4-FFF2-40B4-BE49-F238E27FC236}">
                      <a16:creationId xmlns:a16="http://schemas.microsoft.com/office/drawing/2014/main" id="{3F35E669-1FBA-9783-7F16-C017AE2B3A30}"/>
                    </a:ext>
                  </a:extLst>
                </p:cNvPr>
                <p:cNvSpPr>
                  <a:spLocks noChangeAspect="1"/>
                </p:cNvSpPr>
                <p:nvPr/>
              </p:nvSpPr>
              <p:spPr>
                <a:xfrm>
                  <a:off x="4258989" y="501415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23" name="Oval 4822">
                  <a:extLst>
                    <a:ext uri="{FF2B5EF4-FFF2-40B4-BE49-F238E27FC236}">
                      <a16:creationId xmlns:a16="http://schemas.microsoft.com/office/drawing/2014/main" id="{8411CCE4-3BFC-4633-6C53-C601E2D74038}"/>
                    </a:ext>
                  </a:extLst>
                </p:cNvPr>
                <p:cNvSpPr>
                  <a:spLocks noChangeAspect="1"/>
                </p:cNvSpPr>
                <p:nvPr/>
              </p:nvSpPr>
              <p:spPr>
                <a:xfrm>
                  <a:off x="5482530" y="517896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24" name="Oval 4823">
                  <a:extLst>
                    <a:ext uri="{FF2B5EF4-FFF2-40B4-BE49-F238E27FC236}">
                      <a16:creationId xmlns:a16="http://schemas.microsoft.com/office/drawing/2014/main" id="{AD3B1C3B-FEFC-D466-B773-96F5025DBFC4}"/>
                    </a:ext>
                  </a:extLst>
                </p:cNvPr>
                <p:cNvSpPr>
                  <a:spLocks noChangeAspect="1"/>
                </p:cNvSpPr>
                <p:nvPr/>
              </p:nvSpPr>
              <p:spPr>
                <a:xfrm>
                  <a:off x="5337086" y="517896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25" name="Oval 4824">
                  <a:extLst>
                    <a:ext uri="{FF2B5EF4-FFF2-40B4-BE49-F238E27FC236}">
                      <a16:creationId xmlns:a16="http://schemas.microsoft.com/office/drawing/2014/main" id="{C66697A2-F005-17D3-8613-33760B70334B}"/>
                    </a:ext>
                  </a:extLst>
                </p:cNvPr>
                <p:cNvSpPr>
                  <a:spLocks noChangeAspect="1"/>
                </p:cNvSpPr>
                <p:nvPr/>
              </p:nvSpPr>
              <p:spPr>
                <a:xfrm>
                  <a:off x="5164001" y="516436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26" name="Oval 4825">
                  <a:extLst>
                    <a:ext uri="{FF2B5EF4-FFF2-40B4-BE49-F238E27FC236}">
                      <a16:creationId xmlns:a16="http://schemas.microsoft.com/office/drawing/2014/main" id="{A6142B0F-3DE8-9CD4-7D85-3BC8306C415F}"/>
                    </a:ext>
                  </a:extLst>
                </p:cNvPr>
                <p:cNvSpPr>
                  <a:spLocks noChangeAspect="1"/>
                </p:cNvSpPr>
                <p:nvPr/>
              </p:nvSpPr>
              <p:spPr>
                <a:xfrm>
                  <a:off x="5018557" y="516436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27" name="Oval 4826">
                  <a:extLst>
                    <a:ext uri="{FF2B5EF4-FFF2-40B4-BE49-F238E27FC236}">
                      <a16:creationId xmlns:a16="http://schemas.microsoft.com/office/drawing/2014/main" id="{2C8D1408-2467-3A31-44E4-4CC89B2C3F0A}"/>
                    </a:ext>
                  </a:extLst>
                </p:cNvPr>
                <p:cNvSpPr>
                  <a:spLocks noChangeAspect="1"/>
                </p:cNvSpPr>
                <p:nvPr/>
              </p:nvSpPr>
              <p:spPr>
                <a:xfrm>
                  <a:off x="4871661" y="517896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28" name="Oval 4827">
                  <a:extLst>
                    <a:ext uri="{FF2B5EF4-FFF2-40B4-BE49-F238E27FC236}">
                      <a16:creationId xmlns:a16="http://schemas.microsoft.com/office/drawing/2014/main" id="{FAA8705D-237C-A688-56EE-D06E3E94B5D2}"/>
                    </a:ext>
                  </a:extLst>
                </p:cNvPr>
                <p:cNvSpPr>
                  <a:spLocks noChangeAspect="1"/>
                </p:cNvSpPr>
                <p:nvPr/>
              </p:nvSpPr>
              <p:spPr>
                <a:xfrm>
                  <a:off x="4726207" y="517896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29" name="Oval 4828">
                  <a:extLst>
                    <a:ext uri="{FF2B5EF4-FFF2-40B4-BE49-F238E27FC236}">
                      <a16:creationId xmlns:a16="http://schemas.microsoft.com/office/drawing/2014/main" id="{0C472D51-6A21-EC43-CE77-FCE72710A964}"/>
                    </a:ext>
                  </a:extLst>
                </p:cNvPr>
                <p:cNvSpPr>
                  <a:spLocks noChangeAspect="1"/>
                </p:cNvSpPr>
                <p:nvPr/>
              </p:nvSpPr>
              <p:spPr>
                <a:xfrm>
                  <a:off x="4554780" y="516478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30" name="Oval 4829">
                  <a:extLst>
                    <a:ext uri="{FF2B5EF4-FFF2-40B4-BE49-F238E27FC236}">
                      <a16:creationId xmlns:a16="http://schemas.microsoft.com/office/drawing/2014/main" id="{89117B15-F889-C65D-3DC4-6030AD3DDD8F}"/>
                    </a:ext>
                  </a:extLst>
                </p:cNvPr>
                <p:cNvSpPr>
                  <a:spLocks noChangeAspect="1"/>
                </p:cNvSpPr>
                <p:nvPr/>
              </p:nvSpPr>
              <p:spPr>
                <a:xfrm>
                  <a:off x="4407672" y="516436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31" name="Oval 4830">
                  <a:extLst>
                    <a:ext uri="{FF2B5EF4-FFF2-40B4-BE49-F238E27FC236}">
                      <a16:creationId xmlns:a16="http://schemas.microsoft.com/office/drawing/2014/main" id="{DB1966C6-00D0-C149-3B55-2752DBA64631}"/>
                    </a:ext>
                  </a:extLst>
                </p:cNvPr>
                <p:cNvSpPr>
                  <a:spLocks noChangeAspect="1"/>
                </p:cNvSpPr>
                <p:nvPr/>
              </p:nvSpPr>
              <p:spPr>
                <a:xfrm>
                  <a:off x="4260775" y="517896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32" name="Oval 4831">
                  <a:extLst>
                    <a:ext uri="{FF2B5EF4-FFF2-40B4-BE49-F238E27FC236}">
                      <a16:creationId xmlns:a16="http://schemas.microsoft.com/office/drawing/2014/main" id="{AC6F033C-B8AA-56BA-4E99-E2A75B513D6E}"/>
                    </a:ext>
                  </a:extLst>
                </p:cNvPr>
                <p:cNvSpPr>
                  <a:spLocks noChangeAspect="1"/>
                </p:cNvSpPr>
                <p:nvPr/>
              </p:nvSpPr>
              <p:spPr>
                <a:xfrm>
                  <a:off x="5623919" y="533606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33" name="Oval 4832">
                  <a:extLst>
                    <a:ext uri="{FF2B5EF4-FFF2-40B4-BE49-F238E27FC236}">
                      <a16:creationId xmlns:a16="http://schemas.microsoft.com/office/drawing/2014/main" id="{51EA31ED-DB69-795E-B4B3-1B14D00C2B89}"/>
                    </a:ext>
                  </a:extLst>
                </p:cNvPr>
                <p:cNvSpPr>
                  <a:spLocks noChangeAspect="1"/>
                </p:cNvSpPr>
                <p:nvPr/>
              </p:nvSpPr>
              <p:spPr>
                <a:xfrm>
                  <a:off x="5478453" y="533191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34" name="Oval 4833">
                  <a:extLst>
                    <a:ext uri="{FF2B5EF4-FFF2-40B4-BE49-F238E27FC236}">
                      <a16:creationId xmlns:a16="http://schemas.microsoft.com/office/drawing/2014/main" id="{1D50C8A6-6BED-576E-03E4-8C927A8C273B}"/>
                    </a:ext>
                  </a:extLst>
                </p:cNvPr>
                <p:cNvSpPr>
                  <a:spLocks noChangeAspect="1"/>
                </p:cNvSpPr>
                <p:nvPr/>
              </p:nvSpPr>
              <p:spPr>
                <a:xfrm>
                  <a:off x="5333021" y="533191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35" name="Oval 4834">
                  <a:extLst>
                    <a:ext uri="{FF2B5EF4-FFF2-40B4-BE49-F238E27FC236}">
                      <a16:creationId xmlns:a16="http://schemas.microsoft.com/office/drawing/2014/main" id="{1F15F19F-E577-64CD-89B6-F9C819A46C12}"/>
                    </a:ext>
                  </a:extLst>
                </p:cNvPr>
                <p:cNvSpPr>
                  <a:spLocks noChangeAspect="1"/>
                </p:cNvSpPr>
                <p:nvPr/>
              </p:nvSpPr>
              <p:spPr>
                <a:xfrm>
                  <a:off x="5168854" y="533191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36" name="Oval 4835">
                  <a:extLst>
                    <a:ext uri="{FF2B5EF4-FFF2-40B4-BE49-F238E27FC236}">
                      <a16:creationId xmlns:a16="http://schemas.microsoft.com/office/drawing/2014/main" id="{55897731-B07D-0B77-B592-228D1920D8D9}"/>
                    </a:ext>
                  </a:extLst>
                </p:cNvPr>
                <p:cNvSpPr>
                  <a:spLocks noChangeAspect="1"/>
                </p:cNvSpPr>
                <p:nvPr/>
              </p:nvSpPr>
              <p:spPr>
                <a:xfrm>
                  <a:off x="5013029" y="533606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37" name="Oval 4836">
                  <a:extLst>
                    <a:ext uri="{FF2B5EF4-FFF2-40B4-BE49-F238E27FC236}">
                      <a16:creationId xmlns:a16="http://schemas.microsoft.com/office/drawing/2014/main" id="{707117C2-8998-FCAC-5E82-F3A397848F5B}"/>
                    </a:ext>
                  </a:extLst>
                </p:cNvPr>
                <p:cNvSpPr>
                  <a:spLocks noChangeAspect="1"/>
                </p:cNvSpPr>
                <p:nvPr/>
              </p:nvSpPr>
              <p:spPr>
                <a:xfrm>
                  <a:off x="4867596" y="533191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38" name="Oval 4837">
                  <a:extLst>
                    <a:ext uri="{FF2B5EF4-FFF2-40B4-BE49-F238E27FC236}">
                      <a16:creationId xmlns:a16="http://schemas.microsoft.com/office/drawing/2014/main" id="{BD204447-B15F-DFE5-50D0-547917B65CAF}"/>
                    </a:ext>
                  </a:extLst>
                </p:cNvPr>
                <p:cNvSpPr>
                  <a:spLocks noChangeAspect="1"/>
                </p:cNvSpPr>
                <p:nvPr/>
              </p:nvSpPr>
              <p:spPr>
                <a:xfrm>
                  <a:off x="4722130" y="533191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39" name="Oval 4838">
                  <a:extLst>
                    <a:ext uri="{FF2B5EF4-FFF2-40B4-BE49-F238E27FC236}">
                      <a16:creationId xmlns:a16="http://schemas.microsoft.com/office/drawing/2014/main" id="{0946E859-B822-386C-6402-E0B93FAB6C95}"/>
                    </a:ext>
                  </a:extLst>
                </p:cNvPr>
                <p:cNvSpPr>
                  <a:spLocks noChangeAspect="1"/>
                </p:cNvSpPr>
                <p:nvPr/>
              </p:nvSpPr>
              <p:spPr>
                <a:xfrm>
                  <a:off x="4557975" y="533191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40" name="Oval 4839">
                  <a:extLst>
                    <a:ext uri="{FF2B5EF4-FFF2-40B4-BE49-F238E27FC236}">
                      <a16:creationId xmlns:a16="http://schemas.microsoft.com/office/drawing/2014/main" id="{801020D0-9DAE-854D-2280-2F6EC070626F}"/>
                    </a:ext>
                  </a:extLst>
                </p:cNvPr>
                <p:cNvSpPr>
                  <a:spLocks noChangeAspect="1"/>
                </p:cNvSpPr>
                <p:nvPr/>
              </p:nvSpPr>
              <p:spPr>
                <a:xfrm>
                  <a:off x="4402155" y="533191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41" name="Oval 4840">
                  <a:extLst>
                    <a:ext uri="{FF2B5EF4-FFF2-40B4-BE49-F238E27FC236}">
                      <a16:creationId xmlns:a16="http://schemas.microsoft.com/office/drawing/2014/main" id="{18133C16-12AC-4E20-4C8A-76DEADD9A73B}"/>
                    </a:ext>
                  </a:extLst>
                </p:cNvPr>
                <p:cNvSpPr>
                  <a:spLocks noChangeAspect="1"/>
                </p:cNvSpPr>
                <p:nvPr/>
              </p:nvSpPr>
              <p:spPr>
                <a:xfrm>
                  <a:off x="5478453" y="547738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42" name="Oval 4841">
                  <a:extLst>
                    <a:ext uri="{FF2B5EF4-FFF2-40B4-BE49-F238E27FC236}">
                      <a16:creationId xmlns:a16="http://schemas.microsoft.com/office/drawing/2014/main" id="{2DBD960A-0C38-9C6E-7C5F-776CD82CBBBB}"/>
                    </a:ext>
                  </a:extLst>
                </p:cNvPr>
                <p:cNvSpPr>
                  <a:spLocks noChangeAspect="1"/>
                </p:cNvSpPr>
                <p:nvPr/>
              </p:nvSpPr>
              <p:spPr>
                <a:xfrm>
                  <a:off x="4408000" y="549191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43" name="Oval 4842">
                  <a:extLst>
                    <a:ext uri="{FF2B5EF4-FFF2-40B4-BE49-F238E27FC236}">
                      <a16:creationId xmlns:a16="http://schemas.microsoft.com/office/drawing/2014/main" id="{452B01A2-7074-5A02-710D-E370DF71DAE4}"/>
                    </a:ext>
                  </a:extLst>
                </p:cNvPr>
                <p:cNvSpPr>
                  <a:spLocks noChangeAspect="1"/>
                </p:cNvSpPr>
                <p:nvPr/>
              </p:nvSpPr>
              <p:spPr>
                <a:xfrm>
                  <a:off x="5626118" y="547964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44" name="Oval 4843">
                  <a:extLst>
                    <a:ext uri="{FF2B5EF4-FFF2-40B4-BE49-F238E27FC236}">
                      <a16:creationId xmlns:a16="http://schemas.microsoft.com/office/drawing/2014/main" id="{5C9C418B-D804-95B2-8C81-8CE72DF2A911}"/>
                    </a:ext>
                  </a:extLst>
                </p:cNvPr>
                <p:cNvSpPr>
                  <a:spLocks noChangeAspect="1"/>
                </p:cNvSpPr>
                <p:nvPr/>
              </p:nvSpPr>
              <p:spPr>
                <a:xfrm>
                  <a:off x="5332706" y="547738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45" name="Oval 4844">
                  <a:extLst>
                    <a:ext uri="{FF2B5EF4-FFF2-40B4-BE49-F238E27FC236}">
                      <a16:creationId xmlns:a16="http://schemas.microsoft.com/office/drawing/2014/main" id="{9BF1F8BC-AB0D-A564-B3EB-F62669ACC201}"/>
                    </a:ext>
                  </a:extLst>
                </p:cNvPr>
                <p:cNvSpPr>
                  <a:spLocks noChangeAspect="1"/>
                </p:cNvSpPr>
                <p:nvPr/>
              </p:nvSpPr>
              <p:spPr>
                <a:xfrm>
                  <a:off x="5167225" y="547738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46" name="Oval 4845">
                  <a:extLst>
                    <a:ext uri="{FF2B5EF4-FFF2-40B4-BE49-F238E27FC236}">
                      <a16:creationId xmlns:a16="http://schemas.microsoft.com/office/drawing/2014/main" id="{498FBFD0-590A-1763-8470-F478728374AF}"/>
                    </a:ext>
                  </a:extLst>
                </p:cNvPr>
                <p:cNvSpPr>
                  <a:spLocks noChangeAspect="1"/>
                </p:cNvSpPr>
                <p:nvPr/>
              </p:nvSpPr>
              <p:spPr>
                <a:xfrm>
                  <a:off x="5015227" y="547964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47" name="Oval 4846">
                  <a:extLst>
                    <a:ext uri="{FF2B5EF4-FFF2-40B4-BE49-F238E27FC236}">
                      <a16:creationId xmlns:a16="http://schemas.microsoft.com/office/drawing/2014/main" id="{72C5C3C3-117B-D518-4F45-E214C20CCC36}"/>
                    </a:ext>
                  </a:extLst>
                </p:cNvPr>
                <p:cNvSpPr>
                  <a:spLocks noChangeAspect="1"/>
                </p:cNvSpPr>
                <p:nvPr/>
              </p:nvSpPr>
              <p:spPr>
                <a:xfrm>
                  <a:off x="4867281" y="547738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48" name="Oval 4847">
                  <a:extLst>
                    <a:ext uri="{FF2B5EF4-FFF2-40B4-BE49-F238E27FC236}">
                      <a16:creationId xmlns:a16="http://schemas.microsoft.com/office/drawing/2014/main" id="{77B6164B-A021-B9E7-D901-A8A5FF00A566}"/>
                    </a:ext>
                  </a:extLst>
                </p:cNvPr>
                <p:cNvSpPr>
                  <a:spLocks noChangeAspect="1"/>
                </p:cNvSpPr>
                <p:nvPr/>
              </p:nvSpPr>
              <p:spPr>
                <a:xfrm>
                  <a:off x="4721826" y="547738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49" name="Oval 4848">
                  <a:extLst>
                    <a:ext uri="{FF2B5EF4-FFF2-40B4-BE49-F238E27FC236}">
                      <a16:creationId xmlns:a16="http://schemas.microsoft.com/office/drawing/2014/main" id="{4C854652-7B71-6C50-4699-27A9A47527B0}"/>
                    </a:ext>
                  </a:extLst>
                </p:cNvPr>
                <p:cNvSpPr>
                  <a:spLocks noChangeAspect="1"/>
                </p:cNvSpPr>
                <p:nvPr/>
              </p:nvSpPr>
              <p:spPr>
                <a:xfrm>
                  <a:off x="4562789" y="547738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50" name="Oval 4849">
                  <a:extLst>
                    <a:ext uri="{FF2B5EF4-FFF2-40B4-BE49-F238E27FC236}">
                      <a16:creationId xmlns:a16="http://schemas.microsoft.com/office/drawing/2014/main" id="{E78D4270-B139-DBB3-9398-5A93B24394DD}"/>
                    </a:ext>
                  </a:extLst>
                </p:cNvPr>
                <p:cNvSpPr>
                  <a:spLocks noChangeAspect="1"/>
                </p:cNvSpPr>
                <p:nvPr/>
              </p:nvSpPr>
              <p:spPr>
                <a:xfrm>
                  <a:off x="5478453" y="562281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51" name="Oval 4850">
                  <a:extLst>
                    <a:ext uri="{FF2B5EF4-FFF2-40B4-BE49-F238E27FC236}">
                      <a16:creationId xmlns:a16="http://schemas.microsoft.com/office/drawing/2014/main" id="{0E9012F3-330F-DDC1-62CF-1A086FC751FA}"/>
                    </a:ext>
                  </a:extLst>
                </p:cNvPr>
                <p:cNvSpPr>
                  <a:spLocks noChangeAspect="1"/>
                </p:cNvSpPr>
                <p:nvPr/>
              </p:nvSpPr>
              <p:spPr>
                <a:xfrm>
                  <a:off x="5333021" y="563035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52" name="Oval 4851">
                  <a:extLst>
                    <a:ext uri="{FF2B5EF4-FFF2-40B4-BE49-F238E27FC236}">
                      <a16:creationId xmlns:a16="http://schemas.microsoft.com/office/drawing/2014/main" id="{45CE588A-CC64-7DAC-D842-1BCAC6BEC299}"/>
                    </a:ext>
                  </a:extLst>
                </p:cNvPr>
                <p:cNvSpPr>
                  <a:spLocks noChangeAspect="1"/>
                </p:cNvSpPr>
                <p:nvPr/>
              </p:nvSpPr>
              <p:spPr>
                <a:xfrm>
                  <a:off x="5164001" y="562979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53" name="Oval 4852">
                  <a:extLst>
                    <a:ext uri="{FF2B5EF4-FFF2-40B4-BE49-F238E27FC236}">
                      <a16:creationId xmlns:a16="http://schemas.microsoft.com/office/drawing/2014/main" id="{0D12B08A-8318-5631-F2D0-2CB0CDD90566}"/>
                    </a:ext>
                  </a:extLst>
                </p:cNvPr>
                <p:cNvSpPr>
                  <a:spLocks noChangeAspect="1"/>
                </p:cNvSpPr>
                <p:nvPr/>
              </p:nvSpPr>
              <p:spPr>
                <a:xfrm>
                  <a:off x="4845482" y="5600702"/>
                  <a:ext cx="146142" cy="146134"/>
                </a:xfrm>
                <a:prstGeom prst="ellipse">
                  <a:avLst/>
                </a:prstGeom>
                <a:solidFill>
                  <a:srgbClr val="385723"/>
                </a:solidFill>
                <a:ln w="10484" cap="flat">
                  <a:solidFill>
                    <a:sysClr val="window" lastClr="FFFFFF"/>
                  </a:solidFill>
                  <a:prstDash val="solid"/>
                  <a:miter/>
                </a:ln>
                <a:effectLst>
                  <a:outerShdw blurRad="38100" algn="c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4854" name="Oval 4853">
                  <a:extLst>
                    <a:ext uri="{FF2B5EF4-FFF2-40B4-BE49-F238E27FC236}">
                      <a16:creationId xmlns:a16="http://schemas.microsoft.com/office/drawing/2014/main" id="{8CE34090-030A-6A13-7550-646F61A4D8B2}"/>
                    </a:ext>
                  </a:extLst>
                </p:cNvPr>
                <p:cNvSpPr>
                  <a:spLocks noChangeAspect="1"/>
                </p:cNvSpPr>
                <p:nvPr/>
              </p:nvSpPr>
              <p:spPr>
                <a:xfrm>
                  <a:off x="4722130" y="562281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55" name="Oval 4854">
                  <a:extLst>
                    <a:ext uri="{FF2B5EF4-FFF2-40B4-BE49-F238E27FC236}">
                      <a16:creationId xmlns:a16="http://schemas.microsoft.com/office/drawing/2014/main" id="{656BB1C9-470F-FAFC-1F6B-8FF77740AA1C}"/>
                    </a:ext>
                  </a:extLst>
                </p:cNvPr>
                <p:cNvSpPr>
                  <a:spLocks noChangeAspect="1"/>
                </p:cNvSpPr>
                <p:nvPr/>
              </p:nvSpPr>
              <p:spPr>
                <a:xfrm>
                  <a:off x="4553118" y="562979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56" name="Oval 4855">
                  <a:extLst>
                    <a:ext uri="{FF2B5EF4-FFF2-40B4-BE49-F238E27FC236}">
                      <a16:creationId xmlns:a16="http://schemas.microsoft.com/office/drawing/2014/main" id="{F8590E9F-A881-34FD-CE3A-84D4C68F61C7}"/>
                    </a:ext>
                  </a:extLst>
                </p:cNvPr>
                <p:cNvSpPr>
                  <a:spLocks noChangeAspect="1"/>
                </p:cNvSpPr>
                <p:nvPr/>
              </p:nvSpPr>
              <p:spPr>
                <a:xfrm>
                  <a:off x="4407672" y="562979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57" name="Oval 4856">
                  <a:extLst>
                    <a:ext uri="{FF2B5EF4-FFF2-40B4-BE49-F238E27FC236}">
                      <a16:creationId xmlns:a16="http://schemas.microsoft.com/office/drawing/2014/main" id="{E040B6C3-2920-755C-3264-F24D1CDC463D}"/>
                    </a:ext>
                  </a:extLst>
                </p:cNvPr>
                <p:cNvSpPr>
                  <a:spLocks noChangeAspect="1"/>
                </p:cNvSpPr>
                <p:nvPr/>
              </p:nvSpPr>
              <p:spPr>
                <a:xfrm>
                  <a:off x="5482530" y="578982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58" name="Oval 4857">
                  <a:extLst>
                    <a:ext uri="{FF2B5EF4-FFF2-40B4-BE49-F238E27FC236}">
                      <a16:creationId xmlns:a16="http://schemas.microsoft.com/office/drawing/2014/main" id="{74AB3D1B-82A6-8ED1-9EFD-E8E633144981}"/>
                    </a:ext>
                  </a:extLst>
                </p:cNvPr>
                <p:cNvSpPr>
                  <a:spLocks noChangeAspect="1"/>
                </p:cNvSpPr>
                <p:nvPr/>
              </p:nvSpPr>
              <p:spPr>
                <a:xfrm>
                  <a:off x="5337086" y="578982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59" name="Oval 4858">
                  <a:extLst>
                    <a:ext uri="{FF2B5EF4-FFF2-40B4-BE49-F238E27FC236}">
                      <a16:creationId xmlns:a16="http://schemas.microsoft.com/office/drawing/2014/main" id="{EB804C10-0D29-8BE9-F285-4675F024B91E}"/>
                    </a:ext>
                  </a:extLst>
                </p:cNvPr>
                <p:cNvSpPr>
                  <a:spLocks noChangeAspect="1"/>
                </p:cNvSpPr>
                <p:nvPr/>
              </p:nvSpPr>
              <p:spPr>
                <a:xfrm>
                  <a:off x="5166618" y="578087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60" name="Oval 4859">
                  <a:extLst>
                    <a:ext uri="{FF2B5EF4-FFF2-40B4-BE49-F238E27FC236}">
                      <a16:creationId xmlns:a16="http://schemas.microsoft.com/office/drawing/2014/main" id="{A5210E9C-5A51-541A-E974-1B911A4433E5}"/>
                    </a:ext>
                  </a:extLst>
                </p:cNvPr>
                <p:cNvSpPr>
                  <a:spLocks noChangeAspect="1"/>
                </p:cNvSpPr>
                <p:nvPr/>
              </p:nvSpPr>
              <p:spPr>
                <a:xfrm>
                  <a:off x="5013029" y="578087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61" name="Oval 4860">
                  <a:extLst>
                    <a:ext uri="{FF2B5EF4-FFF2-40B4-BE49-F238E27FC236}">
                      <a16:creationId xmlns:a16="http://schemas.microsoft.com/office/drawing/2014/main" id="{1266E521-0095-A1D1-8C83-94D408D1C3DE}"/>
                    </a:ext>
                  </a:extLst>
                </p:cNvPr>
                <p:cNvSpPr>
                  <a:spLocks noChangeAspect="1"/>
                </p:cNvSpPr>
                <p:nvPr/>
              </p:nvSpPr>
              <p:spPr>
                <a:xfrm>
                  <a:off x="4871661" y="578982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62" name="Oval 4861">
                  <a:extLst>
                    <a:ext uri="{FF2B5EF4-FFF2-40B4-BE49-F238E27FC236}">
                      <a16:creationId xmlns:a16="http://schemas.microsoft.com/office/drawing/2014/main" id="{AD332220-AD74-AEB9-245E-BE999010458B}"/>
                    </a:ext>
                  </a:extLst>
                </p:cNvPr>
                <p:cNvSpPr>
                  <a:spLocks noChangeAspect="1"/>
                </p:cNvSpPr>
                <p:nvPr/>
              </p:nvSpPr>
              <p:spPr>
                <a:xfrm>
                  <a:off x="4726207" y="578982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63" name="Oval 4862">
                  <a:extLst>
                    <a:ext uri="{FF2B5EF4-FFF2-40B4-BE49-F238E27FC236}">
                      <a16:creationId xmlns:a16="http://schemas.microsoft.com/office/drawing/2014/main" id="{A35DD179-5F80-670E-25C3-00C7B968701B}"/>
                    </a:ext>
                  </a:extLst>
                </p:cNvPr>
                <p:cNvSpPr>
                  <a:spLocks noChangeAspect="1"/>
                </p:cNvSpPr>
                <p:nvPr/>
              </p:nvSpPr>
              <p:spPr>
                <a:xfrm>
                  <a:off x="4555740" y="578087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64" name="Oval 4863">
                  <a:extLst>
                    <a:ext uri="{FF2B5EF4-FFF2-40B4-BE49-F238E27FC236}">
                      <a16:creationId xmlns:a16="http://schemas.microsoft.com/office/drawing/2014/main" id="{62D73E0D-F24E-5D99-379F-A9588F96CA79}"/>
                    </a:ext>
                  </a:extLst>
                </p:cNvPr>
                <p:cNvSpPr>
                  <a:spLocks noChangeAspect="1"/>
                </p:cNvSpPr>
                <p:nvPr/>
              </p:nvSpPr>
              <p:spPr>
                <a:xfrm>
                  <a:off x="5478453" y="594280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65" name="Oval 4864">
                  <a:extLst>
                    <a:ext uri="{FF2B5EF4-FFF2-40B4-BE49-F238E27FC236}">
                      <a16:creationId xmlns:a16="http://schemas.microsoft.com/office/drawing/2014/main" id="{C210FAE1-2D27-06DC-F25B-04CF80240D13}"/>
                    </a:ext>
                  </a:extLst>
                </p:cNvPr>
                <p:cNvSpPr>
                  <a:spLocks noChangeAspect="1"/>
                </p:cNvSpPr>
                <p:nvPr/>
              </p:nvSpPr>
              <p:spPr>
                <a:xfrm>
                  <a:off x="5333021" y="594280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66" name="Oval 4865">
                  <a:extLst>
                    <a:ext uri="{FF2B5EF4-FFF2-40B4-BE49-F238E27FC236}">
                      <a16:creationId xmlns:a16="http://schemas.microsoft.com/office/drawing/2014/main" id="{3F77D618-4DA6-FC76-1155-095AD40390F2}"/>
                    </a:ext>
                  </a:extLst>
                </p:cNvPr>
                <p:cNvSpPr>
                  <a:spLocks noChangeAspect="1"/>
                </p:cNvSpPr>
                <p:nvPr/>
              </p:nvSpPr>
              <p:spPr>
                <a:xfrm>
                  <a:off x="5158461" y="594280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67" name="Oval 4866">
                  <a:extLst>
                    <a:ext uri="{FF2B5EF4-FFF2-40B4-BE49-F238E27FC236}">
                      <a16:creationId xmlns:a16="http://schemas.microsoft.com/office/drawing/2014/main" id="{5996B9FC-0A73-C2F0-1F33-16F22E9CB209}"/>
                    </a:ext>
                  </a:extLst>
                </p:cNvPr>
                <p:cNvSpPr>
                  <a:spLocks noChangeAspect="1"/>
                </p:cNvSpPr>
                <p:nvPr/>
              </p:nvSpPr>
              <p:spPr>
                <a:xfrm>
                  <a:off x="5013029" y="594694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68" name="Oval 4867">
                  <a:extLst>
                    <a:ext uri="{FF2B5EF4-FFF2-40B4-BE49-F238E27FC236}">
                      <a16:creationId xmlns:a16="http://schemas.microsoft.com/office/drawing/2014/main" id="{BA308EDB-39BB-AADF-FD32-5337FA723383}"/>
                    </a:ext>
                  </a:extLst>
                </p:cNvPr>
                <p:cNvSpPr>
                  <a:spLocks noChangeAspect="1"/>
                </p:cNvSpPr>
                <p:nvPr/>
              </p:nvSpPr>
              <p:spPr>
                <a:xfrm>
                  <a:off x="4867596" y="594280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69" name="Oval 4868">
                  <a:extLst>
                    <a:ext uri="{FF2B5EF4-FFF2-40B4-BE49-F238E27FC236}">
                      <a16:creationId xmlns:a16="http://schemas.microsoft.com/office/drawing/2014/main" id="{8DF4131B-3DFF-F0A6-8D8D-FBDC5928BCCB}"/>
                    </a:ext>
                  </a:extLst>
                </p:cNvPr>
                <p:cNvSpPr>
                  <a:spLocks noChangeAspect="1"/>
                </p:cNvSpPr>
                <p:nvPr/>
              </p:nvSpPr>
              <p:spPr>
                <a:xfrm>
                  <a:off x="4722130" y="594280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70" name="Oval 4869">
                  <a:extLst>
                    <a:ext uri="{FF2B5EF4-FFF2-40B4-BE49-F238E27FC236}">
                      <a16:creationId xmlns:a16="http://schemas.microsoft.com/office/drawing/2014/main" id="{4CD30B15-B54B-3FAD-30F0-C42FCE53F197}"/>
                    </a:ext>
                  </a:extLst>
                </p:cNvPr>
                <p:cNvSpPr>
                  <a:spLocks noChangeAspect="1"/>
                </p:cNvSpPr>
                <p:nvPr/>
              </p:nvSpPr>
              <p:spPr>
                <a:xfrm>
                  <a:off x="5478149" y="608823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71" name="Oval 4870">
                  <a:extLst>
                    <a:ext uri="{FF2B5EF4-FFF2-40B4-BE49-F238E27FC236}">
                      <a16:creationId xmlns:a16="http://schemas.microsoft.com/office/drawing/2014/main" id="{49D8E80B-41A7-6032-F744-19EF917A7E0B}"/>
                    </a:ext>
                  </a:extLst>
                </p:cNvPr>
                <p:cNvSpPr>
                  <a:spLocks noChangeAspect="1"/>
                </p:cNvSpPr>
                <p:nvPr/>
              </p:nvSpPr>
              <p:spPr>
                <a:xfrm>
                  <a:off x="5332706" y="608823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72" name="Oval 4871">
                  <a:extLst>
                    <a:ext uri="{FF2B5EF4-FFF2-40B4-BE49-F238E27FC236}">
                      <a16:creationId xmlns:a16="http://schemas.microsoft.com/office/drawing/2014/main" id="{30A7A215-EB5A-9A75-7F7B-EE54DB692D3E}"/>
                    </a:ext>
                  </a:extLst>
                </p:cNvPr>
                <p:cNvSpPr>
                  <a:spLocks noChangeAspect="1"/>
                </p:cNvSpPr>
                <p:nvPr/>
              </p:nvSpPr>
              <p:spPr>
                <a:xfrm>
                  <a:off x="5164001" y="609521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73" name="Oval 4872">
                  <a:extLst>
                    <a:ext uri="{FF2B5EF4-FFF2-40B4-BE49-F238E27FC236}">
                      <a16:creationId xmlns:a16="http://schemas.microsoft.com/office/drawing/2014/main" id="{F45C6B69-FE7D-B754-1D1B-57B4C8E79D92}"/>
                    </a:ext>
                  </a:extLst>
                </p:cNvPr>
                <p:cNvSpPr>
                  <a:spLocks noChangeAspect="1"/>
                </p:cNvSpPr>
                <p:nvPr/>
              </p:nvSpPr>
              <p:spPr>
                <a:xfrm>
                  <a:off x="4996633" y="6072448"/>
                  <a:ext cx="140205" cy="140195"/>
                </a:xfrm>
                <a:prstGeom prst="ellipse">
                  <a:avLst/>
                </a:prstGeom>
                <a:solidFill>
                  <a:srgbClr val="385723"/>
                </a:solidFill>
                <a:ln w="10484" cap="flat">
                  <a:solidFill>
                    <a:sysClr val="window" lastClr="FFFFFF"/>
                  </a:solidFill>
                  <a:prstDash val="solid"/>
                  <a:miter/>
                </a:ln>
                <a:effectLst>
                  <a:outerShdw blurRad="38100" algn="c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74" name="Oval 4873">
                  <a:extLst>
                    <a:ext uri="{FF2B5EF4-FFF2-40B4-BE49-F238E27FC236}">
                      <a16:creationId xmlns:a16="http://schemas.microsoft.com/office/drawing/2014/main" id="{72CA00E3-8B8C-3A69-F5C2-5F0690F8F170}"/>
                    </a:ext>
                  </a:extLst>
                </p:cNvPr>
                <p:cNvSpPr>
                  <a:spLocks noChangeAspect="1"/>
                </p:cNvSpPr>
                <p:nvPr/>
              </p:nvSpPr>
              <p:spPr>
                <a:xfrm>
                  <a:off x="4867281" y="608823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75" name="Oval 4874">
                  <a:extLst>
                    <a:ext uri="{FF2B5EF4-FFF2-40B4-BE49-F238E27FC236}">
                      <a16:creationId xmlns:a16="http://schemas.microsoft.com/office/drawing/2014/main" id="{CC8558DE-9019-88D0-A116-3BA2FA528846}"/>
                    </a:ext>
                  </a:extLst>
                </p:cNvPr>
                <p:cNvSpPr>
                  <a:spLocks noChangeAspect="1"/>
                </p:cNvSpPr>
                <p:nvPr/>
              </p:nvSpPr>
              <p:spPr>
                <a:xfrm>
                  <a:off x="5333021" y="624124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76" name="Oval 4875">
                  <a:extLst>
                    <a:ext uri="{FF2B5EF4-FFF2-40B4-BE49-F238E27FC236}">
                      <a16:creationId xmlns:a16="http://schemas.microsoft.com/office/drawing/2014/main" id="{EF58563E-9529-923A-F6A5-6AA26911CE8B}"/>
                    </a:ext>
                  </a:extLst>
                </p:cNvPr>
                <p:cNvSpPr>
                  <a:spLocks noChangeAspect="1"/>
                </p:cNvSpPr>
                <p:nvPr/>
              </p:nvSpPr>
              <p:spPr>
                <a:xfrm>
                  <a:off x="5164001" y="624066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77" name="Oval 4876">
                  <a:extLst>
                    <a:ext uri="{FF2B5EF4-FFF2-40B4-BE49-F238E27FC236}">
                      <a16:creationId xmlns:a16="http://schemas.microsoft.com/office/drawing/2014/main" id="{C0A81DA4-9A4E-36E4-4130-37DDD5A770A4}"/>
                    </a:ext>
                  </a:extLst>
                </p:cNvPr>
                <p:cNvSpPr>
                  <a:spLocks noChangeAspect="1"/>
                </p:cNvSpPr>
                <p:nvPr/>
              </p:nvSpPr>
              <p:spPr>
                <a:xfrm>
                  <a:off x="5018557" y="624066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78" name="Oval 4877">
                  <a:extLst>
                    <a:ext uri="{FF2B5EF4-FFF2-40B4-BE49-F238E27FC236}">
                      <a16:creationId xmlns:a16="http://schemas.microsoft.com/office/drawing/2014/main" id="{8B3F3F24-B2C4-AA16-79BB-DAE121A46690}"/>
                    </a:ext>
                  </a:extLst>
                </p:cNvPr>
                <p:cNvSpPr>
                  <a:spLocks noChangeAspect="1"/>
                </p:cNvSpPr>
                <p:nvPr/>
              </p:nvSpPr>
              <p:spPr>
                <a:xfrm>
                  <a:off x="4871575" y="624124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79" name="Oval 4878">
                  <a:extLst>
                    <a:ext uri="{FF2B5EF4-FFF2-40B4-BE49-F238E27FC236}">
                      <a16:creationId xmlns:a16="http://schemas.microsoft.com/office/drawing/2014/main" id="{8F2796FC-30E5-8F70-1FBC-13D25D00EC69}"/>
                    </a:ext>
                  </a:extLst>
                </p:cNvPr>
                <p:cNvSpPr>
                  <a:spLocks noChangeAspect="1"/>
                </p:cNvSpPr>
                <p:nvPr/>
              </p:nvSpPr>
              <p:spPr>
                <a:xfrm>
                  <a:off x="5333021" y="640823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80" name="Oval 4879">
                  <a:extLst>
                    <a:ext uri="{FF2B5EF4-FFF2-40B4-BE49-F238E27FC236}">
                      <a16:creationId xmlns:a16="http://schemas.microsoft.com/office/drawing/2014/main" id="{8BB07058-7E33-7BE7-340F-A9F4338D5969}"/>
                    </a:ext>
                  </a:extLst>
                </p:cNvPr>
                <p:cNvSpPr>
                  <a:spLocks noChangeAspect="1"/>
                </p:cNvSpPr>
                <p:nvPr/>
              </p:nvSpPr>
              <p:spPr>
                <a:xfrm>
                  <a:off x="5158589" y="640823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81" name="Oval 4880">
                  <a:extLst>
                    <a:ext uri="{FF2B5EF4-FFF2-40B4-BE49-F238E27FC236}">
                      <a16:creationId xmlns:a16="http://schemas.microsoft.com/office/drawing/2014/main" id="{3E342FC1-14AD-23C2-CAA4-A97DC0D0702C}"/>
                    </a:ext>
                  </a:extLst>
                </p:cNvPr>
                <p:cNvSpPr>
                  <a:spLocks noChangeAspect="1"/>
                </p:cNvSpPr>
                <p:nvPr/>
              </p:nvSpPr>
              <p:spPr>
                <a:xfrm>
                  <a:off x="5013029" y="640823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82" name="Oval 4881">
                  <a:extLst>
                    <a:ext uri="{FF2B5EF4-FFF2-40B4-BE49-F238E27FC236}">
                      <a16:creationId xmlns:a16="http://schemas.microsoft.com/office/drawing/2014/main" id="{657D14EA-B93A-4F25-8080-80807F234972}"/>
                    </a:ext>
                  </a:extLst>
                </p:cNvPr>
                <p:cNvSpPr>
                  <a:spLocks noChangeAspect="1"/>
                </p:cNvSpPr>
                <p:nvPr/>
              </p:nvSpPr>
              <p:spPr>
                <a:xfrm>
                  <a:off x="4867596" y="640823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83" name="Oval 4882">
                  <a:extLst>
                    <a:ext uri="{FF2B5EF4-FFF2-40B4-BE49-F238E27FC236}">
                      <a16:creationId xmlns:a16="http://schemas.microsoft.com/office/drawing/2014/main" id="{B62FC102-7A7A-0608-D214-3440BDB14B27}"/>
                    </a:ext>
                  </a:extLst>
                </p:cNvPr>
                <p:cNvSpPr>
                  <a:spLocks noChangeAspect="1"/>
                </p:cNvSpPr>
                <p:nvPr/>
              </p:nvSpPr>
              <p:spPr>
                <a:xfrm>
                  <a:off x="5164318" y="655893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84" name="Oval 4883">
                  <a:extLst>
                    <a:ext uri="{FF2B5EF4-FFF2-40B4-BE49-F238E27FC236}">
                      <a16:creationId xmlns:a16="http://schemas.microsoft.com/office/drawing/2014/main" id="{BA6DBE8A-74CD-0DA2-C78D-CD526DE90F05}"/>
                    </a:ext>
                  </a:extLst>
                </p:cNvPr>
                <p:cNvSpPr>
                  <a:spLocks noChangeAspect="1"/>
                </p:cNvSpPr>
                <p:nvPr/>
              </p:nvSpPr>
              <p:spPr>
                <a:xfrm>
                  <a:off x="5013029" y="655781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85" name="Oval 4884">
                  <a:extLst>
                    <a:ext uri="{FF2B5EF4-FFF2-40B4-BE49-F238E27FC236}">
                      <a16:creationId xmlns:a16="http://schemas.microsoft.com/office/drawing/2014/main" id="{C735EFF2-AD3B-6927-1E7D-0453C89D99EF}"/>
                    </a:ext>
                  </a:extLst>
                </p:cNvPr>
                <p:cNvSpPr>
                  <a:spLocks noChangeAspect="1"/>
                </p:cNvSpPr>
                <p:nvPr/>
              </p:nvSpPr>
              <p:spPr>
                <a:xfrm>
                  <a:off x="5018557" y="67060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86" name="Oval 4885">
                  <a:extLst>
                    <a:ext uri="{FF2B5EF4-FFF2-40B4-BE49-F238E27FC236}">
                      <a16:creationId xmlns:a16="http://schemas.microsoft.com/office/drawing/2014/main" id="{9BEEE4E7-7B12-626D-6747-7B78DE83F52A}"/>
                    </a:ext>
                  </a:extLst>
                </p:cNvPr>
                <p:cNvSpPr>
                  <a:spLocks noChangeAspect="1"/>
                </p:cNvSpPr>
                <p:nvPr userDrawn="1"/>
              </p:nvSpPr>
              <p:spPr>
                <a:xfrm>
                  <a:off x="5021961" y="562281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4223" name="Oval 4222">
                <a:extLst>
                  <a:ext uri="{FF2B5EF4-FFF2-40B4-BE49-F238E27FC236}">
                    <a16:creationId xmlns:a16="http://schemas.microsoft.com/office/drawing/2014/main" id="{74E4BB0B-65CE-EC37-7A38-504AF0167BA9}"/>
                  </a:ext>
                </a:extLst>
              </p:cNvPr>
              <p:cNvSpPr>
                <a:spLocks noChangeAspect="1"/>
              </p:cNvSpPr>
              <p:nvPr/>
            </p:nvSpPr>
            <p:spPr>
              <a:xfrm>
                <a:off x="6693061" y="2271361"/>
                <a:ext cx="117511" cy="112034"/>
              </a:xfrm>
              <a:prstGeom prst="ellipse">
                <a:avLst/>
              </a:prstGeom>
              <a:solidFill>
                <a:srgbClr val="385723"/>
              </a:solidFill>
              <a:ln w="10484" cap="flat">
                <a:solidFill>
                  <a:sysClr val="window" lastClr="FFFFFF"/>
                </a:solidFill>
                <a:prstDash val="solid"/>
                <a:miter/>
              </a:ln>
              <a:effectLst>
                <a:outerShdw blurRad="38100" algn="c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4224" name="Oval 4223">
                <a:extLst>
                  <a:ext uri="{FF2B5EF4-FFF2-40B4-BE49-F238E27FC236}">
                    <a16:creationId xmlns:a16="http://schemas.microsoft.com/office/drawing/2014/main" id="{1FF63DBD-78B8-9F16-C721-2FFC07717D7C}"/>
                  </a:ext>
                </a:extLst>
              </p:cNvPr>
              <p:cNvSpPr>
                <a:spLocks noChangeAspect="1"/>
              </p:cNvSpPr>
              <p:nvPr/>
            </p:nvSpPr>
            <p:spPr>
              <a:xfrm>
                <a:off x="8657851" y="3367514"/>
                <a:ext cx="117511" cy="112034"/>
              </a:xfrm>
              <a:prstGeom prst="ellipse">
                <a:avLst/>
              </a:prstGeom>
              <a:solidFill>
                <a:srgbClr val="385723"/>
              </a:solidFill>
              <a:ln w="10484" cap="flat">
                <a:solidFill>
                  <a:sysClr val="window" lastClr="FFFFFF"/>
                </a:solidFill>
                <a:prstDash val="solid"/>
                <a:miter/>
              </a:ln>
              <a:effectLst>
                <a:outerShdw blurRad="38100" algn="c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4225" name="Oval 4224">
                <a:extLst>
                  <a:ext uri="{FF2B5EF4-FFF2-40B4-BE49-F238E27FC236}">
                    <a16:creationId xmlns:a16="http://schemas.microsoft.com/office/drawing/2014/main" id="{34796879-3509-4944-971E-AD7E4A7E29A1}"/>
                  </a:ext>
                </a:extLst>
              </p:cNvPr>
              <p:cNvSpPr>
                <a:spLocks noChangeAspect="1"/>
              </p:cNvSpPr>
              <p:nvPr/>
            </p:nvSpPr>
            <p:spPr>
              <a:xfrm>
                <a:off x="5837128" y="3367514"/>
                <a:ext cx="117511" cy="112034"/>
              </a:xfrm>
              <a:prstGeom prst="ellipse">
                <a:avLst/>
              </a:prstGeom>
              <a:solidFill>
                <a:srgbClr val="385723"/>
              </a:solidFill>
              <a:ln w="10484" cap="flat">
                <a:solidFill>
                  <a:sysClr val="window" lastClr="FFFFFF"/>
                </a:solidFill>
                <a:prstDash val="solid"/>
                <a:miter/>
              </a:ln>
              <a:effectLst>
                <a:outerShdw blurRad="38100" algn="c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4226" name="Oval 4225">
                <a:extLst>
                  <a:ext uri="{FF2B5EF4-FFF2-40B4-BE49-F238E27FC236}">
                    <a16:creationId xmlns:a16="http://schemas.microsoft.com/office/drawing/2014/main" id="{401DF1CF-1E8B-17FE-CC43-0D59F99FAA39}"/>
                  </a:ext>
                </a:extLst>
              </p:cNvPr>
              <p:cNvSpPr>
                <a:spLocks noChangeAspect="1"/>
              </p:cNvSpPr>
              <p:nvPr/>
            </p:nvSpPr>
            <p:spPr>
              <a:xfrm>
                <a:off x="5839827" y="4116027"/>
                <a:ext cx="117511" cy="112034"/>
              </a:xfrm>
              <a:prstGeom prst="ellipse">
                <a:avLst/>
              </a:prstGeom>
              <a:solidFill>
                <a:srgbClr val="385723"/>
              </a:solidFill>
              <a:ln w="10484" cap="flat">
                <a:solidFill>
                  <a:sysClr val="window" lastClr="FFFFFF"/>
                </a:solidFill>
                <a:prstDash val="solid"/>
                <a:miter/>
              </a:ln>
              <a:effectLst>
                <a:outerShdw blurRad="38100" algn="c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4227" name="Oval 4226">
                <a:extLst>
                  <a:ext uri="{FF2B5EF4-FFF2-40B4-BE49-F238E27FC236}">
                    <a16:creationId xmlns:a16="http://schemas.microsoft.com/office/drawing/2014/main" id="{D666AB10-F3D7-2CF0-B335-34B19C639E47}"/>
                  </a:ext>
                </a:extLst>
              </p:cNvPr>
              <p:cNvSpPr>
                <a:spLocks noChangeAspect="1"/>
              </p:cNvSpPr>
              <p:nvPr/>
            </p:nvSpPr>
            <p:spPr>
              <a:xfrm>
                <a:off x="6086744" y="4234736"/>
                <a:ext cx="117511" cy="112034"/>
              </a:xfrm>
              <a:prstGeom prst="ellipse">
                <a:avLst/>
              </a:prstGeom>
              <a:solidFill>
                <a:srgbClr val="385723"/>
              </a:solidFill>
              <a:ln w="10484" cap="flat">
                <a:solidFill>
                  <a:sysClr val="window" lastClr="FFFFFF"/>
                </a:solidFill>
                <a:prstDash val="solid"/>
                <a:miter/>
              </a:ln>
              <a:effectLst>
                <a:outerShdw blurRad="38100" algn="c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4228" name="Oval 4227">
                <a:extLst>
                  <a:ext uri="{FF2B5EF4-FFF2-40B4-BE49-F238E27FC236}">
                    <a16:creationId xmlns:a16="http://schemas.microsoft.com/office/drawing/2014/main" id="{5DC6E0A6-2604-9070-7EF2-DE12E23C9220}"/>
                  </a:ext>
                </a:extLst>
              </p:cNvPr>
              <p:cNvSpPr>
                <a:spLocks noChangeAspect="1"/>
              </p:cNvSpPr>
              <p:nvPr/>
            </p:nvSpPr>
            <p:spPr>
              <a:xfrm>
                <a:off x="6814456" y="4355521"/>
                <a:ext cx="117511" cy="112034"/>
              </a:xfrm>
              <a:prstGeom prst="ellipse">
                <a:avLst/>
              </a:prstGeom>
              <a:solidFill>
                <a:srgbClr val="385723"/>
              </a:solidFill>
              <a:ln w="10484" cap="flat">
                <a:solidFill>
                  <a:sysClr val="window" lastClr="FFFFFF"/>
                </a:solidFill>
                <a:prstDash val="solid"/>
                <a:miter/>
              </a:ln>
              <a:effectLst>
                <a:outerShdw blurRad="38100" algn="c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4229" name="Oval 4228">
                <a:extLst>
                  <a:ext uri="{FF2B5EF4-FFF2-40B4-BE49-F238E27FC236}">
                    <a16:creationId xmlns:a16="http://schemas.microsoft.com/office/drawing/2014/main" id="{D6A68F93-8BC8-4493-78B5-F64B6D9E40C6}"/>
                  </a:ext>
                </a:extLst>
              </p:cNvPr>
              <p:cNvSpPr>
                <a:spLocks noChangeAspect="1"/>
              </p:cNvSpPr>
              <p:nvPr/>
            </p:nvSpPr>
            <p:spPr>
              <a:xfrm>
                <a:off x="7188699" y="5220975"/>
                <a:ext cx="117511" cy="112034"/>
              </a:xfrm>
              <a:prstGeom prst="ellipse">
                <a:avLst/>
              </a:prstGeom>
              <a:solidFill>
                <a:srgbClr val="385723"/>
              </a:solidFill>
              <a:ln w="10484" cap="flat">
                <a:solidFill>
                  <a:sysClr val="window" lastClr="FFFFFF"/>
                </a:solidFill>
                <a:prstDash val="solid"/>
                <a:miter/>
              </a:ln>
              <a:effectLst>
                <a:outerShdw blurRad="38100" algn="c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4230" name="Oval 4229">
                <a:extLst>
                  <a:ext uri="{FF2B5EF4-FFF2-40B4-BE49-F238E27FC236}">
                    <a16:creationId xmlns:a16="http://schemas.microsoft.com/office/drawing/2014/main" id="{7302B21C-A38B-F9E5-342F-78532DB85A6E}"/>
                  </a:ext>
                </a:extLst>
              </p:cNvPr>
              <p:cNvSpPr>
                <a:spLocks noChangeAspect="1"/>
              </p:cNvSpPr>
              <p:nvPr/>
            </p:nvSpPr>
            <p:spPr>
              <a:xfrm>
                <a:off x="6327156" y="5472666"/>
                <a:ext cx="117511" cy="112034"/>
              </a:xfrm>
              <a:prstGeom prst="ellipse">
                <a:avLst/>
              </a:prstGeom>
              <a:solidFill>
                <a:srgbClr val="385723"/>
              </a:solidFill>
              <a:ln w="10484" cap="flat">
                <a:solidFill>
                  <a:sysClr val="window" lastClr="FFFFFF"/>
                </a:solidFill>
                <a:prstDash val="solid"/>
                <a:miter/>
              </a:ln>
              <a:effectLst>
                <a:outerShdw blurRad="38100" algn="c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4231" name="Oval 4230">
                <a:extLst>
                  <a:ext uri="{FF2B5EF4-FFF2-40B4-BE49-F238E27FC236}">
                    <a16:creationId xmlns:a16="http://schemas.microsoft.com/office/drawing/2014/main" id="{02D83133-AF2D-A372-FA0D-F9D54BA711A7}"/>
                  </a:ext>
                </a:extLst>
              </p:cNvPr>
              <p:cNvSpPr>
                <a:spLocks noChangeAspect="1"/>
              </p:cNvSpPr>
              <p:nvPr/>
            </p:nvSpPr>
            <p:spPr>
              <a:xfrm>
                <a:off x="6458906" y="5589606"/>
                <a:ext cx="117511" cy="112034"/>
              </a:xfrm>
              <a:prstGeom prst="ellipse">
                <a:avLst/>
              </a:prstGeom>
              <a:solidFill>
                <a:srgbClr val="385723"/>
              </a:solidFill>
              <a:ln w="10484" cap="flat">
                <a:solidFill>
                  <a:sysClr val="window" lastClr="FFFFFF"/>
                </a:solidFill>
                <a:prstDash val="solid"/>
                <a:miter/>
              </a:ln>
              <a:effectLst>
                <a:outerShdw blurRad="38100" algn="c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4232" name="Oval 4231">
                <a:extLst>
                  <a:ext uri="{FF2B5EF4-FFF2-40B4-BE49-F238E27FC236}">
                    <a16:creationId xmlns:a16="http://schemas.microsoft.com/office/drawing/2014/main" id="{21986BCE-6448-A332-B792-2BD402706E28}"/>
                  </a:ext>
                </a:extLst>
              </p:cNvPr>
              <p:cNvSpPr>
                <a:spLocks noChangeAspect="1"/>
              </p:cNvSpPr>
              <p:nvPr/>
            </p:nvSpPr>
            <p:spPr>
              <a:xfrm>
                <a:off x="6459152" y="5712637"/>
                <a:ext cx="117511" cy="112034"/>
              </a:xfrm>
              <a:prstGeom prst="ellipse">
                <a:avLst/>
              </a:prstGeom>
              <a:solidFill>
                <a:srgbClr val="385723"/>
              </a:solidFill>
              <a:ln w="10484" cap="flat">
                <a:solidFill>
                  <a:sysClr val="window" lastClr="FFFFFF"/>
                </a:solidFill>
                <a:prstDash val="solid"/>
                <a:miter/>
              </a:ln>
              <a:effectLst>
                <a:outerShdw blurRad="38100" algn="c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4233" name="Oval 4232">
                <a:extLst>
                  <a:ext uri="{FF2B5EF4-FFF2-40B4-BE49-F238E27FC236}">
                    <a16:creationId xmlns:a16="http://schemas.microsoft.com/office/drawing/2014/main" id="{25512A40-BE4A-3030-73D1-0BFD338F209D}"/>
                  </a:ext>
                </a:extLst>
              </p:cNvPr>
              <p:cNvSpPr>
                <a:spLocks noChangeAspect="1"/>
              </p:cNvSpPr>
              <p:nvPr/>
            </p:nvSpPr>
            <p:spPr>
              <a:xfrm>
                <a:off x="6459152" y="5846908"/>
                <a:ext cx="117511" cy="112034"/>
              </a:xfrm>
              <a:prstGeom prst="ellipse">
                <a:avLst/>
              </a:prstGeom>
              <a:solidFill>
                <a:srgbClr val="385723"/>
              </a:solidFill>
              <a:ln w="10484" cap="flat">
                <a:solidFill>
                  <a:sysClr val="window" lastClr="FFFFFF"/>
                </a:solidFill>
                <a:prstDash val="solid"/>
                <a:miter/>
              </a:ln>
              <a:effectLst>
                <a:outerShdw blurRad="38100" algn="c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4234" name="Oval 4233">
                <a:extLst>
                  <a:ext uri="{FF2B5EF4-FFF2-40B4-BE49-F238E27FC236}">
                    <a16:creationId xmlns:a16="http://schemas.microsoft.com/office/drawing/2014/main" id="{F7AF6B82-66D2-C6C2-FC6D-B3EB2251D8FE}"/>
                  </a:ext>
                </a:extLst>
              </p:cNvPr>
              <p:cNvSpPr>
                <a:spLocks noChangeAspect="1"/>
              </p:cNvSpPr>
              <p:nvPr/>
            </p:nvSpPr>
            <p:spPr>
              <a:xfrm>
                <a:off x="6576120" y="5963876"/>
                <a:ext cx="117511" cy="112034"/>
              </a:xfrm>
              <a:prstGeom prst="ellipse">
                <a:avLst/>
              </a:prstGeom>
              <a:solidFill>
                <a:srgbClr val="385723"/>
              </a:solidFill>
              <a:ln w="10484" cap="flat">
                <a:solidFill>
                  <a:sysClr val="window" lastClr="FFFFFF"/>
                </a:solidFill>
                <a:prstDash val="solid"/>
                <a:miter/>
              </a:ln>
              <a:effectLst>
                <a:outerShdw blurRad="38100" algn="c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4235" name="Oval 4234">
                <a:extLst>
                  <a:ext uri="{FF2B5EF4-FFF2-40B4-BE49-F238E27FC236}">
                    <a16:creationId xmlns:a16="http://schemas.microsoft.com/office/drawing/2014/main" id="{8AD026AC-A4A0-EFAD-783F-CBD544566879}"/>
                  </a:ext>
                </a:extLst>
              </p:cNvPr>
              <p:cNvSpPr>
                <a:spLocks noChangeAspect="1"/>
              </p:cNvSpPr>
              <p:nvPr/>
            </p:nvSpPr>
            <p:spPr>
              <a:xfrm>
                <a:off x="6607078" y="6049071"/>
                <a:ext cx="117511" cy="112034"/>
              </a:xfrm>
              <a:prstGeom prst="ellipse">
                <a:avLst/>
              </a:prstGeom>
              <a:solidFill>
                <a:srgbClr val="385723"/>
              </a:solidFill>
              <a:ln w="10484" cap="flat">
                <a:solidFill>
                  <a:sysClr val="window" lastClr="FFFFFF"/>
                </a:solidFill>
                <a:prstDash val="solid"/>
                <a:miter/>
              </a:ln>
              <a:effectLst>
                <a:outerShdw blurRad="38100" algn="c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4236" name="Oval 4235">
                <a:extLst>
                  <a:ext uri="{FF2B5EF4-FFF2-40B4-BE49-F238E27FC236}">
                    <a16:creationId xmlns:a16="http://schemas.microsoft.com/office/drawing/2014/main" id="{AA784F04-81B7-7113-B865-8EF1E6D47E7F}"/>
                  </a:ext>
                </a:extLst>
              </p:cNvPr>
              <p:cNvSpPr>
                <a:spLocks noChangeAspect="1"/>
              </p:cNvSpPr>
              <p:nvPr userDrawn="1"/>
            </p:nvSpPr>
            <p:spPr>
              <a:xfrm>
                <a:off x="6355208" y="5526741"/>
                <a:ext cx="117511" cy="112034"/>
              </a:xfrm>
              <a:prstGeom prst="ellipse">
                <a:avLst/>
              </a:prstGeom>
              <a:solidFill>
                <a:srgbClr val="385723"/>
              </a:solidFill>
              <a:ln w="10484" cap="flat">
                <a:solidFill>
                  <a:sysClr val="window" lastClr="FFFFFF"/>
                </a:solidFill>
                <a:prstDash val="solid"/>
                <a:miter/>
              </a:ln>
              <a:effectLst>
                <a:outerShdw blurRad="38100" algn="c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grpSp>
        <p:sp>
          <p:nvSpPr>
            <p:cNvPr id="4205" name="TextBox 4204">
              <a:extLst>
                <a:ext uri="{FF2B5EF4-FFF2-40B4-BE49-F238E27FC236}">
                  <a16:creationId xmlns:a16="http://schemas.microsoft.com/office/drawing/2014/main" id="{5A42270C-F754-806C-D93F-F38D7DB0AD39}"/>
                </a:ext>
              </a:extLst>
            </p:cNvPr>
            <p:cNvSpPr txBox="1"/>
            <p:nvPr userDrawn="1"/>
          </p:nvSpPr>
          <p:spPr>
            <a:xfrm>
              <a:off x="7491663" y="2645537"/>
              <a:ext cx="777369" cy="153888"/>
            </a:xfrm>
            <a:prstGeom prst="rect">
              <a:avLst/>
            </a:prstGeom>
            <a:noFill/>
          </p:spPr>
          <p:txBody>
            <a:bodyPr wrap="square" lIns="0" tIns="0" rIns="0" bIns="0" anchor="ctr">
              <a:spAutoFit/>
            </a:bodyPr>
            <a:lstStyle>
              <a:defPPr>
                <a:defRPr lang="en-US"/>
              </a:defPPr>
              <a:lvl1pPr>
                <a:spcBef>
                  <a:spcPts val="200"/>
                </a:spcBef>
                <a:spcAft>
                  <a:spcPts val="200"/>
                </a:spcAft>
                <a:defRPr sz="1200" b="1">
                  <a:latin typeface="+mj-lt"/>
                </a:defRPr>
              </a:lvl1pPr>
            </a:lstStyle>
            <a:p>
              <a:pPr marL="0" marR="0" lvl="0" indent="0" algn="r" defTabSz="914400" eaLnBrk="1" fontAlgn="auto" latinLnBrk="0" hangingPunct="1">
                <a:lnSpc>
                  <a:spcPct val="100000"/>
                </a:lnSpc>
                <a:spcBef>
                  <a:spcPts val="200"/>
                </a:spcBef>
                <a:spcAft>
                  <a:spcPts val="20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rPr>
                <a:t>Ahmedabad</a:t>
              </a:r>
            </a:p>
          </p:txBody>
        </p:sp>
        <p:sp>
          <p:nvSpPr>
            <p:cNvPr id="4206" name="TextBox 4205">
              <a:extLst>
                <a:ext uri="{FF2B5EF4-FFF2-40B4-BE49-F238E27FC236}">
                  <a16:creationId xmlns:a16="http://schemas.microsoft.com/office/drawing/2014/main" id="{D23C6DCE-8326-45FC-0447-83712F1E7F46}"/>
                </a:ext>
              </a:extLst>
            </p:cNvPr>
            <p:cNvSpPr txBox="1"/>
            <p:nvPr userDrawn="1"/>
          </p:nvSpPr>
          <p:spPr>
            <a:xfrm>
              <a:off x="6934032" y="3480277"/>
              <a:ext cx="842882" cy="153888"/>
            </a:xfrm>
            <a:prstGeom prst="rect">
              <a:avLst/>
            </a:prstGeom>
            <a:noFill/>
          </p:spPr>
          <p:txBody>
            <a:bodyPr wrap="square" lIns="0" tIns="0" rIns="0" bIns="0" anchor="ctr">
              <a:spAutoFit/>
            </a:bodyPr>
            <a:lstStyle>
              <a:defPPr>
                <a:defRPr lang="en-US"/>
              </a:defPPr>
              <a:lvl1pPr>
                <a:spcBef>
                  <a:spcPts val="200"/>
                </a:spcBef>
                <a:spcAft>
                  <a:spcPts val="200"/>
                </a:spcAft>
                <a:defRPr sz="1200" b="1">
                  <a:latin typeface="+mj-lt"/>
                </a:defRPr>
              </a:lvl1pPr>
            </a:lstStyle>
            <a:p>
              <a:pPr marL="0" marR="0" lvl="0" indent="0" algn="r" defTabSz="914400" eaLnBrk="1" fontAlgn="auto" latinLnBrk="0" hangingPunct="1">
                <a:lnSpc>
                  <a:spcPct val="100000"/>
                </a:lnSpc>
                <a:spcBef>
                  <a:spcPts val="200"/>
                </a:spcBef>
                <a:spcAft>
                  <a:spcPts val="20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rPr>
                <a:t>Mumbai</a:t>
              </a:r>
            </a:p>
          </p:txBody>
        </p:sp>
        <p:sp>
          <p:nvSpPr>
            <p:cNvPr id="4207" name="TextBox 4206">
              <a:extLst>
                <a:ext uri="{FF2B5EF4-FFF2-40B4-BE49-F238E27FC236}">
                  <a16:creationId xmlns:a16="http://schemas.microsoft.com/office/drawing/2014/main" id="{74889D6E-8BAC-057A-E8B6-7E622AF42E0D}"/>
                </a:ext>
              </a:extLst>
            </p:cNvPr>
            <p:cNvSpPr txBox="1"/>
            <p:nvPr userDrawn="1"/>
          </p:nvSpPr>
          <p:spPr>
            <a:xfrm>
              <a:off x="7308845" y="3640142"/>
              <a:ext cx="623864" cy="153888"/>
            </a:xfrm>
            <a:prstGeom prst="rect">
              <a:avLst/>
            </a:prstGeom>
            <a:noFill/>
          </p:spPr>
          <p:txBody>
            <a:bodyPr wrap="square" lIns="0" tIns="0" rIns="0" bIns="0" anchor="ctr">
              <a:spAutoFit/>
            </a:bodyPr>
            <a:lstStyle>
              <a:defPPr>
                <a:defRPr lang="en-US"/>
              </a:defPPr>
              <a:lvl1pPr>
                <a:spcBef>
                  <a:spcPts val="200"/>
                </a:spcBef>
                <a:spcAft>
                  <a:spcPts val="200"/>
                </a:spcAft>
                <a:defRPr sz="1200" b="1">
                  <a:latin typeface="+mj-lt"/>
                </a:defRPr>
              </a:lvl1pPr>
            </a:lstStyle>
            <a:p>
              <a:pPr marL="0" marR="0" lvl="0" indent="0" algn="r" defTabSz="914400" eaLnBrk="1" fontAlgn="auto" latinLnBrk="0" hangingPunct="1">
                <a:lnSpc>
                  <a:spcPct val="100000"/>
                </a:lnSpc>
                <a:spcBef>
                  <a:spcPts val="200"/>
                </a:spcBef>
                <a:spcAft>
                  <a:spcPts val="20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rPr>
                <a:t>Pune</a:t>
              </a:r>
            </a:p>
          </p:txBody>
        </p:sp>
        <p:sp>
          <p:nvSpPr>
            <p:cNvPr id="4208" name="TextBox 4207">
              <a:extLst>
                <a:ext uri="{FF2B5EF4-FFF2-40B4-BE49-F238E27FC236}">
                  <a16:creationId xmlns:a16="http://schemas.microsoft.com/office/drawing/2014/main" id="{B5B11B7D-E4F0-7F91-8EF2-4F00FC7E450B}"/>
                </a:ext>
              </a:extLst>
            </p:cNvPr>
            <p:cNvSpPr txBox="1"/>
            <p:nvPr userDrawn="1"/>
          </p:nvSpPr>
          <p:spPr>
            <a:xfrm>
              <a:off x="7306005" y="4848210"/>
              <a:ext cx="975707" cy="153888"/>
            </a:xfrm>
            <a:prstGeom prst="rect">
              <a:avLst/>
            </a:prstGeom>
            <a:noFill/>
          </p:spPr>
          <p:txBody>
            <a:bodyPr wrap="square" lIns="0" tIns="0" rIns="0" bIns="0" anchor="ctr">
              <a:spAutoFit/>
            </a:bodyPr>
            <a:lstStyle>
              <a:defPPr>
                <a:defRPr lang="en-US"/>
              </a:defPPr>
              <a:lvl1pPr>
                <a:spcBef>
                  <a:spcPts val="200"/>
                </a:spcBef>
                <a:spcAft>
                  <a:spcPts val="200"/>
                </a:spcAft>
                <a:defRPr sz="1200" b="1">
                  <a:latin typeface="+mj-lt"/>
                </a:defRPr>
              </a:lvl1pPr>
            </a:lstStyle>
            <a:p>
              <a:pPr marL="0" marR="0" lvl="0" indent="0" algn="r" defTabSz="914400" eaLnBrk="1" fontAlgn="auto" latinLnBrk="0" hangingPunct="1">
                <a:lnSpc>
                  <a:spcPct val="100000"/>
                </a:lnSpc>
                <a:spcBef>
                  <a:spcPts val="200"/>
                </a:spcBef>
                <a:spcAft>
                  <a:spcPts val="20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rPr>
                <a:t>Kozhikode</a:t>
              </a:r>
            </a:p>
          </p:txBody>
        </p:sp>
        <p:sp>
          <p:nvSpPr>
            <p:cNvPr id="4209" name="TextBox 4208">
              <a:extLst>
                <a:ext uri="{FF2B5EF4-FFF2-40B4-BE49-F238E27FC236}">
                  <a16:creationId xmlns:a16="http://schemas.microsoft.com/office/drawing/2014/main" id="{1348629D-E4D0-9246-3196-E2BE4385CAFF}"/>
                </a:ext>
              </a:extLst>
            </p:cNvPr>
            <p:cNvSpPr txBox="1"/>
            <p:nvPr userDrawn="1"/>
          </p:nvSpPr>
          <p:spPr>
            <a:xfrm>
              <a:off x="7891486" y="4975893"/>
              <a:ext cx="464576" cy="153888"/>
            </a:xfrm>
            <a:prstGeom prst="rect">
              <a:avLst/>
            </a:prstGeom>
            <a:noFill/>
          </p:spPr>
          <p:txBody>
            <a:bodyPr wrap="square" lIns="0" tIns="0" rIns="0" bIns="0" anchor="ctr">
              <a:spAutoFit/>
            </a:bodyPr>
            <a:lstStyle>
              <a:defPPr>
                <a:defRPr lang="en-US"/>
              </a:defPPr>
              <a:lvl1pPr>
                <a:spcBef>
                  <a:spcPts val="200"/>
                </a:spcBef>
                <a:spcAft>
                  <a:spcPts val="200"/>
                </a:spcAft>
                <a:defRPr sz="1200" b="1">
                  <a:latin typeface="+mj-lt"/>
                </a:defRPr>
              </a:lvl1pPr>
            </a:lstStyle>
            <a:p>
              <a:pPr marL="0" marR="0" lvl="0" indent="0" algn="r" defTabSz="914400" eaLnBrk="1" fontAlgn="auto" latinLnBrk="0" hangingPunct="1">
                <a:lnSpc>
                  <a:spcPct val="100000"/>
                </a:lnSpc>
                <a:spcBef>
                  <a:spcPts val="200"/>
                </a:spcBef>
                <a:spcAft>
                  <a:spcPts val="20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rPr>
                <a:t>Cochin</a:t>
              </a:r>
            </a:p>
          </p:txBody>
        </p:sp>
        <p:sp>
          <p:nvSpPr>
            <p:cNvPr id="4210" name="TextBox 4209">
              <a:extLst>
                <a:ext uri="{FF2B5EF4-FFF2-40B4-BE49-F238E27FC236}">
                  <a16:creationId xmlns:a16="http://schemas.microsoft.com/office/drawing/2014/main" id="{73885710-780B-5A67-D672-492C91844BC9}"/>
                </a:ext>
              </a:extLst>
            </p:cNvPr>
            <p:cNvSpPr txBox="1"/>
            <p:nvPr userDrawn="1"/>
          </p:nvSpPr>
          <p:spPr>
            <a:xfrm>
              <a:off x="7471816" y="5112061"/>
              <a:ext cx="904588" cy="153888"/>
            </a:xfrm>
            <a:prstGeom prst="rect">
              <a:avLst/>
            </a:prstGeom>
            <a:noFill/>
          </p:spPr>
          <p:txBody>
            <a:bodyPr wrap="square" lIns="0" tIns="0" rIns="0" bIns="0" anchor="ctr">
              <a:spAutoFit/>
            </a:bodyPr>
            <a:lstStyle>
              <a:defPPr>
                <a:defRPr lang="en-US"/>
              </a:defPPr>
              <a:lvl1pPr>
                <a:spcBef>
                  <a:spcPts val="200"/>
                </a:spcBef>
                <a:spcAft>
                  <a:spcPts val="200"/>
                </a:spcAft>
                <a:defRPr sz="1200" b="1">
                  <a:latin typeface="+mj-lt"/>
                </a:defRPr>
              </a:lvl1pPr>
            </a:lstStyle>
            <a:p>
              <a:pPr marL="0" marR="0" lvl="0" indent="0" algn="r" defTabSz="914400" eaLnBrk="1" fontAlgn="auto" latinLnBrk="0" hangingPunct="1">
                <a:lnSpc>
                  <a:spcPct val="100000"/>
                </a:lnSpc>
                <a:spcBef>
                  <a:spcPts val="200"/>
                </a:spcBef>
                <a:spcAft>
                  <a:spcPts val="20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rPr>
                <a:t>Kottayam</a:t>
              </a:r>
            </a:p>
          </p:txBody>
        </p:sp>
        <p:sp>
          <p:nvSpPr>
            <p:cNvPr id="4211" name="TextBox 4210">
              <a:extLst>
                <a:ext uri="{FF2B5EF4-FFF2-40B4-BE49-F238E27FC236}">
                  <a16:creationId xmlns:a16="http://schemas.microsoft.com/office/drawing/2014/main" id="{2B1CD53F-69A2-1B90-DD49-AAE9F7053331}"/>
                </a:ext>
              </a:extLst>
            </p:cNvPr>
            <p:cNvSpPr txBox="1"/>
            <p:nvPr userDrawn="1"/>
          </p:nvSpPr>
          <p:spPr>
            <a:xfrm>
              <a:off x="6678382" y="5384397"/>
              <a:ext cx="1822523" cy="153888"/>
            </a:xfrm>
            <a:prstGeom prst="rect">
              <a:avLst/>
            </a:prstGeom>
            <a:noFill/>
          </p:spPr>
          <p:txBody>
            <a:bodyPr wrap="square" lIns="0" tIns="0" rIns="0" bIns="0" anchor="ctr">
              <a:spAutoFit/>
            </a:bodyPr>
            <a:lstStyle>
              <a:defPPr>
                <a:defRPr lang="en-US"/>
              </a:defPPr>
              <a:lvl1pPr>
                <a:spcBef>
                  <a:spcPts val="200"/>
                </a:spcBef>
                <a:spcAft>
                  <a:spcPts val="200"/>
                </a:spcAft>
                <a:defRPr sz="1200" b="1">
                  <a:latin typeface="+mj-lt"/>
                </a:defRPr>
              </a:lvl1pPr>
            </a:lstStyle>
            <a:p>
              <a:pPr marL="0" marR="0" lvl="0" indent="0" algn="r" defTabSz="914400" eaLnBrk="1" fontAlgn="auto" latinLnBrk="0" hangingPunct="1">
                <a:lnSpc>
                  <a:spcPct val="100000"/>
                </a:lnSpc>
                <a:spcBef>
                  <a:spcPts val="200"/>
                </a:spcBef>
                <a:spcAft>
                  <a:spcPts val="200"/>
                </a:spcAft>
                <a:buClrTx/>
                <a:buSzTx/>
                <a:buFontTx/>
                <a:buNone/>
                <a:tabLst/>
                <a:defRPr/>
              </a:pPr>
              <a:r>
                <a:rPr kumimoji="0" lang="en-IN" sz="1000" b="0" i="0" u="none" strike="noStrike" kern="0" cap="none" spc="0" normalizeH="0" baseline="0" noProof="0">
                  <a:ln>
                    <a:noFill/>
                  </a:ln>
                  <a:solidFill>
                    <a:prstClr val="black"/>
                  </a:solidFill>
                  <a:effectLst/>
                  <a:uLnTx/>
                  <a:uFillTx/>
                  <a:latin typeface="Segoe UI"/>
                </a:rPr>
                <a:t>Trivandrum</a:t>
              </a:r>
              <a:endParaRPr kumimoji="0" lang="en-US" sz="1000" b="0" i="0" u="none" strike="noStrike" kern="0" cap="none" spc="0" normalizeH="0" baseline="0" noProof="0">
                <a:ln>
                  <a:noFill/>
                </a:ln>
                <a:solidFill>
                  <a:prstClr val="black"/>
                </a:solidFill>
                <a:effectLst/>
                <a:uLnTx/>
                <a:uFillTx/>
                <a:latin typeface="Segoe UI"/>
              </a:endParaRPr>
            </a:p>
          </p:txBody>
        </p:sp>
        <p:sp>
          <p:nvSpPr>
            <p:cNvPr id="4212" name="TextBox 4211">
              <a:extLst>
                <a:ext uri="{FF2B5EF4-FFF2-40B4-BE49-F238E27FC236}">
                  <a16:creationId xmlns:a16="http://schemas.microsoft.com/office/drawing/2014/main" id="{50507234-A4FC-ADA5-2596-4630D9984742}"/>
                </a:ext>
              </a:extLst>
            </p:cNvPr>
            <p:cNvSpPr txBox="1"/>
            <p:nvPr userDrawn="1"/>
          </p:nvSpPr>
          <p:spPr>
            <a:xfrm>
              <a:off x="7571829" y="5248229"/>
              <a:ext cx="904588" cy="153888"/>
            </a:xfrm>
            <a:prstGeom prst="rect">
              <a:avLst/>
            </a:prstGeom>
            <a:noFill/>
          </p:spPr>
          <p:txBody>
            <a:bodyPr wrap="square" lIns="0" tIns="0" rIns="0" bIns="0" anchor="ctr">
              <a:spAutoFit/>
            </a:bodyPr>
            <a:lstStyle>
              <a:defPPr>
                <a:defRPr lang="en-US"/>
              </a:defPPr>
              <a:lvl1pPr>
                <a:spcBef>
                  <a:spcPts val="200"/>
                </a:spcBef>
                <a:spcAft>
                  <a:spcPts val="200"/>
                </a:spcAft>
                <a:defRPr sz="1200" b="1">
                  <a:latin typeface="+mj-lt"/>
                </a:defRPr>
              </a:lvl1pPr>
            </a:lstStyle>
            <a:p>
              <a:pPr marL="0" marR="0" lvl="0" indent="0" algn="r" defTabSz="914400" eaLnBrk="1" fontAlgn="auto" latinLnBrk="0" hangingPunct="1">
                <a:lnSpc>
                  <a:spcPct val="100000"/>
                </a:lnSpc>
                <a:spcBef>
                  <a:spcPts val="200"/>
                </a:spcBef>
                <a:spcAft>
                  <a:spcPts val="20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rPr>
                <a:t>Alleppey</a:t>
              </a:r>
            </a:p>
          </p:txBody>
        </p:sp>
        <p:sp>
          <p:nvSpPr>
            <p:cNvPr id="4213" name="TextBox 4212">
              <a:extLst>
                <a:ext uri="{FF2B5EF4-FFF2-40B4-BE49-F238E27FC236}">
                  <a16:creationId xmlns:a16="http://schemas.microsoft.com/office/drawing/2014/main" id="{9E3E5351-6062-74BA-255F-D4894119EC8B}"/>
                </a:ext>
              </a:extLst>
            </p:cNvPr>
            <p:cNvSpPr txBox="1"/>
            <p:nvPr userDrawn="1"/>
          </p:nvSpPr>
          <p:spPr>
            <a:xfrm>
              <a:off x="8439825" y="4741556"/>
              <a:ext cx="768107" cy="153888"/>
            </a:xfrm>
            <a:prstGeom prst="rect">
              <a:avLst/>
            </a:prstGeom>
            <a:noFill/>
          </p:spPr>
          <p:txBody>
            <a:bodyPr wrap="square" lIns="0" tIns="0" rIns="0" bIns="0" anchor="ctr">
              <a:spAutoFit/>
            </a:bodyPr>
            <a:lstStyle>
              <a:defPPr>
                <a:defRPr lang="en-US"/>
              </a:defPPr>
              <a:lvl1pPr>
                <a:spcBef>
                  <a:spcPts val="200"/>
                </a:spcBef>
                <a:spcAft>
                  <a:spcPts val="200"/>
                </a:spcAft>
                <a:defRPr sz="1200" b="1">
                  <a:latin typeface="+mj-lt"/>
                </a:defRPr>
              </a:lvl1pPr>
            </a:lstStyle>
            <a:p>
              <a:pPr marL="0" marR="0" lvl="0" indent="0" defTabSz="914400" eaLnBrk="1" fontAlgn="auto" latinLnBrk="0" hangingPunct="1">
                <a:lnSpc>
                  <a:spcPct val="100000"/>
                </a:lnSpc>
                <a:spcBef>
                  <a:spcPts val="200"/>
                </a:spcBef>
                <a:spcAft>
                  <a:spcPts val="20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rPr>
                <a:t>Malappuram</a:t>
              </a:r>
            </a:p>
          </p:txBody>
        </p:sp>
        <p:sp>
          <p:nvSpPr>
            <p:cNvPr id="4214" name="TextBox 4213">
              <a:extLst>
                <a:ext uri="{FF2B5EF4-FFF2-40B4-BE49-F238E27FC236}">
                  <a16:creationId xmlns:a16="http://schemas.microsoft.com/office/drawing/2014/main" id="{2444A542-4977-50C0-E81D-E4428E2304FF}"/>
                </a:ext>
              </a:extLst>
            </p:cNvPr>
            <p:cNvSpPr txBox="1"/>
            <p:nvPr userDrawn="1"/>
          </p:nvSpPr>
          <p:spPr>
            <a:xfrm>
              <a:off x="8419848" y="4371134"/>
              <a:ext cx="609851" cy="153888"/>
            </a:xfrm>
            <a:prstGeom prst="rect">
              <a:avLst/>
            </a:prstGeom>
            <a:noFill/>
          </p:spPr>
          <p:txBody>
            <a:bodyPr wrap="square" lIns="0" tIns="0" rIns="0" bIns="0" anchor="ctr">
              <a:spAutoFit/>
            </a:bodyPr>
            <a:lstStyle>
              <a:defPPr>
                <a:defRPr lang="en-US"/>
              </a:defPPr>
              <a:lvl1pPr>
                <a:spcBef>
                  <a:spcPts val="200"/>
                </a:spcBef>
                <a:spcAft>
                  <a:spcPts val="200"/>
                </a:spcAft>
                <a:defRPr sz="1200" b="1">
                  <a:latin typeface="+mj-lt"/>
                </a:defRPr>
              </a:lvl1pPr>
            </a:lstStyle>
            <a:p>
              <a:pPr marL="0" marR="0" lvl="0" indent="0" defTabSz="914400" eaLnBrk="1" fontAlgn="auto" latinLnBrk="0" hangingPunct="1">
                <a:lnSpc>
                  <a:spcPct val="100000"/>
                </a:lnSpc>
                <a:spcBef>
                  <a:spcPts val="200"/>
                </a:spcBef>
                <a:spcAft>
                  <a:spcPts val="20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rPr>
                <a:t>Bangalore</a:t>
              </a:r>
            </a:p>
          </p:txBody>
        </p:sp>
        <p:sp>
          <p:nvSpPr>
            <p:cNvPr id="4215" name="TextBox 4214">
              <a:extLst>
                <a:ext uri="{FF2B5EF4-FFF2-40B4-BE49-F238E27FC236}">
                  <a16:creationId xmlns:a16="http://schemas.microsoft.com/office/drawing/2014/main" id="{A3937451-C82B-5379-C328-E6E6C2796D49}"/>
                </a:ext>
              </a:extLst>
            </p:cNvPr>
            <p:cNvSpPr txBox="1"/>
            <p:nvPr userDrawn="1"/>
          </p:nvSpPr>
          <p:spPr>
            <a:xfrm>
              <a:off x="9216194" y="4516468"/>
              <a:ext cx="1423910" cy="153888"/>
            </a:xfrm>
            <a:prstGeom prst="rect">
              <a:avLst/>
            </a:prstGeom>
            <a:noFill/>
          </p:spPr>
          <p:txBody>
            <a:bodyPr wrap="square" lIns="0" tIns="0" rIns="0" bIns="0" anchor="ctr">
              <a:spAutoFit/>
            </a:bodyPr>
            <a:lstStyle>
              <a:defPPr>
                <a:defRPr lang="en-US"/>
              </a:defPPr>
              <a:lvl1pPr>
                <a:spcBef>
                  <a:spcPts val="200"/>
                </a:spcBef>
                <a:spcAft>
                  <a:spcPts val="200"/>
                </a:spcAft>
                <a:defRPr sz="1200" b="1">
                  <a:latin typeface="+mj-lt"/>
                </a:defRPr>
              </a:lvl1pPr>
            </a:lstStyle>
            <a:p>
              <a:pPr marL="0" marR="0" lvl="0" indent="0" defTabSz="914400" eaLnBrk="1" fontAlgn="auto" latinLnBrk="0" hangingPunct="1">
                <a:lnSpc>
                  <a:spcPct val="100000"/>
                </a:lnSpc>
                <a:spcBef>
                  <a:spcPts val="200"/>
                </a:spcBef>
                <a:spcAft>
                  <a:spcPts val="20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rPr>
                <a:t>Chennai</a:t>
              </a:r>
            </a:p>
          </p:txBody>
        </p:sp>
        <p:sp>
          <p:nvSpPr>
            <p:cNvPr id="4216" name="TextBox 4215">
              <a:extLst>
                <a:ext uri="{FF2B5EF4-FFF2-40B4-BE49-F238E27FC236}">
                  <a16:creationId xmlns:a16="http://schemas.microsoft.com/office/drawing/2014/main" id="{9A6B7BB0-8F67-BBE8-6A08-FDBCDF602E50}"/>
                </a:ext>
              </a:extLst>
            </p:cNvPr>
            <p:cNvSpPr txBox="1"/>
            <p:nvPr userDrawn="1"/>
          </p:nvSpPr>
          <p:spPr>
            <a:xfrm>
              <a:off x="8685077" y="1594726"/>
              <a:ext cx="1350654" cy="153888"/>
            </a:xfrm>
            <a:prstGeom prst="rect">
              <a:avLst/>
            </a:prstGeom>
            <a:noFill/>
          </p:spPr>
          <p:txBody>
            <a:bodyPr wrap="square" lIns="0" tIns="0" rIns="0" bIns="0" anchor="ctr">
              <a:spAutoFit/>
            </a:bodyPr>
            <a:lstStyle/>
            <a:p>
              <a:pPr marL="0" marR="0" lvl="0" indent="0" defTabSz="914400" eaLnBrk="1" fontAlgn="auto" latinLnBrk="0" hangingPunct="1">
                <a:lnSpc>
                  <a:spcPct val="100000"/>
                </a:lnSpc>
                <a:spcBef>
                  <a:spcPts val="200"/>
                </a:spcBef>
                <a:spcAft>
                  <a:spcPts val="200"/>
                </a:spcAft>
                <a:buClrTx/>
                <a:buSzTx/>
                <a:buFontTx/>
                <a:buNone/>
                <a:tabLst/>
                <a:defRPr/>
              </a:pPr>
              <a:r>
                <a:rPr kumimoji="0" lang="en-US" sz="1000" b="0" i="0" u="none" strike="noStrike" kern="0" cap="none" spc="0" normalizeH="0" baseline="0" noProof="0">
                  <a:ln>
                    <a:noFill/>
                  </a:ln>
                  <a:solidFill>
                    <a:prstClr val="black"/>
                  </a:solidFill>
                  <a:effectLst/>
                  <a:uLnTx/>
                  <a:uFillTx/>
                </a:rPr>
                <a:t>New Delhi</a:t>
              </a:r>
            </a:p>
          </p:txBody>
        </p:sp>
        <p:sp>
          <p:nvSpPr>
            <p:cNvPr id="4217" name="TextBox 4216">
              <a:extLst>
                <a:ext uri="{FF2B5EF4-FFF2-40B4-BE49-F238E27FC236}">
                  <a16:creationId xmlns:a16="http://schemas.microsoft.com/office/drawing/2014/main" id="{39EABCB4-BDF4-3A94-2246-5F9874609991}"/>
                </a:ext>
              </a:extLst>
            </p:cNvPr>
            <p:cNvSpPr txBox="1"/>
            <p:nvPr userDrawn="1"/>
          </p:nvSpPr>
          <p:spPr>
            <a:xfrm>
              <a:off x="10609560" y="2786056"/>
              <a:ext cx="1021002" cy="153888"/>
            </a:xfrm>
            <a:prstGeom prst="rect">
              <a:avLst/>
            </a:prstGeom>
            <a:noFill/>
          </p:spPr>
          <p:txBody>
            <a:bodyPr wrap="square" lIns="0" tIns="0" rIns="0" bIns="0" anchor="ctr">
              <a:spAutoFit/>
            </a:bodyPr>
            <a:lstStyle>
              <a:defPPr>
                <a:defRPr lang="en-US"/>
              </a:defPPr>
              <a:lvl1pPr>
                <a:spcBef>
                  <a:spcPts val="200"/>
                </a:spcBef>
                <a:spcAft>
                  <a:spcPts val="200"/>
                </a:spcAft>
                <a:defRPr sz="1200" b="1">
                  <a:latin typeface="+mj-lt"/>
                </a:defRPr>
              </a:lvl1pPr>
            </a:lstStyle>
            <a:p>
              <a:pPr marL="0" marR="0" lvl="0" indent="0" defTabSz="914400" eaLnBrk="1" fontAlgn="auto" latinLnBrk="0" hangingPunct="1">
                <a:lnSpc>
                  <a:spcPct val="100000"/>
                </a:lnSpc>
                <a:spcBef>
                  <a:spcPts val="200"/>
                </a:spcBef>
                <a:spcAft>
                  <a:spcPts val="20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rPr>
                <a:t>Kolkata</a:t>
              </a:r>
            </a:p>
          </p:txBody>
        </p:sp>
        <p:sp>
          <p:nvSpPr>
            <p:cNvPr id="4218" name="TextBox 4217">
              <a:extLst>
                <a:ext uri="{FF2B5EF4-FFF2-40B4-BE49-F238E27FC236}">
                  <a16:creationId xmlns:a16="http://schemas.microsoft.com/office/drawing/2014/main" id="{13816D84-0BBF-2278-C35C-91E385AE0300}"/>
                </a:ext>
              </a:extLst>
            </p:cNvPr>
            <p:cNvSpPr txBox="1"/>
            <p:nvPr userDrawn="1"/>
          </p:nvSpPr>
          <p:spPr>
            <a:xfrm>
              <a:off x="8854966" y="3607448"/>
              <a:ext cx="1332339" cy="153888"/>
            </a:xfrm>
            <a:prstGeom prst="rect">
              <a:avLst/>
            </a:prstGeom>
            <a:noFill/>
          </p:spPr>
          <p:txBody>
            <a:bodyPr wrap="square" lIns="0" tIns="0" rIns="0" bIns="0" anchor="ctr">
              <a:spAutoFit/>
            </a:bodyPr>
            <a:lstStyle>
              <a:defPPr>
                <a:defRPr lang="en-US"/>
              </a:defPPr>
              <a:lvl1pPr>
                <a:spcBef>
                  <a:spcPts val="200"/>
                </a:spcBef>
                <a:spcAft>
                  <a:spcPts val="200"/>
                </a:spcAft>
                <a:defRPr sz="1200" b="1">
                  <a:latin typeface="+mj-lt"/>
                </a:defRPr>
              </a:lvl1pPr>
            </a:lstStyle>
            <a:p>
              <a:pPr marL="0" marR="0" lvl="0" indent="0" defTabSz="914400" eaLnBrk="1" fontAlgn="auto" latinLnBrk="0" hangingPunct="1">
                <a:lnSpc>
                  <a:spcPct val="100000"/>
                </a:lnSpc>
                <a:spcBef>
                  <a:spcPts val="200"/>
                </a:spcBef>
                <a:spcAft>
                  <a:spcPts val="20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rPr>
                <a:t>Hyderabad</a:t>
              </a:r>
            </a:p>
          </p:txBody>
        </p:sp>
        <p:sp>
          <p:nvSpPr>
            <p:cNvPr id="4219" name="TextBox 4218">
              <a:extLst>
                <a:ext uri="{FF2B5EF4-FFF2-40B4-BE49-F238E27FC236}">
                  <a16:creationId xmlns:a16="http://schemas.microsoft.com/office/drawing/2014/main" id="{0E38C277-58F0-2E26-C5CC-295EA82300A8}"/>
                </a:ext>
              </a:extLst>
            </p:cNvPr>
            <p:cNvSpPr txBox="1"/>
            <p:nvPr userDrawn="1"/>
          </p:nvSpPr>
          <p:spPr>
            <a:xfrm>
              <a:off x="11097240" y="2138201"/>
              <a:ext cx="1021002" cy="153888"/>
            </a:xfrm>
            <a:prstGeom prst="rect">
              <a:avLst/>
            </a:prstGeom>
            <a:noFill/>
          </p:spPr>
          <p:txBody>
            <a:bodyPr wrap="square" lIns="0" tIns="0" rIns="0" bIns="0" anchor="ctr">
              <a:spAutoFit/>
            </a:bodyPr>
            <a:lstStyle>
              <a:defPPr>
                <a:defRPr lang="en-US"/>
              </a:defPPr>
              <a:lvl1pPr>
                <a:spcBef>
                  <a:spcPts val="200"/>
                </a:spcBef>
                <a:spcAft>
                  <a:spcPts val="200"/>
                </a:spcAft>
                <a:defRPr sz="1200" b="1">
                  <a:latin typeface="+mj-lt"/>
                </a:defRPr>
              </a:lvl1pPr>
            </a:lstStyle>
            <a:p>
              <a:pPr marL="0" marR="0" lvl="0" indent="0" defTabSz="914400" eaLnBrk="1" fontAlgn="auto" latinLnBrk="0" hangingPunct="1">
                <a:lnSpc>
                  <a:spcPct val="100000"/>
                </a:lnSpc>
                <a:spcBef>
                  <a:spcPts val="200"/>
                </a:spcBef>
                <a:spcAft>
                  <a:spcPts val="20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rPr>
                <a:t>Guwahati</a:t>
              </a:r>
            </a:p>
          </p:txBody>
        </p:sp>
        <p:sp>
          <p:nvSpPr>
            <p:cNvPr id="4220" name="TextBox 4219">
              <a:extLst>
                <a:ext uri="{FF2B5EF4-FFF2-40B4-BE49-F238E27FC236}">
                  <a16:creationId xmlns:a16="http://schemas.microsoft.com/office/drawing/2014/main" id="{4D66D487-AB97-731C-07B1-2F6985D2313A}"/>
                </a:ext>
              </a:extLst>
            </p:cNvPr>
            <p:cNvSpPr txBox="1"/>
            <p:nvPr userDrawn="1"/>
          </p:nvSpPr>
          <p:spPr>
            <a:xfrm>
              <a:off x="7296480" y="4712089"/>
              <a:ext cx="975707" cy="153888"/>
            </a:xfrm>
            <a:prstGeom prst="rect">
              <a:avLst/>
            </a:prstGeom>
            <a:noFill/>
          </p:spPr>
          <p:txBody>
            <a:bodyPr wrap="square" lIns="0" tIns="0" rIns="0" bIns="0" anchor="ctr">
              <a:spAutoFit/>
            </a:bodyPr>
            <a:lstStyle>
              <a:defPPr>
                <a:defRPr lang="en-US"/>
              </a:defPPr>
              <a:lvl1pPr>
                <a:spcBef>
                  <a:spcPts val="200"/>
                </a:spcBef>
                <a:spcAft>
                  <a:spcPts val="200"/>
                </a:spcAft>
                <a:defRPr sz="1200" b="1">
                  <a:latin typeface="+mj-lt"/>
                </a:defRPr>
              </a:lvl1pPr>
            </a:lstStyle>
            <a:p>
              <a:pPr marL="0" marR="0" lvl="0" indent="0" algn="r" defTabSz="914400" eaLnBrk="1" fontAlgn="auto" latinLnBrk="0" hangingPunct="1">
                <a:lnSpc>
                  <a:spcPct val="100000"/>
                </a:lnSpc>
                <a:spcBef>
                  <a:spcPts val="200"/>
                </a:spcBef>
                <a:spcAft>
                  <a:spcPts val="20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rPr>
                <a:t>Kannur </a:t>
              </a:r>
            </a:p>
          </p:txBody>
        </p:sp>
        <p:sp>
          <p:nvSpPr>
            <p:cNvPr id="4221" name="TextBox 4220">
              <a:extLst>
                <a:ext uri="{FF2B5EF4-FFF2-40B4-BE49-F238E27FC236}">
                  <a16:creationId xmlns:a16="http://schemas.microsoft.com/office/drawing/2014/main" id="{9A64C830-58EA-6208-D867-ADB180CB297D}"/>
                </a:ext>
              </a:extLst>
            </p:cNvPr>
            <p:cNvSpPr txBox="1"/>
            <p:nvPr userDrawn="1"/>
          </p:nvSpPr>
          <p:spPr>
            <a:xfrm>
              <a:off x="8723193" y="4940768"/>
              <a:ext cx="768107" cy="153888"/>
            </a:xfrm>
            <a:prstGeom prst="rect">
              <a:avLst/>
            </a:prstGeom>
            <a:noFill/>
          </p:spPr>
          <p:txBody>
            <a:bodyPr wrap="square" lIns="0" tIns="0" rIns="0" bIns="0" anchor="ctr">
              <a:spAutoFit/>
            </a:bodyPr>
            <a:lstStyle>
              <a:defPPr>
                <a:defRPr lang="en-US"/>
              </a:defPPr>
              <a:lvl1pPr>
                <a:spcBef>
                  <a:spcPts val="200"/>
                </a:spcBef>
                <a:spcAft>
                  <a:spcPts val="200"/>
                </a:spcAft>
                <a:defRPr sz="1200" b="1">
                  <a:latin typeface="+mj-lt"/>
                </a:defRPr>
              </a:lvl1pPr>
            </a:lstStyle>
            <a:p>
              <a:pPr marL="0" marR="0" lvl="0" indent="0" defTabSz="914400" eaLnBrk="1" fontAlgn="auto" latinLnBrk="0" hangingPunct="1">
                <a:lnSpc>
                  <a:spcPct val="100000"/>
                </a:lnSpc>
                <a:spcBef>
                  <a:spcPts val="200"/>
                </a:spcBef>
                <a:spcAft>
                  <a:spcPts val="20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rPr>
                <a:t>Coimbatore</a:t>
              </a:r>
            </a:p>
          </p:txBody>
        </p:sp>
      </p:grpSp>
      <p:pic>
        <p:nvPicPr>
          <p:cNvPr id="3" name="Picture 2" descr="Logo&#10;&#10;Description automatically generated">
            <a:extLst>
              <a:ext uri="{FF2B5EF4-FFF2-40B4-BE49-F238E27FC236}">
                <a16:creationId xmlns:a16="http://schemas.microsoft.com/office/drawing/2014/main" id="{CF5A0F92-3E77-CFC3-E15E-E3B0FAFBB5C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2379" y="429765"/>
            <a:ext cx="2505346" cy="630070"/>
          </a:xfrm>
          <a:prstGeom prst="rect">
            <a:avLst/>
          </a:prstGeom>
        </p:spPr>
      </p:pic>
      <p:sp>
        <p:nvSpPr>
          <p:cNvPr id="4" name="Rectangle 3">
            <a:extLst>
              <a:ext uri="{FF2B5EF4-FFF2-40B4-BE49-F238E27FC236}">
                <a16:creationId xmlns:a16="http://schemas.microsoft.com/office/drawing/2014/main" id="{BB19BAF5-DB0D-C726-8868-3871295E84C7}"/>
              </a:ext>
            </a:extLst>
          </p:cNvPr>
          <p:cNvSpPr/>
          <p:nvPr userDrawn="1"/>
        </p:nvSpPr>
        <p:spPr>
          <a:xfrm>
            <a:off x="1" y="1083195"/>
            <a:ext cx="4991011" cy="446670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solidFill>
            </a:endParaRPr>
          </a:p>
        </p:txBody>
      </p:sp>
      <p:sp>
        <p:nvSpPr>
          <p:cNvPr id="5" name="Rectangle 4">
            <a:extLst>
              <a:ext uri="{FF2B5EF4-FFF2-40B4-BE49-F238E27FC236}">
                <a16:creationId xmlns:a16="http://schemas.microsoft.com/office/drawing/2014/main" id="{EBC9A70D-E1EB-3C87-251B-DECF52BA772B}"/>
              </a:ext>
            </a:extLst>
          </p:cNvPr>
          <p:cNvSpPr/>
          <p:nvPr userDrawn="1"/>
        </p:nvSpPr>
        <p:spPr>
          <a:xfrm>
            <a:off x="270079" y="1155253"/>
            <a:ext cx="3234854" cy="179088"/>
          </a:xfrm>
          <a:prstGeom prst="rect">
            <a:avLst/>
          </a:prstGeom>
          <a:noFill/>
        </p:spPr>
        <p:txBody>
          <a:bodyPr wrap="square" lIns="0" tIns="0" rIns="0" bIns="0">
            <a:spAutoFit/>
          </a:bodyPr>
          <a:lstStyle/>
          <a:p>
            <a:pPr defTabSz="1007521">
              <a:lnSpc>
                <a:spcPts val="1500"/>
              </a:lnSpc>
              <a:defRPr/>
            </a:pPr>
            <a:r>
              <a:rPr lang="en-US" sz="1100" b="1">
                <a:solidFill>
                  <a:schemeClr val="bg1"/>
                </a:solidFill>
                <a:latin typeface="+mj-lt"/>
                <a:cs typeface="Arial" pitchFamily="34" charset="0"/>
              </a:rPr>
              <a:t>Corporate Office : </a:t>
            </a:r>
            <a:endParaRPr lang="en-US" sz="1100">
              <a:solidFill>
                <a:schemeClr val="bg1"/>
              </a:solidFill>
              <a:latin typeface="+mj-lt"/>
              <a:cs typeface="Arial" pitchFamily="34" charset="0"/>
            </a:endParaRPr>
          </a:p>
        </p:txBody>
      </p:sp>
      <p:sp>
        <p:nvSpPr>
          <p:cNvPr id="6" name="Rounded Rectangle 32">
            <a:extLst>
              <a:ext uri="{FF2B5EF4-FFF2-40B4-BE49-F238E27FC236}">
                <a16:creationId xmlns:a16="http://schemas.microsoft.com/office/drawing/2014/main" id="{F373364C-7261-7A06-8674-4B8FBC290059}"/>
              </a:ext>
            </a:extLst>
          </p:cNvPr>
          <p:cNvSpPr/>
          <p:nvPr userDrawn="1"/>
        </p:nvSpPr>
        <p:spPr>
          <a:xfrm>
            <a:off x="270079" y="4421206"/>
            <a:ext cx="3636603" cy="101566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ct val="100000"/>
              </a:lnSpc>
              <a:spcBef>
                <a:spcPts val="200"/>
              </a:spcBef>
              <a:spcAft>
                <a:spcPts val="200"/>
              </a:spcAft>
            </a:pPr>
            <a:r>
              <a:rPr lang="en-US" sz="1100" b="1">
                <a:solidFill>
                  <a:schemeClr val="bg1"/>
                </a:solidFill>
                <a:latin typeface="+mj-lt"/>
                <a:cs typeface="Arial" pitchFamily="34" charset="0"/>
              </a:rPr>
              <a:t>Equirus Insurance Broking Private  Limited</a:t>
            </a:r>
          </a:p>
          <a:p>
            <a:pPr>
              <a:lnSpc>
                <a:spcPct val="100000"/>
              </a:lnSpc>
              <a:spcBef>
                <a:spcPts val="200"/>
              </a:spcBef>
              <a:spcAft>
                <a:spcPts val="200"/>
              </a:spcAft>
            </a:pPr>
            <a:r>
              <a:rPr lang="en-US" sz="900" b="0" i="0">
                <a:solidFill>
                  <a:srgbClr val="FFFFFF"/>
                </a:solidFill>
                <a:effectLst/>
                <a:latin typeface="+mj-lt"/>
              </a:rPr>
              <a:t>A – 2102, </a:t>
            </a:r>
            <a:r>
              <a:rPr lang="en-US" sz="900">
                <a:solidFill>
                  <a:schemeClr val="bg1"/>
                </a:solidFill>
                <a:latin typeface="+mj-lt"/>
                <a:cs typeface="Arial" pitchFamily="34" charset="0"/>
              </a:rPr>
              <a:t>21</a:t>
            </a:r>
            <a:r>
              <a:rPr lang="en-US" sz="900" baseline="30000">
                <a:solidFill>
                  <a:schemeClr val="bg1"/>
                </a:solidFill>
                <a:latin typeface="+mj-lt"/>
                <a:cs typeface="Arial" pitchFamily="34" charset="0"/>
              </a:rPr>
              <a:t>st</a:t>
            </a:r>
            <a:r>
              <a:rPr lang="en-US" sz="900">
                <a:solidFill>
                  <a:schemeClr val="bg1"/>
                </a:solidFill>
                <a:latin typeface="+mj-lt"/>
                <a:cs typeface="Arial" pitchFamily="34" charset="0"/>
              </a:rPr>
              <a:t> Floor, A Wing</a:t>
            </a:r>
            <a:r>
              <a:rPr lang="en-US" sz="900" b="0" i="0">
                <a:solidFill>
                  <a:srgbClr val="FFFFFF"/>
                </a:solidFill>
                <a:effectLst/>
                <a:latin typeface="+mj-lt"/>
              </a:rPr>
              <a:t>, </a:t>
            </a:r>
            <a:r>
              <a:rPr lang="en-US" sz="900">
                <a:solidFill>
                  <a:schemeClr val="bg1"/>
                </a:solidFill>
                <a:latin typeface="+mj-lt"/>
                <a:cs typeface="Arial" pitchFamily="34" charset="0"/>
              </a:rPr>
              <a:t>Marathon </a:t>
            </a:r>
            <a:r>
              <a:rPr lang="en-US" sz="900" err="1">
                <a:solidFill>
                  <a:schemeClr val="bg1"/>
                </a:solidFill>
                <a:latin typeface="+mj-lt"/>
                <a:cs typeface="Arial" pitchFamily="34" charset="0"/>
              </a:rPr>
              <a:t>Futurex</a:t>
            </a:r>
            <a:r>
              <a:rPr lang="en-US" sz="900">
                <a:solidFill>
                  <a:schemeClr val="bg1"/>
                </a:solidFill>
                <a:latin typeface="+mj-lt"/>
                <a:cs typeface="Arial" pitchFamily="34" charset="0"/>
              </a:rPr>
              <a:t>, N M Joshi Marg, Lower Parel, Mumbai - 400013</a:t>
            </a:r>
            <a:endParaRPr lang="en-US" sz="900" b="1">
              <a:solidFill>
                <a:schemeClr val="bg1"/>
              </a:solidFill>
              <a:latin typeface="+mj-lt"/>
              <a:cs typeface="Arial" pitchFamily="34" charset="0"/>
            </a:endParaRPr>
          </a:p>
          <a:p>
            <a:pPr>
              <a:lnSpc>
                <a:spcPct val="100000"/>
              </a:lnSpc>
              <a:spcBef>
                <a:spcPts val="200"/>
              </a:spcBef>
              <a:spcAft>
                <a:spcPts val="200"/>
              </a:spcAft>
            </a:pPr>
            <a:r>
              <a:rPr lang="en-US" sz="900">
                <a:solidFill>
                  <a:schemeClr val="bg1"/>
                </a:solidFill>
                <a:latin typeface="+mj-lt"/>
                <a:cs typeface="Arial" pitchFamily="34" charset="0"/>
              </a:rPr>
              <a:t>IRDA Licensed Direct Insurance Broker ( Life &amp; General) | License # 763 License Validity: 1</a:t>
            </a:r>
            <a:r>
              <a:rPr lang="en-US" sz="900" baseline="30000">
                <a:solidFill>
                  <a:schemeClr val="bg1"/>
                </a:solidFill>
                <a:latin typeface="+mj-lt"/>
                <a:cs typeface="Arial" pitchFamily="34" charset="0"/>
              </a:rPr>
              <a:t>st</a:t>
            </a:r>
            <a:r>
              <a:rPr lang="en-US" sz="900">
                <a:solidFill>
                  <a:schemeClr val="bg1"/>
                </a:solidFill>
                <a:latin typeface="+mj-lt"/>
                <a:cs typeface="Arial" pitchFamily="34" charset="0"/>
              </a:rPr>
              <a:t> August 2021 to 31</a:t>
            </a:r>
            <a:r>
              <a:rPr lang="en-US" sz="900" baseline="30000">
                <a:solidFill>
                  <a:schemeClr val="bg1"/>
                </a:solidFill>
                <a:latin typeface="+mj-lt"/>
                <a:cs typeface="Arial" pitchFamily="34" charset="0"/>
              </a:rPr>
              <a:t>st</a:t>
            </a:r>
            <a:r>
              <a:rPr lang="en-US" sz="900">
                <a:solidFill>
                  <a:schemeClr val="bg1"/>
                </a:solidFill>
                <a:latin typeface="+mj-lt"/>
                <a:cs typeface="Arial" pitchFamily="34" charset="0"/>
              </a:rPr>
              <a:t> July 2024</a:t>
            </a:r>
          </a:p>
          <a:p>
            <a:pPr>
              <a:lnSpc>
                <a:spcPct val="100000"/>
              </a:lnSpc>
              <a:spcBef>
                <a:spcPts val="200"/>
              </a:spcBef>
              <a:spcAft>
                <a:spcPts val="200"/>
              </a:spcAft>
            </a:pPr>
            <a:r>
              <a:rPr lang="en-US" sz="900">
                <a:solidFill>
                  <a:schemeClr val="bg1"/>
                </a:solidFill>
                <a:latin typeface="+mj-lt"/>
                <a:cs typeface="Arial" pitchFamily="34" charset="0"/>
              </a:rPr>
              <a:t>CIN: U67100MH2008PTC185564</a:t>
            </a:r>
          </a:p>
        </p:txBody>
      </p:sp>
      <p:sp>
        <p:nvSpPr>
          <p:cNvPr id="8" name="Rounded Rectangle 32">
            <a:extLst>
              <a:ext uri="{FF2B5EF4-FFF2-40B4-BE49-F238E27FC236}">
                <a16:creationId xmlns:a16="http://schemas.microsoft.com/office/drawing/2014/main" id="{8D246BFC-CD5D-A579-5094-C1C6BD0A63E4}"/>
              </a:ext>
            </a:extLst>
          </p:cNvPr>
          <p:cNvSpPr/>
          <p:nvPr userDrawn="1"/>
        </p:nvSpPr>
        <p:spPr>
          <a:xfrm>
            <a:off x="270079" y="1434890"/>
            <a:ext cx="3636603" cy="49757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ct val="100000"/>
              </a:lnSpc>
              <a:spcBef>
                <a:spcPts val="200"/>
              </a:spcBef>
              <a:spcAft>
                <a:spcPts val="200"/>
              </a:spcAft>
            </a:pPr>
            <a:r>
              <a:rPr lang="en-US" sz="1100" b="1" dirty="0">
                <a:solidFill>
                  <a:schemeClr val="bg1"/>
                </a:solidFill>
                <a:latin typeface="+mj-lt"/>
                <a:cs typeface="Arial" pitchFamily="34" charset="0"/>
              </a:rPr>
              <a:t>Equirus Capital Private Limited</a:t>
            </a:r>
          </a:p>
          <a:p>
            <a:pPr>
              <a:lnSpc>
                <a:spcPct val="100000"/>
              </a:lnSpc>
              <a:spcBef>
                <a:spcPts val="200"/>
              </a:spcBef>
              <a:spcAft>
                <a:spcPts val="200"/>
              </a:spcAft>
            </a:pPr>
            <a:r>
              <a:rPr lang="en-US" sz="900" dirty="0">
                <a:solidFill>
                  <a:schemeClr val="bg1"/>
                </a:solidFill>
                <a:latin typeface="+mj-lt"/>
                <a:cs typeface="Arial" pitchFamily="34" charset="0"/>
              </a:rPr>
              <a:t>2601 B, “A” Wing, Marathon </a:t>
            </a:r>
            <a:r>
              <a:rPr lang="en-US" sz="900" dirty="0" err="1">
                <a:solidFill>
                  <a:schemeClr val="bg1"/>
                </a:solidFill>
                <a:latin typeface="+mj-lt"/>
                <a:cs typeface="Arial" pitchFamily="34" charset="0"/>
              </a:rPr>
              <a:t>Futurex</a:t>
            </a:r>
            <a:r>
              <a:rPr lang="en-US" sz="900" dirty="0">
                <a:solidFill>
                  <a:schemeClr val="bg1"/>
                </a:solidFill>
                <a:latin typeface="+mj-lt"/>
                <a:cs typeface="Arial" pitchFamily="34" charset="0"/>
              </a:rPr>
              <a:t>, N. M. Joshi Marg, Lower Parel, Mumbai 400 013</a:t>
            </a:r>
          </a:p>
        </p:txBody>
      </p:sp>
      <p:sp>
        <p:nvSpPr>
          <p:cNvPr id="9" name="Rounded Rectangle 32">
            <a:extLst>
              <a:ext uri="{FF2B5EF4-FFF2-40B4-BE49-F238E27FC236}">
                <a16:creationId xmlns:a16="http://schemas.microsoft.com/office/drawing/2014/main" id="{2EF64048-7879-CBC5-2298-8E22B05F2443}"/>
              </a:ext>
            </a:extLst>
          </p:cNvPr>
          <p:cNvSpPr/>
          <p:nvPr userDrawn="1"/>
        </p:nvSpPr>
        <p:spPr>
          <a:xfrm>
            <a:off x="270079" y="2137941"/>
            <a:ext cx="3636603" cy="825867"/>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ct val="100000"/>
              </a:lnSpc>
              <a:spcBef>
                <a:spcPts val="200"/>
              </a:spcBef>
              <a:spcAft>
                <a:spcPts val="200"/>
              </a:spcAft>
            </a:pPr>
            <a:r>
              <a:rPr lang="en-US" sz="1100" b="1">
                <a:solidFill>
                  <a:schemeClr val="bg1"/>
                </a:solidFill>
                <a:latin typeface="+mj-lt"/>
                <a:cs typeface="Arial" pitchFamily="34" charset="0"/>
              </a:rPr>
              <a:t>Equirus Securities Private Limited </a:t>
            </a:r>
          </a:p>
          <a:p>
            <a:pPr>
              <a:lnSpc>
                <a:spcPct val="100000"/>
              </a:lnSpc>
              <a:spcBef>
                <a:spcPts val="200"/>
              </a:spcBef>
              <a:spcAft>
                <a:spcPts val="200"/>
              </a:spcAft>
            </a:pPr>
            <a:r>
              <a:rPr lang="en-US" sz="900" b="0" i="0">
                <a:solidFill>
                  <a:srgbClr val="FFFFFF"/>
                </a:solidFill>
                <a:effectLst/>
                <a:latin typeface="+mj-lt"/>
              </a:rPr>
              <a:t>A – 2102, </a:t>
            </a:r>
            <a:r>
              <a:rPr lang="en-US" sz="900">
                <a:solidFill>
                  <a:schemeClr val="bg1"/>
                </a:solidFill>
                <a:latin typeface="+mj-lt"/>
                <a:cs typeface="Arial" pitchFamily="34" charset="0"/>
              </a:rPr>
              <a:t>21</a:t>
            </a:r>
            <a:r>
              <a:rPr lang="en-US" sz="900" baseline="30000">
                <a:solidFill>
                  <a:schemeClr val="bg1"/>
                </a:solidFill>
                <a:latin typeface="+mj-lt"/>
                <a:cs typeface="Arial" pitchFamily="34" charset="0"/>
              </a:rPr>
              <a:t>st</a:t>
            </a:r>
            <a:r>
              <a:rPr lang="en-US" sz="900">
                <a:solidFill>
                  <a:schemeClr val="bg1"/>
                </a:solidFill>
                <a:latin typeface="+mj-lt"/>
                <a:cs typeface="Arial" pitchFamily="34" charset="0"/>
              </a:rPr>
              <a:t> Floor, A Wing</a:t>
            </a:r>
            <a:r>
              <a:rPr lang="en-US" sz="900" b="0" i="0">
                <a:solidFill>
                  <a:srgbClr val="FFFFFF"/>
                </a:solidFill>
                <a:effectLst/>
                <a:latin typeface="+mj-lt"/>
              </a:rPr>
              <a:t>, </a:t>
            </a:r>
            <a:r>
              <a:rPr lang="en-US" sz="900">
                <a:solidFill>
                  <a:schemeClr val="bg1"/>
                </a:solidFill>
                <a:latin typeface="+mj-lt"/>
                <a:cs typeface="Arial" pitchFamily="34" charset="0"/>
              </a:rPr>
              <a:t>Marathon </a:t>
            </a:r>
            <a:r>
              <a:rPr lang="en-US" sz="900" err="1">
                <a:solidFill>
                  <a:schemeClr val="bg1"/>
                </a:solidFill>
                <a:latin typeface="+mj-lt"/>
                <a:cs typeface="Arial" pitchFamily="34" charset="0"/>
              </a:rPr>
              <a:t>Futurex</a:t>
            </a:r>
            <a:r>
              <a:rPr lang="en-US" sz="900">
                <a:solidFill>
                  <a:schemeClr val="bg1"/>
                </a:solidFill>
                <a:latin typeface="+mj-lt"/>
                <a:cs typeface="Arial" pitchFamily="34" charset="0"/>
              </a:rPr>
              <a:t>, N M Joshi Marg, Lower Parel, Mumbai - 400013</a:t>
            </a:r>
            <a:endParaRPr lang="en-US" sz="900" b="1">
              <a:solidFill>
                <a:schemeClr val="bg1"/>
              </a:solidFill>
              <a:latin typeface="+mj-lt"/>
              <a:cs typeface="Arial" pitchFamily="34" charset="0"/>
            </a:endParaRPr>
          </a:p>
          <a:p>
            <a:pPr>
              <a:lnSpc>
                <a:spcPct val="100000"/>
              </a:lnSpc>
              <a:spcBef>
                <a:spcPts val="200"/>
              </a:spcBef>
              <a:spcAft>
                <a:spcPts val="200"/>
              </a:spcAft>
            </a:pPr>
            <a:r>
              <a:rPr lang="en-US" sz="900">
                <a:solidFill>
                  <a:schemeClr val="bg1"/>
                </a:solidFill>
                <a:latin typeface="+mj-lt"/>
                <a:cs typeface="Arial" pitchFamily="34" charset="0"/>
              </a:rPr>
              <a:t>1205 &amp; 1206, 12</a:t>
            </a:r>
            <a:r>
              <a:rPr lang="en-US" sz="900" baseline="30000">
                <a:solidFill>
                  <a:schemeClr val="bg1"/>
                </a:solidFill>
                <a:latin typeface="+mj-lt"/>
                <a:cs typeface="Arial" pitchFamily="34" charset="0"/>
              </a:rPr>
              <a:t>th</a:t>
            </a:r>
            <a:r>
              <a:rPr lang="en-US" sz="900">
                <a:solidFill>
                  <a:schemeClr val="bg1"/>
                </a:solidFill>
                <a:latin typeface="+mj-lt"/>
                <a:cs typeface="Arial" pitchFamily="34" charset="0"/>
              </a:rPr>
              <a:t> Floor, A Block, </a:t>
            </a:r>
            <a:r>
              <a:rPr lang="en-US" sz="900" err="1">
                <a:solidFill>
                  <a:schemeClr val="bg1"/>
                </a:solidFill>
                <a:latin typeface="+mj-lt"/>
                <a:cs typeface="Arial" pitchFamily="34" charset="0"/>
              </a:rPr>
              <a:t>Navratna</a:t>
            </a:r>
            <a:r>
              <a:rPr lang="en-US" sz="900">
                <a:solidFill>
                  <a:schemeClr val="bg1"/>
                </a:solidFill>
                <a:latin typeface="+mj-lt"/>
                <a:cs typeface="Arial" pitchFamily="34" charset="0"/>
              </a:rPr>
              <a:t> Corporate Park, </a:t>
            </a:r>
            <a:r>
              <a:rPr lang="en-US" sz="900" err="1">
                <a:solidFill>
                  <a:schemeClr val="bg1"/>
                </a:solidFill>
                <a:latin typeface="+mj-lt"/>
                <a:cs typeface="Arial" pitchFamily="34" charset="0"/>
              </a:rPr>
              <a:t>Bopal</a:t>
            </a:r>
            <a:r>
              <a:rPr lang="en-US" sz="900">
                <a:solidFill>
                  <a:schemeClr val="bg1"/>
                </a:solidFill>
                <a:latin typeface="+mj-lt"/>
                <a:cs typeface="Arial" pitchFamily="34" charset="0"/>
              </a:rPr>
              <a:t> - </a:t>
            </a:r>
            <a:r>
              <a:rPr lang="en-US" sz="900" err="1">
                <a:solidFill>
                  <a:schemeClr val="bg1"/>
                </a:solidFill>
                <a:latin typeface="+mj-lt"/>
                <a:cs typeface="Arial" pitchFamily="34" charset="0"/>
              </a:rPr>
              <a:t>Ambli</a:t>
            </a:r>
            <a:r>
              <a:rPr lang="en-US" sz="900">
                <a:solidFill>
                  <a:schemeClr val="bg1"/>
                </a:solidFill>
                <a:latin typeface="+mj-lt"/>
                <a:cs typeface="Arial" pitchFamily="34" charset="0"/>
              </a:rPr>
              <a:t> Road, Ahmedabad - 380058</a:t>
            </a:r>
          </a:p>
        </p:txBody>
      </p:sp>
      <p:cxnSp>
        <p:nvCxnSpPr>
          <p:cNvPr id="10" name="Straight Connector 9">
            <a:extLst>
              <a:ext uri="{FF2B5EF4-FFF2-40B4-BE49-F238E27FC236}">
                <a16:creationId xmlns:a16="http://schemas.microsoft.com/office/drawing/2014/main" id="{31661B58-EFC0-9EC4-053C-A3B311F5D7C9}"/>
              </a:ext>
            </a:extLst>
          </p:cNvPr>
          <p:cNvCxnSpPr>
            <a:cxnSpLocks/>
          </p:cNvCxnSpPr>
          <p:nvPr userDrawn="1"/>
        </p:nvCxnSpPr>
        <p:spPr>
          <a:xfrm>
            <a:off x="270079" y="2035201"/>
            <a:ext cx="3636603" cy="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61DB1F3-AB8A-5AE1-BE8C-A37F9604CFA5}"/>
              </a:ext>
            </a:extLst>
          </p:cNvPr>
          <p:cNvCxnSpPr>
            <a:cxnSpLocks/>
          </p:cNvCxnSpPr>
          <p:nvPr userDrawn="1"/>
        </p:nvCxnSpPr>
        <p:spPr>
          <a:xfrm>
            <a:off x="270079" y="3066548"/>
            <a:ext cx="3636603" cy="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12" name="Rounded Rectangle 32">
            <a:extLst>
              <a:ext uri="{FF2B5EF4-FFF2-40B4-BE49-F238E27FC236}">
                <a16:creationId xmlns:a16="http://schemas.microsoft.com/office/drawing/2014/main" id="{C171EAA5-668D-1719-A3D9-FA65AC2CACB1}"/>
              </a:ext>
            </a:extLst>
          </p:cNvPr>
          <p:cNvSpPr/>
          <p:nvPr userDrawn="1"/>
        </p:nvSpPr>
        <p:spPr>
          <a:xfrm>
            <a:off x="270079" y="3169288"/>
            <a:ext cx="3636603" cy="104644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ct val="100000"/>
              </a:lnSpc>
              <a:spcBef>
                <a:spcPts val="200"/>
              </a:spcBef>
              <a:spcAft>
                <a:spcPts val="200"/>
              </a:spcAft>
            </a:pPr>
            <a:r>
              <a:rPr lang="en-US" sz="1100" b="1">
                <a:solidFill>
                  <a:schemeClr val="bg1"/>
                </a:solidFill>
                <a:latin typeface="+mj-lt"/>
                <a:cs typeface="Arial" pitchFamily="34" charset="0"/>
              </a:rPr>
              <a:t>Equirus Wealth Private Limited</a:t>
            </a:r>
          </a:p>
          <a:p>
            <a:pPr>
              <a:lnSpc>
                <a:spcPct val="100000"/>
              </a:lnSpc>
              <a:spcBef>
                <a:spcPts val="200"/>
              </a:spcBef>
              <a:spcAft>
                <a:spcPts val="200"/>
              </a:spcAft>
            </a:pPr>
            <a:r>
              <a:rPr lang="en-US" sz="1100" b="1">
                <a:solidFill>
                  <a:schemeClr val="bg1"/>
                </a:solidFill>
                <a:latin typeface="Segoe UI Semibold" panose="020B0702040204020203" pitchFamily="34" charset="0"/>
                <a:cs typeface="Segoe UI Semibold" panose="020B0702040204020203" pitchFamily="34" charset="0"/>
              </a:rPr>
              <a:t>AMFI-registered Mutual Fund Distributor</a:t>
            </a:r>
          </a:p>
          <a:p>
            <a:pPr>
              <a:lnSpc>
                <a:spcPct val="100000"/>
              </a:lnSpc>
              <a:spcBef>
                <a:spcPts val="200"/>
              </a:spcBef>
              <a:spcAft>
                <a:spcPts val="200"/>
              </a:spcAft>
            </a:pPr>
            <a:r>
              <a:rPr lang="en-US" sz="900">
                <a:solidFill>
                  <a:schemeClr val="bg1"/>
                </a:solidFill>
                <a:latin typeface="+mj-lt"/>
                <a:cs typeface="Arial" pitchFamily="34" charset="0"/>
              </a:rPr>
              <a:t>529, 5</a:t>
            </a:r>
            <a:r>
              <a:rPr lang="en-US" sz="900" baseline="30000">
                <a:solidFill>
                  <a:schemeClr val="bg1"/>
                </a:solidFill>
                <a:latin typeface="+mj-lt"/>
                <a:cs typeface="Arial" pitchFamily="34" charset="0"/>
              </a:rPr>
              <a:t>th</a:t>
            </a:r>
            <a:r>
              <a:rPr lang="en-US" sz="900">
                <a:solidFill>
                  <a:schemeClr val="bg1"/>
                </a:solidFill>
                <a:latin typeface="+mj-lt"/>
                <a:cs typeface="Arial" pitchFamily="34" charset="0"/>
              </a:rPr>
              <a:t> Floor, G Wing, </a:t>
            </a:r>
            <a:r>
              <a:rPr lang="en-US" sz="900" err="1">
                <a:solidFill>
                  <a:schemeClr val="bg1"/>
                </a:solidFill>
                <a:latin typeface="+mj-lt"/>
                <a:cs typeface="Arial" pitchFamily="34" charset="0"/>
              </a:rPr>
              <a:t>Kanakia</a:t>
            </a:r>
            <a:r>
              <a:rPr lang="en-US" sz="900">
                <a:solidFill>
                  <a:schemeClr val="bg1"/>
                </a:solidFill>
                <a:latin typeface="+mj-lt"/>
                <a:cs typeface="Arial" pitchFamily="34" charset="0"/>
              </a:rPr>
              <a:t> Zillion, LBS Marg, BKC Annexure, Kurla West, Mumbai – 400070</a:t>
            </a:r>
          </a:p>
          <a:p>
            <a:pPr>
              <a:lnSpc>
                <a:spcPct val="100000"/>
              </a:lnSpc>
              <a:spcBef>
                <a:spcPts val="200"/>
              </a:spcBef>
              <a:spcAft>
                <a:spcPts val="0"/>
              </a:spcAft>
            </a:pPr>
            <a:r>
              <a:rPr lang="en-US" sz="900">
                <a:solidFill>
                  <a:schemeClr val="bg1"/>
                </a:solidFill>
                <a:latin typeface="+mj-lt"/>
                <a:cs typeface="Arial" pitchFamily="34" charset="0"/>
              </a:rPr>
              <a:t>Unit No 403, 4</a:t>
            </a:r>
            <a:r>
              <a:rPr lang="en-US" sz="900" baseline="30000">
                <a:solidFill>
                  <a:schemeClr val="bg1"/>
                </a:solidFill>
                <a:latin typeface="+mj-lt"/>
                <a:cs typeface="Arial" pitchFamily="34" charset="0"/>
              </a:rPr>
              <a:t>th</a:t>
            </a:r>
            <a:r>
              <a:rPr lang="en-US" sz="900">
                <a:solidFill>
                  <a:schemeClr val="bg1"/>
                </a:solidFill>
                <a:latin typeface="+mj-lt"/>
                <a:cs typeface="Arial" pitchFamily="34" charset="0"/>
              </a:rPr>
              <a:t> floor, A - 13A, Graphix Tower, Sector 62, Noida, </a:t>
            </a:r>
          </a:p>
          <a:p>
            <a:pPr>
              <a:lnSpc>
                <a:spcPct val="100000"/>
              </a:lnSpc>
              <a:spcBef>
                <a:spcPts val="0"/>
              </a:spcBef>
              <a:spcAft>
                <a:spcPts val="0"/>
              </a:spcAft>
            </a:pPr>
            <a:r>
              <a:rPr lang="en-US" sz="900">
                <a:solidFill>
                  <a:schemeClr val="bg1"/>
                </a:solidFill>
                <a:latin typeface="+mj-lt"/>
                <a:cs typeface="Arial" pitchFamily="34" charset="0"/>
              </a:rPr>
              <a:t>UP - 201309</a:t>
            </a:r>
            <a:endParaRPr lang="en-US" sz="900" b="1">
              <a:solidFill>
                <a:schemeClr val="bg1"/>
              </a:solidFill>
              <a:latin typeface="+mj-lt"/>
              <a:cs typeface="Arial" pitchFamily="34" charset="0"/>
            </a:endParaRPr>
          </a:p>
        </p:txBody>
      </p:sp>
      <p:cxnSp>
        <p:nvCxnSpPr>
          <p:cNvPr id="13" name="Straight Connector 12">
            <a:extLst>
              <a:ext uri="{FF2B5EF4-FFF2-40B4-BE49-F238E27FC236}">
                <a16:creationId xmlns:a16="http://schemas.microsoft.com/office/drawing/2014/main" id="{BB3A299F-A199-DD83-AB4A-9EF4B36ABA40}"/>
              </a:ext>
            </a:extLst>
          </p:cNvPr>
          <p:cNvCxnSpPr>
            <a:cxnSpLocks/>
          </p:cNvCxnSpPr>
          <p:nvPr userDrawn="1"/>
        </p:nvCxnSpPr>
        <p:spPr>
          <a:xfrm>
            <a:off x="270079" y="4318468"/>
            <a:ext cx="3636603" cy="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691376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28_Title Slide">
    <p:spTree>
      <p:nvGrpSpPr>
        <p:cNvPr id="1" name=""/>
        <p:cNvGrpSpPr/>
        <p:nvPr/>
      </p:nvGrpSpPr>
      <p:grpSpPr>
        <a:xfrm>
          <a:off x="0" y="0"/>
          <a:ext cx="0" cy="0"/>
          <a:chOff x="0" y="0"/>
          <a:chExt cx="0" cy="0"/>
        </a:xfrm>
      </p:grpSpPr>
      <p:sp>
        <p:nvSpPr>
          <p:cNvPr id="4948" name="Rectangle 4947">
            <a:extLst>
              <a:ext uri="{FF2B5EF4-FFF2-40B4-BE49-F238E27FC236}">
                <a16:creationId xmlns:a16="http://schemas.microsoft.com/office/drawing/2014/main" id="{B7DA9399-B5B2-4449-A3E0-CB7701795380}"/>
              </a:ext>
            </a:extLst>
          </p:cNvPr>
          <p:cNvSpPr/>
          <p:nvPr userDrawn="1"/>
        </p:nvSpPr>
        <p:spPr>
          <a:xfrm>
            <a:off x="0" y="2313972"/>
            <a:ext cx="8853295" cy="1802394"/>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a:extLst>
              <a:ext uri="{FF2B5EF4-FFF2-40B4-BE49-F238E27FC236}">
                <a16:creationId xmlns:a16="http://schemas.microsoft.com/office/drawing/2014/main" id="{09E5C80A-33BF-4E0B-83E6-7F9FD87354A1}"/>
              </a:ext>
            </a:extLst>
          </p:cNvPr>
          <p:cNvSpPr>
            <a:spLocks noGrp="1"/>
          </p:cNvSpPr>
          <p:nvPr>
            <p:ph type="ctrTitle"/>
          </p:nvPr>
        </p:nvSpPr>
        <p:spPr>
          <a:xfrm>
            <a:off x="340265" y="3048970"/>
            <a:ext cx="7444846" cy="332399"/>
          </a:xfrm>
        </p:spPr>
        <p:txBody>
          <a:bodyPr wrap="square" lIns="0" tIns="0" rIns="0" bIns="0" anchor="b" anchorCtr="0">
            <a:spAutoFit/>
          </a:bodyPr>
          <a:lstStyle>
            <a:lvl1pPr algn="l">
              <a:defRPr sz="2400" b="1">
                <a:solidFill>
                  <a:schemeClr val="accent1"/>
                </a:solidFill>
              </a:defRPr>
            </a:lvl1pPr>
          </a:lstStyle>
          <a:p>
            <a:endParaRPr lang="en-US"/>
          </a:p>
        </p:txBody>
      </p:sp>
      <p:sp>
        <p:nvSpPr>
          <p:cNvPr id="5081" name="Right Triangle 5080">
            <a:extLst>
              <a:ext uri="{FF2B5EF4-FFF2-40B4-BE49-F238E27FC236}">
                <a16:creationId xmlns:a16="http://schemas.microsoft.com/office/drawing/2014/main" id="{50C799E3-6D7D-41D2-9B0B-2FFFE99E5C8C}"/>
              </a:ext>
            </a:extLst>
          </p:cNvPr>
          <p:cNvSpPr/>
          <p:nvPr userDrawn="1"/>
        </p:nvSpPr>
        <p:spPr>
          <a:xfrm flipH="1">
            <a:off x="7999464" y="2313972"/>
            <a:ext cx="853829" cy="1802393"/>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83" name="Right Triangle 5082">
            <a:extLst>
              <a:ext uri="{FF2B5EF4-FFF2-40B4-BE49-F238E27FC236}">
                <a16:creationId xmlns:a16="http://schemas.microsoft.com/office/drawing/2014/main" id="{559D7921-56CD-4782-9767-D5790B4A421D}"/>
              </a:ext>
            </a:extLst>
          </p:cNvPr>
          <p:cNvSpPr/>
          <p:nvPr userDrawn="1"/>
        </p:nvSpPr>
        <p:spPr>
          <a:xfrm flipH="1" flipV="1">
            <a:off x="7999464" y="2313972"/>
            <a:ext cx="853829" cy="1802393"/>
          </a:xfrm>
          <a:prstGeom prst="r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4" name="Freeform: Shape 203">
            <a:extLst>
              <a:ext uri="{FF2B5EF4-FFF2-40B4-BE49-F238E27FC236}">
                <a16:creationId xmlns:a16="http://schemas.microsoft.com/office/drawing/2014/main" id="{8356AA88-7ECD-4545-B19D-7FDCD096D4D6}"/>
              </a:ext>
            </a:extLst>
          </p:cNvPr>
          <p:cNvSpPr>
            <a:spLocks noChangeAspect="1"/>
          </p:cNvSpPr>
          <p:nvPr userDrawn="1"/>
        </p:nvSpPr>
        <p:spPr>
          <a:xfrm>
            <a:off x="7575892" y="4041648"/>
            <a:ext cx="4616108" cy="2816352"/>
          </a:xfrm>
          <a:custGeom>
            <a:avLst/>
            <a:gdLst>
              <a:gd name="connsiteX0" fmla="*/ 6203341 w 11240921"/>
              <a:gd name="connsiteY0" fmla="*/ 6853924 h 6858243"/>
              <a:gd name="connsiteX1" fmla="*/ 3099406 w 11240921"/>
              <a:gd name="connsiteY1" fmla="*/ 6845504 h 6858243"/>
              <a:gd name="connsiteX2" fmla="*/ 1072 w 11240921"/>
              <a:gd name="connsiteY2" fmla="*/ 6840450 h 6858243"/>
              <a:gd name="connsiteX3" fmla="*/ 478810 w 11240921"/>
              <a:gd name="connsiteY3" fmla="*/ 6832030 h 6858243"/>
              <a:gd name="connsiteX4" fmla="*/ 951507 w 11240921"/>
              <a:gd name="connsiteY4" fmla="*/ 6828661 h 6858243"/>
              <a:gd name="connsiteX5" fmla="*/ 954893 w 11240921"/>
              <a:gd name="connsiteY5" fmla="*/ 5898998 h 6858243"/>
              <a:gd name="connsiteX6" fmla="*/ 958255 w 11240921"/>
              <a:gd name="connsiteY6" fmla="*/ 4969315 h 6858243"/>
              <a:gd name="connsiteX7" fmla="*/ 2009747 w 11240921"/>
              <a:gd name="connsiteY7" fmla="*/ 4965954 h 6858243"/>
              <a:gd name="connsiteX8" fmla="*/ 3061265 w 11240921"/>
              <a:gd name="connsiteY8" fmla="*/ 4962593 h 6858243"/>
              <a:gd name="connsiteX9" fmla="*/ 3107833 w 11240921"/>
              <a:gd name="connsiteY9" fmla="*/ 4920938 h 6858243"/>
              <a:gd name="connsiteX10" fmla="*/ 3605508 w 11240921"/>
              <a:gd name="connsiteY10" fmla="*/ 4466217 h 6858243"/>
              <a:gd name="connsiteX11" fmla="*/ 4060687 w 11240921"/>
              <a:gd name="connsiteY11" fmla="*/ 4036271 h 6858243"/>
              <a:gd name="connsiteX12" fmla="*/ 4074895 w 11240921"/>
              <a:gd name="connsiteY12" fmla="*/ 4021147 h 6858243"/>
              <a:gd name="connsiteX13" fmla="*/ 4114870 w 11240921"/>
              <a:gd name="connsiteY13" fmla="*/ 3997569 h 6858243"/>
              <a:gd name="connsiteX14" fmla="*/ 5113147 w 11240921"/>
              <a:gd name="connsiteY14" fmla="*/ 3085582 h 6858243"/>
              <a:gd name="connsiteX15" fmla="*/ 5131658 w 11240921"/>
              <a:gd name="connsiteY15" fmla="*/ 3042908 h 6858243"/>
              <a:gd name="connsiteX16" fmla="*/ 5149735 w 11240921"/>
              <a:gd name="connsiteY16" fmla="*/ 3025085 h 6858243"/>
              <a:gd name="connsiteX17" fmla="*/ 5159335 w 11240921"/>
              <a:gd name="connsiteY17" fmla="*/ 3039241 h 6858243"/>
              <a:gd name="connsiteX18" fmla="*/ 5409496 w 11240921"/>
              <a:gd name="connsiteY18" fmla="*/ 2815739 h 6858243"/>
              <a:gd name="connsiteX19" fmla="*/ 5655889 w 11240921"/>
              <a:gd name="connsiteY19" fmla="*/ 2576577 h 6858243"/>
              <a:gd name="connsiteX20" fmla="*/ 5672846 w 11240921"/>
              <a:gd name="connsiteY20" fmla="*/ 2560943 h 6858243"/>
              <a:gd name="connsiteX21" fmla="*/ 6156517 w 11240921"/>
              <a:gd name="connsiteY21" fmla="*/ 2123231 h 6858243"/>
              <a:gd name="connsiteX22" fmla="*/ 6186460 w 11240921"/>
              <a:gd name="connsiteY22" fmla="*/ 2095911 h 6858243"/>
              <a:gd name="connsiteX23" fmla="*/ 6691773 w 11240921"/>
              <a:gd name="connsiteY23" fmla="*/ 1641750 h 6858243"/>
              <a:gd name="connsiteX24" fmla="*/ 6946365 w 11240921"/>
              <a:gd name="connsiteY24" fmla="*/ 1408954 h 6858243"/>
              <a:gd name="connsiteX25" fmla="*/ 7190593 w 11240921"/>
              <a:gd name="connsiteY25" fmla="*/ 1173178 h 6858243"/>
              <a:gd name="connsiteX26" fmla="*/ 7219950 w 11240921"/>
              <a:gd name="connsiteY26" fmla="*/ 1139492 h 6858243"/>
              <a:gd name="connsiteX27" fmla="*/ 7572519 w 11240921"/>
              <a:gd name="connsiteY27" fmla="*/ 836702 h 6858243"/>
              <a:gd name="connsiteX28" fmla="*/ 7762845 w 11240921"/>
              <a:gd name="connsiteY28" fmla="*/ 669113 h 6858243"/>
              <a:gd name="connsiteX29" fmla="*/ 7772469 w 11240921"/>
              <a:gd name="connsiteY29" fmla="*/ 676700 h 6858243"/>
              <a:gd name="connsiteX30" fmla="*/ 8268209 w 11240921"/>
              <a:gd name="connsiteY30" fmla="*/ 1134756 h 6858243"/>
              <a:gd name="connsiteX31" fmla="*/ 8287305 w 11240921"/>
              <a:gd name="connsiteY31" fmla="*/ 1134756 h 6858243"/>
              <a:gd name="connsiteX32" fmla="*/ 8547193 w 11240921"/>
              <a:gd name="connsiteY32" fmla="*/ 900330 h 6858243"/>
              <a:gd name="connsiteX33" fmla="*/ 8807055 w 11240921"/>
              <a:gd name="connsiteY33" fmla="*/ 669113 h 6858243"/>
              <a:gd name="connsiteX34" fmla="*/ 8816654 w 11240921"/>
              <a:gd name="connsiteY34" fmla="*/ 676700 h 6858243"/>
              <a:gd name="connsiteX35" fmla="*/ 9315342 w 11240921"/>
              <a:gd name="connsiteY35" fmla="*/ 1139492 h 6858243"/>
              <a:gd name="connsiteX36" fmla="*/ 9585050 w 11240921"/>
              <a:gd name="connsiteY36" fmla="*/ 905372 h 6858243"/>
              <a:gd name="connsiteX37" fmla="*/ 9853808 w 11240921"/>
              <a:gd name="connsiteY37" fmla="*/ 671277 h 6858243"/>
              <a:gd name="connsiteX38" fmla="*/ 10109126 w 11240921"/>
              <a:gd name="connsiteY38" fmla="*/ 900330 h 6858243"/>
              <a:gd name="connsiteX39" fmla="*/ 10359521 w 11240921"/>
              <a:gd name="connsiteY39" fmla="*/ 1129384 h 6858243"/>
              <a:gd name="connsiteX40" fmla="*/ 10609423 w 11240921"/>
              <a:gd name="connsiteY40" fmla="*/ 907052 h 6858243"/>
              <a:gd name="connsiteX41" fmla="*/ 10864946 w 11240921"/>
              <a:gd name="connsiteY41" fmla="*/ 682659 h 6858243"/>
              <a:gd name="connsiteX42" fmla="*/ 11144933 w 11240921"/>
              <a:gd name="connsiteY42" fmla="*/ 911890 h 6858243"/>
              <a:gd name="connsiteX43" fmla="*/ 11217354 w 11240921"/>
              <a:gd name="connsiteY43" fmla="*/ 971063 h 6858243"/>
              <a:gd name="connsiteX44" fmla="*/ 11221784 w 11240921"/>
              <a:gd name="connsiteY44" fmla="*/ 494446 h 6858243"/>
              <a:gd name="connsiteX45" fmla="*/ 11227585 w 11240921"/>
              <a:gd name="connsiteY45" fmla="*/ 8839 h 6858243"/>
              <a:gd name="connsiteX46" fmla="*/ 11241919 w 11240921"/>
              <a:gd name="connsiteY46" fmla="*/ 6008458 h 6858243"/>
              <a:gd name="connsiteX47" fmla="*/ 11241919 w 11240921"/>
              <a:gd name="connsiteY47" fmla="*/ 6845504 h 6858243"/>
              <a:gd name="connsiteX48" fmla="*/ 9750291 w 11240921"/>
              <a:gd name="connsiteY48" fmla="*/ 6845504 h 6858243"/>
              <a:gd name="connsiteX49" fmla="*/ 8255274 w 11240921"/>
              <a:gd name="connsiteY49" fmla="*/ 6853924 h 6858243"/>
              <a:gd name="connsiteX50" fmla="*/ 8251328 w 11240921"/>
              <a:gd name="connsiteY50" fmla="*/ 6853924 h 6858243"/>
              <a:gd name="connsiteX51" fmla="*/ 7230746 w 11240921"/>
              <a:gd name="connsiteY51" fmla="*/ 6845504 h 6858243"/>
              <a:gd name="connsiteX52" fmla="*/ 6207287 w 11240921"/>
              <a:gd name="connsiteY52" fmla="*/ 6853924 h 6858243"/>
              <a:gd name="connsiteX53" fmla="*/ 6203366 w 11240921"/>
              <a:gd name="connsiteY53" fmla="*/ 6853924 h 6858243"/>
              <a:gd name="connsiteX54" fmla="*/ 1043399 w 11240921"/>
              <a:gd name="connsiteY54" fmla="*/ 6816873 h 6858243"/>
              <a:gd name="connsiteX55" fmla="*/ 1258449 w 11240921"/>
              <a:gd name="connsiteY55" fmla="*/ 6613087 h 6858243"/>
              <a:gd name="connsiteX56" fmla="*/ 1466496 w 11240921"/>
              <a:gd name="connsiteY56" fmla="*/ 6417322 h 6858243"/>
              <a:gd name="connsiteX57" fmla="*/ 981934 w 11240921"/>
              <a:gd name="connsiteY57" fmla="*/ 5969731 h 6858243"/>
              <a:gd name="connsiteX58" fmla="*/ 979591 w 11240921"/>
              <a:gd name="connsiteY58" fmla="*/ 6827538 h 6858243"/>
              <a:gd name="connsiteX59" fmla="*/ 1010044 w 11240921"/>
              <a:gd name="connsiteY59" fmla="*/ 6832030 h 6858243"/>
              <a:gd name="connsiteX60" fmla="*/ 1043399 w 11240921"/>
              <a:gd name="connsiteY60" fmla="*/ 6816873 h 6858243"/>
              <a:gd name="connsiteX61" fmla="*/ 2024412 w 11240921"/>
              <a:gd name="connsiteY61" fmla="*/ 6400874 h 6858243"/>
              <a:gd name="connsiteX62" fmla="*/ 2022681 w 11240921"/>
              <a:gd name="connsiteY62" fmla="*/ 5964028 h 6858243"/>
              <a:gd name="connsiteX63" fmla="*/ 2000224 w 11240921"/>
              <a:gd name="connsiteY63" fmla="*/ 5967414 h 6858243"/>
              <a:gd name="connsiteX64" fmla="*/ 1062673 w 11240921"/>
              <a:gd name="connsiteY64" fmla="*/ 6826382 h 6858243"/>
              <a:gd name="connsiteX65" fmla="*/ 1542677 w 11240921"/>
              <a:gd name="connsiteY65" fmla="*/ 6830390 h 6858243"/>
              <a:gd name="connsiteX66" fmla="*/ 2022656 w 11240921"/>
              <a:gd name="connsiteY66" fmla="*/ 6828661 h 6858243"/>
              <a:gd name="connsiteX67" fmla="*/ 2087583 w 11240921"/>
              <a:gd name="connsiteY67" fmla="*/ 6816873 h 6858243"/>
              <a:gd name="connsiteX68" fmla="*/ 2299221 w 11240921"/>
              <a:gd name="connsiteY68" fmla="*/ 6616453 h 6858243"/>
              <a:gd name="connsiteX69" fmla="*/ 2503907 w 11240921"/>
              <a:gd name="connsiteY69" fmla="*/ 6423688 h 6858243"/>
              <a:gd name="connsiteX70" fmla="*/ 2053719 w 11240921"/>
              <a:gd name="connsiteY70" fmla="*/ 5983200 h 6858243"/>
              <a:gd name="connsiteX71" fmla="*/ 2050740 w 11240921"/>
              <a:gd name="connsiteY71" fmla="*/ 6827538 h 6858243"/>
              <a:gd name="connsiteX72" fmla="*/ 2087583 w 11240921"/>
              <a:gd name="connsiteY72" fmla="*/ 6816873 h 6858243"/>
              <a:gd name="connsiteX73" fmla="*/ 2922015 w 11240921"/>
              <a:gd name="connsiteY73" fmla="*/ 6826558 h 6858243"/>
              <a:gd name="connsiteX74" fmla="*/ 2524786 w 11240921"/>
              <a:gd name="connsiteY74" fmla="*/ 6442428 h 6858243"/>
              <a:gd name="connsiteX75" fmla="*/ 2106858 w 11240921"/>
              <a:gd name="connsiteY75" fmla="*/ 6826327 h 6858243"/>
              <a:gd name="connsiteX76" fmla="*/ 2514449 w 11240921"/>
              <a:gd name="connsiteY76" fmla="*/ 6832030 h 6858243"/>
              <a:gd name="connsiteX77" fmla="*/ 2922015 w 11240921"/>
              <a:gd name="connsiteY77" fmla="*/ 6826558 h 6858243"/>
              <a:gd name="connsiteX78" fmla="*/ 3048381 w 11240921"/>
              <a:gd name="connsiteY78" fmla="*/ 6399194 h 6858243"/>
              <a:gd name="connsiteX79" fmla="*/ 3043492 w 11240921"/>
              <a:gd name="connsiteY79" fmla="*/ 5969731 h 6858243"/>
              <a:gd name="connsiteX80" fmla="*/ 2551496 w 11240921"/>
              <a:gd name="connsiteY80" fmla="*/ 6423408 h 6858243"/>
              <a:gd name="connsiteX81" fmla="*/ 2758143 w 11240921"/>
              <a:gd name="connsiteY81" fmla="*/ 6632410 h 6858243"/>
              <a:gd name="connsiteX82" fmla="*/ 2964790 w 11240921"/>
              <a:gd name="connsiteY82" fmla="*/ 6832613 h 6858243"/>
              <a:gd name="connsiteX83" fmla="*/ 3005707 w 11240921"/>
              <a:gd name="connsiteY83" fmla="*/ 6830637 h 6858243"/>
              <a:gd name="connsiteX84" fmla="*/ 3046649 w 11240921"/>
              <a:gd name="connsiteY84" fmla="*/ 6828661 h 6858243"/>
              <a:gd name="connsiteX85" fmla="*/ 3342259 w 11240921"/>
              <a:gd name="connsiteY85" fmla="*/ 6638348 h 6858243"/>
              <a:gd name="connsiteX86" fmla="*/ 3561536 w 11240921"/>
              <a:gd name="connsiteY86" fmla="*/ 6429518 h 6858243"/>
              <a:gd name="connsiteX87" fmla="*/ 3585571 w 11240921"/>
              <a:gd name="connsiteY87" fmla="*/ 6414343 h 6858243"/>
              <a:gd name="connsiteX88" fmla="*/ 3609659 w 11240921"/>
              <a:gd name="connsiteY88" fmla="*/ 6429518 h 6858243"/>
              <a:gd name="connsiteX89" fmla="*/ 3826159 w 11240921"/>
              <a:gd name="connsiteY89" fmla="*/ 6635980 h 6858243"/>
              <a:gd name="connsiteX90" fmla="*/ 4066518 w 11240921"/>
              <a:gd name="connsiteY90" fmla="*/ 6827976 h 6858243"/>
              <a:gd name="connsiteX91" fmla="*/ 4090834 w 11240921"/>
              <a:gd name="connsiteY91" fmla="*/ 6828661 h 6858243"/>
              <a:gd name="connsiteX92" fmla="*/ 4092464 w 11240921"/>
              <a:gd name="connsiteY92" fmla="*/ 5926217 h 6858243"/>
              <a:gd name="connsiteX93" fmla="*/ 4088619 w 11240921"/>
              <a:gd name="connsiteY93" fmla="*/ 5018303 h 6858243"/>
              <a:gd name="connsiteX94" fmla="*/ 3078935 w 11240921"/>
              <a:gd name="connsiteY94" fmla="*/ 5941621 h 6858243"/>
              <a:gd name="connsiteX95" fmla="*/ 3070532 w 11240921"/>
              <a:gd name="connsiteY95" fmla="*/ 6391326 h 6858243"/>
              <a:gd name="connsiteX96" fmla="*/ 3074708 w 11240921"/>
              <a:gd name="connsiteY96" fmla="*/ 6827538 h 6858243"/>
              <a:gd name="connsiteX97" fmla="*/ 3101316 w 11240921"/>
              <a:gd name="connsiteY97" fmla="*/ 6832030 h 6858243"/>
              <a:gd name="connsiteX98" fmla="*/ 3342259 w 11240921"/>
              <a:gd name="connsiteY98" fmla="*/ 6638348 h 6858243"/>
              <a:gd name="connsiteX99" fmla="*/ 4005512 w 11240921"/>
              <a:gd name="connsiteY99" fmla="*/ 6826281 h 6858243"/>
              <a:gd name="connsiteX100" fmla="*/ 3585571 w 11240921"/>
              <a:gd name="connsiteY100" fmla="*/ 6455082 h 6858243"/>
              <a:gd name="connsiteX101" fmla="*/ 3165658 w 11240921"/>
              <a:gd name="connsiteY101" fmla="*/ 6826102 h 6858243"/>
              <a:gd name="connsiteX102" fmla="*/ 3585571 w 11240921"/>
              <a:gd name="connsiteY102" fmla="*/ 6832030 h 6858243"/>
              <a:gd name="connsiteX103" fmla="*/ 4005512 w 11240921"/>
              <a:gd name="connsiteY103" fmla="*/ 6826281 h 6858243"/>
              <a:gd name="connsiteX104" fmla="*/ 5029480 w 11240921"/>
              <a:gd name="connsiteY104" fmla="*/ 6825316 h 6858243"/>
              <a:gd name="connsiteX105" fmla="*/ 4613181 w 11240921"/>
              <a:gd name="connsiteY105" fmla="*/ 6434560 h 6858243"/>
              <a:gd name="connsiteX106" fmla="*/ 4407094 w 11240921"/>
              <a:gd name="connsiteY106" fmla="*/ 6619524 h 6858243"/>
              <a:gd name="connsiteX107" fmla="*/ 4188633 w 11240921"/>
              <a:gd name="connsiteY107" fmla="*/ 6800030 h 6858243"/>
              <a:gd name="connsiteX108" fmla="*/ 4395687 w 11240921"/>
              <a:gd name="connsiteY108" fmla="*/ 6600639 h 6858243"/>
              <a:gd name="connsiteX109" fmla="*/ 4592735 w 11240921"/>
              <a:gd name="connsiteY109" fmla="*/ 6415489 h 6858243"/>
              <a:gd name="connsiteX110" fmla="*/ 4120165 w 11240921"/>
              <a:gd name="connsiteY110" fmla="*/ 5970851 h 6858243"/>
              <a:gd name="connsiteX111" fmla="*/ 4118918 w 11240921"/>
              <a:gd name="connsiteY111" fmla="*/ 6827538 h 6858243"/>
              <a:gd name="connsiteX112" fmla="*/ 5029480 w 11240921"/>
              <a:gd name="connsiteY112" fmla="*/ 6825316 h 6858243"/>
              <a:gd name="connsiteX113" fmla="*/ 6053473 w 11240921"/>
              <a:gd name="connsiteY113" fmla="*/ 6825392 h 6858243"/>
              <a:gd name="connsiteX114" fmla="*/ 5649778 w 11240921"/>
              <a:gd name="connsiteY114" fmla="*/ 6454751 h 6858243"/>
              <a:gd name="connsiteX115" fmla="*/ 5454359 w 11240921"/>
              <a:gd name="connsiteY115" fmla="*/ 6628232 h 6858243"/>
              <a:gd name="connsiteX116" fmla="*/ 5255223 w 11240921"/>
              <a:gd name="connsiteY116" fmla="*/ 6803999 h 6858243"/>
              <a:gd name="connsiteX117" fmla="*/ 5439973 w 11240921"/>
              <a:gd name="connsiteY117" fmla="*/ 6612825 h 6858243"/>
              <a:gd name="connsiteX118" fmla="*/ 5628568 w 11240921"/>
              <a:gd name="connsiteY118" fmla="*/ 6433058 h 6858243"/>
              <a:gd name="connsiteX119" fmla="*/ 5121320 w 11240921"/>
              <a:gd name="connsiteY119" fmla="*/ 5971081 h 6858243"/>
              <a:gd name="connsiteX120" fmla="*/ 4634569 w 11240921"/>
              <a:gd name="connsiteY120" fmla="*/ 6413936 h 6858243"/>
              <a:gd name="connsiteX121" fmla="*/ 5064108 w 11240921"/>
              <a:gd name="connsiteY121" fmla="*/ 6820486 h 6858243"/>
              <a:gd name="connsiteX122" fmla="*/ 5568250 w 11240921"/>
              <a:gd name="connsiteY122" fmla="*/ 6832020 h 6858243"/>
              <a:gd name="connsiteX123" fmla="*/ 6053473 w 11240921"/>
              <a:gd name="connsiteY123" fmla="*/ 6825392 h 6858243"/>
              <a:gd name="connsiteX124" fmla="*/ 6194429 w 11240921"/>
              <a:gd name="connsiteY124" fmla="*/ 6391861 h 6858243"/>
              <a:gd name="connsiteX125" fmla="*/ 6189974 w 11240921"/>
              <a:gd name="connsiteY125" fmla="*/ 5957357 h 6858243"/>
              <a:gd name="connsiteX126" fmla="*/ 5670605 w 11240921"/>
              <a:gd name="connsiteY126" fmla="*/ 6434534 h 6858243"/>
              <a:gd name="connsiteX127" fmla="*/ 6091080 w 11240921"/>
              <a:gd name="connsiteY127" fmla="*/ 6823510 h 6858243"/>
              <a:gd name="connsiteX128" fmla="*/ 6148904 w 11240921"/>
              <a:gd name="connsiteY128" fmla="*/ 6830248 h 6858243"/>
              <a:gd name="connsiteX129" fmla="*/ 6192698 w 11240921"/>
              <a:gd name="connsiteY129" fmla="*/ 6828651 h 6858243"/>
              <a:gd name="connsiteX130" fmla="*/ 6194429 w 11240921"/>
              <a:gd name="connsiteY130" fmla="*/ 6391861 h 6858243"/>
              <a:gd name="connsiteX131" fmla="*/ 8240685 w 11240921"/>
              <a:gd name="connsiteY131" fmla="*/ 6384018 h 6858243"/>
              <a:gd name="connsiteX132" fmla="*/ 8240685 w 11240921"/>
              <a:gd name="connsiteY132" fmla="*/ 5939406 h 6858243"/>
              <a:gd name="connsiteX133" fmla="*/ 7734048 w 11240921"/>
              <a:gd name="connsiteY133" fmla="*/ 5937675 h 6858243"/>
              <a:gd name="connsiteX134" fmla="*/ 7227385 w 11240921"/>
              <a:gd name="connsiteY134" fmla="*/ 5935943 h 6858243"/>
              <a:gd name="connsiteX135" fmla="*/ 7187869 w 11240921"/>
              <a:gd name="connsiteY135" fmla="*/ 5971361 h 6858243"/>
              <a:gd name="connsiteX136" fmla="*/ 6712117 w 11240921"/>
              <a:gd name="connsiteY136" fmla="*/ 6404235 h 6858243"/>
              <a:gd name="connsiteX137" fmla="*/ 6266282 w 11240921"/>
              <a:gd name="connsiteY137" fmla="*/ 6803882 h 6858243"/>
              <a:gd name="connsiteX138" fmla="*/ 6278606 w 11240921"/>
              <a:gd name="connsiteY138" fmla="*/ 6771612 h 6858243"/>
              <a:gd name="connsiteX139" fmla="*/ 6746541 w 11240921"/>
              <a:gd name="connsiteY139" fmla="*/ 6345164 h 6858243"/>
              <a:gd name="connsiteX140" fmla="*/ 7192604 w 11240921"/>
              <a:gd name="connsiteY140" fmla="*/ 5939406 h 6858243"/>
              <a:gd name="connsiteX141" fmla="*/ 7192859 w 11240921"/>
              <a:gd name="connsiteY141" fmla="*/ 5506557 h 6858243"/>
              <a:gd name="connsiteX142" fmla="*/ 7203222 w 11240921"/>
              <a:gd name="connsiteY142" fmla="*/ 5073734 h 6858243"/>
              <a:gd name="connsiteX143" fmla="*/ 7213331 w 11240921"/>
              <a:gd name="connsiteY143" fmla="*/ 5491408 h 6858243"/>
              <a:gd name="connsiteX144" fmla="*/ 7219034 w 11240921"/>
              <a:gd name="connsiteY144" fmla="*/ 5909081 h 6858243"/>
              <a:gd name="connsiteX145" fmla="*/ 7737383 w 11240921"/>
              <a:gd name="connsiteY145" fmla="*/ 5435366 h 6858243"/>
              <a:gd name="connsiteX146" fmla="*/ 7257659 w 11240921"/>
              <a:gd name="connsiteY146" fmla="*/ 4988793 h 6858243"/>
              <a:gd name="connsiteX147" fmla="*/ 7127881 w 11240921"/>
              <a:gd name="connsiteY147" fmla="*/ 5094638 h 6858243"/>
              <a:gd name="connsiteX148" fmla="*/ 6224220 w 11240921"/>
              <a:gd name="connsiteY148" fmla="*/ 5932735 h 6858243"/>
              <a:gd name="connsiteX149" fmla="*/ 6216275 w 11240921"/>
              <a:gd name="connsiteY149" fmla="*/ 6386590 h 6858243"/>
              <a:gd name="connsiteX150" fmla="*/ 6220808 w 11240921"/>
              <a:gd name="connsiteY150" fmla="*/ 6827551 h 6858243"/>
              <a:gd name="connsiteX151" fmla="*/ 7232987 w 11240921"/>
              <a:gd name="connsiteY151" fmla="*/ 6830357 h 6858243"/>
              <a:gd name="connsiteX152" fmla="*/ 8240685 w 11240921"/>
              <a:gd name="connsiteY152" fmla="*/ 6828651 h 6858243"/>
              <a:gd name="connsiteX153" fmla="*/ 9245859 w 11240921"/>
              <a:gd name="connsiteY153" fmla="*/ 6821048 h 6858243"/>
              <a:gd name="connsiteX154" fmla="*/ 8786431 w 11240921"/>
              <a:gd name="connsiteY154" fmla="*/ 6398302 h 6858243"/>
              <a:gd name="connsiteX155" fmla="*/ 8557504 w 11240921"/>
              <a:gd name="connsiteY155" fmla="*/ 6600415 h 6858243"/>
              <a:gd name="connsiteX156" fmla="*/ 8327127 w 11240921"/>
              <a:gd name="connsiteY156" fmla="*/ 6803999 h 6858243"/>
              <a:gd name="connsiteX157" fmla="*/ 8319209 w 11240921"/>
              <a:gd name="connsiteY157" fmla="*/ 6796776 h 6858243"/>
              <a:gd name="connsiteX158" fmla="*/ 8545563 w 11240921"/>
              <a:gd name="connsiteY158" fmla="*/ 6582874 h 6858243"/>
              <a:gd name="connsiteX159" fmla="*/ 8757786 w 11240921"/>
              <a:gd name="connsiteY159" fmla="*/ 6365253 h 6858243"/>
              <a:gd name="connsiteX160" fmla="*/ 8273683 w 11240921"/>
              <a:gd name="connsiteY160" fmla="*/ 5923747 h 6858243"/>
              <a:gd name="connsiteX161" fmla="*/ 8264262 w 11240921"/>
              <a:gd name="connsiteY161" fmla="*/ 6372306 h 6858243"/>
              <a:gd name="connsiteX162" fmla="*/ 8268794 w 11240921"/>
              <a:gd name="connsiteY162" fmla="*/ 6827572 h 6858243"/>
              <a:gd name="connsiteX163" fmla="*/ 9245859 w 11240921"/>
              <a:gd name="connsiteY163" fmla="*/ 6821048 h 6858243"/>
              <a:gd name="connsiteX164" fmla="*/ 9420152 w 11240921"/>
              <a:gd name="connsiteY164" fmla="*/ 6823358 h 6858243"/>
              <a:gd name="connsiteX165" fmla="*/ 9833913 w 11240921"/>
              <a:gd name="connsiteY165" fmla="*/ 6438328 h 6858243"/>
              <a:gd name="connsiteX166" fmla="*/ 9305753 w 11240921"/>
              <a:gd name="connsiteY166" fmla="*/ 5960259 h 6858243"/>
              <a:gd name="connsiteX167" fmla="*/ 9278919 w 11240921"/>
              <a:gd name="connsiteY167" fmla="*/ 5958375 h 6858243"/>
              <a:gd name="connsiteX168" fmla="*/ 9268026 w 11240921"/>
              <a:gd name="connsiteY168" fmla="*/ 6392803 h 6858243"/>
              <a:gd name="connsiteX169" fmla="*/ 9272518 w 11240921"/>
              <a:gd name="connsiteY169" fmla="*/ 6827528 h 6858243"/>
              <a:gd name="connsiteX170" fmla="*/ 9420152 w 11240921"/>
              <a:gd name="connsiteY170" fmla="*/ 6823360 h 6858243"/>
              <a:gd name="connsiteX171" fmla="*/ 10330800 w 11240921"/>
              <a:gd name="connsiteY171" fmla="*/ 6426132 h 6858243"/>
              <a:gd name="connsiteX172" fmla="*/ 10327432 w 11240921"/>
              <a:gd name="connsiteY172" fmla="*/ 6023684 h 6858243"/>
              <a:gd name="connsiteX173" fmla="*/ 9457762 w 11240921"/>
              <a:gd name="connsiteY173" fmla="*/ 6825606 h 6858243"/>
              <a:gd name="connsiteX174" fmla="*/ 9892281 w 11240921"/>
              <a:gd name="connsiteY174" fmla="*/ 6830383 h 6858243"/>
              <a:gd name="connsiteX175" fmla="*/ 10329064 w 11240921"/>
              <a:gd name="connsiteY175" fmla="*/ 6828649 h 6858243"/>
              <a:gd name="connsiteX176" fmla="*/ 11218314 w 11240921"/>
              <a:gd name="connsiteY176" fmla="*/ 6394127 h 6858243"/>
              <a:gd name="connsiteX177" fmla="*/ 11218314 w 11240921"/>
              <a:gd name="connsiteY177" fmla="*/ 5959623 h 6858243"/>
              <a:gd name="connsiteX178" fmla="*/ 10809351 w 11240921"/>
              <a:gd name="connsiteY178" fmla="*/ 5957866 h 6858243"/>
              <a:gd name="connsiteX179" fmla="*/ 10400387 w 11240921"/>
              <a:gd name="connsiteY179" fmla="*/ 5956135 h 6858243"/>
              <a:gd name="connsiteX180" fmla="*/ 10376514 w 11240921"/>
              <a:gd name="connsiteY180" fmla="*/ 5977089 h 6858243"/>
              <a:gd name="connsiteX181" fmla="*/ 10352641 w 11240921"/>
              <a:gd name="connsiteY181" fmla="*/ 5998070 h 6858243"/>
              <a:gd name="connsiteX182" fmla="*/ 10352641 w 11240921"/>
              <a:gd name="connsiteY182" fmla="*/ 6410550 h 6858243"/>
              <a:gd name="connsiteX183" fmla="*/ 10357181 w 11240921"/>
              <a:gd name="connsiteY183" fmla="*/ 6827577 h 6858243"/>
              <a:gd name="connsiteX184" fmla="*/ 10790017 w 11240921"/>
              <a:gd name="connsiteY184" fmla="*/ 6830383 h 6858243"/>
              <a:gd name="connsiteX185" fmla="*/ 11218314 w 11240921"/>
              <a:gd name="connsiteY185" fmla="*/ 6828649 h 6858243"/>
              <a:gd name="connsiteX186" fmla="*/ 9247815 w 11240921"/>
              <a:gd name="connsiteY186" fmla="*/ 6378010 h 6858243"/>
              <a:gd name="connsiteX187" fmla="*/ 9243822 w 11240921"/>
              <a:gd name="connsiteY187" fmla="*/ 5981443 h 6858243"/>
              <a:gd name="connsiteX188" fmla="*/ 8811434 w 11240921"/>
              <a:gd name="connsiteY188" fmla="*/ 6377577 h 6858243"/>
              <a:gd name="connsiteX189" fmla="*/ 9242763 w 11240921"/>
              <a:gd name="connsiteY189" fmla="*/ 6773468 h 6858243"/>
              <a:gd name="connsiteX190" fmla="*/ 9247815 w 11240921"/>
              <a:gd name="connsiteY190" fmla="*/ 6378010 h 6858243"/>
              <a:gd name="connsiteX191" fmla="*/ 10088252 w 11240921"/>
              <a:gd name="connsiteY191" fmla="*/ 6211719 h 6858243"/>
              <a:gd name="connsiteX192" fmla="*/ 10324768 w 11240921"/>
              <a:gd name="connsiteY192" fmla="*/ 5989489 h 6858243"/>
              <a:gd name="connsiteX193" fmla="*/ 10330031 w 11240921"/>
              <a:gd name="connsiteY193" fmla="*/ 5966447 h 6858243"/>
              <a:gd name="connsiteX194" fmla="*/ 9840861 w 11240921"/>
              <a:gd name="connsiteY194" fmla="*/ 5956236 h 6858243"/>
              <a:gd name="connsiteX195" fmla="*/ 9355604 w 11240921"/>
              <a:gd name="connsiteY195" fmla="*/ 5962551 h 6858243"/>
              <a:gd name="connsiteX196" fmla="*/ 9535812 w 11240921"/>
              <a:gd name="connsiteY196" fmla="*/ 6132380 h 6858243"/>
              <a:gd name="connsiteX197" fmla="*/ 9784807 w 11240921"/>
              <a:gd name="connsiteY197" fmla="*/ 6358506 h 6858243"/>
              <a:gd name="connsiteX198" fmla="*/ 9857256 w 11240921"/>
              <a:gd name="connsiteY198" fmla="*/ 6421065 h 6858243"/>
              <a:gd name="connsiteX199" fmla="*/ 10088252 w 11240921"/>
              <a:gd name="connsiteY199" fmla="*/ 6211719 h 6858243"/>
              <a:gd name="connsiteX200" fmla="*/ 5911244 w 11240921"/>
              <a:gd name="connsiteY200" fmla="*/ 6181038 h 6858243"/>
              <a:gd name="connsiteX201" fmla="*/ 6168000 w 11240921"/>
              <a:gd name="connsiteY201" fmla="*/ 5941876 h 6858243"/>
              <a:gd name="connsiteX202" fmla="*/ 5151874 w 11240921"/>
              <a:gd name="connsiteY202" fmla="*/ 5942614 h 6858243"/>
              <a:gd name="connsiteX203" fmla="*/ 5403029 w 11240921"/>
              <a:gd name="connsiteY203" fmla="*/ 6193208 h 6858243"/>
              <a:gd name="connsiteX204" fmla="*/ 5648505 w 11240921"/>
              <a:gd name="connsiteY204" fmla="*/ 6413860 h 6858243"/>
              <a:gd name="connsiteX205" fmla="*/ 5911244 w 11240921"/>
              <a:gd name="connsiteY205" fmla="*/ 6181038 h 6858243"/>
              <a:gd name="connsiteX206" fmla="*/ 2770441 w 11240921"/>
              <a:gd name="connsiteY206" fmla="*/ 6185239 h 6858243"/>
              <a:gd name="connsiteX207" fmla="*/ 3008457 w 11240921"/>
              <a:gd name="connsiteY207" fmla="*/ 5962958 h 6858243"/>
              <a:gd name="connsiteX208" fmla="*/ 2541387 w 11240921"/>
              <a:gd name="connsiteY208" fmla="*/ 5956236 h 6858243"/>
              <a:gd name="connsiteX209" fmla="*/ 2074572 w 11240921"/>
              <a:gd name="connsiteY209" fmla="*/ 5963798 h 6858243"/>
              <a:gd name="connsiteX210" fmla="*/ 2527638 w 11240921"/>
              <a:gd name="connsiteY210" fmla="*/ 6400849 h 6858243"/>
              <a:gd name="connsiteX211" fmla="*/ 2770441 w 11240921"/>
              <a:gd name="connsiteY211" fmla="*/ 6185239 h 6858243"/>
              <a:gd name="connsiteX212" fmla="*/ 1729872 w 11240921"/>
              <a:gd name="connsiteY212" fmla="*/ 6181980 h 6858243"/>
              <a:gd name="connsiteX213" fmla="*/ 1964247 w 11240921"/>
              <a:gd name="connsiteY213" fmla="*/ 5963035 h 6858243"/>
              <a:gd name="connsiteX214" fmla="*/ 1490456 w 11240921"/>
              <a:gd name="connsiteY214" fmla="*/ 5956236 h 6858243"/>
              <a:gd name="connsiteX215" fmla="*/ 1016638 w 11240921"/>
              <a:gd name="connsiteY215" fmla="*/ 5962729 h 6858243"/>
              <a:gd name="connsiteX216" fmla="*/ 1487375 w 11240921"/>
              <a:gd name="connsiteY216" fmla="*/ 6393643 h 6858243"/>
              <a:gd name="connsiteX217" fmla="*/ 1729872 w 11240921"/>
              <a:gd name="connsiteY217" fmla="*/ 6181980 h 6858243"/>
              <a:gd name="connsiteX218" fmla="*/ 4862196 w 11240921"/>
              <a:gd name="connsiteY218" fmla="*/ 6174367 h 6858243"/>
              <a:gd name="connsiteX219" fmla="*/ 5101358 w 11240921"/>
              <a:gd name="connsiteY219" fmla="*/ 5948852 h 6858243"/>
              <a:gd name="connsiteX220" fmla="*/ 4595383 w 11240921"/>
              <a:gd name="connsiteY220" fmla="*/ 5486035 h 6858243"/>
              <a:gd name="connsiteX221" fmla="*/ 4142521 w 11240921"/>
              <a:gd name="connsiteY221" fmla="*/ 5893397 h 6858243"/>
              <a:gd name="connsiteX222" fmla="*/ 4119605 w 11240921"/>
              <a:gd name="connsiteY222" fmla="*/ 5933015 h 6858243"/>
              <a:gd name="connsiteX223" fmla="*/ 4612926 w 11240921"/>
              <a:gd name="connsiteY223" fmla="*/ 6393516 h 6858243"/>
              <a:gd name="connsiteX224" fmla="*/ 4862196 w 11240921"/>
              <a:gd name="connsiteY224" fmla="*/ 6174367 h 6858243"/>
              <a:gd name="connsiteX225" fmla="*/ 9024243 w 11240921"/>
              <a:gd name="connsiteY225" fmla="*/ 6146028 h 6858243"/>
              <a:gd name="connsiteX226" fmla="*/ 9259530 w 11240921"/>
              <a:gd name="connsiteY226" fmla="*/ 5928177 h 6858243"/>
              <a:gd name="connsiteX227" fmla="*/ 9025083 w 11240921"/>
              <a:gd name="connsiteY227" fmla="*/ 5697622 h 6858243"/>
              <a:gd name="connsiteX228" fmla="*/ 8772478 w 11240921"/>
              <a:gd name="connsiteY228" fmla="*/ 5473508 h 6858243"/>
              <a:gd name="connsiteX229" fmla="*/ 8734082 w 11240921"/>
              <a:gd name="connsiteY229" fmla="*/ 5495303 h 6858243"/>
              <a:gd name="connsiteX230" fmla="*/ 8292805 w 11240921"/>
              <a:gd name="connsiteY230" fmla="*/ 5903480 h 6858243"/>
              <a:gd name="connsiteX231" fmla="*/ 8788442 w 11240921"/>
              <a:gd name="connsiteY231" fmla="*/ 6353719 h 6858243"/>
              <a:gd name="connsiteX232" fmla="*/ 9024243 w 11240921"/>
              <a:gd name="connsiteY232" fmla="*/ 6146028 h 6858243"/>
              <a:gd name="connsiteX233" fmla="*/ 2011428 w 11240921"/>
              <a:gd name="connsiteY233" fmla="*/ 5920412 h 6858243"/>
              <a:gd name="connsiteX234" fmla="*/ 2026119 w 11240921"/>
              <a:gd name="connsiteY234" fmla="*/ 5904753 h 6858243"/>
              <a:gd name="connsiteX235" fmla="*/ 2024388 w 11240921"/>
              <a:gd name="connsiteY235" fmla="*/ 5447155 h 6858243"/>
              <a:gd name="connsiteX236" fmla="*/ 2022656 w 11240921"/>
              <a:gd name="connsiteY236" fmla="*/ 4989532 h 6858243"/>
              <a:gd name="connsiteX237" fmla="*/ 1500563 w 11240921"/>
              <a:gd name="connsiteY237" fmla="*/ 4989532 h 6858243"/>
              <a:gd name="connsiteX238" fmla="*/ 978472 w 11240921"/>
              <a:gd name="connsiteY238" fmla="*/ 4989532 h 6858243"/>
              <a:gd name="connsiteX239" fmla="*/ 976715 w 11240921"/>
              <a:gd name="connsiteY239" fmla="*/ 5454361 h 6858243"/>
              <a:gd name="connsiteX240" fmla="*/ 978191 w 11240921"/>
              <a:gd name="connsiteY240" fmla="*/ 5927617 h 6858243"/>
              <a:gd name="connsiteX241" fmla="*/ 1489080 w 11240921"/>
              <a:gd name="connsiteY241" fmla="*/ 5936045 h 6858243"/>
              <a:gd name="connsiteX242" fmla="*/ 1996735 w 11240921"/>
              <a:gd name="connsiteY242" fmla="*/ 5936045 h 6858243"/>
              <a:gd name="connsiteX243" fmla="*/ 3035421 w 11240921"/>
              <a:gd name="connsiteY243" fmla="*/ 5929527 h 6858243"/>
              <a:gd name="connsiteX244" fmla="*/ 2788672 w 11240921"/>
              <a:gd name="connsiteY244" fmla="*/ 5696934 h 6858243"/>
              <a:gd name="connsiteX245" fmla="*/ 2535226 w 11240921"/>
              <a:gd name="connsiteY245" fmla="*/ 5476079 h 6858243"/>
              <a:gd name="connsiteX246" fmla="*/ 2054865 w 11240921"/>
              <a:gd name="connsiteY246" fmla="*/ 5914530 h 6858243"/>
              <a:gd name="connsiteX247" fmla="*/ 2050231 w 11240921"/>
              <a:gd name="connsiteY247" fmla="*/ 5930291 h 6858243"/>
              <a:gd name="connsiteX248" fmla="*/ 3035421 w 11240921"/>
              <a:gd name="connsiteY248" fmla="*/ 5929527 h 6858243"/>
              <a:gd name="connsiteX249" fmla="*/ 10318958 w 11240921"/>
              <a:gd name="connsiteY249" fmla="*/ 5930545 h 6858243"/>
              <a:gd name="connsiteX250" fmla="*/ 9801874 w 11240921"/>
              <a:gd name="connsiteY250" fmla="*/ 5472489 h 6858243"/>
              <a:gd name="connsiteX251" fmla="*/ 9308941 w 11240921"/>
              <a:gd name="connsiteY251" fmla="*/ 5920335 h 6858243"/>
              <a:gd name="connsiteX252" fmla="*/ 9316867 w 11240921"/>
              <a:gd name="connsiteY252" fmla="*/ 5931589 h 6858243"/>
              <a:gd name="connsiteX253" fmla="*/ 10318958 w 11240921"/>
              <a:gd name="connsiteY253" fmla="*/ 5930545 h 6858243"/>
              <a:gd name="connsiteX254" fmla="*/ 10469205 w 11240921"/>
              <a:gd name="connsiteY254" fmla="*/ 5859965 h 6858243"/>
              <a:gd name="connsiteX255" fmla="*/ 10857898 w 11240921"/>
              <a:gd name="connsiteY255" fmla="*/ 5502152 h 6858243"/>
              <a:gd name="connsiteX256" fmla="*/ 11193252 w 11240921"/>
              <a:gd name="connsiteY256" fmla="*/ 5191036 h 6858243"/>
              <a:gd name="connsiteX257" fmla="*/ 11222087 w 11240921"/>
              <a:gd name="connsiteY257" fmla="*/ 5161678 h 6858243"/>
              <a:gd name="connsiteX258" fmla="*/ 11220201 w 11240921"/>
              <a:gd name="connsiteY258" fmla="*/ 5075592 h 6858243"/>
              <a:gd name="connsiteX259" fmla="*/ 11218314 w 11240921"/>
              <a:gd name="connsiteY259" fmla="*/ 4989532 h 6858243"/>
              <a:gd name="connsiteX260" fmla="*/ 10787161 w 11240921"/>
              <a:gd name="connsiteY260" fmla="*/ 4989532 h 6858243"/>
              <a:gd name="connsiteX261" fmla="*/ 10356010 w 11240921"/>
              <a:gd name="connsiteY261" fmla="*/ 4989532 h 6858243"/>
              <a:gd name="connsiteX262" fmla="*/ 10354266 w 11240921"/>
              <a:gd name="connsiteY262" fmla="*/ 5454361 h 6858243"/>
              <a:gd name="connsiteX263" fmla="*/ 10355738 w 11240921"/>
              <a:gd name="connsiteY263" fmla="*/ 5927617 h 6858243"/>
              <a:gd name="connsiteX264" fmla="*/ 10469203 w 11240921"/>
              <a:gd name="connsiteY264" fmla="*/ 5859965 h 6858243"/>
              <a:gd name="connsiteX265" fmla="*/ 11220058 w 11240921"/>
              <a:gd name="connsiteY265" fmla="*/ 5572656 h 6858243"/>
              <a:gd name="connsiteX266" fmla="*/ 11216689 w 11240921"/>
              <a:gd name="connsiteY266" fmla="*/ 5207866 h 6858243"/>
              <a:gd name="connsiteX267" fmla="*/ 10427850 w 11240921"/>
              <a:gd name="connsiteY267" fmla="*/ 5930189 h 6858243"/>
              <a:gd name="connsiteX268" fmla="*/ 10821949 w 11240921"/>
              <a:gd name="connsiteY268" fmla="*/ 5934416 h 6858243"/>
              <a:gd name="connsiteX269" fmla="*/ 11218314 w 11240921"/>
              <a:gd name="connsiteY269" fmla="*/ 5932684 h 6858243"/>
              <a:gd name="connsiteX270" fmla="*/ 5127584 w 11240921"/>
              <a:gd name="connsiteY270" fmla="*/ 5911907 h 6858243"/>
              <a:gd name="connsiteX271" fmla="*/ 5126616 w 11240921"/>
              <a:gd name="connsiteY271" fmla="*/ 4999793 h 6858243"/>
              <a:gd name="connsiteX272" fmla="*/ 4623034 w 11240921"/>
              <a:gd name="connsiteY272" fmla="*/ 5463756 h 6858243"/>
              <a:gd name="connsiteX273" fmla="*/ 5115795 w 11240921"/>
              <a:gd name="connsiteY273" fmla="*/ 5922220 h 6858243"/>
              <a:gd name="connsiteX274" fmla="*/ 5127584 w 11240921"/>
              <a:gd name="connsiteY274" fmla="*/ 5911907 h 6858243"/>
              <a:gd name="connsiteX275" fmla="*/ 6182208 w 11240921"/>
              <a:gd name="connsiteY275" fmla="*/ 5910787 h 6858243"/>
              <a:gd name="connsiteX276" fmla="*/ 5668722 w 11240921"/>
              <a:gd name="connsiteY276" fmla="*/ 5474577 h 6858243"/>
              <a:gd name="connsiteX277" fmla="*/ 5185611 w 11240921"/>
              <a:gd name="connsiteY277" fmla="*/ 5910787 h 6858243"/>
              <a:gd name="connsiteX278" fmla="*/ 5684075 w 11240921"/>
              <a:gd name="connsiteY278" fmla="*/ 5915829 h 6858243"/>
              <a:gd name="connsiteX279" fmla="*/ 6182208 w 11240921"/>
              <a:gd name="connsiteY279" fmla="*/ 5910787 h 6858243"/>
              <a:gd name="connsiteX280" fmla="*/ 8250768 w 11240921"/>
              <a:gd name="connsiteY280" fmla="*/ 5906281 h 6858243"/>
              <a:gd name="connsiteX281" fmla="*/ 7756607 w 11240921"/>
              <a:gd name="connsiteY281" fmla="*/ 5455736 h 6858243"/>
              <a:gd name="connsiteX282" fmla="*/ 7260485 w 11240921"/>
              <a:gd name="connsiteY282" fmla="*/ 5910329 h 6858243"/>
              <a:gd name="connsiteX283" fmla="*/ 7755639 w 11240921"/>
              <a:gd name="connsiteY283" fmla="*/ 5915829 h 6858243"/>
              <a:gd name="connsiteX284" fmla="*/ 8250768 w 11240921"/>
              <a:gd name="connsiteY284" fmla="*/ 5906281 h 6858243"/>
              <a:gd name="connsiteX285" fmla="*/ 3050010 w 11240921"/>
              <a:gd name="connsiteY285" fmla="*/ 5457747 h 6858243"/>
              <a:gd name="connsiteX286" fmla="*/ 3044561 w 11240921"/>
              <a:gd name="connsiteY286" fmla="*/ 5013109 h 6858243"/>
              <a:gd name="connsiteX287" fmla="*/ 2566391 w 11240921"/>
              <a:gd name="connsiteY287" fmla="*/ 5455634 h 6858243"/>
              <a:gd name="connsiteX288" fmla="*/ 3044969 w 11240921"/>
              <a:gd name="connsiteY288" fmla="*/ 5902028 h 6858243"/>
              <a:gd name="connsiteX289" fmla="*/ 3050010 w 11240921"/>
              <a:gd name="connsiteY289" fmla="*/ 5457747 h 6858243"/>
              <a:gd name="connsiteX290" fmla="*/ 3575718 w 11240921"/>
              <a:gd name="connsiteY290" fmla="*/ 5448453 h 6858243"/>
              <a:gd name="connsiteX291" fmla="*/ 4062316 w 11240921"/>
              <a:gd name="connsiteY291" fmla="*/ 4992002 h 6858243"/>
              <a:gd name="connsiteX292" fmla="*/ 3564999 w 11240921"/>
              <a:gd name="connsiteY292" fmla="*/ 4987800 h 6858243"/>
              <a:gd name="connsiteX293" fmla="*/ 3073588 w 11240921"/>
              <a:gd name="connsiteY293" fmla="*/ 4989532 h 6858243"/>
              <a:gd name="connsiteX294" fmla="*/ 3071856 w 11240921"/>
              <a:gd name="connsiteY294" fmla="*/ 5446519 h 6858243"/>
              <a:gd name="connsiteX295" fmla="*/ 3076668 w 11240921"/>
              <a:gd name="connsiteY295" fmla="*/ 5901264 h 6858243"/>
              <a:gd name="connsiteX296" fmla="*/ 3575718 w 11240921"/>
              <a:gd name="connsiteY296" fmla="*/ 5448453 h 6858243"/>
              <a:gd name="connsiteX297" fmla="*/ 5434830 w 11240921"/>
              <a:gd name="connsiteY297" fmla="*/ 5649448 h 6858243"/>
              <a:gd name="connsiteX298" fmla="*/ 5641656 w 11240921"/>
              <a:gd name="connsiteY298" fmla="*/ 5451407 h 6858243"/>
              <a:gd name="connsiteX299" fmla="*/ 5403512 w 11240921"/>
              <a:gd name="connsiteY299" fmla="*/ 5235416 h 6858243"/>
              <a:gd name="connsiteX300" fmla="*/ 5157934 w 11240921"/>
              <a:gd name="connsiteY300" fmla="*/ 5027699 h 6858243"/>
              <a:gd name="connsiteX301" fmla="*/ 5156534 w 11240921"/>
              <a:gd name="connsiteY301" fmla="*/ 5898031 h 6858243"/>
              <a:gd name="connsiteX302" fmla="*/ 5195286 w 11240921"/>
              <a:gd name="connsiteY302" fmla="*/ 5869845 h 6858243"/>
              <a:gd name="connsiteX303" fmla="*/ 5434830 w 11240921"/>
              <a:gd name="connsiteY303" fmla="*/ 5649448 h 6858243"/>
              <a:gd name="connsiteX304" fmla="*/ 6429644 w 11240921"/>
              <a:gd name="connsiteY304" fmla="*/ 5706228 h 6858243"/>
              <a:gd name="connsiteX305" fmla="*/ 6690143 w 11240921"/>
              <a:gd name="connsiteY305" fmla="*/ 5452476 h 6858243"/>
              <a:gd name="connsiteX306" fmla="*/ 6438505 w 11240921"/>
              <a:gd name="connsiteY306" fmla="*/ 5225307 h 6858243"/>
              <a:gd name="connsiteX307" fmla="*/ 6185849 w 11240921"/>
              <a:gd name="connsiteY307" fmla="*/ 5000939 h 6858243"/>
              <a:gd name="connsiteX308" fmla="*/ 5692452 w 11240921"/>
              <a:gd name="connsiteY308" fmla="*/ 5452502 h 6858243"/>
              <a:gd name="connsiteX309" fmla="*/ 6210699 w 11240921"/>
              <a:gd name="connsiteY309" fmla="*/ 5902028 h 6858243"/>
              <a:gd name="connsiteX310" fmla="*/ 6429644 w 11240921"/>
              <a:gd name="connsiteY310" fmla="*/ 5706228 h 6858243"/>
              <a:gd name="connsiteX311" fmla="*/ 9537663 w 11240921"/>
              <a:gd name="connsiteY311" fmla="*/ 5677405 h 6858243"/>
              <a:gd name="connsiteX312" fmla="*/ 9778643 w 11240921"/>
              <a:gd name="connsiteY312" fmla="*/ 5446977 h 6858243"/>
              <a:gd name="connsiteX313" fmla="*/ 9283000 w 11240921"/>
              <a:gd name="connsiteY313" fmla="*/ 4999971 h 6858243"/>
              <a:gd name="connsiteX314" fmla="*/ 8791701 w 11240921"/>
              <a:gd name="connsiteY314" fmla="*/ 5448199 h 6858243"/>
              <a:gd name="connsiteX315" fmla="*/ 9288760 w 11240921"/>
              <a:gd name="connsiteY315" fmla="*/ 5901010 h 6858243"/>
              <a:gd name="connsiteX316" fmla="*/ 9537663 w 11240921"/>
              <a:gd name="connsiteY316" fmla="*/ 5677405 h 6858243"/>
              <a:gd name="connsiteX317" fmla="*/ 10332432 w 11240921"/>
              <a:gd name="connsiteY317" fmla="*/ 5443870 h 6858243"/>
              <a:gd name="connsiteX318" fmla="*/ 10325441 w 11240921"/>
              <a:gd name="connsiteY318" fmla="*/ 4992893 h 6858243"/>
              <a:gd name="connsiteX319" fmla="*/ 9830544 w 11240921"/>
              <a:gd name="connsiteY319" fmla="*/ 5448581 h 6858243"/>
              <a:gd name="connsiteX320" fmla="*/ 10327378 w 11240921"/>
              <a:gd name="connsiteY320" fmla="*/ 5897700 h 6858243"/>
              <a:gd name="connsiteX321" fmla="*/ 10332432 w 11240921"/>
              <a:gd name="connsiteY321" fmla="*/ 5443870 h 6858243"/>
              <a:gd name="connsiteX322" fmla="*/ 2275719 w 11240921"/>
              <a:gd name="connsiteY322" fmla="*/ 5682828 h 6858243"/>
              <a:gd name="connsiteX323" fmla="*/ 2521171 w 11240921"/>
              <a:gd name="connsiteY323" fmla="*/ 5457263 h 6858243"/>
              <a:gd name="connsiteX324" fmla="*/ 2785591 w 11240921"/>
              <a:gd name="connsiteY324" fmla="*/ 5214817 h 6858243"/>
              <a:gd name="connsiteX325" fmla="*/ 3023072 w 11240921"/>
              <a:gd name="connsiteY325" fmla="*/ 4992333 h 6858243"/>
              <a:gd name="connsiteX326" fmla="*/ 2536346 w 11240921"/>
              <a:gd name="connsiteY326" fmla="*/ 4987800 h 6858243"/>
              <a:gd name="connsiteX327" fmla="*/ 2049594 w 11240921"/>
              <a:gd name="connsiteY327" fmla="*/ 4989532 h 6858243"/>
              <a:gd name="connsiteX328" fmla="*/ 2047863 w 11240921"/>
              <a:gd name="connsiteY328" fmla="*/ 5435850 h 6858243"/>
              <a:gd name="connsiteX329" fmla="*/ 2051682 w 11240921"/>
              <a:gd name="connsiteY329" fmla="*/ 5882143 h 6858243"/>
              <a:gd name="connsiteX330" fmla="*/ 2275719 w 11240921"/>
              <a:gd name="connsiteY330" fmla="*/ 5682828 h 6858243"/>
              <a:gd name="connsiteX331" fmla="*/ 4347845 w 11240921"/>
              <a:gd name="connsiteY331" fmla="*/ 5677252 h 6858243"/>
              <a:gd name="connsiteX332" fmla="*/ 4573868 w 11240921"/>
              <a:gd name="connsiteY332" fmla="*/ 5467906 h 6858243"/>
              <a:gd name="connsiteX333" fmla="*/ 4352479 w 11240921"/>
              <a:gd name="connsiteY333" fmla="*/ 5251762 h 6858243"/>
              <a:gd name="connsiteX334" fmla="*/ 4120395 w 11240921"/>
              <a:gd name="connsiteY334" fmla="*/ 5041168 h 6858243"/>
              <a:gd name="connsiteX335" fmla="*/ 4114412 w 11240921"/>
              <a:gd name="connsiteY335" fmla="*/ 5461108 h 6858243"/>
              <a:gd name="connsiteX336" fmla="*/ 4120472 w 11240921"/>
              <a:gd name="connsiteY336" fmla="*/ 5881022 h 6858243"/>
              <a:gd name="connsiteX337" fmla="*/ 4347845 w 11240921"/>
              <a:gd name="connsiteY337" fmla="*/ 5677252 h 6858243"/>
              <a:gd name="connsiteX338" fmla="*/ 8391189 w 11240921"/>
              <a:gd name="connsiteY338" fmla="*/ 5779099 h 6858243"/>
              <a:gd name="connsiteX339" fmla="*/ 8621286 w 11240921"/>
              <a:gd name="connsiteY339" fmla="*/ 5569040 h 6858243"/>
              <a:gd name="connsiteX340" fmla="*/ 8743910 w 11240921"/>
              <a:gd name="connsiteY340" fmla="*/ 5454361 h 6858243"/>
              <a:gd name="connsiteX341" fmla="*/ 8521578 w 11240921"/>
              <a:gd name="connsiteY341" fmla="*/ 5240788 h 6858243"/>
              <a:gd name="connsiteX342" fmla="*/ 8276102 w 11240921"/>
              <a:gd name="connsiteY342" fmla="*/ 5016419 h 6858243"/>
              <a:gd name="connsiteX343" fmla="*/ 8257668 w 11240921"/>
              <a:gd name="connsiteY343" fmla="*/ 4997934 h 6858243"/>
              <a:gd name="connsiteX344" fmla="*/ 8228947 w 11240921"/>
              <a:gd name="connsiteY344" fmla="*/ 5023676 h 6858243"/>
              <a:gd name="connsiteX345" fmla="*/ 7787416 w 11240921"/>
              <a:gd name="connsiteY345" fmla="*/ 5435494 h 6858243"/>
              <a:gd name="connsiteX346" fmla="*/ 8272665 w 11240921"/>
              <a:gd name="connsiteY346" fmla="*/ 5882143 h 6858243"/>
              <a:gd name="connsiteX347" fmla="*/ 8391189 w 11240921"/>
              <a:gd name="connsiteY347" fmla="*/ 5779099 h 6858243"/>
              <a:gd name="connsiteX348" fmla="*/ 4843941 w 11240921"/>
              <a:gd name="connsiteY348" fmla="*/ 5224976 h 6858243"/>
              <a:gd name="connsiteX349" fmla="*/ 5084502 w 11240921"/>
              <a:gd name="connsiteY349" fmla="*/ 4999284 h 6858243"/>
              <a:gd name="connsiteX350" fmla="*/ 4602334 w 11240921"/>
              <a:gd name="connsiteY350" fmla="*/ 4992893 h 6858243"/>
              <a:gd name="connsiteX351" fmla="*/ 4122355 w 11240921"/>
              <a:gd name="connsiteY351" fmla="*/ 5002848 h 6858243"/>
              <a:gd name="connsiteX352" fmla="*/ 4596351 w 11240921"/>
              <a:gd name="connsiteY352" fmla="*/ 5443845 h 6858243"/>
              <a:gd name="connsiteX353" fmla="*/ 4843941 w 11240921"/>
              <a:gd name="connsiteY353" fmla="*/ 5224976 h 6858243"/>
              <a:gd name="connsiteX354" fmla="*/ 6959248 w 11240921"/>
              <a:gd name="connsiteY354" fmla="*/ 5220622 h 6858243"/>
              <a:gd name="connsiteX355" fmla="*/ 7205259 w 11240921"/>
              <a:gd name="connsiteY355" fmla="*/ 4992180 h 6858243"/>
              <a:gd name="connsiteX356" fmla="*/ 7200192 w 11240921"/>
              <a:gd name="connsiteY356" fmla="*/ 4983013 h 6858243"/>
              <a:gd name="connsiteX357" fmla="*/ 7193114 w 11240921"/>
              <a:gd name="connsiteY357" fmla="*/ 4952765 h 6858243"/>
              <a:gd name="connsiteX358" fmla="*/ 7151000 w 11240921"/>
              <a:gd name="connsiteY358" fmla="*/ 4886692 h 6858243"/>
              <a:gd name="connsiteX359" fmla="*/ 6730296 w 11240921"/>
              <a:gd name="connsiteY359" fmla="*/ 4503035 h 6858243"/>
              <a:gd name="connsiteX360" fmla="*/ 6470944 w 11240921"/>
              <a:gd name="connsiteY360" fmla="*/ 4730357 h 6858243"/>
              <a:gd name="connsiteX361" fmla="*/ 6221546 w 11240921"/>
              <a:gd name="connsiteY361" fmla="*/ 4981537 h 6858243"/>
              <a:gd name="connsiteX362" fmla="*/ 6224907 w 11240921"/>
              <a:gd name="connsiteY362" fmla="*/ 5003128 h 6858243"/>
              <a:gd name="connsiteX363" fmla="*/ 6700201 w 11240921"/>
              <a:gd name="connsiteY363" fmla="*/ 5438752 h 6858243"/>
              <a:gd name="connsiteX364" fmla="*/ 6708858 w 11240921"/>
              <a:gd name="connsiteY364" fmla="*/ 5444252 h 6858243"/>
              <a:gd name="connsiteX365" fmla="*/ 6959248 w 11240921"/>
              <a:gd name="connsiteY365" fmla="*/ 5220622 h 6858243"/>
              <a:gd name="connsiteX366" fmla="*/ 5906381 w 11240921"/>
              <a:gd name="connsiteY366" fmla="*/ 5218356 h 6858243"/>
              <a:gd name="connsiteX367" fmla="*/ 6141062 w 11240921"/>
              <a:gd name="connsiteY367" fmla="*/ 4999411 h 6858243"/>
              <a:gd name="connsiteX368" fmla="*/ 5653775 w 11240921"/>
              <a:gd name="connsiteY368" fmla="*/ 4992893 h 6858243"/>
              <a:gd name="connsiteX369" fmla="*/ 5166489 w 11240921"/>
              <a:gd name="connsiteY369" fmla="*/ 4999691 h 6858243"/>
              <a:gd name="connsiteX370" fmla="*/ 5667245 w 11240921"/>
              <a:gd name="connsiteY370" fmla="*/ 5430656 h 6858243"/>
              <a:gd name="connsiteX371" fmla="*/ 5906381 w 11240921"/>
              <a:gd name="connsiteY371" fmla="*/ 5218356 h 6858243"/>
              <a:gd name="connsiteX372" fmla="*/ 9012251 w 11240921"/>
              <a:gd name="connsiteY372" fmla="*/ 5214155 h 6858243"/>
              <a:gd name="connsiteX373" fmla="*/ 9253429 w 11240921"/>
              <a:gd name="connsiteY373" fmla="*/ 4991849 h 6858243"/>
              <a:gd name="connsiteX374" fmla="*/ 8769499 w 11240921"/>
              <a:gd name="connsiteY374" fmla="*/ 4986171 h 6858243"/>
              <a:gd name="connsiteX375" fmla="*/ 8285777 w 11240921"/>
              <a:gd name="connsiteY375" fmla="*/ 4993453 h 6858243"/>
              <a:gd name="connsiteX376" fmla="*/ 8766341 w 11240921"/>
              <a:gd name="connsiteY376" fmla="*/ 5430350 h 6858243"/>
              <a:gd name="connsiteX377" fmla="*/ 9012251 w 11240921"/>
              <a:gd name="connsiteY377" fmla="*/ 5214155 h 6858243"/>
              <a:gd name="connsiteX378" fmla="*/ 10058892 w 11240921"/>
              <a:gd name="connsiteY378" fmla="*/ 5201984 h 6858243"/>
              <a:gd name="connsiteX379" fmla="*/ 10304017 w 11240921"/>
              <a:gd name="connsiteY379" fmla="*/ 4968475 h 6858243"/>
              <a:gd name="connsiteX380" fmla="*/ 10083172 w 11240921"/>
              <a:gd name="connsiteY380" fmla="*/ 4760249 h 6858243"/>
              <a:gd name="connsiteX381" fmla="*/ 9839700 w 11240921"/>
              <a:gd name="connsiteY381" fmla="*/ 4536695 h 6858243"/>
              <a:gd name="connsiteX382" fmla="*/ 9815170 w 11240921"/>
              <a:gd name="connsiteY382" fmla="*/ 4513296 h 6858243"/>
              <a:gd name="connsiteX383" fmla="*/ 9561488 w 11240921"/>
              <a:gd name="connsiteY383" fmla="*/ 4743877 h 6858243"/>
              <a:gd name="connsiteX384" fmla="*/ 9309809 w 11240921"/>
              <a:gd name="connsiteY384" fmla="*/ 4983701 h 6858243"/>
              <a:gd name="connsiteX385" fmla="*/ 9804364 w 11240921"/>
              <a:gd name="connsiteY385" fmla="*/ 5428772 h 6858243"/>
              <a:gd name="connsiteX386" fmla="*/ 10058892 w 11240921"/>
              <a:gd name="connsiteY386" fmla="*/ 5201984 h 6858243"/>
              <a:gd name="connsiteX387" fmla="*/ 8000836 w 11240921"/>
              <a:gd name="connsiteY387" fmla="*/ 5202366 h 6858243"/>
              <a:gd name="connsiteX388" fmla="*/ 8225586 w 11240921"/>
              <a:gd name="connsiteY388" fmla="*/ 4990168 h 6858243"/>
              <a:gd name="connsiteX389" fmla="*/ 7302014 w 11240921"/>
              <a:gd name="connsiteY389" fmla="*/ 4992103 h 6858243"/>
              <a:gd name="connsiteX390" fmla="*/ 7762590 w 11240921"/>
              <a:gd name="connsiteY390" fmla="*/ 5410567 h 6858243"/>
              <a:gd name="connsiteX391" fmla="*/ 8000836 w 11240921"/>
              <a:gd name="connsiteY391" fmla="*/ 5202366 h 6858243"/>
              <a:gd name="connsiteX392" fmla="*/ 5123586 w 11240921"/>
              <a:gd name="connsiteY392" fmla="*/ 4964605 h 6858243"/>
              <a:gd name="connsiteX393" fmla="*/ 5131658 w 11240921"/>
              <a:gd name="connsiteY393" fmla="*/ 4509884 h 6858243"/>
              <a:gd name="connsiteX394" fmla="*/ 5126565 w 11240921"/>
              <a:gd name="connsiteY394" fmla="*/ 4063235 h 6858243"/>
              <a:gd name="connsiteX395" fmla="*/ 4643964 w 11240921"/>
              <a:gd name="connsiteY395" fmla="*/ 4507618 h 6858243"/>
              <a:gd name="connsiteX396" fmla="*/ 4624384 w 11240921"/>
              <a:gd name="connsiteY396" fmla="*/ 4525339 h 6858243"/>
              <a:gd name="connsiteX397" fmla="*/ 4141375 w 11240921"/>
              <a:gd name="connsiteY397" fmla="*/ 4966336 h 6858243"/>
              <a:gd name="connsiteX398" fmla="*/ 5123586 w 11240921"/>
              <a:gd name="connsiteY398" fmla="*/ 4964605 h 6858243"/>
              <a:gd name="connsiteX399" fmla="*/ 6148904 w 11240921"/>
              <a:gd name="connsiteY399" fmla="*/ 4966871 h 6858243"/>
              <a:gd name="connsiteX400" fmla="*/ 5656805 w 11240921"/>
              <a:gd name="connsiteY400" fmla="*/ 4517955 h 6858243"/>
              <a:gd name="connsiteX401" fmla="*/ 5165343 w 11240921"/>
              <a:gd name="connsiteY401" fmla="*/ 4966616 h 6858243"/>
              <a:gd name="connsiteX402" fmla="*/ 5657136 w 11240921"/>
              <a:gd name="connsiteY402" fmla="*/ 4972701 h 6858243"/>
              <a:gd name="connsiteX403" fmla="*/ 6148904 w 11240921"/>
              <a:gd name="connsiteY403" fmla="*/ 4966871 h 6858243"/>
              <a:gd name="connsiteX404" fmla="*/ 4032451 w 11240921"/>
              <a:gd name="connsiteY404" fmla="*/ 4960200 h 6858243"/>
              <a:gd name="connsiteX405" fmla="*/ 3568614 w 11240921"/>
              <a:gd name="connsiteY405" fmla="*/ 4534811 h 6858243"/>
              <a:gd name="connsiteX406" fmla="*/ 3103913 w 11240921"/>
              <a:gd name="connsiteY406" fmla="*/ 4959767 h 6858243"/>
              <a:gd name="connsiteX407" fmla="*/ 3569302 w 11240921"/>
              <a:gd name="connsiteY407" fmla="*/ 4965954 h 6858243"/>
              <a:gd name="connsiteX408" fmla="*/ 4032451 w 11240921"/>
              <a:gd name="connsiteY408" fmla="*/ 4960200 h 6858243"/>
              <a:gd name="connsiteX409" fmla="*/ 4133049 w 11240921"/>
              <a:gd name="connsiteY409" fmla="*/ 4937310 h 6858243"/>
              <a:gd name="connsiteX410" fmla="*/ 4598005 w 11240921"/>
              <a:gd name="connsiteY410" fmla="*/ 4503239 h 6858243"/>
              <a:gd name="connsiteX411" fmla="*/ 4101069 w 11240921"/>
              <a:gd name="connsiteY411" fmla="*/ 4043018 h 6858243"/>
              <a:gd name="connsiteX412" fmla="*/ 4080726 w 11240921"/>
              <a:gd name="connsiteY412" fmla="*/ 4512303 h 6858243"/>
              <a:gd name="connsiteX413" fmla="*/ 4080624 w 11240921"/>
              <a:gd name="connsiteY413" fmla="*/ 4960913 h 6858243"/>
              <a:gd name="connsiteX414" fmla="*/ 4133049 w 11240921"/>
              <a:gd name="connsiteY414" fmla="*/ 4937310 h 6858243"/>
              <a:gd name="connsiteX415" fmla="*/ 7226800 w 11240921"/>
              <a:gd name="connsiteY415" fmla="*/ 4959207 h 6858243"/>
              <a:gd name="connsiteX416" fmla="*/ 7219670 w 11240921"/>
              <a:gd name="connsiteY416" fmla="*/ 4952485 h 6858243"/>
              <a:gd name="connsiteX417" fmla="*/ 7216691 w 11240921"/>
              <a:gd name="connsiteY417" fmla="*/ 4959207 h 6858243"/>
              <a:gd name="connsiteX418" fmla="*/ 7223821 w 11240921"/>
              <a:gd name="connsiteY418" fmla="*/ 4965954 h 6858243"/>
              <a:gd name="connsiteX419" fmla="*/ 7226800 w 11240921"/>
              <a:gd name="connsiteY419" fmla="*/ 4959207 h 6858243"/>
              <a:gd name="connsiteX420" fmla="*/ 8235669 w 11240921"/>
              <a:gd name="connsiteY420" fmla="*/ 4526383 h 6858243"/>
              <a:gd name="connsiteX421" fmla="*/ 8230500 w 11240921"/>
              <a:gd name="connsiteY421" fmla="*/ 4090173 h 6858243"/>
              <a:gd name="connsiteX422" fmla="*/ 7280676 w 11240921"/>
              <a:gd name="connsiteY422" fmla="*/ 4960225 h 6858243"/>
              <a:gd name="connsiteX423" fmla="*/ 7757320 w 11240921"/>
              <a:gd name="connsiteY423" fmla="*/ 4964325 h 6858243"/>
              <a:gd name="connsiteX424" fmla="*/ 8233938 w 11240921"/>
              <a:gd name="connsiteY424" fmla="*/ 4962593 h 6858243"/>
              <a:gd name="connsiteX425" fmla="*/ 9239955 w 11240921"/>
              <a:gd name="connsiteY425" fmla="*/ 4960225 h 6858243"/>
              <a:gd name="connsiteX426" fmla="*/ 8773165 w 11240921"/>
              <a:gd name="connsiteY426" fmla="*/ 4540107 h 6858243"/>
              <a:gd name="connsiteX427" fmla="*/ 8304670 w 11240921"/>
              <a:gd name="connsiteY427" fmla="*/ 4959971 h 6858243"/>
              <a:gd name="connsiteX428" fmla="*/ 8773445 w 11240921"/>
              <a:gd name="connsiteY428" fmla="*/ 4965954 h 6858243"/>
              <a:gd name="connsiteX429" fmla="*/ 9239955 w 11240921"/>
              <a:gd name="connsiteY429" fmla="*/ 4960225 h 6858243"/>
              <a:gd name="connsiteX430" fmla="*/ 11220216 w 11240921"/>
              <a:gd name="connsiteY430" fmla="*/ 4890995 h 6858243"/>
              <a:gd name="connsiteX431" fmla="*/ 11222118 w 11240921"/>
              <a:gd name="connsiteY431" fmla="*/ 4819422 h 6858243"/>
              <a:gd name="connsiteX432" fmla="*/ 11048428 w 11240921"/>
              <a:gd name="connsiteY432" fmla="*/ 4660184 h 6858243"/>
              <a:gd name="connsiteX433" fmla="*/ 10837687 w 11240921"/>
              <a:gd name="connsiteY433" fmla="*/ 4464817 h 6858243"/>
              <a:gd name="connsiteX434" fmla="*/ 10347758 w 11240921"/>
              <a:gd name="connsiteY434" fmla="*/ 4017073 h 6858243"/>
              <a:gd name="connsiteX435" fmla="*/ 9838203 w 11240921"/>
              <a:gd name="connsiteY435" fmla="*/ 4009332 h 6858243"/>
              <a:gd name="connsiteX436" fmla="*/ 9331981 w 11240921"/>
              <a:gd name="connsiteY436" fmla="*/ 4020459 h 6858243"/>
              <a:gd name="connsiteX437" fmla="*/ 9336551 w 11240921"/>
              <a:gd name="connsiteY437" fmla="*/ 4046583 h 6858243"/>
              <a:gd name="connsiteX438" fmla="*/ 9567810 w 11240921"/>
              <a:gd name="connsiteY438" fmla="*/ 4258501 h 6858243"/>
              <a:gd name="connsiteX439" fmla="*/ 9817070 w 11240921"/>
              <a:gd name="connsiteY439" fmla="*/ 4486510 h 6858243"/>
              <a:gd name="connsiteX440" fmla="*/ 10094974 w 11240921"/>
              <a:gd name="connsiteY440" fmla="*/ 4741840 h 6858243"/>
              <a:gd name="connsiteX441" fmla="*/ 10339195 w 11240921"/>
              <a:gd name="connsiteY441" fmla="*/ 4966056 h 6858243"/>
              <a:gd name="connsiteX442" fmla="*/ 10778753 w 11240921"/>
              <a:gd name="connsiteY442" fmla="*/ 4964325 h 6858243"/>
              <a:gd name="connsiteX443" fmla="*/ 11218311 w 11240921"/>
              <a:gd name="connsiteY443" fmla="*/ 4962593 h 6858243"/>
              <a:gd name="connsiteX444" fmla="*/ 6448817 w 11240921"/>
              <a:gd name="connsiteY444" fmla="*/ 4721827 h 6858243"/>
              <a:gd name="connsiteX445" fmla="*/ 6706413 w 11240921"/>
              <a:gd name="connsiteY445" fmla="*/ 4479839 h 6858243"/>
              <a:gd name="connsiteX446" fmla="*/ 6455437 w 11240921"/>
              <a:gd name="connsiteY446" fmla="*/ 4246305 h 6858243"/>
              <a:gd name="connsiteX447" fmla="*/ 6196084 w 11240921"/>
              <a:gd name="connsiteY447" fmla="*/ 4023285 h 6858243"/>
              <a:gd name="connsiteX448" fmla="*/ 5680714 w 11240921"/>
              <a:gd name="connsiteY448" fmla="*/ 4498579 h 6858243"/>
              <a:gd name="connsiteX449" fmla="*/ 6183786 w 11240921"/>
              <a:gd name="connsiteY449" fmla="*/ 4959207 h 6858243"/>
              <a:gd name="connsiteX450" fmla="*/ 6448817 w 11240921"/>
              <a:gd name="connsiteY450" fmla="*/ 4721827 h 6858243"/>
              <a:gd name="connsiteX451" fmla="*/ 9288235 w 11240921"/>
              <a:gd name="connsiteY451" fmla="*/ 4514595 h 6858243"/>
              <a:gd name="connsiteX452" fmla="*/ 9281885 w 11240921"/>
              <a:gd name="connsiteY452" fmla="*/ 4069956 h 6858243"/>
              <a:gd name="connsiteX453" fmla="*/ 8793076 w 11240921"/>
              <a:gd name="connsiteY453" fmla="*/ 4518414 h 6858243"/>
              <a:gd name="connsiteX454" fmla="*/ 9279815 w 11240921"/>
              <a:gd name="connsiteY454" fmla="*/ 4958800 h 6858243"/>
              <a:gd name="connsiteX455" fmla="*/ 9288235 w 11240921"/>
              <a:gd name="connsiteY455" fmla="*/ 4514595 h 6858243"/>
              <a:gd name="connsiteX456" fmla="*/ 8368935 w 11240921"/>
              <a:gd name="connsiteY456" fmla="*/ 4867163 h 6858243"/>
              <a:gd name="connsiteX457" fmla="*/ 8641503 w 11240921"/>
              <a:gd name="connsiteY457" fmla="*/ 4618937 h 6858243"/>
              <a:gd name="connsiteX458" fmla="*/ 9050767 w 11240921"/>
              <a:gd name="connsiteY458" fmla="*/ 4245872 h 6858243"/>
              <a:gd name="connsiteX459" fmla="*/ 9281500 w 11240921"/>
              <a:gd name="connsiteY459" fmla="*/ 4030058 h 6858243"/>
              <a:gd name="connsiteX460" fmla="*/ 8791854 w 11240921"/>
              <a:gd name="connsiteY460" fmla="*/ 3580150 h 6858243"/>
              <a:gd name="connsiteX461" fmla="*/ 8282773 w 11240921"/>
              <a:gd name="connsiteY461" fmla="*/ 4037162 h 6858243"/>
              <a:gd name="connsiteX462" fmla="*/ 8264262 w 11240921"/>
              <a:gd name="connsiteY462" fmla="*/ 4056717 h 6858243"/>
              <a:gd name="connsiteX463" fmla="*/ 8264262 w 11240921"/>
              <a:gd name="connsiteY463" fmla="*/ 4504588 h 6858243"/>
              <a:gd name="connsiteX464" fmla="*/ 8269584 w 11240921"/>
              <a:gd name="connsiteY464" fmla="*/ 4952485 h 6858243"/>
              <a:gd name="connsiteX465" fmla="*/ 8368935 w 11240921"/>
              <a:gd name="connsiteY465" fmla="*/ 4867163 h 6858243"/>
              <a:gd name="connsiteX466" fmla="*/ 4060535 w 11240921"/>
              <a:gd name="connsiteY466" fmla="*/ 4517242 h 6858243"/>
              <a:gd name="connsiteX467" fmla="*/ 4050579 w 11240921"/>
              <a:gd name="connsiteY467" fmla="*/ 4092541 h 6858243"/>
              <a:gd name="connsiteX468" fmla="*/ 3590638 w 11240921"/>
              <a:gd name="connsiteY468" fmla="*/ 4516249 h 6858243"/>
              <a:gd name="connsiteX469" fmla="*/ 4055468 w 11240921"/>
              <a:gd name="connsiteY469" fmla="*/ 4945483 h 6858243"/>
              <a:gd name="connsiteX470" fmla="*/ 4060535 w 11240921"/>
              <a:gd name="connsiteY470" fmla="*/ 4517242 h 6858243"/>
              <a:gd name="connsiteX471" fmla="*/ 7501964 w 11240921"/>
              <a:gd name="connsiteY471" fmla="*/ 4722897 h 6858243"/>
              <a:gd name="connsiteX472" fmla="*/ 7745531 w 11240921"/>
              <a:gd name="connsiteY472" fmla="*/ 4491730 h 6858243"/>
              <a:gd name="connsiteX473" fmla="*/ 7244317 w 11240921"/>
              <a:gd name="connsiteY473" fmla="*/ 4030847 h 6858243"/>
              <a:gd name="connsiteX474" fmla="*/ 7224075 w 11240921"/>
              <a:gd name="connsiteY474" fmla="*/ 4044138 h 6858243"/>
              <a:gd name="connsiteX475" fmla="*/ 7213331 w 11240921"/>
              <a:gd name="connsiteY475" fmla="*/ 4486077 h 6858243"/>
              <a:gd name="connsiteX476" fmla="*/ 7213331 w 11240921"/>
              <a:gd name="connsiteY476" fmla="*/ 4912663 h 6858243"/>
              <a:gd name="connsiteX477" fmla="*/ 7229855 w 11240921"/>
              <a:gd name="connsiteY477" fmla="*/ 4929213 h 6858243"/>
              <a:gd name="connsiteX478" fmla="*/ 7252414 w 11240921"/>
              <a:gd name="connsiteY478" fmla="*/ 4945738 h 6858243"/>
              <a:gd name="connsiteX479" fmla="*/ 7501964 w 11240921"/>
              <a:gd name="connsiteY479" fmla="*/ 4722897 h 6858243"/>
              <a:gd name="connsiteX480" fmla="*/ 9652019 w 11240921"/>
              <a:gd name="connsiteY480" fmla="*/ 4633246 h 6858243"/>
              <a:gd name="connsiteX481" fmla="*/ 9792181 w 11240921"/>
              <a:gd name="connsiteY481" fmla="*/ 4501533 h 6858243"/>
              <a:gd name="connsiteX482" fmla="*/ 9312314 w 11240921"/>
              <a:gd name="connsiteY482" fmla="*/ 4056487 h 6858243"/>
              <a:gd name="connsiteX483" fmla="*/ 9312671 w 11240921"/>
              <a:gd name="connsiteY483" fmla="*/ 4934254 h 6858243"/>
              <a:gd name="connsiteX484" fmla="*/ 9415406 w 11240921"/>
              <a:gd name="connsiteY484" fmla="*/ 4848677 h 6858243"/>
              <a:gd name="connsiteX485" fmla="*/ 9652022 w 11240921"/>
              <a:gd name="connsiteY485" fmla="*/ 4633246 h 6858243"/>
              <a:gd name="connsiteX486" fmla="*/ 5399515 w 11240921"/>
              <a:gd name="connsiteY486" fmla="*/ 4719001 h 6858243"/>
              <a:gd name="connsiteX487" fmla="*/ 5635596 w 11240921"/>
              <a:gd name="connsiteY487" fmla="*/ 4500667 h 6858243"/>
              <a:gd name="connsiteX488" fmla="*/ 5157960 w 11240921"/>
              <a:gd name="connsiteY488" fmla="*/ 4063235 h 6858243"/>
              <a:gd name="connsiteX489" fmla="*/ 5151874 w 11240921"/>
              <a:gd name="connsiteY489" fmla="*/ 4497739 h 6858243"/>
              <a:gd name="connsiteX490" fmla="*/ 5158673 w 11240921"/>
              <a:gd name="connsiteY490" fmla="*/ 4932268 h 6858243"/>
              <a:gd name="connsiteX491" fmla="*/ 5399515 w 11240921"/>
              <a:gd name="connsiteY491" fmla="*/ 4719001 h 6858243"/>
              <a:gd name="connsiteX492" fmla="*/ 7193114 w 11240921"/>
              <a:gd name="connsiteY492" fmla="*/ 4480349 h 6858243"/>
              <a:gd name="connsiteX493" fmla="*/ 7187130 w 11240921"/>
              <a:gd name="connsiteY493" fmla="*/ 4077824 h 6858243"/>
              <a:gd name="connsiteX494" fmla="*/ 6748476 w 11240921"/>
              <a:gd name="connsiteY494" fmla="*/ 4481443 h 6858243"/>
              <a:gd name="connsiteX495" fmla="*/ 7187309 w 11240921"/>
              <a:gd name="connsiteY495" fmla="*/ 4885113 h 6858243"/>
              <a:gd name="connsiteX496" fmla="*/ 7193114 w 11240921"/>
              <a:gd name="connsiteY496" fmla="*/ 4480349 h 6858243"/>
              <a:gd name="connsiteX497" fmla="*/ 11221683 w 11240921"/>
              <a:gd name="connsiteY497" fmla="*/ 4497357 h 6858243"/>
              <a:gd name="connsiteX498" fmla="*/ 11214395 w 11240921"/>
              <a:gd name="connsiteY498" fmla="*/ 4218169 h 6858243"/>
              <a:gd name="connsiteX499" fmla="*/ 10899900 w 11240921"/>
              <a:gd name="connsiteY499" fmla="*/ 4489031 h 6858243"/>
              <a:gd name="connsiteX500" fmla="*/ 11216628 w 11240921"/>
              <a:gd name="connsiteY500" fmla="*/ 4779371 h 6858243"/>
              <a:gd name="connsiteX501" fmla="*/ 11221683 w 11240921"/>
              <a:gd name="connsiteY501" fmla="*/ 4497357 h 6858243"/>
              <a:gd name="connsiteX502" fmla="*/ 4873884 w 11240921"/>
              <a:gd name="connsiteY502" fmla="*/ 4260919 h 6858243"/>
              <a:gd name="connsiteX503" fmla="*/ 5121549 w 11240921"/>
              <a:gd name="connsiteY503" fmla="*/ 4029523 h 6858243"/>
              <a:gd name="connsiteX504" fmla="*/ 4879027 w 11240921"/>
              <a:gd name="connsiteY504" fmla="*/ 3803703 h 6858243"/>
              <a:gd name="connsiteX505" fmla="*/ 4634213 w 11240921"/>
              <a:gd name="connsiteY505" fmla="*/ 3572995 h 6858243"/>
              <a:gd name="connsiteX506" fmla="*/ 4642106 w 11240921"/>
              <a:gd name="connsiteY506" fmla="*/ 3565789 h 6858243"/>
              <a:gd name="connsiteX507" fmla="*/ 4885112 w 11240921"/>
              <a:gd name="connsiteY507" fmla="*/ 3780253 h 6858243"/>
              <a:gd name="connsiteX508" fmla="*/ 5124783 w 11240921"/>
              <a:gd name="connsiteY508" fmla="*/ 3994692 h 6858243"/>
              <a:gd name="connsiteX509" fmla="*/ 5131658 w 11240921"/>
              <a:gd name="connsiteY509" fmla="*/ 3551225 h 6858243"/>
              <a:gd name="connsiteX510" fmla="*/ 5125343 w 11240921"/>
              <a:gd name="connsiteY510" fmla="*/ 3107733 h 6858243"/>
              <a:gd name="connsiteX511" fmla="*/ 4646892 w 11240921"/>
              <a:gd name="connsiteY511" fmla="*/ 3542034 h 6858243"/>
              <a:gd name="connsiteX512" fmla="*/ 4368392 w 11240921"/>
              <a:gd name="connsiteY512" fmla="*/ 3797134 h 6858243"/>
              <a:gd name="connsiteX513" fmla="*/ 4129230 w 11240921"/>
              <a:gd name="connsiteY513" fmla="*/ 4027003 h 6858243"/>
              <a:gd name="connsiteX514" fmla="*/ 4621253 w 11240921"/>
              <a:gd name="connsiteY514" fmla="*/ 4487172 h 6858243"/>
              <a:gd name="connsiteX515" fmla="*/ 4873884 w 11240921"/>
              <a:gd name="connsiteY515" fmla="*/ 4260919 h 6858243"/>
              <a:gd name="connsiteX516" fmla="*/ 5919927 w 11240921"/>
              <a:gd name="connsiteY516" fmla="*/ 4244650 h 6858243"/>
              <a:gd name="connsiteX517" fmla="*/ 6179229 w 11240921"/>
              <a:gd name="connsiteY517" fmla="*/ 4000650 h 6858243"/>
              <a:gd name="connsiteX518" fmla="*/ 5690822 w 11240921"/>
              <a:gd name="connsiteY518" fmla="*/ 3544962 h 6858243"/>
              <a:gd name="connsiteX519" fmla="*/ 5167100 w 11240921"/>
              <a:gd name="connsiteY519" fmla="*/ 4027308 h 6858243"/>
              <a:gd name="connsiteX520" fmla="*/ 5657086 w 11240921"/>
              <a:gd name="connsiteY520" fmla="*/ 4480908 h 6858243"/>
              <a:gd name="connsiteX521" fmla="*/ 5919927 w 11240921"/>
              <a:gd name="connsiteY521" fmla="*/ 4244650 h 6858243"/>
              <a:gd name="connsiteX522" fmla="*/ 8007736 w 11240921"/>
              <a:gd name="connsiteY522" fmla="*/ 4259544 h 6858243"/>
              <a:gd name="connsiteX523" fmla="*/ 8236000 w 11240921"/>
              <a:gd name="connsiteY523" fmla="*/ 4030491 h 6858243"/>
              <a:gd name="connsiteX524" fmla="*/ 8233938 w 11240921"/>
              <a:gd name="connsiteY524" fmla="*/ 4012693 h 6858243"/>
              <a:gd name="connsiteX525" fmla="*/ 7759000 w 11240921"/>
              <a:gd name="connsiteY525" fmla="*/ 4010962 h 6858243"/>
              <a:gd name="connsiteX526" fmla="*/ 7275355 w 11240921"/>
              <a:gd name="connsiteY526" fmla="*/ 4012541 h 6858243"/>
              <a:gd name="connsiteX527" fmla="*/ 7516757 w 11240921"/>
              <a:gd name="connsiteY527" fmla="*/ 4245388 h 6858243"/>
              <a:gd name="connsiteX528" fmla="*/ 7772164 w 11240921"/>
              <a:gd name="connsiteY528" fmla="*/ 4472863 h 6858243"/>
              <a:gd name="connsiteX529" fmla="*/ 8007736 w 11240921"/>
              <a:gd name="connsiteY529" fmla="*/ 4259544 h 6858243"/>
              <a:gd name="connsiteX530" fmla="*/ 11055665 w 11240921"/>
              <a:gd name="connsiteY530" fmla="*/ 4316248 h 6858243"/>
              <a:gd name="connsiteX531" fmla="*/ 11222075 w 11240921"/>
              <a:gd name="connsiteY531" fmla="*/ 4175164 h 6858243"/>
              <a:gd name="connsiteX532" fmla="*/ 11220193 w 11240921"/>
              <a:gd name="connsiteY532" fmla="*/ 4093941 h 6858243"/>
              <a:gd name="connsiteX533" fmla="*/ 11218311 w 11240921"/>
              <a:gd name="connsiteY533" fmla="*/ 4012693 h 6858243"/>
              <a:gd name="connsiteX534" fmla="*/ 10801740 w 11240921"/>
              <a:gd name="connsiteY534" fmla="*/ 4010962 h 6858243"/>
              <a:gd name="connsiteX535" fmla="*/ 10387430 w 11240921"/>
              <a:gd name="connsiteY535" fmla="*/ 4015825 h 6858243"/>
              <a:gd name="connsiteX536" fmla="*/ 10630884 w 11240921"/>
              <a:gd name="connsiteY536" fmla="*/ 4245057 h 6858243"/>
              <a:gd name="connsiteX537" fmla="*/ 10880666 w 11240921"/>
              <a:gd name="connsiteY537" fmla="*/ 4462525 h 6858243"/>
              <a:gd name="connsiteX538" fmla="*/ 11055665 w 11240921"/>
              <a:gd name="connsiteY538" fmla="*/ 4316248 h 6858243"/>
              <a:gd name="connsiteX539" fmla="*/ 6941934 w 11240921"/>
              <a:gd name="connsiteY539" fmla="*/ 4271486 h 6858243"/>
              <a:gd name="connsiteX540" fmla="*/ 7193114 w 11240921"/>
              <a:gd name="connsiteY540" fmla="*/ 4013355 h 6858243"/>
              <a:gd name="connsiteX541" fmla="*/ 7189142 w 11240921"/>
              <a:gd name="connsiteY541" fmla="*/ 3979873 h 6858243"/>
              <a:gd name="connsiteX542" fmla="*/ 6721003 w 11240921"/>
              <a:gd name="connsiteY542" fmla="*/ 3551225 h 6858243"/>
              <a:gd name="connsiteX543" fmla="*/ 6685102 w 11240921"/>
              <a:gd name="connsiteY543" fmla="*/ 3576509 h 6858243"/>
              <a:gd name="connsiteX544" fmla="*/ 6224449 w 11240921"/>
              <a:gd name="connsiteY544" fmla="*/ 4002534 h 6858243"/>
              <a:gd name="connsiteX545" fmla="*/ 6726350 w 11240921"/>
              <a:gd name="connsiteY545" fmla="*/ 4460438 h 6858243"/>
              <a:gd name="connsiteX546" fmla="*/ 6941934 w 11240921"/>
              <a:gd name="connsiteY546" fmla="*/ 4271486 h 6858243"/>
              <a:gd name="connsiteX547" fmla="*/ 5415606 w 11240921"/>
              <a:gd name="connsiteY547" fmla="*/ 3766275 h 6858243"/>
              <a:gd name="connsiteX548" fmla="*/ 5666277 w 11240921"/>
              <a:gd name="connsiteY548" fmla="*/ 3532995 h 6858243"/>
              <a:gd name="connsiteX549" fmla="*/ 5166820 w 11240921"/>
              <a:gd name="connsiteY549" fmla="*/ 3074251 h 6858243"/>
              <a:gd name="connsiteX550" fmla="*/ 5153504 w 11240921"/>
              <a:gd name="connsiteY550" fmla="*/ 3536738 h 6858243"/>
              <a:gd name="connsiteX551" fmla="*/ 5160200 w 11240921"/>
              <a:gd name="connsiteY551" fmla="*/ 3994208 h 6858243"/>
              <a:gd name="connsiteX552" fmla="*/ 5415606 w 11240921"/>
              <a:gd name="connsiteY552" fmla="*/ 3766275 h 6858243"/>
              <a:gd name="connsiteX553" fmla="*/ 8530719 w 11240921"/>
              <a:gd name="connsiteY553" fmla="*/ 3780253 h 6858243"/>
              <a:gd name="connsiteX554" fmla="*/ 8767767 w 11240921"/>
              <a:gd name="connsiteY554" fmla="*/ 3559627 h 6858243"/>
              <a:gd name="connsiteX555" fmla="*/ 8270373 w 11240921"/>
              <a:gd name="connsiteY555" fmla="*/ 3100986 h 6858243"/>
              <a:gd name="connsiteX556" fmla="*/ 8264262 w 11240921"/>
              <a:gd name="connsiteY556" fmla="*/ 3539233 h 6858243"/>
              <a:gd name="connsiteX557" fmla="*/ 8287865 w 11240921"/>
              <a:gd name="connsiteY557" fmla="*/ 3995863 h 6858243"/>
              <a:gd name="connsiteX558" fmla="*/ 8530719 w 11240921"/>
              <a:gd name="connsiteY558" fmla="*/ 3780253 h 6858243"/>
              <a:gd name="connsiteX559" fmla="*/ 9288235 w 11240921"/>
              <a:gd name="connsiteY559" fmla="*/ 3557565 h 6858243"/>
              <a:gd name="connsiteX560" fmla="*/ 9281320 w 11240921"/>
              <a:gd name="connsiteY560" fmla="*/ 3126829 h 6858243"/>
              <a:gd name="connsiteX561" fmla="*/ 8811816 w 11240921"/>
              <a:gd name="connsiteY561" fmla="*/ 3560290 h 6858243"/>
              <a:gd name="connsiteX562" fmla="*/ 9283183 w 11240921"/>
              <a:gd name="connsiteY562" fmla="*/ 3991153 h 6858243"/>
              <a:gd name="connsiteX563" fmla="*/ 9288235 w 11240921"/>
              <a:gd name="connsiteY563" fmla="*/ 3557565 h 6858243"/>
              <a:gd name="connsiteX564" fmla="*/ 7500080 w 11240921"/>
              <a:gd name="connsiteY564" fmla="*/ 3759757 h 6858243"/>
              <a:gd name="connsiteX565" fmla="*/ 7737281 w 11240921"/>
              <a:gd name="connsiteY565" fmla="*/ 3534039 h 6858243"/>
              <a:gd name="connsiteX566" fmla="*/ 7237595 w 11240921"/>
              <a:gd name="connsiteY566" fmla="*/ 3079675 h 6858243"/>
              <a:gd name="connsiteX567" fmla="*/ 7220281 w 11240921"/>
              <a:gd name="connsiteY567" fmla="*/ 3092686 h 6858243"/>
              <a:gd name="connsiteX568" fmla="*/ 7213331 w 11240921"/>
              <a:gd name="connsiteY568" fmla="*/ 3533962 h 6858243"/>
              <a:gd name="connsiteX569" fmla="*/ 7227004 w 11240921"/>
              <a:gd name="connsiteY569" fmla="*/ 3975876 h 6858243"/>
              <a:gd name="connsiteX570" fmla="*/ 7250835 w 11240921"/>
              <a:gd name="connsiteY570" fmla="*/ 3983871 h 6858243"/>
              <a:gd name="connsiteX571" fmla="*/ 7500080 w 11240921"/>
              <a:gd name="connsiteY571" fmla="*/ 3759757 h 6858243"/>
              <a:gd name="connsiteX572" fmla="*/ 8229456 w 11240921"/>
              <a:gd name="connsiteY572" fmla="*/ 3983208 h 6858243"/>
              <a:gd name="connsiteX573" fmla="*/ 7760401 w 11240921"/>
              <a:gd name="connsiteY573" fmla="*/ 3557973 h 6858243"/>
              <a:gd name="connsiteX574" fmla="*/ 7294171 w 11240921"/>
              <a:gd name="connsiteY574" fmla="*/ 3982928 h 6858243"/>
              <a:gd name="connsiteX575" fmla="*/ 7762921 w 11240921"/>
              <a:gd name="connsiteY575" fmla="*/ 3989116 h 6858243"/>
              <a:gd name="connsiteX576" fmla="*/ 8229456 w 11240921"/>
              <a:gd name="connsiteY576" fmla="*/ 3983208 h 6858243"/>
              <a:gd name="connsiteX577" fmla="*/ 9342316 w 11240921"/>
              <a:gd name="connsiteY577" fmla="*/ 3977556 h 6858243"/>
              <a:gd name="connsiteX578" fmla="*/ 9805541 w 11240921"/>
              <a:gd name="connsiteY578" fmla="*/ 3550334 h 6858243"/>
              <a:gd name="connsiteX579" fmla="*/ 9313727 w 11240921"/>
              <a:gd name="connsiteY579" fmla="*/ 3099866 h 6858243"/>
              <a:gd name="connsiteX580" fmla="*/ 9312938 w 11240921"/>
              <a:gd name="connsiteY580" fmla="*/ 3984634 h 6858243"/>
              <a:gd name="connsiteX581" fmla="*/ 9342316 w 11240921"/>
              <a:gd name="connsiteY581" fmla="*/ 3977556 h 6858243"/>
              <a:gd name="connsiteX582" fmla="*/ 10605227 w 11240921"/>
              <a:gd name="connsiteY582" fmla="*/ 3762252 h 6858243"/>
              <a:gd name="connsiteX583" fmla="*/ 10851161 w 11240921"/>
              <a:gd name="connsiteY583" fmla="*/ 3527597 h 6858243"/>
              <a:gd name="connsiteX584" fmla="*/ 10798952 w 11240921"/>
              <a:gd name="connsiteY584" fmla="*/ 3473312 h 6858243"/>
              <a:gd name="connsiteX585" fmla="*/ 10560213 w 11240921"/>
              <a:gd name="connsiteY585" fmla="*/ 3256608 h 6858243"/>
              <a:gd name="connsiteX586" fmla="*/ 10364804 w 11240921"/>
              <a:gd name="connsiteY586" fmla="*/ 3086396 h 6858243"/>
              <a:gd name="connsiteX587" fmla="*/ 9376936 w 11240921"/>
              <a:gd name="connsiteY587" fmla="*/ 3982419 h 6858243"/>
              <a:gd name="connsiteX588" fmla="*/ 9866990 w 11240921"/>
              <a:gd name="connsiteY588" fmla="*/ 3989116 h 6858243"/>
              <a:gd name="connsiteX589" fmla="*/ 10359289 w 11240921"/>
              <a:gd name="connsiteY589" fmla="*/ 3989116 h 6858243"/>
              <a:gd name="connsiteX590" fmla="*/ 11220063 w 11240921"/>
              <a:gd name="connsiteY590" fmla="*/ 3615236 h 6858243"/>
              <a:gd name="connsiteX591" fmla="*/ 11218502 w 11240921"/>
              <a:gd name="connsiteY591" fmla="*/ 3236060 h 6858243"/>
              <a:gd name="connsiteX592" fmla="*/ 10400904 w 11240921"/>
              <a:gd name="connsiteY592" fmla="*/ 3983132 h 6858243"/>
              <a:gd name="connsiteX593" fmla="*/ 10808475 w 11240921"/>
              <a:gd name="connsiteY593" fmla="*/ 3987486 h 6858243"/>
              <a:gd name="connsiteX594" fmla="*/ 11218311 w 11240921"/>
              <a:gd name="connsiteY594" fmla="*/ 3985755 h 6858243"/>
              <a:gd name="connsiteX595" fmla="*/ 6452738 w 11240921"/>
              <a:gd name="connsiteY595" fmla="*/ 3758382 h 6858243"/>
              <a:gd name="connsiteX596" fmla="*/ 6727648 w 11240921"/>
              <a:gd name="connsiteY596" fmla="*/ 3507457 h 6858243"/>
              <a:gd name="connsiteX597" fmla="*/ 7189371 w 11240921"/>
              <a:gd name="connsiteY597" fmla="*/ 3081584 h 6858243"/>
              <a:gd name="connsiteX598" fmla="*/ 7189371 w 11240921"/>
              <a:gd name="connsiteY598" fmla="*/ 3065594 h 6858243"/>
              <a:gd name="connsiteX599" fmla="*/ 6704809 w 11240921"/>
              <a:gd name="connsiteY599" fmla="*/ 3059458 h 6858243"/>
              <a:gd name="connsiteX600" fmla="*/ 6224067 w 11240921"/>
              <a:gd name="connsiteY600" fmla="*/ 3059458 h 6858243"/>
              <a:gd name="connsiteX601" fmla="*/ 6196466 w 11240921"/>
              <a:gd name="connsiteY601" fmla="*/ 3081355 h 6858243"/>
              <a:gd name="connsiteX602" fmla="*/ 5713076 w 11240921"/>
              <a:gd name="connsiteY602" fmla="*/ 3528870 h 6858243"/>
              <a:gd name="connsiteX603" fmla="*/ 6203519 w 11240921"/>
              <a:gd name="connsiteY603" fmla="*/ 3982369 h 6858243"/>
              <a:gd name="connsiteX604" fmla="*/ 6452738 w 11240921"/>
              <a:gd name="connsiteY604" fmla="*/ 3758382 h 6858243"/>
              <a:gd name="connsiteX605" fmla="*/ 8237298 w 11240921"/>
              <a:gd name="connsiteY605" fmla="*/ 3538164 h 6858243"/>
              <a:gd name="connsiteX606" fmla="*/ 8232257 w 11240921"/>
              <a:gd name="connsiteY606" fmla="*/ 3124767 h 6858243"/>
              <a:gd name="connsiteX607" fmla="*/ 7783392 w 11240921"/>
              <a:gd name="connsiteY607" fmla="*/ 3539080 h 6858243"/>
              <a:gd name="connsiteX608" fmla="*/ 8232079 w 11240921"/>
              <a:gd name="connsiteY608" fmla="*/ 3948708 h 6858243"/>
              <a:gd name="connsiteX609" fmla="*/ 8237298 w 11240921"/>
              <a:gd name="connsiteY609" fmla="*/ 3538164 h 6858243"/>
              <a:gd name="connsiteX610" fmla="*/ 7193114 w 11240921"/>
              <a:gd name="connsiteY610" fmla="*/ 3531034 h 6858243"/>
              <a:gd name="connsiteX611" fmla="*/ 7188047 w 11240921"/>
              <a:gd name="connsiteY611" fmla="*/ 3124614 h 6858243"/>
              <a:gd name="connsiteX612" fmla="*/ 6743078 w 11240921"/>
              <a:gd name="connsiteY612" fmla="*/ 3531492 h 6858243"/>
              <a:gd name="connsiteX613" fmla="*/ 7188047 w 11240921"/>
              <a:gd name="connsiteY613" fmla="*/ 3937250 h 6858243"/>
              <a:gd name="connsiteX614" fmla="*/ 7193114 w 11240921"/>
              <a:gd name="connsiteY614" fmla="*/ 3531034 h 6858243"/>
              <a:gd name="connsiteX615" fmla="*/ 9041812 w 11240921"/>
              <a:gd name="connsiteY615" fmla="*/ 3311707 h 6858243"/>
              <a:gd name="connsiteX616" fmla="*/ 9288235 w 11240921"/>
              <a:gd name="connsiteY616" fmla="*/ 3080642 h 6858243"/>
              <a:gd name="connsiteX617" fmla="*/ 8786685 w 11240921"/>
              <a:gd name="connsiteY617" fmla="*/ 3059560 h 6858243"/>
              <a:gd name="connsiteX618" fmla="*/ 8292066 w 11240921"/>
              <a:gd name="connsiteY618" fmla="*/ 3065518 h 6858243"/>
              <a:gd name="connsiteX619" fmla="*/ 8285319 w 11240921"/>
              <a:gd name="connsiteY619" fmla="*/ 3078300 h 6858243"/>
              <a:gd name="connsiteX620" fmla="*/ 8787500 w 11240921"/>
              <a:gd name="connsiteY620" fmla="*/ 3537425 h 6858243"/>
              <a:gd name="connsiteX621" fmla="*/ 9041812 w 11240921"/>
              <a:gd name="connsiteY621" fmla="*/ 3311707 h 6858243"/>
              <a:gd name="connsiteX622" fmla="*/ 10086136 w 11240921"/>
              <a:gd name="connsiteY622" fmla="*/ 3303483 h 6858243"/>
              <a:gd name="connsiteX623" fmla="*/ 10337642 w 11240921"/>
              <a:gd name="connsiteY623" fmla="*/ 3067886 h 6858243"/>
              <a:gd name="connsiteX624" fmla="*/ 9846261 w 11240921"/>
              <a:gd name="connsiteY624" fmla="*/ 3059560 h 6858243"/>
              <a:gd name="connsiteX625" fmla="*/ 9342130 w 11240921"/>
              <a:gd name="connsiteY625" fmla="*/ 3066103 h 6858243"/>
              <a:gd name="connsiteX626" fmla="*/ 9339469 w 11240921"/>
              <a:gd name="connsiteY626" fmla="*/ 3084538 h 6858243"/>
              <a:gd name="connsiteX627" fmla="*/ 9827176 w 11240921"/>
              <a:gd name="connsiteY627" fmla="*/ 3530372 h 6858243"/>
              <a:gd name="connsiteX628" fmla="*/ 10086136 w 11240921"/>
              <a:gd name="connsiteY628" fmla="*/ 3303483 h 6858243"/>
              <a:gd name="connsiteX629" fmla="*/ 7997016 w 11240921"/>
              <a:gd name="connsiteY629" fmla="*/ 3305061 h 6858243"/>
              <a:gd name="connsiteX630" fmla="*/ 8233276 w 11240921"/>
              <a:gd name="connsiteY630" fmla="*/ 3082323 h 6858243"/>
              <a:gd name="connsiteX631" fmla="*/ 8208629 w 11240921"/>
              <a:gd name="connsiteY631" fmla="*/ 3042730 h 6858243"/>
              <a:gd name="connsiteX632" fmla="*/ 7741788 w 11240921"/>
              <a:gd name="connsiteY632" fmla="*/ 2621567 h 6858243"/>
              <a:gd name="connsiteX633" fmla="*/ 7263846 w 11240921"/>
              <a:gd name="connsiteY633" fmla="*/ 3057472 h 6858243"/>
              <a:gd name="connsiteX634" fmla="*/ 7760171 w 11240921"/>
              <a:gd name="connsiteY634" fmla="*/ 3517387 h 6858243"/>
              <a:gd name="connsiteX635" fmla="*/ 7997016 w 11240921"/>
              <a:gd name="connsiteY635" fmla="*/ 3305061 h 6858243"/>
              <a:gd name="connsiteX636" fmla="*/ 5936477 w 11240921"/>
              <a:gd name="connsiteY636" fmla="*/ 3288741 h 6858243"/>
              <a:gd name="connsiteX637" fmla="*/ 6175868 w 11240921"/>
              <a:gd name="connsiteY637" fmla="*/ 3064754 h 6858243"/>
              <a:gd name="connsiteX638" fmla="*/ 6169350 w 11240921"/>
              <a:gd name="connsiteY638" fmla="*/ 3059458 h 6858243"/>
              <a:gd name="connsiteX639" fmla="*/ 6154174 w 11240921"/>
              <a:gd name="connsiteY639" fmla="*/ 3043315 h 6858243"/>
              <a:gd name="connsiteX640" fmla="*/ 5677659 w 11240921"/>
              <a:gd name="connsiteY640" fmla="*/ 2602497 h 6858243"/>
              <a:gd name="connsiteX641" fmla="*/ 5193860 w 11240921"/>
              <a:gd name="connsiteY641" fmla="*/ 3051336 h 6858243"/>
              <a:gd name="connsiteX642" fmla="*/ 5691943 w 11240921"/>
              <a:gd name="connsiteY642" fmla="*/ 3509239 h 6858243"/>
              <a:gd name="connsiteX643" fmla="*/ 5936477 w 11240921"/>
              <a:gd name="connsiteY643" fmla="*/ 3288741 h 6858243"/>
              <a:gd name="connsiteX644" fmla="*/ 11055181 w 11240921"/>
              <a:gd name="connsiteY644" fmla="*/ 3346844 h 6858243"/>
              <a:gd name="connsiteX645" fmla="*/ 11222146 w 11240921"/>
              <a:gd name="connsiteY645" fmla="*/ 3192343 h 6858243"/>
              <a:gd name="connsiteX646" fmla="*/ 11220229 w 11240921"/>
              <a:gd name="connsiteY646" fmla="*/ 3127594 h 6858243"/>
              <a:gd name="connsiteX647" fmla="*/ 11218311 w 11240921"/>
              <a:gd name="connsiteY647" fmla="*/ 3062819 h 6858243"/>
              <a:gd name="connsiteX648" fmla="*/ 10807759 w 11240921"/>
              <a:gd name="connsiteY648" fmla="*/ 3061087 h 6858243"/>
              <a:gd name="connsiteX649" fmla="*/ 10391779 w 11240921"/>
              <a:gd name="connsiteY649" fmla="*/ 3064779 h 6858243"/>
              <a:gd name="connsiteX650" fmla="*/ 10605761 w 11240921"/>
              <a:gd name="connsiteY650" fmla="*/ 3266614 h 6858243"/>
              <a:gd name="connsiteX651" fmla="*/ 10759341 w 11240921"/>
              <a:gd name="connsiteY651" fmla="*/ 3405304 h 6858243"/>
              <a:gd name="connsiteX652" fmla="*/ 10880603 w 11240921"/>
              <a:gd name="connsiteY652" fmla="*/ 3505980 h 6858243"/>
              <a:gd name="connsiteX653" fmla="*/ 11055178 w 11240921"/>
              <a:gd name="connsiteY653" fmla="*/ 3346844 h 6858243"/>
              <a:gd name="connsiteX654" fmla="*/ 6454572 w 11240921"/>
              <a:gd name="connsiteY654" fmla="*/ 2815993 h 6858243"/>
              <a:gd name="connsiteX655" fmla="*/ 6692486 w 11240921"/>
              <a:gd name="connsiteY655" fmla="*/ 2590606 h 6858243"/>
              <a:gd name="connsiteX656" fmla="*/ 6449530 w 11240921"/>
              <a:gd name="connsiteY656" fmla="*/ 2361552 h 6858243"/>
              <a:gd name="connsiteX657" fmla="*/ 6193538 w 11240921"/>
              <a:gd name="connsiteY657" fmla="*/ 2139883 h 6858243"/>
              <a:gd name="connsiteX658" fmla="*/ 6179229 w 11240921"/>
              <a:gd name="connsiteY658" fmla="*/ 2139883 h 6858243"/>
              <a:gd name="connsiteX659" fmla="*/ 6177497 w 11240921"/>
              <a:gd name="connsiteY659" fmla="*/ 2580396 h 6858243"/>
              <a:gd name="connsiteX660" fmla="*/ 6203544 w 11240921"/>
              <a:gd name="connsiteY660" fmla="*/ 3037103 h 6858243"/>
              <a:gd name="connsiteX661" fmla="*/ 6454572 w 11240921"/>
              <a:gd name="connsiteY661" fmla="*/ 2815993 h 6858243"/>
              <a:gd name="connsiteX662" fmla="*/ 7175011 w 11240921"/>
              <a:gd name="connsiteY662" fmla="*/ 3034200 h 6858243"/>
              <a:gd name="connsiteX663" fmla="*/ 6716369 w 11240921"/>
              <a:gd name="connsiteY663" fmla="*/ 2609881 h 6858243"/>
              <a:gd name="connsiteX664" fmla="*/ 6251082 w 11240921"/>
              <a:gd name="connsiteY664" fmla="*/ 3033105 h 6858243"/>
              <a:gd name="connsiteX665" fmla="*/ 7175011 w 11240921"/>
              <a:gd name="connsiteY665" fmla="*/ 3034200 h 6858243"/>
              <a:gd name="connsiteX666" fmla="*/ 7482893 w 11240921"/>
              <a:gd name="connsiteY666" fmla="*/ 2820678 h 6858243"/>
              <a:gd name="connsiteX667" fmla="*/ 7717141 w 11240921"/>
              <a:gd name="connsiteY667" fmla="*/ 2596921 h 6858243"/>
              <a:gd name="connsiteX668" fmla="*/ 7225425 w 11240921"/>
              <a:gd name="connsiteY668" fmla="*/ 2147471 h 6858243"/>
              <a:gd name="connsiteX669" fmla="*/ 7224788 w 11240921"/>
              <a:gd name="connsiteY669" fmla="*/ 3034989 h 6858243"/>
              <a:gd name="connsiteX670" fmla="*/ 7238105 w 11240921"/>
              <a:gd name="connsiteY670" fmla="*/ 3037790 h 6858243"/>
              <a:gd name="connsiteX671" fmla="*/ 7482893 w 11240921"/>
              <a:gd name="connsiteY671" fmla="*/ 2820678 h 6858243"/>
              <a:gd name="connsiteX672" fmla="*/ 8305561 w 11240921"/>
              <a:gd name="connsiteY672" fmla="*/ 3020705 h 6858243"/>
              <a:gd name="connsiteX673" fmla="*/ 8765476 w 11240921"/>
              <a:gd name="connsiteY673" fmla="*/ 2594349 h 6858243"/>
              <a:gd name="connsiteX674" fmla="*/ 8807207 w 11240921"/>
              <a:gd name="connsiteY674" fmla="*/ 2594323 h 6858243"/>
              <a:gd name="connsiteX675" fmla="*/ 9275586 w 11240921"/>
              <a:gd name="connsiteY675" fmla="*/ 3025772 h 6858243"/>
              <a:gd name="connsiteX676" fmla="*/ 9279863 w 11240921"/>
              <a:gd name="connsiteY676" fmla="*/ 2579454 h 6858243"/>
              <a:gd name="connsiteX677" fmla="*/ 9278132 w 11240921"/>
              <a:gd name="connsiteY677" fmla="*/ 2133161 h 6858243"/>
              <a:gd name="connsiteX678" fmla="*/ 8782968 w 11240921"/>
              <a:gd name="connsiteY678" fmla="*/ 2133161 h 6858243"/>
              <a:gd name="connsiteX679" fmla="*/ 8276051 w 11240921"/>
              <a:gd name="connsiteY679" fmla="*/ 2137999 h 6858243"/>
              <a:gd name="connsiteX680" fmla="*/ 8264262 w 11240921"/>
              <a:gd name="connsiteY680" fmla="*/ 2586558 h 6858243"/>
              <a:gd name="connsiteX681" fmla="*/ 8268743 w 11240921"/>
              <a:gd name="connsiteY681" fmla="*/ 3034760 h 6858243"/>
              <a:gd name="connsiteX682" fmla="*/ 8305561 w 11240921"/>
              <a:gd name="connsiteY682" fmla="*/ 3020705 h 6858243"/>
              <a:gd name="connsiteX683" fmla="*/ 9241080 w 11240921"/>
              <a:gd name="connsiteY683" fmla="*/ 3033589 h 6858243"/>
              <a:gd name="connsiteX684" fmla="*/ 8783757 w 11240921"/>
              <a:gd name="connsiteY684" fmla="*/ 2616017 h 6858243"/>
              <a:gd name="connsiteX685" fmla="*/ 8331609 w 11240921"/>
              <a:gd name="connsiteY685" fmla="*/ 3033232 h 6858243"/>
              <a:gd name="connsiteX686" fmla="*/ 8786354 w 11240921"/>
              <a:gd name="connsiteY686" fmla="*/ 3039241 h 6858243"/>
              <a:gd name="connsiteX687" fmla="*/ 9241080 w 11240921"/>
              <a:gd name="connsiteY687" fmla="*/ 3033589 h 6858243"/>
              <a:gd name="connsiteX688" fmla="*/ 9360597 w 11240921"/>
              <a:gd name="connsiteY688" fmla="*/ 3017344 h 6858243"/>
              <a:gd name="connsiteX689" fmla="*/ 9820438 w 11240921"/>
              <a:gd name="connsiteY689" fmla="*/ 2590657 h 6858243"/>
              <a:gd name="connsiteX690" fmla="*/ 9308174 w 11240921"/>
              <a:gd name="connsiteY690" fmla="*/ 2126592 h 6858243"/>
              <a:gd name="connsiteX691" fmla="*/ 9306201 w 11240921"/>
              <a:gd name="connsiteY691" fmla="*/ 3034760 h 6858243"/>
              <a:gd name="connsiteX692" fmla="*/ 9360597 w 11240921"/>
              <a:gd name="connsiteY692" fmla="*/ 3017344 h 6858243"/>
              <a:gd name="connsiteX693" fmla="*/ 10311098 w 11240921"/>
              <a:gd name="connsiteY693" fmla="*/ 3033538 h 6858243"/>
              <a:gd name="connsiteX694" fmla="*/ 10078032 w 11240921"/>
              <a:gd name="connsiteY694" fmla="*/ 2817597 h 6858243"/>
              <a:gd name="connsiteX695" fmla="*/ 9838878 w 11240921"/>
              <a:gd name="connsiteY695" fmla="*/ 2612452 h 6858243"/>
              <a:gd name="connsiteX696" fmla="*/ 9382550 w 11240921"/>
              <a:gd name="connsiteY696" fmla="*/ 3033589 h 6858243"/>
              <a:gd name="connsiteX697" fmla="*/ 9847947 w 11240921"/>
              <a:gd name="connsiteY697" fmla="*/ 3039241 h 6858243"/>
              <a:gd name="connsiteX698" fmla="*/ 10311098 w 11240921"/>
              <a:gd name="connsiteY698" fmla="*/ 3033538 h 6858243"/>
              <a:gd name="connsiteX699" fmla="*/ 10784039 w 11240921"/>
              <a:gd name="connsiteY699" fmla="*/ 2668774 h 6858243"/>
              <a:gd name="connsiteX700" fmla="*/ 11200020 w 11240921"/>
              <a:gd name="connsiteY700" fmla="*/ 2287459 h 6858243"/>
              <a:gd name="connsiteX701" fmla="*/ 11222148 w 11240921"/>
              <a:gd name="connsiteY701" fmla="*/ 2264212 h 6858243"/>
              <a:gd name="connsiteX702" fmla="*/ 11220229 w 11240921"/>
              <a:gd name="connsiteY702" fmla="*/ 2195313 h 6858243"/>
              <a:gd name="connsiteX703" fmla="*/ 11218311 w 11240921"/>
              <a:gd name="connsiteY703" fmla="*/ 2126414 h 6858243"/>
              <a:gd name="connsiteX704" fmla="*/ 10798018 w 11240921"/>
              <a:gd name="connsiteY704" fmla="*/ 2124683 h 6858243"/>
              <a:gd name="connsiteX705" fmla="*/ 10368550 w 11240921"/>
              <a:gd name="connsiteY705" fmla="*/ 2130564 h 6858243"/>
              <a:gd name="connsiteX706" fmla="*/ 10359379 w 11240921"/>
              <a:gd name="connsiteY706" fmla="*/ 2584215 h 6858243"/>
              <a:gd name="connsiteX707" fmla="*/ 10363633 w 11240921"/>
              <a:gd name="connsiteY707" fmla="*/ 3034505 h 6858243"/>
              <a:gd name="connsiteX708" fmla="*/ 10379038 w 11240921"/>
              <a:gd name="connsiteY708" fmla="*/ 3032799 h 6858243"/>
              <a:gd name="connsiteX709" fmla="*/ 10784039 w 11240921"/>
              <a:gd name="connsiteY709" fmla="*/ 2668774 h 6858243"/>
              <a:gd name="connsiteX710" fmla="*/ 11220058 w 11240921"/>
              <a:gd name="connsiteY710" fmla="*/ 2675852 h 6858243"/>
              <a:gd name="connsiteX711" fmla="*/ 11216689 w 11240921"/>
              <a:gd name="connsiteY711" fmla="*/ 2311139 h 6858243"/>
              <a:gd name="connsiteX712" fmla="*/ 10421301 w 11240921"/>
              <a:gd name="connsiteY712" fmla="*/ 3031985 h 6858243"/>
              <a:gd name="connsiteX713" fmla="*/ 10818580 w 11240921"/>
              <a:gd name="connsiteY713" fmla="*/ 3037612 h 6858243"/>
              <a:gd name="connsiteX714" fmla="*/ 11218314 w 11240921"/>
              <a:gd name="connsiteY714" fmla="*/ 3035880 h 6858243"/>
              <a:gd name="connsiteX715" fmla="*/ 8244046 w 11240921"/>
              <a:gd name="connsiteY715" fmla="*/ 2597430 h 6858243"/>
              <a:gd name="connsiteX716" fmla="*/ 8237884 w 11240921"/>
              <a:gd name="connsiteY716" fmla="*/ 2164581 h 6858243"/>
              <a:gd name="connsiteX717" fmla="*/ 7767275 w 11240921"/>
              <a:gd name="connsiteY717" fmla="*/ 2600333 h 6858243"/>
              <a:gd name="connsiteX718" fmla="*/ 8235618 w 11240921"/>
              <a:gd name="connsiteY718" fmla="*/ 3032036 h 6858243"/>
              <a:gd name="connsiteX719" fmla="*/ 8244046 w 11240921"/>
              <a:gd name="connsiteY719" fmla="*/ 2597430 h 6858243"/>
              <a:gd name="connsiteX720" fmla="*/ 10337532 w 11240921"/>
              <a:gd name="connsiteY720" fmla="*/ 2572732 h 6858243"/>
              <a:gd name="connsiteX721" fmla="*/ 10335801 w 11240921"/>
              <a:gd name="connsiteY721" fmla="*/ 2126414 h 6858243"/>
              <a:gd name="connsiteX722" fmla="*/ 9845126 w 11240921"/>
              <a:gd name="connsiteY722" fmla="*/ 2124683 h 6858243"/>
              <a:gd name="connsiteX723" fmla="*/ 9356712 w 11240921"/>
              <a:gd name="connsiteY723" fmla="*/ 2128680 h 6858243"/>
              <a:gd name="connsiteX724" fmla="*/ 9598127 w 11240921"/>
              <a:gd name="connsiteY724" fmla="*/ 2351648 h 6858243"/>
              <a:gd name="connsiteX725" fmla="*/ 9894545 w 11240921"/>
              <a:gd name="connsiteY725" fmla="*/ 2621771 h 6858243"/>
              <a:gd name="connsiteX726" fmla="*/ 10334164 w 11240921"/>
              <a:gd name="connsiteY726" fmla="*/ 3018846 h 6858243"/>
              <a:gd name="connsiteX727" fmla="*/ 10337532 w 11240921"/>
              <a:gd name="connsiteY727" fmla="*/ 2572732 h 6858243"/>
              <a:gd name="connsiteX728" fmla="*/ 7193114 w 11240921"/>
              <a:gd name="connsiteY728" fmla="*/ 2591242 h 6858243"/>
              <a:gd name="connsiteX729" fmla="*/ 7187996 w 11240921"/>
              <a:gd name="connsiteY729" fmla="*/ 2176929 h 6858243"/>
              <a:gd name="connsiteX730" fmla="*/ 6738368 w 11240921"/>
              <a:gd name="connsiteY730" fmla="*/ 2590937 h 6858243"/>
              <a:gd name="connsiteX731" fmla="*/ 7187818 w 11240921"/>
              <a:gd name="connsiteY731" fmla="*/ 3005555 h 6858243"/>
              <a:gd name="connsiteX732" fmla="*/ 7193114 w 11240921"/>
              <a:gd name="connsiteY732" fmla="*/ 2591242 h 6858243"/>
              <a:gd name="connsiteX733" fmla="*/ 6155651 w 11240921"/>
              <a:gd name="connsiteY733" fmla="*/ 2583961 h 6858243"/>
              <a:gd name="connsiteX734" fmla="*/ 6149031 w 11240921"/>
              <a:gd name="connsiteY734" fmla="*/ 2171328 h 6858243"/>
              <a:gd name="connsiteX735" fmla="*/ 5705590 w 11240921"/>
              <a:gd name="connsiteY735" fmla="*/ 2584699 h 6858243"/>
              <a:gd name="connsiteX736" fmla="*/ 6150610 w 11240921"/>
              <a:gd name="connsiteY736" fmla="*/ 2998732 h 6858243"/>
              <a:gd name="connsiteX737" fmla="*/ 6155651 w 11240921"/>
              <a:gd name="connsiteY737" fmla="*/ 2583961 h 6858243"/>
              <a:gd name="connsiteX738" fmla="*/ 7995158 w 11240921"/>
              <a:gd name="connsiteY738" fmla="*/ 2353990 h 6858243"/>
              <a:gd name="connsiteX739" fmla="*/ 8237298 w 11240921"/>
              <a:gd name="connsiteY739" fmla="*/ 2128247 h 6858243"/>
              <a:gd name="connsiteX740" fmla="*/ 7252058 w 11240921"/>
              <a:gd name="connsiteY740" fmla="*/ 2126974 h 6858243"/>
              <a:gd name="connsiteX741" fmla="*/ 7744232 w 11240921"/>
              <a:gd name="connsiteY741" fmla="*/ 2577442 h 6858243"/>
              <a:gd name="connsiteX742" fmla="*/ 7995158 w 11240921"/>
              <a:gd name="connsiteY742" fmla="*/ 2353990 h 6858243"/>
              <a:gd name="connsiteX743" fmla="*/ 6953341 w 11240921"/>
              <a:gd name="connsiteY743" fmla="*/ 2358828 h 6858243"/>
              <a:gd name="connsiteX744" fmla="*/ 7186214 w 11240921"/>
              <a:gd name="connsiteY744" fmla="*/ 2138202 h 6858243"/>
              <a:gd name="connsiteX745" fmla="*/ 6710869 w 11240921"/>
              <a:gd name="connsiteY745" fmla="*/ 2129775 h 6858243"/>
              <a:gd name="connsiteX746" fmla="*/ 6237612 w 11240921"/>
              <a:gd name="connsiteY746" fmla="*/ 2135376 h 6858243"/>
              <a:gd name="connsiteX747" fmla="*/ 6716013 w 11240921"/>
              <a:gd name="connsiteY747" fmla="*/ 2572477 h 6858243"/>
              <a:gd name="connsiteX748" fmla="*/ 6953341 w 11240921"/>
              <a:gd name="connsiteY748" fmla="*/ 2358828 h 6858243"/>
              <a:gd name="connsiteX749" fmla="*/ 7179645 w 11240921"/>
              <a:gd name="connsiteY749" fmla="*/ 2103498 h 6858243"/>
              <a:gd name="connsiteX750" fmla="*/ 6699233 w 11240921"/>
              <a:gd name="connsiteY750" fmla="*/ 1667237 h 6858243"/>
              <a:gd name="connsiteX751" fmla="*/ 6224143 w 11240921"/>
              <a:gd name="connsiteY751" fmla="*/ 2103116 h 6858243"/>
              <a:gd name="connsiteX752" fmla="*/ 6700761 w 11240921"/>
              <a:gd name="connsiteY752" fmla="*/ 2109583 h 6858243"/>
              <a:gd name="connsiteX753" fmla="*/ 7179645 w 11240921"/>
              <a:gd name="connsiteY753" fmla="*/ 2103498 h 6858243"/>
              <a:gd name="connsiteX754" fmla="*/ 9286600 w 11240921"/>
              <a:gd name="connsiteY754" fmla="*/ 1659319 h 6858243"/>
              <a:gd name="connsiteX755" fmla="*/ 9281531 w 11240921"/>
              <a:gd name="connsiteY755" fmla="*/ 1214706 h 6858243"/>
              <a:gd name="connsiteX756" fmla="*/ 9049063 w 11240921"/>
              <a:gd name="connsiteY756" fmla="*/ 1422143 h 6858243"/>
              <a:gd name="connsiteX757" fmla="*/ 8823401 w 11240921"/>
              <a:gd name="connsiteY757" fmla="*/ 1642769 h 6858243"/>
              <a:gd name="connsiteX758" fmla="*/ 8806520 w 11240921"/>
              <a:gd name="connsiteY758" fmla="*/ 1658224 h 6858243"/>
              <a:gd name="connsiteX759" fmla="*/ 8548822 w 11240921"/>
              <a:gd name="connsiteY759" fmla="*/ 1877729 h 6858243"/>
              <a:gd name="connsiteX760" fmla="*/ 8305790 w 11240921"/>
              <a:gd name="connsiteY760" fmla="*/ 2103447 h 6858243"/>
              <a:gd name="connsiteX761" fmla="*/ 8794197 w 11240921"/>
              <a:gd name="connsiteY761" fmla="*/ 2107928 h 6858243"/>
              <a:gd name="connsiteX762" fmla="*/ 9284867 w 11240921"/>
              <a:gd name="connsiteY762" fmla="*/ 2106197 h 6858243"/>
              <a:gd name="connsiteX763" fmla="*/ 10311098 w 11240921"/>
              <a:gd name="connsiteY763" fmla="*/ 2096852 h 6858243"/>
              <a:gd name="connsiteX764" fmla="*/ 10069698 w 11240921"/>
              <a:gd name="connsiteY764" fmla="*/ 1869989 h 6858243"/>
              <a:gd name="connsiteX765" fmla="*/ 9825928 w 11240921"/>
              <a:gd name="connsiteY765" fmla="*/ 1642183 h 6858243"/>
              <a:gd name="connsiteX766" fmla="*/ 9825928 w 11240921"/>
              <a:gd name="connsiteY766" fmla="*/ 1627670 h 6858243"/>
              <a:gd name="connsiteX767" fmla="*/ 10077658 w 11240921"/>
              <a:gd name="connsiteY767" fmla="*/ 1393931 h 6858243"/>
              <a:gd name="connsiteX768" fmla="*/ 10320740 w 11240921"/>
              <a:gd name="connsiteY768" fmla="*/ 1163732 h 6858243"/>
              <a:gd name="connsiteX769" fmla="*/ 9830330 w 11240921"/>
              <a:gd name="connsiteY769" fmla="*/ 1159683 h 6858243"/>
              <a:gd name="connsiteX770" fmla="*/ 9326196 w 11240921"/>
              <a:gd name="connsiteY770" fmla="*/ 1173662 h 6858243"/>
              <a:gd name="connsiteX771" fmla="*/ 9308447 w 11240921"/>
              <a:gd name="connsiteY771" fmla="*/ 1187615 h 6858243"/>
              <a:gd name="connsiteX772" fmla="*/ 9308447 w 11240921"/>
              <a:gd name="connsiteY772" fmla="*/ 1638160 h 6858243"/>
              <a:gd name="connsiteX773" fmla="*/ 9320235 w 11240921"/>
              <a:gd name="connsiteY773" fmla="*/ 2095554 h 6858243"/>
              <a:gd name="connsiteX774" fmla="*/ 10311098 w 11240921"/>
              <a:gd name="connsiteY774" fmla="*/ 2096852 h 6858243"/>
              <a:gd name="connsiteX775" fmla="*/ 11220325 w 11240921"/>
              <a:gd name="connsiteY775" fmla="*/ 2049010 h 6858243"/>
              <a:gd name="connsiteX776" fmla="*/ 11218854 w 11240921"/>
              <a:gd name="connsiteY776" fmla="*/ 1984694 h 6858243"/>
              <a:gd name="connsiteX777" fmla="*/ 10363842 w 11240921"/>
              <a:gd name="connsiteY777" fmla="*/ 1172185 h 6858243"/>
              <a:gd name="connsiteX778" fmla="*/ 9855598 w 11240921"/>
              <a:gd name="connsiteY778" fmla="*/ 1632813 h 6858243"/>
              <a:gd name="connsiteX779" fmla="*/ 10103305 w 11240921"/>
              <a:gd name="connsiteY779" fmla="*/ 1872357 h 6858243"/>
              <a:gd name="connsiteX780" fmla="*/ 10352909 w 11240921"/>
              <a:gd name="connsiteY780" fmla="*/ 2102938 h 6858243"/>
              <a:gd name="connsiteX781" fmla="*/ 10785610 w 11240921"/>
              <a:gd name="connsiteY781" fmla="*/ 2101206 h 6858243"/>
              <a:gd name="connsiteX782" fmla="*/ 11218314 w 11240921"/>
              <a:gd name="connsiteY782" fmla="*/ 2099475 h 6858243"/>
              <a:gd name="connsiteX783" fmla="*/ 7484472 w 11240921"/>
              <a:gd name="connsiteY783" fmla="*/ 1872688 h 6858243"/>
              <a:gd name="connsiteX784" fmla="*/ 7730534 w 11240921"/>
              <a:gd name="connsiteY784" fmla="*/ 1641902 h 6858243"/>
              <a:gd name="connsiteX785" fmla="*/ 7242128 w 11240921"/>
              <a:gd name="connsiteY785" fmla="*/ 1184432 h 6858243"/>
              <a:gd name="connsiteX786" fmla="*/ 7223082 w 11240921"/>
              <a:gd name="connsiteY786" fmla="*/ 1186928 h 6858243"/>
              <a:gd name="connsiteX787" fmla="*/ 7213331 w 11240921"/>
              <a:gd name="connsiteY787" fmla="*/ 1641062 h 6858243"/>
              <a:gd name="connsiteX788" fmla="*/ 7217812 w 11240921"/>
              <a:gd name="connsiteY788" fmla="*/ 2091608 h 6858243"/>
              <a:gd name="connsiteX789" fmla="*/ 7231281 w 11240921"/>
              <a:gd name="connsiteY789" fmla="*/ 2096089 h 6858243"/>
              <a:gd name="connsiteX790" fmla="*/ 7484472 w 11240921"/>
              <a:gd name="connsiteY790" fmla="*/ 1872688 h 6858243"/>
              <a:gd name="connsiteX791" fmla="*/ 8219170 w 11240921"/>
              <a:gd name="connsiteY791" fmla="*/ 2091047 h 6858243"/>
              <a:gd name="connsiteX792" fmla="*/ 7754086 w 11240921"/>
              <a:gd name="connsiteY792" fmla="*/ 1661585 h 6858243"/>
              <a:gd name="connsiteX793" fmla="*/ 7281823 w 11240921"/>
              <a:gd name="connsiteY793" fmla="*/ 2090182 h 6858243"/>
              <a:gd name="connsiteX794" fmla="*/ 8219170 w 11240921"/>
              <a:gd name="connsiteY794" fmla="*/ 2091047 h 6858243"/>
              <a:gd name="connsiteX795" fmla="*/ 8774769 w 11240921"/>
              <a:gd name="connsiteY795" fmla="*/ 1633959 h 6858243"/>
              <a:gd name="connsiteX796" fmla="*/ 8277095 w 11240921"/>
              <a:gd name="connsiteY796" fmla="*/ 1183669 h 6858243"/>
              <a:gd name="connsiteX797" fmla="*/ 8275058 w 11240921"/>
              <a:gd name="connsiteY797" fmla="*/ 2091175 h 6858243"/>
              <a:gd name="connsiteX798" fmla="*/ 8774769 w 11240921"/>
              <a:gd name="connsiteY798" fmla="*/ 1633959 h 6858243"/>
              <a:gd name="connsiteX799" fmla="*/ 7193114 w 11240921"/>
              <a:gd name="connsiteY799" fmla="*/ 1644169 h 6858243"/>
              <a:gd name="connsiteX800" fmla="*/ 7186901 w 11240921"/>
              <a:gd name="connsiteY800" fmla="*/ 1221453 h 6858243"/>
              <a:gd name="connsiteX801" fmla="*/ 6729558 w 11240921"/>
              <a:gd name="connsiteY801" fmla="*/ 1648497 h 6858243"/>
              <a:gd name="connsiteX802" fmla="*/ 7186621 w 11240921"/>
              <a:gd name="connsiteY802" fmla="*/ 2069151 h 6858243"/>
              <a:gd name="connsiteX803" fmla="*/ 7193114 w 11240921"/>
              <a:gd name="connsiteY803" fmla="*/ 1644169 h 6858243"/>
              <a:gd name="connsiteX804" fmla="*/ 8244046 w 11240921"/>
              <a:gd name="connsiteY804" fmla="*/ 1645136 h 6858243"/>
              <a:gd name="connsiteX805" fmla="*/ 8238979 w 11240921"/>
              <a:gd name="connsiteY805" fmla="*/ 1218067 h 6858243"/>
              <a:gd name="connsiteX806" fmla="*/ 8002439 w 11240921"/>
              <a:gd name="connsiteY806" fmla="*/ 1427312 h 6858243"/>
              <a:gd name="connsiteX807" fmla="*/ 7770967 w 11240921"/>
              <a:gd name="connsiteY807" fmla="*/ 1639637 h 6858243"/>
              <a:gd name="connsiteX808" fmla="*/ 7793603 w 11240921"/>
              <a:gd name="connsiteY808" fmla="*/ 1661967 h 6858243"/>
              <a:gd name="connsiteX809" fmla="*/ 8238979 w 11240921"/>
              <a:gd name="connsiteY809" fmla="*/ 2069125 h 6858243"/>
              <a:gd name="connsiteX810" fmla="*/ 8244046 w 11240921"/>
              <a:gd name="connsiteY810" fmla="*/ 1645136 h 6858243"/>
              <a:gd name="connsiteX811" fmla="*/ 11220053 w 11240921"/>
              <a:gd name="connsiteY811" fmla="*/ 1546676 h 6858243"/>
              <a:gd name="connsiteX812" fmla="*/ 11218314 w 11240921"/>
              <a:gd name="connsiteY812" fmla="*/ 1163070 h 6858243"/>
              <a:gd name="connsiteX813" fmla="*/ 10805109 w 11240921"/>
              <a:gd name="connsiteY813" fmla="*/ 1161338 h 6858243"/>
              <a:gd name="connsiteX814" fmla="*/ 10394169 w 11240921"/>
              <a:gd name="connsiteY814" fmla="*/ 1165336 h 6858243"/>
              <a:gd name="connsiteX815" fmla="*/ 11216687 w 11240921"/>
              <a:gd name="connsiteY815" fmla="*/ 1934941 h 6858243"/>
              <a:gd name="connsiteX816" fmla="*/ 11220053 w 11240921"/>
              <a:gd name="connsiteY816" fmla="*/ 1546650 h 6858243"/>
              <a:gd name="connsiteX817" fmla="*/ 7984973 w 11240921"/>
              <a:gd name="connsiteY817" fmla="*/ 1415319 h 6858243"/>
              <a:gd name="connsiteX818" fmla="*/ 8240481 w 11240921"/>
              <a:gd name="connsiteY818" fmla="*/ 1166100 h 6858243"/>
              <a:gd name="connsiteX819" fmla="*/ 7261733 w 11240921"/>
              <a:gd name="connsiteY819" fmla="*/ 1166813 h 6858243"/>
              <a:gd name="connsiteX820" fmla="*/ 7752558 w 11240921"/>
              <a:gd name="connsiteY820" fmla="*/ 1617358 h 6858243"/>
              <a:gd name="connsiteX821" fmla="*/ 7984973 w 11240921"/>
              <a:gd name="connsiteY821" fmla="*/ 1415319 h 6858243"/>
              <a:gd name="connsiteX822" fmla="*/ 9033875 w 11240921"/>
              <a:gd name="connsiteY822" fmla="*/ 1408114 h 6858243"/>
              <a:gd name="connsiteX823" fmla="*/ 9284434 w 11240921"/>
              <a:gd name="connsiteY823" fmla="*/ 1165718 h 6858243"/>
              <a:gd name="connsiteX824" fmla="*/ 8306045 w 11240921"/>
              <a:gd name="connsiteY824" fmla="*/ 1167220 h 6858243"/>
              <a:gd name="connsiteX825" fmla="*/ 8798092 w 11240921"/>
              <a:gd name="connsiteY825" fmla="*/ 1617511 h 6858243"/>
              <a:gd name="connsiteX826" fmla="*/ 9033875 w 11240921"/>
              <a:gd name="connsiteY826" fmla="*/ 1408114 h 6858243"/>
              <a:gd name="connsiteX827" fmla="*/ 8225586 w 11240921"/>
              <a:gd name="connsiteY827" fmla="*/ 1135495 h 6858243"/>
              <a:gd name="connsiteX828" fmla="*/ 7752355 w 11240921"/>
              <a:gd name="connsiteY828" fmla="*/ 703002 h 6858243"/>
              <a:gd name="connsiteX829" fmla="*/ 7285718 w 11240921"/>
              <a:gd name="connsiteY829" fmla="*/ 1135546 h 6858243"/>
              <a:gd name="connsiteX830" fmla="*/ 8225586 w 11240921"/>
              <a:gd name="connsiteY830" fmla="*/ 1135495 h 6858243"/>
              <a:gd name="connsiteX831" fmla="*/ 9260166 w 11240921"/>
              <a:gd name="connsiteY831" fmla="*/ 1132949 h 6858243"/>
              <a:gd name="connsiteX832" fmla="*/ 8796539 w 11240921"/>
              <a:gd name="connsiteY832" fmla="*/ 703002 h 6858243"/>
              <a:gd name="connsiteX833" fmla="*/ 8329928 w 11240921"/>
              <a:gd name="connsiteY833" fmla="*/ 1135546 h 6858243"/>
              <a:gd name="connsiteX834" fmla="*/ 9260166 w 11240921"/>
              <a:gd name="connsiteY834" fmla="*/ 1132949 h 6858243"/>
              <a:gd name="connsiteX835" fmla="*/ 10318958 w 11240921"/>
              <a:gd name="connsiteY835" fmla="*/ 1133280 h 6858243"/>
              <a:gd name="connsiteX836" fmla="*/ 9853653 w 11240921"/>
              <a:gd name="connsiteY836" fmla="*/ 694855 h 6858243"/>
              <a:gd name="connsiteX837" fmla="*/ 9370199 w 11240921"/>
              <a:gd name="connsiteY837" fmla="*/ 1133382 h 6858243"/>
              <a:gd name="connsiteX838" fmla="*/ 9843456 w 11240921"/>
              <a:gd name="connsiteY838" fmla="*/ 1139492 h 6858243"/>
              <a:gd name="connsiteX839" fmla="*/ 10318958 w 11240921"/>
              <a:gd name="connsiteY839" fmla="*/ 1133280 h 6858243"/>
              <a:gd name="connsiteX840" fmla="*/ 11220241 w 11240921"/>
              <a:gd name="connsiteY840" fmla="*/ 1074463 h 6858243"/>
              <a:gd name="connsiteX841" fmla="*/ 11206767 w 11240921"/>
              <a:gd name="connsiteY841" fmla="*/ 996016 h 6858243"/>
              <a:gd name="connsiteX842" fmla="*/ 11031028 w 11240921"/>
              <a:gd name="connsiteY842" fmla="*/ 840267 h 6858243"/>
              <a:gd name="connsiteX843" fmla="*/ 10862074 w 11240921"/>
              <a:gd name="connsiteY843" fmla="*/ 706491 h 6858243"/>
              <a:gd name="connsiteX844" fmla="*/ 10399799 w 11240921"/>
              <a:gd name="connsiteY844" fmla="*/ 1133560 h 6858243"/>
              <a:gd name="connsiteX845" fmla="*/ 10809055 w 11240921"/>
              <a:gd name="connsiteY845" fmla="*/ 1137863 h 6858243"/>
              <a:gd name="connsiteX846" fmla="*/ 11218314 w 11240921"/>
              <a:gd name="connsiteY846" fmla="*/ 1136106 h 6858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Lst>
            <a:rect l="l" t="t" r="r" b="b"/>
            <a:pathLst>
              <a:path w="11240921" h="6858243">
                <a:moveTo>
                  <a:pt x="6203341" y="6853924"/>
                </a:moveTo>
                <a:cubicBezTo>
                  <a:pt x="6202908" y="6847200"/>
                  <a:pt x="5577365" y="6845504"/>
                  <a:pt x="3099406" y="6845504"/>
                </a:cubicBezTo>
                <a:cubicBezTo>
                  <a:pt x="1392555" y="6845504"/>
                  <a:pt x="-1702" y="6843230"/>
                  <a:pt x="1072" y="6840450"/>
                </a:cubicBezTo>
                <a:cubicBezTo>
                  <a:pt x="3848" y="6837672"/>
                  <a:pt x="218847" y="6833884"/>
                  <a:pt x="478810" y="6832030"/>
                </a:cubicBezTo>
                <a:lnTo>
                  <a:pt x="951507" y="6828661"/>
                </a:lnTo>
                <a:lnTo>
                  <a:pt x="954893" y="5898998"/>
                </a:lnTo>
                <a:lnTo>
                  <a:pt x="958255" y="4969315"/>
                </a:lnTo>
                <a:lnTo>
                  <a:pt x="2009747" y="4965954"/>
                </a:lnTo>
                <a:lnTo>
                  <a:pt x="3061265" y="4962593"/>
                </a:lnTo>
                <a:lnTo>
                  <a:pt x="3107833" y="4920938"/>
                </a:lnTo>
                <a:cubicBezTo>
                  <a:pt x="3133474" y="4898048"/>
                  <a:pt x="3357409" y="4693412"/>
                  <a:pt x="3605508" y="4466217"/>
                </a:cubicBezTo>
                <a:cubicBezTo>
                  <a:pt x="3903105" y="4193675"/>
                  <a:pt x="4057988" y="4047398"/>
                  <a:pt x="4060687" y="4036271"/>
                </a:cubicBezTo>
                <a:cubicBezTo>
                  <a:pt x="4063106" y="4026341"/>
                  <a:pt x="4068937" y="4020128"/>
                  <a:pt x="4074895" y="4021147"/>
                </a:cubicBezTo>
                <a:cubicBezTo>
                  <a:pt x="4080471" y="4022063"/>
                  <a:pt x="4098447" y="4011471"/>
                  <a:pt x="4114870" y="3997569"/>
                </a:cubicBezTo>
                <a:cubicBezTo>
                  <a:pt x="4160548" y="3958892"/>
                  <a:pt x="5092039" y="3107937"/>
                  <a:pt x="5113147" y="3085582"/>
                </a:cubicBezTo>
                <a:cubicBezTo>
                  <a:pt x="5125929" y="3072062"/>
                  <a:pt x="5131658" y="3058821"/>
                  <a:pt x="5131658" y="3042908"/>
                </a:cubicBezTo>
                <a:cubicBezTo>
                  <a:pt x="5131658" y="3016402"/>
                  <a:pt x="5144236" y="3004028"/>
                  <a:pt x="5149735" y="3025085"/>
                </a:cubicBezTo>
                <a:cubicBezTo>
                  <a:pt x="5151772" y="3032876"/>
                  <a:pt x="5156101" y="3039241"/>
                  <a:pt x="5159335" y="3039241"/>
                </a:cubicBezTo>
                <a:cubicBezTo>
                  <a:pt x="5162594" y="3039241"/>
                  <a:pt x="5275160" y="2938667"/>
                  <a:pt x="5409496" y="2815739"/>
                </a:cubicBezTo>
                <a:cubicBezTo>
                  <a:pt x="5575939" y="2663426"/>
                  <a:pt x="5654437" y="2587245"/>
                  <a:pt x="5655889" y="2576577"/>
                </a:cubicBezTo>
                <a:cubicBezTo>
                  <a:pt x="5657391" y="2565603"/>
                  <a:pt x="5662432" y="2560943"/>
                  <a:pt x="5672846" y="2560943"/>
                </a:cubicBezTo>
                <a:cubicBezTo>
                  <a:pt x="5689880" y="2560943"/>
                  <a:pt x="6135663" y="2157528"/>
                  <a:pt x="6156517" y="2123231"/>
                </a:cubicBezTo>
                <a:cubicBezTo>
                  <a:pt x="6163468" y="2111824"/>
                  <a:pt x="6176912" y="2099526"/>
                  <a:pt x="6186460" y="2095911"/>
                </a:cubicBezTo>
                <a:cubicBezTo>
                  <a:pt x="6199700" y="2090894"/>
                  <a:pt x="6616075" y="1716658"/>
                  <a:pt x="6691773" y="1641750"/>
                </a:cubicBezTo>
                <a:cubicBezTo>
                  <a:pt x="6699462" y="1634137"/>
                  <a:pt x="6814040" y="1529362"/>
                  <a:pt x="6946365" y="1408954"/>
                </a:cubicBezTo>
                <a:cubicBezTo>
                  <a:pt x="7107741" y="1262090"/>
                  <a:pt x="7188149" y="1184458"/>
                  <a:pt x="7190593" y="1173178"/>
                </a:cubicBezTo>
                <a:cubicBezTo>
                  <a:pt x="7197366" y="1141809"/>
                  <a:pt x="7199403" y="1139492"/>
                  <a:pt x="7219950" y="1139492"/>
                </a:cubicBezTo>
                <a:cubicBezTo>
                  <a:pt x="7242433" y="1139492"/>
                  <a:pt x="7232860" y="1147716"/>
                  <a:pt x="7572519" y="836702"/>
                </a:cubicBezTo>
                <a:cubicBezTo>
                  <a:pt x="7671896" y="745727"/>
                  <a:pt x="7757549" y="670309"/>
                  <a:pt x="7762845" y="669113"/>
                </a:cubicBezTo>
                <a:cubicBezTo>
                  <a:pt x="7768141" y="667890"/>
                  <a:pt x="7772469" y="671328"/>
                  <a:pt x="7772469" y="676700"/>
                </a:cubicBezTo>
                <a:cubicBezTo>
                  <a:pt x="7772469" y="685357"/>
                  <a:pt x="8244046" y="1121084"/>
                  <a:pt x="8268209" y="1134756"/>
                </a:cubicBezTo>
                <a:cubicBezTo>
                  <a:pt x="8273454" y="1137735"/>
                  <a:pt x="8282035" y="1137735"/>
                  <a:pt x="8287305" y="1134756"/>
                </a:cubicBezTo>
                <a:cubicBezTo>
                  <a:pt x="8292576" y="1131803"/>
                  <a:pt x="8409521" y="1026315"/>
                  <a:pt x="8547193" y="900330"/>
                </a:cubicBezTo>
                <a:cubicBezTo>
                  <a:pt x="8684838" y="774346"/>
                  <a:pt x="8801784" y="670309"/>
                  <a:pt x="8807055" y="669113"/>
                </a:cubicBezTo>
                <a:cubicBezTo>
                  <a:pt x="8812351" y="667890"/>
                  <a:pt x="8816654" y="671328"/>
                  <a:pt x="8816654" y="676700"/>
                </a:cubicBezTo>
                <a:cubicBezTo>
                  <a:pt x="8816654" y="690831"/>
                  <a:pt x="9300105" y="1139492"/>
                  <a:pt x="9315342" y="1139492"/>
                </a:cubicBezTo>
                <a:cubicBezTo>
                  <a:pt x="9322496" y="1139492"/>
                  <a:pt x="9439246" y="1038155"/>
                  <a:pt x="9585050" y="905372"/>
                </a:cubicBezTo>
                <a:cubicBezTo>
                  <a:pt x="9726451" y="776612"/>
                  <a:pt x="9847392" y="671277"/>
                  <a:pt x="9853808" y="671277"/>
                </a:cubicBezTo>
                <a:cubicBezTo>
                  <a:pt x="9860222" y="671277"/>
                  <a:pt x="9975116" y="774346"/>
                  <a:pt x="10109126" y="900330"/>
                </a:cubicBezTo>
                <a:cubicBezTo>
                  <a:pt x="10243136" y="1026315"/>
                  <a:pt x="10355814" y="1129384"/>
                  <a:pt x="10359521" y="1129384"/>
                </a:cubicBezTo>
                <a:cubicBezTo>
                  <a:pt x="10363231" y="1129384"/>
                  <a:pt x="10475685" y="1029345"/>
                  <a:pt x="10609423" y="907052"/>
                </a:cubicBezTo>
                <a:cubicBezTo>
                  <a:pt x="10743160" y="784785"/>
                  <a:pt x="10858145" y="683804"/>
                  <a:pt x="10864946" y="682659"/>
                </a:cubicBezTo>
                <a:cubicBezTo>
                  <a:pt x="10876603" y="680673"/>
                  <a:pt x="10915949" y="712881"/>
                  <a:pt x="11144933" y="911890"/>
                </a:cubicBezTo>
                <a:cubicBezTo>
                  <a:pt x="11182385" y="944431"/>
                  <a:pt x="11214973" y="971063"/>
                  <a:pt x="11217354" y="971063"/>
                </a:cubicBezTo>
                <a:cubicBezTo>
                  <a:pt x="11219735" y="971063"/>
                  <a:pt x="11221728" y="756574"/>
                  <a:pt x="11221784" y="494446"/>
                </a:cubicBezTo>
                <a:cubicBezTo>
                  <a:pt x="11221861" y="232291"/>
                  <a:pt x="11224450" y="13779"/>
                  <a:pt x="11227585" y="8839"/>
                </a:cubicBezTo>
                <a:cubicBezTo>
                  <a:pt x="11242795" y="-15171"/>
                  <a:pt x="11242128" y="-294689"/>
                  <a:pt x="11241919" y="6008458"/>
                </a:cubicBezTo>
                <a:lnTo>
                  <a:pt x="11241919" y="6845504"/>
                </a:lnTo>
                <a:lnTo>
                  <a:pt x="9750291" y="6845504"/>
                </a:lnTo>
                <a:cubicBezTo>
                  <a:pt x="8563284" y="6845504"/>
                  <a:pt x="8257973" y="6847225"/>
                  <a:pt x="8255274" y="6853924"/>
                </a:cubicBezTo>
                <a:cubicBezTo>
                  <a:pt x="8252550" y="6860662"/>
                  <a:pt x="8251761" y="6860662"/>
                  <a:pt x="8251328" y="6853924"/>
                </a:cubicBezTo>
                <a:cubicBezTo>
                  <a:pt x="8250920" y="6847228"/>
                  <a:pt x="8042007" y="6845504"/>
                  <a:pt x="7230746" y="6845504"/>
                </a:cubicBezTo>
                <a:cubicBezTo>
                  <a:pt x="6421013" y="6845504"/>
                  <a:pt x="6209986" y="6847241"/>
                  <a:pt x="6207287" y="6853924"/>
                </a:cubicBezTo>
                <a:cubicBezTo>
                  <a:pt x="6204588" y="6860662"/>
                  <a:pt x="6203799" y="6860662"/>
                  <a:pt x="6203366" y="6853924"/>
                </a:cubicBezTo>
                <a:close/>
                <a:moveTo>
                  <a:pt x="1043399" y="6816873"/>
                </a:moveTo>
                <a:cubicBezTo>
                  <a:pt x="1047473" y="6808536"/>
                  <a:pt x="1144252" y="6716831"/>
                  <a:pt x="1258449" y="6613087"/>
                </a:cubicBezTo>
                <a:cubicBezTo>
                  <a:pt x="1372670" y="6509341"/>
                  <a:pt x="1466292" y="6421243"/>
                  <a:pt x="1466496" y="6417322"/>
                </a:cubicBezTo>
                <a:cubicBezTo>
                  <a:pt x="1466954" y="6408716"/>
                  <a:pt x="991711" y="5969731"/>
                  <a:pt x="981934" y="5969731"/>
                </a:cubicBezTo>
                <a:cubicBezTo>
                  <a:pt x="974244" y="5969731"/>
                  <a:pt x="971902" y="6819859"/>
                  <a:pt x="979591" y="6827538"/>
                </a:cubicBezTo>
                <a:cubicBezTo>
                  <a:pt x="982061" y="6830008"/>
                  <a:pt x="995760" y="6832030"/>
                  <a:pt x="1010044" y="6832030"/>
                </a:cubicBezTo>
                <a:cubicBezTo>
                  <a:pt x="1030286" y="6832030"/>
                  <a:pt x="1037644" y="6828692"/>
                  <a:pt x="1043399" y="6816873"/>
                </a:cubicBezTo>
                <a:close/>
                <a:moveTo>
                  <a:pt x="2024412" y="6400874"/>
                </a:moveTo>
                <a:cubicBezTo>
                  <a:pt x="2025355" y="6165608"/>
                  <a:pt x="2024591" y="5969018"/>
                  <a:pt x="2022681" y="5964028"/>
                </a:cubicBezTo>
                <a:cubicBezTo>
                  <a:pt x="2019931" y="5956847"/>
                  <a:pt x="2015323" y="5957535"/>
                  <a:pt x="2000224" y="5967414"/>
                </a:cubicBezTo>
                <a:cubicBezTo>
                  <a:pt x="1973489" y="5984881"/>
                  <a:pt x="1062673" y="6819378"/>
                  <a:pt x="1062673" y="6826382"/>
                </a:cubicBezTo>
                <a:cubicBezTo>
                  <a:pt x="1062673" y="6829537"/>
                  <a:pt x="1278664" y="6831342"/>
                  <a:pt x="1542677" y="6830390"/>
                </a:cubicBezTo>
                <a:lnTo>
                  <a:pt x="2022656" y="6828661"/>
                </a:lnTo>
                <a:close/>
                <a:moveTo>
                  <a:pt x="2087583" y="6816873"/>
                </a:moveTo>
                <a:cubicBezTo>
                  <a:pt x="2091632" y="6808536"/>
                  <a:pt x="2186858" y="6718349"/>
                  <a:pt x="2299221" y="6616453"/>
                </a:cubicBezTo>
                <a:cubicBezTo>
                  <a:pt x="2411558" y="6514561"/>
                  <a:pt x="2503678" y="6427812"/>
                  <a:pt x="2503907" y="6423688"/>
                </a:cubicBezTo>
                <a:cubicBezTo>
                  <a:pt x="2504442" y="6414267"/>
                  <a:pt x="2063879" y="5983200"/>
                  <a:pt x="2053719" y="5983200"/>
                </a:cubicBezTo>
                <a:cubicBezTo>
                  <a:pt x="2045444" y="5983200"/>
                  <a:pt x="2042491" y="6819299"/>
                  <a:pt x="2050740" y="6827538"/>
                </a:cubicBezTo>
                <a:cubicBezTo>
                  <a:pt x="2060339" y="6837155"/>
                  <a:pt x="2080556" y="6831302"/>
                  <a:pt x="2087583" y="6816873"/>
                </a:cubicBezTo>
                <a:close/>
                <a:moveTo>
                  <a:pt x="2922015" y="6826558"/>
                </a:moveTo>
                <a:cubicBezTo>
                  <a:pt x="2922015" y="6817400"/>
                  <a:pt x="2531762" y="6440009"/>
                  <a:pt x="2524786" y="6442428"/>
                </a:cubicBezTo>
                <a:cubicBezTo>
                  <a:pt x="2514041" y="6446145"/>
                  <a:pt x="2106858" y="6820162"/>
                  <a:pt x="2106858" y="6826327"/>
                </a:cubicBezTo>
                <a:cubicBezTo>
                  <a:pt x="2106858" y="6829463"/>
                  <a:pt x="2290284" y="6832030"/>
                  <a:pt x="2514449" y="6832030"/>
                </a:cubicBezTo>
                <a:cubicBezTo>
                  <a:pt x="2738614" y="6832030"/>
                  <a:pt x="2922015" y="6829568"/>
                  <a:pt x="2922015" y="6826558"/>
                </a:cubicBezTo>
                <a:close/>
                <a:moveTo>
                  <a:pt x="3048381" y="6399194"/>
                </a:moveTo>
                <a:cubicBezTo>
                  <a:pt x="3049501" y="6120999"/>
                  <a:pt x="3047770" y="5969731"/>
                  <a:pt x="3043492" y="5969731"/>
                </a:cubicBezTo>
                <a:cubicBezTo>
                  <a:pt x="3032925" y="5969731"/>
                  <a:pt x="2551496" y="6413681"/>
                  <a:pt x="2551496" y="6423408"/>
                </a:cubicBezTo>
                <a:cubicBezTo>
                  <a:pt x="2551496" y="6428245"/>
                  <a:pt x="2644481" y="6522301"/>
                  <a:pt x="2758143" y="6632410"/>
                </a:cubicBezTo>
                <a:lnTo>
                  <a:pt x="2964790" y="6832613"/>
                </a:lnTo>
                <a:lnTo>
                  <a:pt x="3005707" y="6830637"/>
                </a:lnTo>
                <a:lnTo>
                  <a:pt x="3046649" y="6828661"/>
                </a:lnTo>
                <a:close/>
                <a:moveTo>
                  <a:pt x="3342259" y="6638348"/>
                </a:moveTo>
                <a:cubicBezTo>
                  <a:pt x="3503509" y="6495592"/>
                  <a:pt x="3561180" y="6440671"/>
                  <a:pt x="3561536" y="6429518"/>
                </a:cubicBezTo>
                <a:cubicBezTo>
                  <a:pt x="3561918" y="6416762"/>
                  <a:pt x="3565763" y="6414343"/>
                  <a:pt x="3585571" y="6414343"/>
                </a:cubicBezTo>
                <a:cubicBezTo>
                  <a:pt x="3605407" y="6414343"/>
                  <a:pt x="3609251" y="6416762"/>
                  <a:pt x="3609659" y="6429518"/>
                </a:cubicBezTo>
                <a:cubicBezTo>
                  <a:pt x="3610015" y="6440671"/>
                  <a:pt x="3667177" y="6495184"/>
                  <a:pt x="3826159" y="6635980"/>
                </a:cubicBezTo>
                <a:cubicBezTo>
                  <a:pt x="4021094" y="6808623"/>
                  <a:pt x="4044570" y="6827358"/>
                  <a:pt x="4066518" y="6827976"/>
                </a:cubicBezTo>
                <a:lnTo>
                  <a:pt x="4090834" y="6828661"/>
                </a:lnTo>
                <a:lnTo>
                  <a:pt x="4092464" y="5926217"/>
                </a:lnTo>
                <a:cubicBezTo>
                  <a:pt x="4093355" y="5429866"/>
                  <a:pt x="4091623" y="5021308"/>
                  <a:pt x="4088619" y="5018303"/>
                </a:cubicBezTo>
                <a:cubicBezTo>
                  <a:pt x="4081438" y="5011098"/>
                  <a:pt x="3089502" y="5918222"/>
                  <a:pt x="3078935" y="5941621"/>
                </a:cubicBezTo>
                <a:cubicBezTo>
                  <a:pt x="3072901" y="5955040"/>
                  <a:pt x="3070761" y="6069592"/>
                  <a:pt x="3070532" y="6391326"/>
                </a:cubicBezTo>
                <a:cubicBezTo>
                  <a:pt x="3070354" y="6628777"/>
                  <a:pt x="3072238" y="6825069"/>
                  <a:pt x="3074708" y="6827538"/>
                </a:cubicBezTo>
                <a:cubicBezTo>
                  <a:pt x="3077178" y="6830008"/>
                  <a:pt x="3089171" y="6832030"/>
                  <a:pt x="3101316" y="6832030"/>
                </a:cubicBezTo>
                <a:cubicBezTo>
                  <a:pt x="3120743" y="6832030"/>
                  <a:pt x="3150202" y="6808356"/>
                  <a:pt x="3342259" y="6638348"/>
                </a:cubicBezTo>
                <a:close/>
                <a:moveTo>
                  <a:pt x="4005512" y="6826281"/>
                </a:moveTo>
                <a:cubicBezTo>
                  <a:pt x="4001693" y="6816542"/>
                  <a:pt x="3592752" y="6455057"/>
                  <a:pt x="3585571" y="6455082"/>
                </a:cubicBezTo>
                <a:cubicBezTo>
                  <a:pt x="3578239" y="6455133"/>
                  <a:pt x="3169324" y="6816414"/>
                  <a:pt x="3165658" y="6826102"/>
                </a:cubicBezTo>
                <a:cubicBezTo>
                  <a:pt x="3164384" y="6829476"/>
                  <a:pt x="3345264" y="6832030"/>
                  <a:pt x="3585571" y="6832030"/>
                </a:cubicBezTo>
                <a:cubicBezTo>
                  <a:pt x="3817783" y="6832030"/>
                  <a:pt x="4006734" y="6829443"/>
                  <a:pt x="4005512" y="6826281"/>
                </a:cubicBezTo>
                <a:close/>
                <a:moveTo>
                  <a:pt x="5029480" y="6825316"/>
                </a:moveTo>
                <a:cubicBezTo>
                  <a:pt x="5026730" y="6817041"/>
                  <a:pt x="4619241" y="6434560"/>
                  <a:pt x="4613181" y="6434560"/>
                </a:cubicBezTo>
                <a:cubicBezTo>
                  <a:pt x="4610788" y="6434560"/>
                  <a:pt x="4518056" y="6517794"/>
                  <a:pt x="4407094" y="6619524"/>
                </a:cubicBezTo>
                <a:cubicBezTo>
                  <a:pt x="4225755" y="6785781"/>
                  <a:pt x="4188276" y="6816748"/>
                  <a:pt x="4188633" y="6800030"/>
                </a:cubicBezTo>
                <a:cubicBezTo>
                  <a:pt x="4188836" y="6790474"/>
                  <a:pt x="4199199" y="6780470"/>
                  <a:pt x="4395687" y="6600639"/>
                </a:cubicBezTo>
                <a:cubicBezTo>
                  <a:pt x="4504052" y="6501448"/>
                  <a:pt x="4592735" y="6418112"/>
                  <a:pt x="4592735" y="6415489"/>
                </a:cubicBezTo>
                <a:cubicBezTo>
                  <a:pt x="4592735" y="6410295"/>
                  <a:pt x="4129612" y="5974543"/>
                  <a:pt x="4120165" y="5970851"/>
                </a:cubicBezTo>
                <a:cubicBezTo>
                  <a:pt x="4113469" y="5968229"/>
                  <a:pt x="4112222" y="6820842"/>
                  <a:pt x="4118918" y="6827538"/>
                </a:cubicBezTo>
                <a:cubicBezTo>
                  <a:pt x="4126480" y="6835108"/>
                  <a:pt x="5032026" y="6832898"/>
                  <a:pt x="5029480" y="6825316"/>
                </a:cubicBezTo>
                <a:close/>
                <a:moveTo>
                  <a:pt x="6053473" y="6825392"/>
                </a:moveTo>
                <a:cubicBezTo>
                  <a:pt x="6050087" y="6815396"/>
                  <a:pt x="5657289" y="6454751"/>
                  <a:pt x="5649778" y="6454751"/>
                </a:cubicBezTo>
                <a:cubicBezTo>
                  <a:pt x="5646188" y="6454751"/>
                  <a:pt x="5558269" y="6532817"/>
                  <a:pt x="5454359" y="6628232"/>
                </a:cubicBezTo>
                <a:cubicBezTo>
                  <a:pt x="5350475" y="6723642"/>
                  <a:pt x="5260851" y="6802736"/>
                  <a:pt x="5255223" y="6803999"/>
                </a:cubicBezTo>
                <a:cubicBezTo>
                  <a:pt x="5229150" y="6809843"/>
                  <a:pt x="5262403" y="6775408"/>
                  <a:pt x="5439973" y="6612825"/>
                </a:cubicBezTo>
                <a:cubicBezTo>
                  <a:pt x="5544697" y="6516928"/>
                  <a:pt x="5629561" y="6436037"/>
                  <a:pt x="5628568" y="6433058"/>
                </a:cubicBezTo>
                <a:cubicBezTo>
                  <a:pt x="5624316" y="6420327"/>
                  <a:pt x="5129060" y="5969273"/>
                  <a:pt x="5121320" y="5971081"/>
                </a:cubicBezTo>
                <a:cubicBezTo>
                  <a:pt x="5112256" y="5973194"/>
                  <a:pt x="4637879" y="6404795"/>
                  <a:pt x="4634569" y="6413936"/>
                </a:cubicBezTo>
                <a:cubicBezTo>
                  <a:pt x="4632558" y="6419487"/>
                  <a:pt x="5034725" y="6800131"/>
                  <a:pt x="5064108" y="6820486"/>
                </a:cubicBezTo>
                <a:cubicBezTo>
                  <a:pt x="5079461" y="6831113"/>
                  <a:pt x="5119080" y="6832020"/>
                  <a:pt x="5568250" y="6832020"/>
                </a:cubicBezTo>
                <a:cubicBezTo>
                  <a:pt x="5884891" y="6832020"/>
                  <a:pt x="6054925" y="6829698"/>
                  <a:pt x="6053473" y="6825392"/>
                </a:cubicBezTo>
                <a:close/>
                <a:moveTo>
                  <a:pt x="6194429" y="6391861"/>
                </a:moveTo>
                <a:cubicBezTo>
                  <a:pt x="6195473" y="6128765"/>
                  <a:pt x="6193717" y="5955982"/>
                  <a:pt x="6189974" y="5957357"/>
                </a:cubicBezTo>
                <a:cubicBezTo>
                  <a:pt x="6180375" y="5960870"/>
                  <a:pt x="5670605" y="6429238"/>
                  <a:pt x="5670605" y="6434534"/>
                </a:cubicBezTo>
                <a:cubicBezTo>
                  <a:pt x="5670605" y="6440645"/>
                  <a:pt x="6072646" y="6812562"/>
                  <a:pt x="6091080" y="6823510"/>
                </a:cubicBezTo>
                <a:cubicBezTo>
                  <a:pt x="6099304" y="6828384"/>
                  <a:pt x="6123315" y="6831182"/>
                  <a:pt x="6148904" y="6830248"/>
                </a:cubicBezTo>
                <a:lnTo>
                  <a:pt x="6192698" y="6828651"/>
                </a:lnTo>
                <a:lnTo>
                  <a:pt x="6194429" y="6391861"/>
                </a:lnTo>
                <a:close/>
                <a:moveTo>
                  <a:pt x="8240685" y="6384018"/>
                </a:moveTo>
                <a:lnTo>
                  <a:pt x="8240685" y="5939406"/>
                </a:lnTo>
                <a:lnTo>
                  <a:pt x="7734048" y="5937675"/>
                </a:lnTo>
                <a:lnTo>
                  <a:pt x="7227385" y="5935943"/>
                </a:lnTo>
                <a:lnTo>
                  <a:pt x="7187869" y="5971361"/>
                </a:lnTo>
                <a:cubicBezTo>
                  <a:pt x="7166150" y="5990839"/>
                  <a:pt x="6952042" y="6185621"/>
                  <a:pt x="6712117" y="6404235"/>
                </a:cubicBezTo>
                <a:cubicBezTo>
                  <a:pt x="6472191" y="6622844"/>
                  <a:pt x="6271578" y="6802685"/>
                  <a:pt x="6266282" y="6803882"/>
                </a:cubicBezTo>
                <a:cubicBezTo>
                  <a:pt x="6250165" y="6807548"/>
                  <a:pt x="6255563" y="6793359"/>
                  <a:pt x="6278606" y="6771612"/>
                </a:cubicBezTo>
                <a:cubicBezTo>
                  <a:pt x="6290649" y="6760241"/>
                  <a:pt x="6501217" y="6568336"/>
                  <a:pt x="6746541" y="6345164"/>
                </a:cubicBezTo>
                <a:lnTo>
                  <a:pt x="7192604" y="5939406"/>
                </a:lnTo>
                <a:lnTo>
                  <a:pt x="7192859" y="5506557"/>
                </a:lnTo>
                <a:cubicBezTo>
                  <a:pt x="7193089" y="5126439"/>
                  <a:pt x="7194336" y="5073734"/>
                  <a:pt x="7203222" y="5073734"/>
                </a:cubicBezTo>
                <a:cubicBezTo>
                  <a:pt x="7212083" y="5073734"/>
                  <a:pt x="7213331" y="5124632"/>
                  <a:pt x="7213331" y="5491408"/>
                </a:cubicBezTo>
                <a:cubicBezTo>
                  <a:pt x="7213331" y="5721123"/>
                  <a:pt x="7215902" y="5909081"/>
                  <a:pt x="7219034" y="5909081"/>
                </a:cubicBezTo>
                <a:cubicBezTo>
                  <a:pt x="7227920" y="5909081"/>
                  <a:pt x="7735168" y="5445500"/>
                  <a:pt x="7737383" y="5435366"/>
                </a:cubicBezTo>
                <a:cubicBezTo>
                  <a:pt x="7739267" y="5426608"/>
                  <a:pt x="7276934" y="4996203"/>
                  <a:pt x="7257659" y="4988793"/>
                </a:cubicBezTo>
                <a:cubicBezTo>
                  <a:pt x="7251497" y="4986425"/>
                  <a:pt x="7203986" y="5025178"/>
                  <a:pt x="7127881" y="5094638"/>
                </a:cubicBezTo>
                <a:cubicBezTo>
                  <a:pt x="6548118" y="5623885"/>
                  <a:pt x="6230890" y="5918095"/>
                  <a:pt x="6224220" y="5932735"/>
                </a:cubicBezTo>
                <a:cubicBezTo>
                  <a:pt x="6218389" y="5945517"/>
                  <a:pt x="6216275" y="6066129"/>
                  <a:pt x="6216275" y="6386590"/>
                </a:cubicBezTo>
                <a:cubicBezTo>
                  <a:pt x="6216275" y="6626635"/>
                  <a:pt x="6218312" y="6825069"/>
                  <a:pt x="6220808" y="6827551"/>
                </a:cubicBezTo>
                <a:cubicBezTo>
                  <a:pt x="6223277" y="6830034"/>
                  <a:pt x="6678762" y="6831297"/>
                  <a:pt x="7232987" y="6830357"/>
                </a:cubicBezTo>
                <a:lnTo>
                  <a:pt x="8240685" y="6828651"/>
                </a:lnTo>
                <a:close/>
                <a:moveTo>
                  <a:pt x="9245859" y="6821048"/>
                </a:moveTo>
                <a:cubicBezTo>
                  <a:pt x="9248991" y="6811650"/>
                  <a:pt x="8798551" y="6397182"/>
                  <a:pt x="8786431" y="6398302"/>
                </a:cubicBezTo>
                <a:cubicBezTo>
                  <a:pt x="8781618" y="6398761"/>
                  <a:pt x="8678600" y="6489710"/>
                  <a:pt x="8557504" y="6600415"/>
                </a:cubicBezTo>
                <a:cubicBezTo>
                  <a:pt x="8436409" y="6711125"/>
                  <a:pt x="8332729" y="6802736"/>
                  <a:pt x="8327127" y="6803999"/>
                </a:cubicBezTo>
                <a:cubicBezTo>
                  <a:pt x="8321067" y="6805361"/>
                  <a:pt x="8317859" y="6802423"/>
                  <a:pt x="8319209" y="6796776"/>
                </a:cubicBezTo>
                <a:cubicBezTo>
                  <a:pt x="8320482" y="6791541"/>
                  <a:pt x="8422328" y="6695280"/>
                  <a:pt x="8545563" y="6582874"/>
                </a:cubicBezTo>
                <a:cubicBezTo>
                  <a:pt x="8763999" y="6383611"/>
                  <a:pt x="8769320" y="6378137"/>
                  <a:pt x="8757786" y="6365253"/>
                </a:cubicBezTo>
                <a:cubicBezTo>
                  <a:pt x="8729371" y="6333553"/>
                  <a:pt x="8282213" y="5925708"/>
                  <a:pt x="8273683" y="5923747"/>
                </a:cubicBezTo>
                <a:cubicBezTo>
                  <a:pt x="8265663" y="5921889"/>
                  <a:pt x="8264262" y="5989235"/>
                  <a:pt x="8264262" y="6372306"/>
                </a:cubicBezTo>
                <a:cubicBezTo>
                  <a:pt x="8264262" y="6620206"/>
                  <a:pt x="8266299" y="6825076"/>
                  <a:pt x="8268794" y="6827572"/>
                </a:cubicBezTo>
                <a:cubicBezTo>
                  <a:pt x="8277121" y="6835918"/>
                  <a:pt x="9243053" y="6829468"/>
                  <a:pt x="9245859" y="6821048"/>
                </a:cubicBezTo>
                <a:close/>
                <a:moveTo>
                  <a:pt x="9420152" y="6823358"/>
                </a:moveTo>
                <a:cubicBezTo>
                  <a:pt x="9442915" y="6810077"/>
                  <a:pt x="9833913" y="6446221"/>
                  <a:pt x="9833913" y="6438328"/>
                </a:cubicBezTo>
                <a:cubicBezTo>
                  <a:pt x="9833913" y="6428144"/>
                  <a:pt x="9325175" y="5967669"/>
                  <a:pt x="9305753" y="5960259"/>
                </a:cubicBezTo>
                <a:cubicBezTo>
                  <a:pt x="9296986" y="5956924"/>
                  <a:pt x="9284910" y="5956083"/>
                  <a:pt x="9278919" y="5958375"/>
                </a:cubicBezTo>
                <a:cubicBezTo>
                  <a:pt x="9269042" y="5962169"/>
                  <a:pt x="9268026" y="6002729"/>
                  <a:pt x="9268026" y="6392803"/>
                </a:cubicBezTo>
                <a:cubicBezTo>
                  <a:pt x="9268026" y="6629429"/>
                  <a:pt x="9270048" y="6825058"/>
                  <a:pt x="9272518" y="6827528"/>
                </a:cubicBezTo>
                <a:cubicBezTo>
                  <a:pt x="9280497" y="6835508"/>
                  <a:pt x="9405374" y="6831982"/>
                  <a:pt x="9420152" y="6823360"/>
                </a:cubicBezTo>
                <a:close/>
                <a:moveTo>
                  <a:pt x="10330800" y="6426132"/>
                </a:moveTo>
                <a:cubicBezTo>
                  <a:pt x="10331755" y="6204743"/>
                  <a:pt x="10330240" y="6023633"/>
                  <a:pt x="10327432" y="6023684"/>
                </a:cubicBezTo>
                <a:cubicBezTo>
                  <a:pt x="10320911" y="6023786"/>
                  <a:pt x="9460789" y="6816890"/>
                  <a:pt x="9457762" y="6825606"/>
                </a:cubicBezTo>
                <a:cubicBezTo>
                  <a:pt x="9456318" y="6829764"/>
                  <a:pt x="9613351" y="6831490"/>
                  <a:pt x="9892281" y="6830383"/>
                </a:cubicBezTo>
                <a:lnTo>
                  <a:pt x="10329064" y="6828649"/>
                </a:lnTo>
                <a:close/>
                <a:moveTo>
                  <a:pt x="11218314" y="6394127"/>
                </a:moveTo>
                <a:lnTo>
                  <a:pt x="11218314" y="5959623"/>
                </a:lnTo>
                <a:lnTo>
                  <a:pt x="10809351" y="5957866"/>
                </a:lnTo>
                <a:lnTo>
                  <a:pt x="10400387" y="5956135"/>
                </a:lnTo>
                <a:lnTo>
                  <a:pt x="10376514" y="5977089"/>
                </a:lnTo>
                <a:lnTo>
                  <a:pt x="10352641" y="5998070"/>
                </a:lnTo>
                <a:lnTo>
                  <a:pt x="10352641" y="6410550"/>
                </a:lnTo>
                <a:cubicBezTo>
                  <a:pt x="10352641" y="6637416"/>
                  <a:pt x="10354683" y="6825079"/>
                  <a:pt x="10357181" y="6827577"/>
                </a:cubicBezTo>
                <a:cubicBezTo>
                  <a:pt x="10359679" y="6830075"/>
                  <a:pt x="10554456" y="6831337"/>
                  <a:pt x="10790017" y="6830383"/>
                </a:cubicBezTo>
                <a:lnTo>
                  <a:pt x="11218314" y="6828649"/>
                </a:lnTo>
                <a:close/>
                <a:moveTo>
                  <a:pt x="9247815" y="6378010"/>
                </a:moveTo>
                <a:cubicBezTo>
                  <a:pt x="9247815" y="6162094"/>
                  <a:pt x="9246017" y="5983633"/>
                  <a:pt x="9243822" y="5981443"/>
                </a:cubicBezTo>
                <a:cubicBezTo>
                  <a:pt x="9238236" y="5975842"/>
                  <a:pt x="8809168" y="6368945"/>
                  <a:pt x="8811434" y="6377577"/>
                </a:cubicBezTo>
                <a:cubicBezTo>
                  <a:pt x="8814362" y="6388653"/>
                  <a:pt x="9237116" y="6776681"/>
                  <a:pt x="9242763" y="6773468"/>
                </a:cubicBezTo>
                <a:cubicBezTo>
                  <a:pt x="9245541" y="6771887"/>
                  <a:pt x="9247815" y="6593932"/>
                  <a:pt x="9247815" y="6378010"/>
                </a:cubicBezTo>
                <a:close/>
                <a:moveTo>
                  <a:pt x="10088252" y="6211719"/>
                </a:moveTo>
                <a:cubicBezTo>
                  <a:pt x="10213287" y="6096556"/>
                  <a:pt x="10319719" y="5996568"/>
                  <a:pt x="10324768" y="5989489"/>
                </a:cubicBezTo>
                <a:cubicBezTo>
                  <a:pt x="10329815" y="5982436"/>
                  <a:pt x="10332186" y="5972048"/>
                  <a:pt x="10330031" y="5966447"/>
                </a:cubicBezTo>
                <a:cubicBezTo>
                  <a:pt x="10326586" y="5957458"/>
                  <a:pt x="10268022" y="5956236"/>
                  <a:pt x="9840861" y="5956236"/>
                </a:cubicBezTo>
                <a:cubicBezTo>
                  <a:pt x="9544400" y="5956236"/>
                  <a:pt x="9355604" y="5958681"/>
                  <a:pt x="9355604" y="5962551"/>
                </a:cubicBezTo>
                <a:cubicBezTo>
                  <a:pt x="9355604" y="5966014"/>
                  <a:pt x="9436697" y="6042424"/>
                  <a:pt x="9535812" y="6132380"/>
                </a:cubicBezTo>
                <a:cubicBezTo>
                  <a:pt x="9634927" y="6222337"/>
                  <a:pt x="9746974" y="6324107"/>
                  <a:pt x="9784807" y="6358506"/>
                </a:cubicBezTo>
                <a:cubicBezTo>
                  <a:pt x="9822641" y="6392930"/>
                  <a:pt x="9855244" y="6421065"/>
                  <a:pt x="9857256" y="6421065"/>
                </a:cubicBezTo>
                <a:cubicBezTo>
                  <a:pt x="9859267" y="6421065"/>
                  <a:pt x="9963217" y="6326857"/>
                  <a:pt x="10088252" y="6211719"/>
                </a:cubicBezTo>
                <a:close/>
                <a:moveTo>
                  <a:pt x="5911244" y="6181038"/>
                </a:moveTo>
                <a:cubicBezTo>
                  <a:pt x="6051233" y="6052711"/>
                  <a:pt x="6166778" y="5945109"/>
                  <a:pt x="6168000" y="5941876"/>
                </a:cubicBezTo>
                <a:cubicBezTo>
                  <a:pt x="6171132" y="5933728"/>
                  <a:pt x="5164783" y="5934466"/>
                  <a:pt x="5151874" y="5942614"/>
                </a:cubicBezTo>
                <a:cubicBezTo>
                  <a:pt x="5139372" y="5950533"/>
                  <a:pt x="5111798" y="5923009"/>
                  <a:pt x="5403029" y="6193208"/>
                </a:cubicBezTo>
                <a:cubicBezTo>
                  <a:pt x="5533520" y="6314304"/>
                  <a:pt x="5643998" y="6413579"/>
                  <a:pt x="5648505" y="6413860"/>
                </a:cubicBezTo>
                <a:cubicBezTo>
                  <a:pt x="5653037" y="6414114"/>
                  <a:pt x="5771256" y="6309339"/>
                  <a:pt x="5911244" y="6181038"/>
                </a:cubicBezTo>
                <a:close/>
                <a:moveTo>
                  <a:pt x="2770441" y="6185239"/>
                </a:moveTo>
                <a:cubicBezTo>
                  <a:pt x="2900117" y="6066664"/>
                  <a:pt x="3007235" y="5966625"/>
                  <a:pt x="3008457" y="5962958"/>
                </a:cubicBezTo>
                <a:cubicBezTo>
                  <a:pt x="3009934" y="5958528"/>
                  <a:pt x="2849856" y="5956236"/>
                  <a:pt x="2541387" y="5956236"/>
                </a:cubicBezTo>
                <a:cubicBezTo>
                  <a:pt x="2197705" y="5956236"/>
                  <a:pt x="2072739" y="5958273"/>
                  <a:pt x="2074572" y="5963798"/>
                </a:cubicBezTo>
                <a:cubicBezTo>
                  <a:pt x="2078391" y="5975256"/>
                  <a:pt x="2519592" y="6400874"/>
                  <a:pt x="2527638" y="6400849"/>
                </a:cubicBezTo>
                <a:cubicBezTo>
                  <a:pt x="2531508" y="6400823"/>
                  <a:pt x="2640764" y="6303814"/>
                  <a:pt x="2770441" y="6185239"/>
                </a:cubicBezTo>
                <a:close/>
                <a:moveTo>
                  <a:pt x="1729872" y="6181980"/>
                </a:moveTo>
                <a:cubicBezTo>
                  <a:pt x="1857537" y="6065289"/>
                  <a:pt x="1963025" y="5966752"/>
                  <a:pt x="1964247" y="5963035"/>
                </a:cubicBezTo>
                <a:cubicBezTo>
                  <a:pt x="1965775" y="5958502"/>
                  <a:pt x="1807122" y="5956236"/>
                  <a:pt x="1490456" y="5956236"/>
                </a:cubicBezTo>
                <a:cubicBezTo>
                  <a:pt x="1188657" y="5956236"/>
                  <a:pt x="1015213" y="5958604"/>
                  <a:pt x="1016638" y="5962729"/>
                </a:cubicBezTo>
                <a:cubicBezTo>
                  <a:pt x="1021094" y="5975587"/>
                  <a:pt x="1477241" y="6393134"/>
                  <a:pt x="1487375" y="6393643"/>
                </a:cubicBezTo>
                <a:cubicBezTo>
                  <a:pt x="1493078" y="6393897"/>
                  <a:pt x="1602206" y="6298671"/>
                  <a:pt x="1729872" y="6181980"/>
                </a:cubicBezTo>
                <a:close/>
                <a:moveTo>
                  <a:pt x="4862196" y="6174367"/>
                </a:moveTo>
                <a:cubicBezTo>
                  <a:pt x="4993732" y="6053755"/>
                  <a:pt x="5101358" y="5952264"/>
                  <a:pt x="5101358" y="5948852"/>
                </a:cubicBezTo>
                <a:cubicBezTo>
                  <a:pt x="5101358" y="5938108"/>
                  <a:pt x="4604829" y="5483947"/>
                  <a:pt x="4595383" y="5486035"/>
                </a:cubicBezTo>
                <a:cubicBezTo>
                  <a:pt x="4587261" y="5487843"/>
                  <a:pt x="4213992" y="5823632"/>
                  <a:pt x="4142521" y="5893397"/>
                </a:cubicBezTo>
                <a:cubicBezTo>
                  <a:pt x="4119911" y="5915447"/>
                  <a:pt x="4114768" y="5924384"/>
                  <a:pt x="4119605" y="5933015"/>
                </a:cubicBezTo>
                <a:cubicBezTo>
                  <a:pt x="4130784" y="5953003"/>
                  <a:pt x="4602538" y="6393363"/>
                  <a:pt x="4612926" y="6393516"/>
                </a:cubicBezTo>
                <a:cubicBezTo>
                  <a:pt x="4618503" y="6393618"/>
                  <a:pt x="4730661" y="6295004"/>
                  <a:pt x="4862196" y="6174367"/>
                </a:cubicBezTo>
                <a:close/>
                <a:moveTo>
                  <a:pt x="9024243" y="6146028"/>
                </a:moveTo>
                <a:cubicBezTo>
                  <a:pt x="9149061" y="6031807"/>
                  <a:pt x="9254939" y="5933779"/>
                  <a:pt x="9259530" y="5928177"/>
                </a:cubicBezTo>
                <a:cubicBezTo>
                  <a:pt x="9266616" y="5919546"/>
                  <a:pt x="9231176" y="5884689"/>
                  <a:pt x="9025083" y="5697622"/>
                </a:cubicBezTo>
                <a:cubicBezTo>
                  <a:pt x="8891562" y="5576424"/>
                  <a:pt x="8777876" y="5475570"/>
                  <a:pt x="8772478" y="5473508"/>
                </a:cubicBezTo>
                <a:cubicBezTo>
                  <a:pt x="8766800" y="5471318"/>
                  <a:pt x="8750657" y="5480484"/>
                  <a:pt x="8734082" y="5495303"/>
                </a:cubicBezTo>
                <a:cubicBezTo>
                  <a:pt x="8562291" y="5649066"/>
                  <a:pt x="8291430" y="5899610"/>
                  <a:pt x="8292805" y="5903480"/>
                </a:cubicBezTo>
                <a:cubicBezTo>
                  <a:pt x="8296726" y="5914505"/>
                  <a:pt x="8780218" y="6353719"/>
                  <a:pt x="8788442" y="6353719"/>
                </a:cubicBezTo>
                <a:cubicBezTo>
                  <a:pt x="8793305" y="6353719"/>
                  <a:pt x="8899430" y="6260275"/>
                  <a:pt x="9024243" y="6146028"/>
                </a:cubicBezTo>
                <a:close/>
                <a:moveTo>
                  <a:pt x="2011428" y="5920412"/>
                </a:moveTo>
                <a:lnTo>
                  <a:pt x="2026119" y="5904753"/>
                </a:lnTo>
                <a:lnTo>
                  <a:pt x="2024388" y="5447155"/>
                </a:lnTo>
                <a:lnTo>
                  <a:pt x="2022656" y="4989532"/>
                </a:lnTo>
                <a:lnTo>
                  <a:pt x="1500563" y="4989532"/>
                </a:lnTo>
                <a:lnTo>
                  <a:pt x="978472" y="4989532"/>
                </a:lnTo>
                <a:lnTo>
                  <a:pt x="976715" y="5454361"/>
                </a:lnTo>
                <a:cubicBezTo>
                  <a:pt x="975772" y="5710022"/>
                  <a:pt x="976434" y="5922983"/>
                  <a:pt x="978191" y="5927617"/>
                </a:cubicBezTo>
                <a:cubicBezTo>
                  <a:pt x="980737" y="5934263"/>
                  <a:pt x="1089153" y="5936045"/>
                  <a:pt x="1489080" y="5936045"/>
                </a:cubicBezTo>
                <a:lnTo>
                  <a:pt x="1996735" y="5936045"/>
                </a:lnTo>
                <a:close/>
                <a:moveTo>
                  <a:pt x="3035421" y="5929527"/>
                </a:moveTo>
                <a:cubicBezTo>
                  <a:pt x="3034173" y="5925937"/>
                  <a:pt x="2923134" y="5821264"/>
                  <a:pt x="2788672" y="5696934"/>
                </a:cubicBezTo>
                <a:cubicBezTo>
                  <a:pt x="2620599" y="5541541"/>
                  <a:pt x="2541362" y="5472489"/>
                  <a:pt x="2535226" y="5476079"/>
                </a:cubicBezTo>
                <a:cubicBezTo>
                  <a:pt x="2524353" y="5482445"/>
                  <a:pt x="2066450" y="5900399"/>
                  <a:pt x="2054865" y="5914530"/>
                </a:cubicBezTo>
                <a:cubicBezTo>
                  <a:pt x="2050358" y="5920055"/>
                  <a:pt x="2048270" y="5927134"/>
                  <a:pt x="2050231" y="5930291"/>
                </a:cubicBezTo>
                <a:cubicBezTo>
                  <a:pt x="2055298" y="5938515"/>
                  <a:pt x="3038247" y="5937751"/>
                  <a:pt x="3035421" y="5929527"/>
                </a:cubicBezTo>
                <a:close/>
                <a:moveTo>
                  <a:pt x="10318958" y="5930545"/>
                </a:moveTo>
                <a:cubicBezTo>
                  <a:pt x="10318958" y="5918960"/>
                  <a:pt x="9812614" y="5470427"/>
                  <a:pt x="9801874" y="5472489"/>
                </a:cubicBezTo>
                <a:cubicBezTo>
                  <a:pt x="9787947" y="5475188"/>
                  <a:pt x="9309608" y="5909743"/>
                  <a:pt x="9308941" y="5920335"/>
                </a:cubicBezTo>
                <a:cubicBezTo>
                  <a:pt x="9308671" y="5924638"/>
                  <a:pt x="9312235" y="5929705"/>
                  <a:pt x="9316867" y="5931589"/>
                </a:cubicBezTo>
                <a:cubicBezTo>
                  <a:pt x="9331263" y="5937395"/>
                  <a:pt x="10318958" y="5936376"/>
                  <a:pt x="10318958" y="5930545"/>
                </a:cubicBezTo>
                <a:close/>
                <a:moveTo>
                  <a:pt x="10469205" y="5859965"/>
                </a:moveTo>
                <a:cubicBezTo>
                  <a:pt x="10514400" y="5818132"/>
                  <a:pt x="10689311" y="5657112"/>
                  <a:pt x="10857898" y="5502152"/>
                </a:cubicBezTo>
                <a:cubicBezTo>
                  <a:pt x="11026485" y="5347192"/>
                  <a:pt x="11177394" y="5207204"/>
                  <a:pt x="11193252" y="5191036"/>
                </a:cubicBezTo>
                <a:lnTo>
                  <a:pt x="11222087" y="5161678"/>
                </a:lnTo>
                <a:lnTo>
                  <a:pt x="11220201" y="5075592"/>
                </a:lnTo>
                <a:lnTo>
                  <a:pt x="11218314" y="4989532"/>
                </a:lnTo>
                <a:lnTo>
                  <a:pt x="10787161" y="4989532"/>
                </a:lnTo>
                <a:lnTo>
                  <a:pt x="10356010" y="4989532"/>
                </a:lnTo>
                <a:lnTo>
                  <a:pt x="10354266" y="5454361"/>
                </a:lnTo>
                <a:cubicBezTo>
                  <a:pt x="10353306" y="5710022"/>
                  <a:pt x="10353971" y="5922983"/>
                  <a:pt x="10355738" y="5927617"/>
                </a:cubicBezTo>
                <a:cubicBezTo>
                  <a:pt x="10363791" y="5948700"/>
                  <a:pt x="10390671" y="5932684"/>
                  <a:pt x="10469203" y="5859965"/>
                </a:cubicBezTo>
                <a:close/>
                <a:moveTo>
                  <a:pt x="11220058" y="5572656"/>
                </a:moveTo>
                <a:cubicBezTo>
                  <a:pt x="11221015" y="5374640"/>
                  <a:pt x="11219498" y="5210488"/>
                  <a:pt x="11216689" y="5207866"/>
                </a:cubicBezTo>
                <a:cubicBezTo>
                  <a:pt x="11211971" y="5203487"/>
                  <a:pt x="10432932" y="5916822"/>
                  <a:pt x="10427850" y="5930189"/>
                </a:cubicBezTo>
                <a:cubicBezTo>
                  <a:pt x="10426552" y="5933626"/>
                  <a:pt x="10594367" y="5935409"/>
                  <a:pt x="10821949" y="5934416"/>
                </a:cubicBezTo>
                <a:lnTo>
                  <a:pt x="11218314" y="5932684"/>
                </a:lnTo>
                <a:close/>
                <a:moveTo>
                  <a:pt x="5127584" y="5911907"/>
                </a:moveTo>
                <a:cubicBezTo>
                  <a:pt x="5133542" y="5896376"/>
                  <a:pt x="5132600" y="4999615"/>
                  <a:pt x="5126616" y="4999793"/>
                </a:cubicBezTo>
                <a:cubicBezTo>
                  <a:pt x="5116737" y="5000124"/>
                  <a:pt x="4623034" y="5454972"/>
                  <a:pt x="4623034" y="5463756"/>
                </a:cubicBezTo>
                <a:cubicBezTo>
                  <a:pt x="4623034" y="5474068"/>
                  <a:pt x="5104159" y="5921710"/>
                  <a:pt x="5115795" y="5922220"/>
                </a:cubicBezTo>
                <a:cubicBezTo>
                  <a:pt x="5120022" y="5922398"/>
                  <a:pt x="5125318" y="5917764"/>
                  <a:pt x="5127584" y="5911907"/>
                </a:cubicBezTo>
                <a:close/>
                <a:moveTo>
                  <a:pt x="6182208" y="5910787"/>
                </a:moveTo>
                <a:cubicBezTo>
                  <a:pt x="6181469" y="5901112"/>
                  <a:pt x="5679365" y="5474577"/>
                  <a:pt x="5668722" y="5474577"/>
                </a:cubicBezTo>
                <a:cubicBezTo>
                  <a:pt x="5658104" y="5474577"/>
                  <a:pt x="5185738" y="5901086"/>
                  <a:pt x="5185611" y="5910787"/>
                </a:cubicBezTo>
                <a:cubicBezTo>
                  <a:pt x="5185585" y="5913562"/>
                  <a:pt x="5409903" y="5915829"/>
                  <a:pt x="5684075" y="5915829"/>
                </a:cubicBezTo>
                <a:cubicBezTo>
                  <a:pt x="5958272" y="5915829"/>
                  <a:pt x="6182412" y="5913562"/>
                  <a:pt x="6182208" y="5910787"/>
                </a:cubicBezTo>
                <a:close/>
                <a:moveTo>
                  <a:pt x="8250768" y="5906281"/>
                </a:moveTo>
                <a:cubicBezTo>
                  <a:pt x="8250768" y="5890443"/>
                  <a:pt x="7767123" y="5449497"/>
                  <a:pt x="7756607" y="5455736"/>
                </a:cubicBezTo>
                <a:cubicBezTo>
                  <a:pt x="7739547" y="5465869"/>
                  <a:pt x="7260485" y="5904829"/>
                  <a:pt x="7260485" y="5910329"/>
                </a:cubicBezTo>
                <a:cubicBezTo>
                  <a:pt x="7260485" y="5913359"/>
                  <a:pt x="7483301" y="5915829"/>
                  <a:pt x="7755639" y="5915829"/>
                </a:cubicBezTo>
                <a:cubicBezTo>
                  <a:pt x="8178737" y="5915829"/>
                  <a:pt x="8250768" y="5914454"/>
                  <a:pt x="8250768" y="5906281"/>
                </a:cubicBezTo>
                <a:close/>
                <a:moveTo>
                  <a:pt x="3050010" y="5457747"/>
                </a:moveTo>
                <a:cubicBezTo>
                  <a:pt x="3050010" y="5213187"/>
                  <a:pt x="3047566" y="5013109"/>
                  <a:pt x="3044561" y="5013109"/>
                </a:cubicBezTo>
                <a:cubicBezTo>
                  <a:pt x="3033333" y="5013109"/>
                  <a:pt x="2564506" y="5446977"/>
                  <a:pt x="2566391" y="5455634"/>
                </a:cubicBezTo>
                <a:cubicBezTo>
                  <a:pt x="2568427" y="5465131"/>
                  <a:pt x="3036236" y="5901468"/>
                  <a:pt x="3044969" y="5902028"/>
                </a:cubicBezTo>
                <a:cubicBezTo>
                  <a:pt x="3047744" y="5902207"/>
                  <a:pt x="3050010" y="5702281"/>
                  <a:pt x="3050010" y="5457747"/>
                </a:cubicBezTo>
                <a:close/>
                <a:moveTo>
                  <a:pt x="3575718" y="5448453"/>
                </a:moveTo>
                <a:cubicBezTo>
                  <a:pt x="3859260" y="5189101"/>
                  <a:pt x="4065728" y="4995413"/>
                  <a:pt x="4062316" y="4992002"/>
                </a:cubicBezTo>
                <a:cubicBezTo>
                  <a:pt x="4058981" y="4988666"/>
                  <a:pt x="3841538" y="4986833"/>
                  <a:pt x="3564999" y="4987800"/>
                </a:cubicBezTo>
                <a:lnTo>
                  <a:pt x="3073588" y="4989532"/>
                </a:lnTo>
                <a:lnTo>
                  <a:pt x="3071856" y="5446519"/>
                </a:lnTo>
                <a:cubicBezTo>
                  <a:pt x="3070736" y="5739990"/>
                  <a:pt x="3072468" y="5902716"/>
                  <a:pt x="3076668" y="5901264"/>
                </a:cubicBezTo>
                <a:cubicBezTo>
                  <a:pt x="3080259" y="5900017"/>
                  <a:pt x="3304856" y="5696247"/>
                  <a:pt x="3575718" y="5448453"/>
                </a:cubicBezTo>
                <a:close/>
                <a:moveTo>
                  <a:pt x="5434830" y="5649448"/>
                </a:moveTo>
                <a:cubicBezTo>
                  <a:pt x="5547829" y="5546328"/>
                  <a:pt x="5640917" y="5457187"/>
                  <a:pt x="5641656" y="5451407"/>
                </a:cubicBezTo>
                <a:cubicBezTo>
                  <a:pt x="5642496" y="5445042"/>
                  <a:pt x="5548542" y="5359821"/>
                  <a:pt x="5403512" y="5235416"/>
                </a:cubicBezTo>
                <a:cubicBezTo>
                  <a:pt x="5271774" y="5122416"/>
                  <a:pt x="5161270" y="5028946"/>
                  <a:pt x="5157934" y="5027699"/>
                </a:cubicBezTo>
                <a:cubicBezTo>
                  <a:pt x="5150856" y="5025076"/>
                  <a:pt x="5149456" y="5890952"/>
                  <a:pt x="5156534" y="5898031"/>
                </a:cubicBezTo>
                <a:cubicBezTo>
                  <a:pt x="5159105" y="5900603"/>
                  <a:pt x="5176547" y="5887923"/>
                  <a:pt x="5195286" y="5869845"/>
                </a:cubicBezTo>
                <a:cubicBezTo>
                  <a:pt x="5214026" y="5851767"/>
                  <a:pt x="5321806" y="5752594"/>
                  <a:pt x="5434830" y="5649448"/>
                </a:cubicBezTo>
                <a:close/>
                <a:moveTo>
                  <a:pt x="6429644" y="5706228"/>
                </a:moveTo>
                <a:cubicBezTo>
                  <a:pt x="6695236" y="5463298"/>
                  <a:pt x="6699997" y="5458638"/>
                  <a:pt x="6690143" y="5452476"/>
                </a:cubicBezTo>
                <a:cubicBezTo>
                  <a:pt x="6685840" y="5449777"/>
                  <a:pt x="6572612" y="5347549"/>
                  <a:pt x="6438505" y="5225307"/>
                </a:cubicBezTo>
                <a:cubicBezTo>
                  <a:pt x="6304424" y="5103040"/>
                  <a:pt x="6190712" y="5002084"/>
                  <a:pt x="6185849" y="5000939"/>
                </a:cubicBezTo>
                <a:cubicBezTo>
                  <a:pt x="6174696" y="4998316"/>
                  <a:pt x="5689167" y="5442674"/>
                  <a:pt x="5692452" y="5452502"/>
                </a:cubicBezTo>
                <a:cubicBezTo>
                  <a:pt x="5695125" y="5460548"/>
                  <a:pt x="6203494" y="5901519"/>
                  <a:pt x="6210699" y="5902028"/>
                </a:cubicBezTo>
                <a:cubicBezTo>
                  <a:pt x="6213195" y="5902207"/>
                  <a:pt x="6311706" y="5814109"/>
                  <a:pt x="6429644" y="5706228"/>
                </a:cubicBezTo>
                <a:close/>
                <a:moveTo>
                  <a:pt x="9537663" y="5677405"/>
                </a:moveTo>
                <a:cubicBezTo>
                  <a:pt x="9671296" y="5555520"/>
                  <a:pt x="9779738" y="5451840"/>
                  <a:pt x="9778643" y="5446977"/>
                </a:cubicBezTo>
                <a:cubicBezTo>
                  <a:pt x="9776466" y="5437352"/>
                  <a:pt x="9290921" y="4999436"/>
                  <a:pt x="9283000" y="4999971"/>
                </a:cubicBezTo>
                <a:cubicBezTo>
                  <a:pt x="9275833" y="5000429"/>
                  <a:pt x="8794477" y="5439618"/>
                  <a:pt x="8791701" y="5448199"/>
                </a:cubicBezTo>
                <a:cubicBezTo>
                  <a:pt x="8788926" y="5456754"/>
                  <a:pt x="9279940" y="5904014"/>
                  <a:pt x="9288760" y="5901010"/>
                </a:cubicBezTo>
                <a:cubicBezTo>
                  <a:pt x="9292021" y="5899915"/>
                  <a:pt x="9404027" y="5799265"/>
                  <a:pt x="9537663" y="5677405"/>
                </a:cubicBezTo>
                <a:close/>
                <a:moveTo>
                  <a:pt x="10332432" y="5443870"/>
                </a:moveTo>
                <a:cubicBezTo>
                  <a:pt x="10332432" y="5136777"/>
                  <a:pt x="10330202" y="4992893"/>
                  <a:pt x="10325441" y="4992893"/>
                </a:cubicBezTo>
                <a:cubicBezTo>
                  <a:pt x="10313965" y="4992893"/>
                  <a:pt x="9830544" y="5438014"/>
                  <a:pt x="9830544" y="5448581"/>
                </a:cubicBezTo>
                <a:cubicBezTo>
                  <a:pt x="9830544" y="5459784"/>
                  <a:pt x="10319763" y="5902054"/>
                  <a:pt x="10327378" y="5897700"/>
                </a:cubicBezTo>
                <a:cubicBezTo>
                  <a:pt x="10330159" y="5896121"/>
                  <a:pt x="10332432" y="5691893"/>
                  <a:pt x="10332432" y="5443870"/>
                </a:cubicBezTo>
                <a:close/>
                <a:moveTo>
                  <a:pt x="2275719" y="5682828"/>
                </a:moveTo>
                <a:cubicBezTo>
                  <a:pt x="2395899" y="5573190"/>
                  <a:pt x="2506352" y="5471700"/>
                  <a:pt x="2521171" y="5457263"/>
                </a:cubicBezTo>
                <a:cubicBezTo>
                  <a:pt x="2535989" y="5442852"/>
                  <a:pt x="2654998" y="5333749"/>
                  <a:pt x="2785591" y="5214817"/>
                </a:cubicBezTo>
                <a:cubicBezTo>
                  <a:pt x="2916209" y="5095885"/>
                  <a:pt x="3023072" y="4995744"/>
                  <a:pt x="3023072" y="4992333"/>
                </a:cubicBezTo>
                <a:cubicBezTo>
                  <a:pt x="3023072" y="4988513"/>
                  <a:pt x="2832084" y="4986756"/>
                  <a:pt x="2536346" y="4987800"/>
                </a:cubicBezTo>
                <a:lnTo>
                  <a:pt x="2049594" y="4989532"/>
                </a:lnTo>
                <a:lnTo>
                  <a:pt x="2047863" y="5435850"/>
                </a:lnTo>
                <a:cubicBezTo>
                  <a:pt x="2046921" y="5681301"/>
                  <a:pt x="2048627" y="5882143"/>
                  <a:pt x="2051682" y="5882143"/>
                </a:cubicBezTo>
                <a:cubicBezTo>
                  <a:pt x="2054738" y="5882143"/>
                  <a:pt x="2155566" y="5792441"/>
                  <a:pt x="2275719" y="5682828"/>
                </a:cubicBezTo>
                <a:close/>
                <a:moveTo>
                  <a:pt x="4347845" y="5677252"/>
                </a:moveTo>
                <a:cubicBezTo>
                  <a:pt x="4469552" y="5566418"/>
                  <a:pt x="4571271" y="5472209"/>
                  <a:pt x="4573868" y="5467906"/>
                </a:cubicBezTo>
                <a:cubicBezTo>
                  <a:pt x="4576796" y="5463068"/>
                  <a:pt x="4492518" y="5380776"/>
                  <a:pt x="4352479" y="5251762"/>
                </a:cubicBezTo>
                <a:cubicBezTo>
                  <a:pt x="4228124" y="5137184"/>
                  <a:pt x="4123679" y="5042416"/>
                  <a:pt x="4120395" y="5041168"/>
                </a:cubicBezTo>
                <a:cubicBezTo>
                  <a:pt x="4116958" y="5039895"/>
                  <a:pt x="4114412" y="5218636"/>
                  <a:pt x="4114412" y="5461108"/>
                </a:cubicBezTo>
                <a:cubicBezTo>
                  <a:pt x="4114412" y="5708545"/>
                  <a:pt x="4116932" y="5882346"/>
                  <a:pt x="4120472" y="5881022"/>
                </a:cubicBezTo>
                <a:cubicBezTo>
                  <a:pt x="4123807" y="5879800"/>
                  <a:pt x="4226138" y="5788087"/>
                  <a:pt x="4347845" y="5677252"/>
                </a:cubicBezTo>
                <a:close/>
                <a:moveTo>
                  <a:pt x="8391189" y="5779099"/>
                </a:moveTo>
                <a:cubicBezTo>
                  <a:pt x="8452908" y="5722422"/>
                  <a:pt x="8556461" y="5627882"/>
                  <a:pt x="8621286" y="5569040"/>
                </a:cubicBezTo>
                <a:cubicBezTo>
                  <a:pt x="8686137" y="5510173"/>
                  <a:pt x="8741313" y="5458562"/>
                  <a:pt x="8743910" y="5454361"/>
                </a:cubicBezTo>
                <a:cubicBezTo>
                  <a:pt x="8746761" y="5449676"/>
                  <a:pt x="8660217" y="5366543"/>
                  <a:pt x="8521578" y="5240788"/>
                </a:cubicBezTo>
                <a:cubicBezTo>
                  <a:pt x="8396714" y="5127534"/>
                  <a:pt x="8286261" y="5026578"/>
                  <a:pt x="8276102" y="5016419"/>
                </a:cubicBezTo>
                <a:lnTo>
                  <a:pt x="8257668" y="4997934"/>
                </a:lnTo>
                <a:lnTo>
                  <a:pt x="8228947" y="5023676"/>
                </a:lnTo>
                <a:cubicBezTo>
                  <a:pt x="8000887" y="5228261"/>
                  <a:pt x="7785913" y="5428772"/>
                  <a:pt x="7787416" y="5435494"/>
                </a:cubicBezTo>
                <a:cubicBezTo>
                  <a:pt x="7789707" y="5445856"/>
                  <a:pt x="8263728" y="5882143"/>
                  <a:pt x="8272665" y="5882143"/>
                </a:cubicBezTo>
                <a:cubicBezTo>
                  <a:pt x="8276128" y="5882143"/>
                  <a:pt x="8329470" y="5835777"/>
                  <a:pt x="8391189" y="5779099"/>
                </a:cubicBezTo>
                <a:close/>
                <a:moveTo>
                  <a:pt x="4843941" y="5224976"/>
                </a:moveTo>
                <a:cubicBezTo>
                  <a:pt x="4976239" y="5104364"/>
                  <a:pt x="5084502" y="5002797"/>
                  <a:pt x="5084502" y="4999284"/>
                </a:cubicBezTo>
                <a:cubicBezTo>
                  <a:pt x="5084502" y="4995311"/>
                  <a:pt x="4901713" y="4992893"/>
                  <a:pt x="4602334" y="4992893"/>
                </a:cubicBezTo>
                <a:cubicBezTo>
                  <a:pt x="4180637" y="4992893"/>
                  <a:pt x="4120446" y="4994140"/>
                  <a:pt x="4122355" y="5002848"/>
                </a:cubicBezTo>
                <a:cubicBezTo>
                  <a:pt x="4124851" y="5014332"/>
                  <a:pt x="4585835" y="5443208"/>
                  <a:pt x="4596351" y="5443845"/>
                </a:cubicBezTo>
                <a:cubicBezTo>
                  <a:pt x="4600195" y="5444074"/>
                  <a:pt x="4711616" y="5345588"/>
                  <a:pt x="4843941" y="5224976"/>
                </a:cubicBezTo>
                <a:close/>
                <a:moveTo>
                  <a:pt x="6959248" y="5220622"/>
                </a:moveTo>
                <a:cubicBezTo>
                  <a:pt x="7093431" y="5097617"/>
                  <a:pt x="7204139" y="4994802"/>
                  <a:pt x="7205259" y="4992180"/>
                </a:cubicBezTo>
                <a:cubicBezTo>
                  <a:pt x="7206379" y="4989557"/>
                  <a:pt x="7204113" y="4985432"/>
                  <a:pt x="7200192" y="4983013"/>
                </a:cubicBezTo>
                <a:cubicBezTo>
                  <a:pt x="7196296" y="4980594"/>
                  <a:pt x="7193114" y="4966998"/>
                  <a:pt x="7193114" y="4952765"/>
                </a:cubicBezTo>
                <a:cubicBezTo>
                  <a:pt x="7193114" y="4929798"/>
                  <a:pt x="7188378" y="4922364"/>
                  <a:pt x="7151000" y="4886692"/>
                </a:cubicBezTo>
                <a:cubicBezTo>
                  <a:pt x="7058116" y="4798009"/>
                  <a:pt x="6737858" y="4505963"/>
                  <a:pt x="6730296" y="4503035"/>
                </a:cubicBezTo>
                <a:cubicBezTo>
                  <a:pt x="6725840" y="4501329"/>
                  <a:pt x="6609150" y="4603634"/>
                  <a:pt x="6470944" y="4730357"/>
                </a:cubicBezTo>
                <a:cubicBezTo>
                  <a:pt x="6235856" y="4945916"/>
                  <a:pt x="6219764" y="4962135"/>
                  <a:pt x="6221546" y="4981537"/>
                </a:cubicBezTo>
                <a:cubicBezTo>
                  <a:pt x="6222590" y="4992943"/>
                  <a:pt x="6224092" y="5002670"/>
                  <a:pt x="6224907" y="5003128"/>
                </a:cubicBezTo>
                <a:cubicBezTo>
                  <a:pt x="6232393" y="5007406"/>
                  <a:pt x="6698520" y="5434602"/>
                  <a:pt x="6700201" y="5438752"/>
                </a:cubicBezTo>
                <a:cubicBezTo>
                  <a:pt x="6701448" y="5441783"/>
                  <a:pt x="6705344" y="5444252"/>
                  <a:pt x="6708858" y="5444252"/>
                </a:cubicBezTo>
                <a:cubicBezTo>
                  <a:pt x="6712397" y="5444252"/>
                  <a:pt x="6825065" y="5343628"/>
                  <a:pt x="6959248" y="5220622"/>
                </a:cubicBezTo>
                <a:close/>
                <a:moveTo>
                  <a:pt x="5906381" y="5218356"/>
                </a:moveTo>
                <a:cubicBezTo>
                  <a:pt x="6034224" y="5101512"/>
                  <a:pt x="6139814" y="5003001"/>
                  <a:pt x="6141062" y="4999411"/>
                </a:cubicBezTo>
                <a:cubicBezTo>
                  <a:pt x="6142487" y="4995261"/>
                  <a:pt x="5966216" y="4992893"/>
                  <a:pt x="5653775" y="4992893"/>
                </a:cubicBezTo>
                <a:cubicBezTo>
                  <a:pt x="5327815" y="4992893"/>
                  <a:pt x="5164987" y="4995159"/>
                  <a:pt x="5166489" y="4999691"/>
                </a:cubicBezTo>
                <a:cubicBezTo>
                  <a:pt x="5169698" y="5009341"/>
                  <a:pt x="5659097" y="5430528"/>
                  <a:pt x="5667245" y="5430656"/>
                </a:cubicBezTo>
                <a:cubicBezTo>
                  <a:pt x="5670936" y="5430707"/>
                  <a:pt x="5778563" y="5335174"/>
                  <a:pt x="5906381" y="5218356"/>
                </a:cubicBezTo>
                <a:close/>
                <a:moveTo>
                  <a:pt x="9012251" y="5214155"/>
                </a:moveTo>
                <a:cubicBezTo>
                  <a:pt x="9143658" y="5095019"/>
                  <a:pt x="9252194" y="4994980"/>
                  <a:pt x="9253429" y="4991849"/>
                </a:cubicBezTo>
                <a:cubicBezTo>
                  <a:pt x="9254664" y="4988717"/>
                  <a:pt x="9036900" y="4986171"/>
                  <a:pt x="8769499" y="4986171"/>
                </a:cubicBezTo>
                <a:cubicBezTo>
                  <a:pt x="8423932" y="4986171"/>
                  <a:pt x="8284046" y="4988259"/>
                  <a:pt x="8285777" y="4993453"/>
                </a:cubicBezTo>
                <a:cubicBezTo>
                  <a:pt x="8289189" y="5003714"/>
                  <a:pt x="8757888" y="5429815"/>
                  <a:pt x="8766341" y="5430350"/>
                </a:cubicBezTo>
                <a:cubicBezTo>
                  <a:pt x="8770161" y="5430605"/>
                  <a:pt x="8880817" y="5333316"/>
                  <a:pt x="9012251" y="5214155"/>
                </a:cubicBezTo>
                <a:close/>
                <a:moveTo>
                  <a:pt x="10058892" y="5201984"/>
                </a:moveTo>
                <a:cubicBezTo>
                  <a:pt x="10194756" y="5077986"/>
                  <a:pt x="10305061" y="4972905"/>
                  <a:pt x="10304017" y="4968475"/>
                </a:cubicBezTo>
                <a:cubicBezTo>
                  <a:pt x="10302971" y="4964045"/>
                  <a:pt x="10203591" y="4870346"/>
                  <a:pt x="10083172" y="4760249"/>
                </a:cubicBezTo>
                <a:cubicBezTo>
                  <a:pt x="9962751" y="4650153"/>
                  <a:pt x="9853190" y="4549554"/>
                  <a:pt x="9839700" y="4536695"/>
                </a:cubicBezTo>
                <a:lnTo>
                  <a:pt x="9815170" y="4513296"/>
                </a:lnTo>
                <a:lnTo>
                  <a:pt x="9561488" y="4743877"/>
                </a:lnTo>
                <a:cubicBezTo>
                  <a:pt x="9421963" y="4870728"/>
                  <a:pt x="9308706" y="4978634"/>
                  <a:pt x="9309809" y="4983701"/>
                </a:cubicBezTo>
                <a:cubicBezTo>
                  <a:pt x="9312551" y="4996330"/>
                  <a:pt x="9794972" y="5430452"/>
                  <a:pt x="9804364" y="5428772"/>
                </a:cubicBezTo>
                <a:cubicBezTo>
                  <a:pt x="9808492" y="5428033"/>
                  <a:pt x="9923029" y="5325983"/>
                  <a:pt x="10058892" y="5201984"/>
                </a:cubicBezTo>
                <a:close/>
                <a:moveTo>
                  <a:pt x="8000836" y="5202366"/>
                </a:moveTo>
                <a:cubicBezTo>
                  <a:pt x="8126642" y="5087865"/>
                  <a:pt x="8227776" y="4992358"/>
                  <a:pt x="8225586" y="4990168"/>
                </a:cubicBezTo>
                <a:cubicBezTo>
                  <a:pt x="8219068" y="4983625"/>
                  <a:pt x="7299544" y="4985560"/>
                  <a:pt x="7302014" y="4992103"/>
                </a:cubicBezTo>
                <a:cubicBezTo>
                  <a:pt x="7306749" y="5004554"/>
                  <a:pt x="7753577" y="5410567"/>
                  <a:pt x="7762590" y="5410567"/>
                </a:cubicBezTo>
                <a:cubicBezTo>
                  <a:pt x="7767810" y="5410567"/>
                  <a:pt x="7875004" y="5316893"/>
                  <a:pt x="8000836" y="5202366"/>
                </a:cubicBezTo>
                <a:close/>
                <a:moveTo>
                  <a:pt x="5123586" y="4964605"/>
                </a:moveTo>
                <a:cubicBezTo>
                  <a:pt x="5129697" y="4958469"/>
                  <a:pt x="5131658" y="4848295"/>
                  <a:pt x="5131658" y="4509884"/>
                </a:cubicBezTo>
                <a:cubicBezTo>
                  <a:pt x="5131658" y="4264230"/>
                  <a:pt x="5129366" y="4063235"/>
                  <a:pt x="5126565" y="4063235"/>
                </a:cubicBezTo>
                <a:cubicBezTo>
                  <a:pt x="5117654" y="4063235"/>
                  <a:pt x="4650253" y="4493639"/>
                  <a:pt x="4643964" y="4507618"/>
                </a:cubicBezTo>
                <a:cubicBezTo>
                  <a:pt x="4640654" y="4515002"/>
                  <a:pt x="4631844" y="4522971"/>
                  <a:pt x="4624384" y="4525339"/>
                </a:cubicBezTo>
                <a:cubicBezTo>
                  <a:pt x="4608547" y="4530355"/>
                  <a:pt x="4141375" y="4956890"/>
                  <a:pt x="4141375" y="4966336"/>
                </a:cubicBezTo>
                <a:cubicBezTo>
                  <a:pt x="4141375" y="4976470"/>
                  <a:pt x="5113402" y="4974789"/>
                  <a:pt x="5123586" y="4964605"/>
                </a:cubicBezTo>
                <a:close/>
                <a:moveTo>
                  <a:pt x="6148904" y="4966871"/>
                </a:moveTo>
                <a:cubicBezTo>
                  <a:pt x="6148904" y="4959869"/>
                  <a:pt x="5664495" y="4517955"/>
                  <a:pt x="5656805" y="4517955"/>
                </a:cubicBezTo>
                <a:cubicBezTo>
                  <a:pt x="5648938" y="4517955"/>
                  <a:pt x="5165343" y="4959411"/>
                  <a:pt x="5165343" y="4966616"/>
                </a:cubicBezTo>
                <a:cubicBezTo>
                  <a:pt x="5165343" y="4970181"/>
                  <a:pt x="5369266" y="4972701"/>
                  <a:pt x="5657136" y="4972701"/>
                </a:cubicBezTo>
                <a:cubicBezTo>
                  <a:pt x="5928253" y="4972701"/>
                  <a:pt x="6148904" y="4970079"/>
                  <a:pt x="6148904" y="4966871"/>
                </a:cubicBezTo>
                <a:close/>
                <a:moveTo>
                  <a:pt x="4032451" y="4960200"/>
                </a:moveTo>
                <a:cubicBezTo>
                  <a:pt x="4028300" y="4949582"/>
                  <a:pt x="3576023" y="4534811"/>
                  <a:pt x="3568614" y="4534811"/>
                </a:cubicBezTo>
                <a:cubicBezTo>
                  <a:pt x="3559372" y="4534811"/>
                  <a:pt x="3103913" y="4951314"/>
                  <a:pt x="3103913" y="4959767"/>
                </a:cubicBezTo>
                <a:cubicBezTo>
                  <a:pt x="3103913" y="4963459"/>
                  <a:pt x="3290674" y="4965954"/>
                  <a:pt x="3569302" y="4965954"/>
                </a:cubicBezTo>
                <a:cubicBezTo>
                  <a:pt x="3825268" y="4965954"/>
                  <a:pt x="4033698" y="4963357"/>
                  <a:pt x="4032451" y="4960200"/>
                </a:cubicBezTo>
                <a:close/>
                <a:moveTo>
                  <a:pt x="4133049" y="4937310"/>
                </a:moveTo>
                <a:cubicBezTo>
                  <a:pt x="4251446" y="4835285"/>
                  <a:pt x="4599559" y="4510266"/>
                  <a:pt x="4598005" y="4503239"/>
                </a:cubicBezTo>
                <a:cubicBezTo>
                  <a:pt x="4595663" y="4492774"/>
                  <a:pt x="4110007" y="4043018"/>
                  <a:pt x="4101069" y="4043018"/>
                </a:cubicBezTo>
                <a:cubicBezTo>
                  <a:pt x="4082635" y="4043018"/>
                  <a:pt x="4080904" y="4082662"/>
                  <a:pt x="4080726" y="4512303"/>
                </a:cubicBezTo>
                <a:cubicBezTo>
                  <a:pt x="4080624" y="4756252"/>
                  <a:pt x="4080573" y="4958112"/>
                  <a:pt x="4080624" y="4960913"/>
                </a:cubicBezTo>
                <a:cubicBezTo>
                  <a:pt x="4080853" y="4973389"/>
                  <a:pt x="4102521" y="4963637"/>
                  <a:pt x="4133049" y="4937310"/>
                </a:cubicBezTo>
                <a:close/>
                <a:moveTo>
                  <a:pt x="7226800" y="4959207"/>
                </a:moveTo>
                <a:cubicBezTo>
                  <a:pt x="7226800" y="4955515"/>
                  <a:pt x="7223592" y="4952485"/>
                  <a:pt x="7219670" y="4952485"/>
                </a:cubicBezTo>
                <a:cubicBezTo>
                  <a:pt x="7215724" y="4952485"/>
                  <a:pt x="7214400" y="4955515"/>
                  <a:pt x="7216691" y="4959207"/>
                </a:cubicBezTo>
                <a:cubicBezTo>
                  <a:pt x="7218983" y="4962924"/>
                  <a:pt x="7222191" y="4965954"/>
                  <a:pt x="7223821" y="4965954"/>
                </a:cubicBezTo>
                <a:cubicBezTo>
                  <a:pt x="7225450" y="4965954"/>
                  <a:pt x="7226800" y="4962924"/>
                  <a:pt x="7226800" y="4959207"/>
                </a:cubicBezTo>
                <a:close/>
                <a:moveTo>
                  <a:pt x="8235669" y="4526383"/>
                </a:moveTo>
                <a:cubicBezTo>
                  <a:pt x="8236840" y="4231766"/>
                  <a:pt x="8235159" y="4090173"/>
                  <a:pt x="8230500" y="4090173"/>
                </a:cubicBezTo>
                <a:cubicBezTo>
                  <a:pt x="8221843" y="4090173"/>
                  <a:pt x="7280676" y="4952307"/>
                  <a:pt x="7280676" y="4960225"/>
                </a:cubicBezTo>
                <a:cubicBezTo>
                  <a:pt x="7280676" y="4963459"/>
                  <a:pt x="7493587" y="4965267"/>
                  <a:pt x="7757320" y="4964325"/>
                </a:cubicBezTo>
                <a:lnTo>
                  <a:pt x="8233938" y="4962593"/>
                </a:lnTo>
                <a:close/>
                <a:moveTo>
                  <a:pt x="9239955" y="4960225"/>
                </a:moveTo>
                <a:cubicBezTo>
                  <a:pt x="9237434" y="4953783"/>
                  <a:pt x="8786125" y="4547618"/>
                  <a:pt x="8773165" y="4540107"/>
                </a:cubicBezTo>
                <a:cubicBezTo>
                  <a:pt x="8764865" y="4535295"/>
                  <a:pt x="8304670" y="4947698"/>
                  <a:pt x="8304670" y="4959971"/>
                </a:cubicBezTo>
                <a:cubicBezTo>
                  <a:pt x="8304670" y="4963408"/>
                  <a:pt x="8504442" y="4965954"/>
                  <a:pt x="8773445" y="4965954"/>
                </a:cubicBezTo>
                <a:cubicBezTo>
                  <a:pt x="9031258" y="4965954"/>
                  <a:pt x="9241192" y="4963382"/>
                  <a:pt x="9239955" y="4960225"/>
                </a:cubicBezTo>
                <a:close/>
                <a:moveTo>
                  <a:pt x="11220216" y="4890995"/>
                </a:moveTo>
                <a:lnTo>
                  <a:pt x="11222118" y="4819422"/>
                </a:lnTo>
                <a:lnTo>
                  <a:pt x="11048428" y="4660184"/>
                </a:lnTo>
                <a:cubicBezTo>
                  <a:pt x="10952899" y="4572622"/>
                  <a:pt x="10858064" y="4484702"/>
                  <a:pt x="10837687" y="4464817"/>
                </a:cubicBezTo>
                <a:cubicBezTo>
                  <a:pt x="10755130" y="4384281"/>
                  <a:pt x="10361202" y="4024253"/>
                  <a:pt x="10347758" y="4017073"/>
                </a:cubicBezTo>
                <a:cubicBezTo>
                  <a:pt x="10337270" y="4011446"/>
                  <a:pt x="10197766" y="4009332"/>
                  <a:pt x="9838203" y="4009332"/>
                </a:cubicBezTo>
                <a:cubicBezTo>
                  <a:pt x="9387159" y="4009332"/>
                  <a:pt x="9342102" y="4010325"/>
                  <a:pt x="9331981" y="4020459"/>
                </a:cubicBezTo>
                <a:cubicBezTo>
                  <a:pt x="9321656" y="4030771"/>
                  <a:pt x="9321980" y="4032630"/>
                  <a:pt x="9336551" y="4046583"/>
                </a:cubicBezTo>
                <a:cubicBezTo>
                  <a:pt x="9345178" y="4054858"/>
                  <a:pt x="9449242" y="4150212"/>
                  <a:pt x="9567810" y="4258501"/>
                </a:cubicBezTo>
                <a:cubicBezTo>
                  <a:pt x="9686377" y="4366815"/>
                  <a:pt x="9798544" y="4469400"/>
                  <a:pt x="9817070" y="4486510"/>
                </a:cubicBezTo>
                <a:cubicBezTo>
                  <a:pt x="9835596" y="4503621"/>
                  <a:pt x="9960653" y="4618529"/>
                  <a:pt x="10094974" y="4741840"/>
                </a:cubicBezTo>
                <a:lnTo>
                  <a:pt x="10339195" y="4966056"/>
                </a:lnTo>
                <a:lnTo>
                  <a:pt x="10778753" y="4964325"/>
                </a:lnTo>
                <a:lnTo>
                  <a:pt x="11218311" y="4962593"/>
                </a:lnTo>
                <a:close/>
                <a:moveTo>
                  <a:pt x="6448817" y="4721827"/>
                </a:moveTo>
                <a:cubicBezTo>
                  <a:pt x="6591428" y="4591285"/>
                  <a:pt x="6707355" y="4482386"/>
                  <a:pt x="6706413" y="4479839"/>
                </a:cubicBezTo>
                <a:cubicBezTo>
                  <a:pt x="6705471" y="4477293"/>
                  <a:pt x="6592523" y="4372213"/>
                  <a:pt x="6455437" y="4246305"/>
                </a:cubicBezTo>
                <a:cubicBezTo>
                  <a:pt x="6265697" y="4072044"/>
                  <a:pt x="6203774" y="4018804"/>
                  <a:pt x="6196084" y="4023285"/>
                </a:cubicBezTo>
                <a:cubicBezTo>
                  <a:pt x="6175562" y="4035252"/>
                  <a:pt x="5680714" y="4491628"/>
                  <a:pt x="5680714" y="4498579"/>
                </a:cubicBezTo>
                <a:cubicBezTo>
                  <a:pt x="5680714" y="4506727"/>
                  <a:pt x="6174900" y="4959207"/>
                  <a:pt x="6183786" y="4959207"/>
                </a:cubicBezTo>
                <a:cubicBezTo>
                  <a:pt x="6186944" y="4959207"/>
                  <a:pt x="6306206" y="4852395"/>
                  <a:pt x="6448817" y="4721827"/>
                </a:cubicBezTo>
                <a:close/>
                <a:moveTo>
                  <a:pt x="9288235" y="4514595"/>
                </a:moveTo>
                <a:cubicBezTo>
                  <a:pt x="9288235" y="4240677"/>
                  <a:pt x="9285796" y="4069956"/>
                  <a:pt x="9281885" y="4069956"/>
                </a:cubicBezTo>
                <a:cubicBezTo>
                  <a:pt x="9271436" y="4069956"/>
                  <a:pt x="8793076" y="4508815"/>
                  <a:pt x="8793076" y="4518414"/>
                </a:cubicBezTo>
                <a:cubicBezTo>
                  <a:pt x="8793076" y="4528878"/>
                  <a:pt x="9267550" y="4958163"/>
                  <a:pt x="9279815" y="4958800"/>
                </a:cubicBezTo>
                <a:cubicBezTo>
                  <a:pt x="9286471" y="4959131"/>
                  <a:pt x="9288235" y="4866017"/>
                  <a:pt x="9288235" y="4514595"/>
                </a:cubicBezTo>
                <a:close/>
                <a:moveTo>
                  <a:pt x="8368935" y="4867163"/>
                </a:moveTo>
                <a:cubicBezTo>
                  <a:pt x="8420673" y="4820237"/>
                  <a:pt x="8543322" y="4708536"/>
                  <a:pt x="8641503" y="4618937"/>
                </a:cubicBezTo>
                <a:cubicBezTo>
                  <a:pt x="8739709" y="4529337"/>
                  <a:pt x="8923873" y="4361468"/>
                  <a:pt x="9050767" y="4245872"/>
                </a:cubicBezTo>
                <a:cubicBezTo>
                  <a:pt x="9177670" y="4130250"/>
                  <a:pt x="9281500" y="4033139"/>
                  <a:pt x="9281500" y="4030058"/>
                </a:cubicBezTo>
                <a:cubicBezTo>
                  <a:pt x="9281500" y="4023413"/>
                  <a:pt x="8804254" y="3584911"/>
                  <a:pt x="8791854" y="3580150"/>
                </a:cubicBezTo>
                <a:cubicBezTo>
                  <a:pt x="8784776" y="3577425"/>
                  <a:pt x="8340775" y="3976028"/>
                  <a:pt x="8282773" y="4037162"/>
                </a:cubicBezTo>
                <a:lnTo>
                  <a:pt x="8264262" y="4056717"/>
                </a:lnTo>
                <a:lnTo>
                  <a:pt x="8264262" y="4504588"/>
                </a:lnTo>
                <a:cubicBezTo>
                  <a:pt x="8264262" y="4750930"/>
                  <a:pt x="8266656" y="4952485"/>
                  <a:pt x="8269584" y="4952485"/>
                </a:cubicBezTo>
                <a:cubicBezTo>
                  <a:pt x="8272512" y="4952485"/>
                  <a:pt x="8317223" y="4914089"/>
                  <a:pt x="8368935" y="4867163"/>
                </a:cubicBezTo>
                <a:close/>
                <a:moveTo>
                  <a:pt x="4060535" y="4517242"/>
                </a:moveTo>
                <a:cubicBezTo>
                  <a:pt x="4060535" y="4142064"/>
                  <a:pt x="4059287" y="4089206"/>
                  <a:pt x="4050579" y="4092541"/>
                </a:cubicBezTo>
                <a:cubicBezTo>
                  <a:pt x="4034130" y="4098856"/>
                  <a:pt x="3588373" y="4509477"/>
                  <a:pt x="3590638" y="4516249"/>
                </a:cubicBezTo>
                <a:cubicBezTo>
                  <a:pt x="3593363" y="4524499"/>
                  <a:pt x="4048924" y="4945127"/>
                  <a:pt x="4055468" y="4945483"/>
                </a:cubicBezTo>
                <a:cubicBezTo>
                  <a:pt x="4058243" y="4945636"/>
                  <a:pt x="4060535" y="4752916"/>
                  <a:pt x="4060535" y="4517242"/>
                </a:cubicBezTo>
                <a:close/>
                <a:moveTo>
                  <a:pt x="7501964" y="4722897"/>
                </a:moveTo>
                <a:cubicBezTo>
                  <a:pt x="7635918" y="4600324"/>
                  <a:pt x="7745531" y="4496313"/>
                  <a:pt x="7745531" y="4491730"/>
                </a:cubicBezTo>
                <a:cubicBezTo>
                  <a:pt x="7745531" y="4481952"/>
                  <a:pt x="7258245" y="4033877"/>
                  <a:pt x="7244317" y="4030847"/>
                </a:cubicBezTo>
                <a:cubicBezTo>
                  <a:pt x="7239098" y="4029727"/>
                  <a:pt x="7229982" y="4035711"/>
                  <a:pt x="7224075" y="4044138"/>
                </a:cubicBezTo>
                <a:cubicBezTo>
                  <a:pt x="7214501" y="4057811"/>
                  <a:pt x="7213331" y="4106469"/>
                  <a:pt x="7213331" y="4486077"/>
                </a:cubicBezTo>
                <a:lnTo>
                  <a:pt x="7213331" y="4912663"/>
                </a:lnTo>
                <a:lnTo>
                  <a:pt x="7229855" y="4929213"/>
                </a:lnTo>
                <a:cubicBezTo>
                  <a:pt x="7238945" y="4938303"/>
                  <a:pt x="7249104" y="4945738"/>
                  <a:pt x="7252414" y="4945738"/>
                </a:cubicBezTo>
                <a:cubicBezTo>
                  <a:pt x="7255699" y="4945738"/>
                  <a:pt x="7368010" y="4845469"/>
                  <a:pt x="7501964" y="4722897"/>
                </a:cubicBezTo>
                <a:close/>
                <a:moveTo>
                  <a:pt x="9652019" y="4633246"/>
                </a:moveTo>
                <a:cubicBezTo>
                  <a:pt x="9727977" y="4564117"/>
                  <a:pt x="9791050" y="4504868"/>
                  <a:pt x="9792181" y="4501533"/>
                </a:cubicBezTo>
                <a:cubicBezTo>
                  <a:pt x="9794134" y="4495804"/>
                  <a:pt x="9320442" y="4056487"/>
                  <a:pt x="9312314" y="4056487"/>
                </a:cubicBezTo>
                <a:cubicBezTo>
                  <a:pt x="9307026" y="4056487"/>
                  <a:pt x="9307380" y="4928958"/>
                  <a:pt x="9312671" y="4934254"/>
                </a:cubicBezTo>
                <a:cubicBezTo>
                  <a:pt x="9314993" y="4936571"/>
                  <a:pt x="9361226" y="4898073"/>
                  <a:pt x="9415406" y="4848677"/>
                </a:cubicBezTo>
                <a:cubicBezTo>
                  <a:pt x="9469589" y="4799307"/>
                  <a:pt x="9576067" y="4702349"/>
                  <a:pt x="9652022" y="4633246"/>
                </a:cubicBezTo>
                <a:close/>
                <a:moveTo>
                  <a:pt x="5399515" y="4719001"/>
                </a:moveTo>
                <a:cubicBezTo>
                  <a:pt x="5528224" y="4601699"/>
                  <a:pt x="5634475" y="4503442"/>
                  <a:pt x="5635596" y="4500667"/>
                </a:cubicBezTo>
                <a:cubicBezTo>
                  <a:pt x="5638014" y="4494683"/>
                  <a:pt x="5166897" y="4063235"/>
                  <a:pt x="5157960" y="4063235"/>
                </a:cubicBezTo>
                <a:cubicBezTo>
                  <a:pt x="5154395" y="4063235"/>
                  <a:pt x="5151874" y="4243402"/>
                  <a:pt x="5151874" y="4497739"/>
                </a:cubicBezTo>
                <a:cubicBezTo>
                  <a:pt x="5151874" y="4785634"/>
                  <a:pt x="5154166" y="4932268"/>
                  <a:pt x="5158673" y="4932268"/>
                </a:cubicBezTo>
                <a:cubicBezTo>
                  <a:pt x="5162415" y="4932268"/>
                  <a:pt x="5270806" y="4836303"/>
                  <a:pt x="5399515" y="4719001"/>
                </a:cubicBezTo>
                <a:close/>
                <a:moveTo>
                  <a:pt x="7193114" y="4480349"/>
                </a:moveTo>
                <a:cubicBezTo>
                  <a:pt x="7193114" y="4248112"/>
                  <a:pt x="7190567" y="4076526"/>
                  <a:pt x="7187130" y="4077824"/>
                </a:cubicBezTo>
                <a:cubicBezTo>
                  <a:pt x="7176742" y="4081746"/>
                  <a:pt x="6748476" y="4475791"/>
                  <a:pt x="6748476" y="4481443"/>
                </a:cubicBezTo>
                <a:cubicBezTo>
                  <a:pt x="6748476" y="4488471"/>
                  <a:pt x="7179670" y="4885113"/>
                  <a:pt x="7187309" y="4885113"/>
                </a:cubicBezTo>
                <a:cubicBezTo>
                  <a:pt x="7190491" y="4885113"/>
                  <a:pt x="7193114" y="4702960"/>
                  <a:pt x="7193114" y="4480349"/>
                </a:cubicBezTo>
                <a:close/>
                <a:moveTo>
                  <a:pt x="11221683" y="4497357"/>
                </a:moveTo>
                <a:cubicBezTo>
                  <a:pt x="11221683" y="4301684"/>
                  <a:pt x="11219503" y="4218169"/>
                  <a:pt x="11214395" y="4218169"/>
                </a:cubicBezTo>
                <a:cubicBezTo>
                  <a:pt x="11203816" y="4218169"/>
                  <a:pt x="10897540" y="4481952"/>
                  <a:pt x="10899900" y="4489031"/>
                </a:cubicBezTo>
                <a:cubicBezTo>
                  <a:pt x="10903544" y="4499954"/>
                  <a:pt x="11211498" y="4782248"/>
                  <a:pt x="11216628" y="4779371"/>
                </a:cubicBezTo>
                <a:cubicBezTo>
                  <a:pt x="11219409" y="4777818"/>
                  <a:pt x="11221683" y="4650891"/>
                  <a:pt x="11221683" y="4497357"/>
                </a:cubicBezTo>
                <a:close/>
                <a:moveTo>
                  <a:pt x="4873884" y="4260919"/>
                </a:moveTo>
                <a:cubicBezTo>
                  <a:pt x="5010104" y="4136234"/>
                  <a:pt x="5121549" y="4032095"/>
                  <a:pt x="5121549" y="4029523"/>
                </a:cubicBezTo>
                <a:cubicBezTo>
                  <a:pt x="5121549" y="4026977"/>
                  <a:pt x="5012420" y="3925334"/>
                  <a:pt x="4879027" y="3803703"/>
                </a:cubicBezTo>
                <a:cubicBezTo>
                  <a:pt x="4745658" y="3682047"/>
                  <a:pt x="4635485" y="3578240"/>
                  <a:pt x="4634213" y="3572995"/>
                </a:cubicBezTo>
                <a:cubicBezTo>
                  <a:pt x="4632863" y="3567368"/>
                  <a:pt x="4636071" y="3564414"/>
                  <a:pt x="4642106" y="3565789"/>
                </a:cubicBezTo>
                <a:cubicBezTo>
                  <a:pt x="4647707" y="3567037"/>
                  <a:pt x="4757065" y="3663562"/>
                  <a:pt x="4885112" y="3780253"/>
                </a:cubicBezTo>
                <a:cubicBezTo>
                  <a:pt x="5013159" y="3896919"/>
                  <a:pt x="5121015" y="3993444"/>
                  <a:pt x="5124783" y="3994692"/>
                </a:cubicBezTo>
                <a:cubicBezTo>
                  <a:pt x="5129417" y="3996245"/>
                  <a:pt x="5131658" y="3851164"/>
                  <a:pt x="5131658" y="3551225"/>
                </a:cubicBezTo>
                <a:cubicBezTo>
                  <a:pt x="5131658" y="3276901"/>
                  <a:pt x="5129239" y="3106359"/>
                  <a:pt x="5125343" y="3107733"/>
                </a:cubicBezTo>
                <a:cubicBezTo>
                  <a:pt x="5120200" y="3109567"/>
                  <a:pt x="4796302" y="3403573"/>
                  <a:pt x="4646892" y="3542034"/>
                </a:cubicBezTo>
                <a:cubicBezTo>
                  <a:pt x="4626370" y="3561053"/>
                  <a:pt x="4501048" y="3675860"/>
                  <a:pt x="4368392" y="3797134"/>
                </a:cubicBezTo>
                <a:cubicBezTo>
                  <a:pt x="4234845" y="3919223"/>
                  <a:pt x="4128110" y="4021834"/>
                  <a:pt x="4129230" y="4027003"/>
                </a:cubicBezTo>
                <a:cubicBezTo>
                  <a:pt x="4131293" y="4036551"/>
                  <a:pt x="4612239" y="4486357"/>
                  <a:pt x="4621253" y="4487172"/>
                </a:cubicBezTo>
                <a:cubicBezTo>
                  <a:pt x="4623977" y="4487427"/>
                  <a:pt x="4737663" y="4385605"/>
                  <a:pt x="4873884" y="4260919"/>
                </a:cubicBezTo>
                <a:close/>
                <a:moveTo>
                  <a:pt x="5919927" y="4244650"/>
                </a:moveTo>
                <a:cubicBezTo>
                  <a:pt x="6062538" y="4114693"/>
                  <a:pt x="6179229" y="4004902"/>
                  <a:pt x="6179229" y="4000650"/>
                </a:cubicBezTo>
                <a:cubicBezTo>
                  <a:pt x="6179229" y="3993699"/>
                  <a:pt x="5698792" y="3545446"/>
                  <a:pt x="5690822" y="3544962"/>
                </a:cubicBezTo>
                <a:cubicBezTo>
                  <a:pt x="5684915" y="3544605"/>
                  <a:pt x="5169698" y="4019110"/>
                  <a:pt x="5167100" y="4027308"/>
                </a:cubicBezTo>
                <a:cubicBezTo>
                  <a:pt x="5164936" y="4034081"/>
                  <a:pt x="5647588" y="4480908"/>
                  <a:pt x="5657086" y="4480908"/>
                </a:cubicBezTo>
                <a:cubicBezTo>
                  <a:pt x="5659021" y="4480908"/>
                  <a:pt x="5777290" y="4374581"/>
                  <a:pt x="5919927" y="4244650"/>
                </a:cubicBezTo>
                <a:close/>
                <a:moveTo>
                  <a:pt x="8007736" y="4259544"/>
                </a:moveTo>
                <a:cubicBezTo>
                  <a:pt x="8210411" y="4073623"/>
                  <a:pt x="8237808" y="4046125"/>
                  <a:pt x="8236000" y="4030491"/>
                </a:cubicBezTo>
                <a:lnTo>
                  <a:pt x="8233938" y="4012693"/>
                </a:lnTo>
                <a:lnTo>
                  <a:pt x="7759000" y="4010962"/>
                </a:lnTo>
                <a:cubicBezTo>
                  <a:pt x="7497789" y="4009994"/>
                  <a:pt x="7280142" y="4010707"/>
                  <a:pt x="7275355" y="4012541"/>
                </a:cubicBezTo>
                <a:cubicBezTo>
                  <a:pt x="7270314" y="4014475"/>
                  <a:pt x="7371702" y="4112274"/>
                  <a:pt x="7516757" y="4245388"/>
                </a:cubicBezTo>
                <a:cubicBezTo>
                  <a:pt x="7654327" y="4371627"/>
                  <a:pt x="7769236" y="4473983"/>
                  <a:pt x="7772164" y="4472863"/>
                </a:cubicBezTo>
                <a:cubicBezTo>
                  <a:pt x="7775067" y="4471717"/>
                  <a:pt x="7881089" y="4375726"/>
                  <a:pt x="8007736" y="4259544"/>
                </a:cubicBezTo>
                <a:close/>
                <a:moveTo>
                  <a:pt x="11055665" y="4316248"/>
                </a:moveTo>
                <a:lnTo>
                  <a:pt x="11222075" y="4175164"/>
                </a:lnTo>
                <a:lnTo>
                  <a:pt x="11220193" y="4093941"/>
                </a:lnTo>
                <a:lnTo>
                  <a:pt x="11218311" y="4012693"/>
                </a:lnTo>
                <a:lnTo>
                  <a:pt x="10801740" y="4010962"/>
                </a:lnTo>
                <a:cubicBezTo>
                  <a:pt x="10532564" y="4009842"/>
                  <a:pt x="10385968" y="4011548"/>
                  <a:pt x="10387430" y="4015825"/>
                </a:cubicBezTo>
                <a:cubicBezTo>
                  <a:pt x="10388675" y="4019441"/>
                  <a:pt x="10498229" y="4122586"/>
                  <a:pt x="10630884" y="4245057"/>
                </a:cubicBezTo>
                <a:cubicBezTo>
                  <a:pt x="10792525" y="4394262"/>
                  <a:pt x="10874909" y="4465988"/>
                  <a:pt x="10880666" y="4462525"/>
                </a:cubicBezTo>
                <a:cubicBezTo>
                  <a:pt x="10885389" y="4459673"/>
                  <a:pt x="10964140" y="4393855"/>
                  <a:pt x="11055665" y="4316248"/>
                </a:cubicBezTo>
                <a:close/>
                <a:moveTo>
                  <a:pt x="6941934" y="4271486"/>
                </a:moveTo>
                <a:cubicBezTo>
                  <a:pt x="7197111" y="4038664"/>
                  <a:pt x="7193114" y="4042764"/>
                  <a:pt x="7193114" y="4013355"/>
                </a:cubicBezTo>
                <a:cubicBezTo>
                  <a:pt x="7193114" y="4000624"/>
                  <a:pt x="7191332" y="3985551"/>
                  <a:pt x="7189142" y="3979873"/>
                </a:cubicBezTo>
                <a:cubicBezTo>
                  <a:pt x="7183693" y="3965665"/>
                  <a:pt x="6731060" y="3551225"/>
                  <a:pt x="6721003" y="3551225"/>
                </a:cubicBezTo>
                <a:cubicBezTo>
                  <a:pt x="6716572" y="3551225"/>
                  <a:pt x="6700404" y="3562607"/>
                  <a:pt x="6685102" y="3576509"/>
                </a:cubicBezTo>
                <a:cubicBezTo>
                  <a:pt x="6365150" y="3866976"/>
                  <a:pt x="6222845" y="3998562"/>
                  <a:pt x="6224449" y="4002534"/>
                </a:cubicBezTo>
                <a:cubicBezTo>
                  <a:pt x="6228675" y="4013152"/>
                  <a:pt x="6718711" y="4460208"/>
                  <a:pt x="6726350" y="4460438"/>
                </a:cubicBezTo>
                <a:cubicBezTo>
                  <a:pt x="6730857" y="4460565"/>
                  <a:pt x="6827866" y="4375548"/>
                  <a:pt x="6941934" y="4271486"/>
                </a:cubicBezTo>
                <a:close/>
                <a:moveTo>
                  <a:pt x="5415606" y="3766275"/>
                </a:moveTo>
                <a:cubicBezTo>
                  <a:pt x="5551445" y="3642429"/>
                  <a:pt x="5664240" y="3537476"/>
                  <a:pt x="5666277" y="3532995"/>
                </a:cubicBezTo>
                <a:cubicBezTo>
                  <a:pt x="5671548" y="3521333"/>
                  <a:pt x="5181690" y="3071400"/>
                  <a:pt x="5166820" y="3074251"/>
                </a:cubicBezTo>
                <a:cubicBezTo>
                  <a:pt x="5156025" y="3076339"/>
                  <a:pt x="5155133" y="3107759"/>
                  <a:pt x="5153504" y="3536738"/>
                </a:cubicBezTo>
                <a:cubicBezTo>
                  <a:pt x="5152129" y="3902698"/>
                  <a:pt x="5153504" y="3996449"/>
                  <a:pt x="5160200" y="3994208"/>
                </a:cubicBezTo>
                <a:cubicBezTo>
                  <a:pt x="5164834" y="3992655"/>
                  <a:pt x="5279768" y="3890095"/>
                  <a:pt x="5415606" y="3766275"/>
                </a:cubicBezTo>
                <a:close/>
                <a:moveTo>
                  <a:pt x="8530719" y="3780253"/>
                </a:moveTo>
                <a:cubicBezTo>
                  <a:pt x="8660192" y="3661653"/>
                  <a:pt x="8766876" y="3562377"/>
                  <a:pt x="8767767" y="3559627"/>
                </a:cubicBezTo>
                <a:cubicBezTo>
                  <a:pt x="8769397" y="3554637"/>
                  <a:pt x="8282060" y="3105289"/>
                  <a:pt x="8270373" y="3100986"/>
                </a:cubicBezTo>
                <a:cubicBezTo>
                  <a:pt x="8266732" y="3099662"/>
                  <a:pt x="8264262" y="3278276"/>
                  <a:pt x="8264262" y="3539233"/>
                </a:cubicBezTo>
                <a:cubicBezTo>
                  <a:pt x="8264262" y="3985602"/>
                  <a:pt x="8264772" y="3995863"/>
                  <a:pt x="8287865" y="3995863"/>
                </a:cubicBezTo>
                <a:cubicBezTo>
                  <a:pt x="8291939" y="3995863"/>
                  <a:pt x="8401220" y="3898828"/>
                  <a:pt x="8530719" y="3780253"/>
                </a:cubicBezTo>
                <a:close/>
                <a:moveTo>
                  <a:pt x="9288235" y="3557565"/>
                </a:moveTo>
                <a:cubicBezTo>
                  <a:pt x="9288235" y="3267404"/>
                  <a:pt x="9285977" y="3126829"/>
                  <a:pt x="9281320" y="3126829"/>
                </a:cubicBezTo>
                <a:cubicBezTo>
                  <a:pt x="9270422" y="3126829"/>
                  <a:pt x="8809244" y="3552600"/>
                  <a:pt x="8811816" y="3560290"/>
                </a:cubicBezTo>
                <a:cubicBezTo>
                  <a:pt x="8815661" y="3571773"/>
                  <a:pt x="9277758" y="3994182"/>
                  <a:pt x="9283183" y="3991153"/>
                </a:cubicBezTo>
                <a:cubicBezTo>
                  <a:pt x="9285961" y="3989600"/>
                  <a:pt x="9288235" y="3794486"/>
                  <a:pt x="9288235" y="3557565"/>
                </a:cubicBezTo>
                <a:close/>
                <a:moveTo>
                  <a:pt x="7500080" y="3759757"/>
                </a:moveTo>
                <a:cubicBezTo>
                  <a:pt x="7631564" y="3639628"/>
                  <a:pt x="7738325" y="3538061"/>
                  <a:pt x="7737281" y="3534039"/>
                </a:cubicBezTo>
                <a:cubicBezTo>
                  <a:pt x="7733997" y="3521282"/>
                  <a:pt x="7248340" y="3079675"/>
                  <a:pt x="7237595" y="3079675"/>
                </a:cubicBezTo>
                <a:cubicBezTo>
                  <a:pt x="7231917" y="3079675"/>
                  <a:pt x="7224126" y="3085531"/>
                  <a:pt x="7220281" y="3092686"/>
                </a:cubicBezTo>
                <a:cubicBezTo>
                  <a:pt x="7215699" y="3101292"/>
                  <a:pt x="7213331" y="3251643"/>
                  <a:pt x="7213331" y="3533962"/>
                </a:cubicBezTo>
                <a:cubicBezTo>
                  <a:pt x="7213331" y="3955430"/>
                  <a:pt x="7213534" y="3962381"/>
                  <a:pt x="7227004" y="3975876"/>
                </a:cubicBezTo>
                <a:cubicBezTo>
                  <a:pt x="7236221" y="3985093"/>
                  <a:pt x="7244012" y="3987690"/>
                  <a:pt x="7250835" y="3983871"/>
                </a:cubicBezTo>
                <a:cubicBezTo>
                  <a:pt x="7256437" y="3980739"/>
                  <a:pt x="7368596" y="3879911"/>
                  <a:pt x="7500080" y="3759757"/>
                </a:cubicBezTo>
                <a:close/>
                <a:moveTo>
                  <a:pt x="8229456" y="3983208"/>
                </a:moveTo>
                <a:cubicBezTo>
                  <a:pt x="8224924" y="3971318"/>
                  <a:pt x="7769007" y="3557973"/>
                  <a:pt x="7760401" y="3557973"/>
                </a:cubicBezTo>
                <a:cubicBezTo>
                  <a:pt x="7750139" y="3557973"/>
                  <a:pt x="7294171" y="3973584"/>
                  <a:pt x="7294171" y="3982928"/>
                </a:cubicBezTo>
                <a:cubicBezTo>
                  <a:pt x="7294171" y="3986646"/>
                  <a:pt x="7482257" y="3989116"/>
                  <a:pt x="7762921" y="3989116"/>
                </a:cubicBezTo>
                <a:cubicBezTo>
                  <a:pt x="8029174" y="3989116"/>
                  <a:pt x="8230729" y="3986570"/>
                  <a:pt x="8229456" y="3983208"/>
                </a:cubicBezTo>
                <a:close/>
                <a:moveTo>
                  <a:pt x="9342316" y="3977556"/>
                </a:moveTo>
                <a:cubicBezTo>
                  <a:pt x="9376903" y="3953546"/>
                  <a:pt x="9807552" y="3556369"/>
                  <a:pt x="9805541" y="3550334"/>
                </a:cubicBezTo>
                <a:cubicBezTo>
                  <a:pt x="9802651" y="3541652"/>
                  <a:pt x="9320307" y="3099866"/>
                  <a:pt x="9313727" y="3099866"/>
                </a:cubicBezTo>
                <a:cubicBezTo>
                  <a:pt x="9307336" y="3099866"/>
                  <a:pt x="9306552" y="3978244"/>
                  <a:pt x="9312938" y="3984634"/>
                </a:cubicBezTo>
                <a:cubicBezTo>
                  <a:pt x="9319627" y="3991331"/>
                  <a:pt x="9324009" y="3990262"/>
                  <a:pt x="9342316" y="3977556"/>
                </a:cubicBezTo>
                <a:close/>
                <a:moveTo>
                  <a:pt x="10605227" y="3762252"/>
                </a:moveTo>
                <a:cubicBezTo>
                  <a:pt x="10740489" y="3637464"/>
                  <a:pt x="10851161" y="3531874"/>
                  <a:pt x="10851161" y="3527597"/>
                </a:cubicBezTo>
                <a:cubicBezTo>
                  <a:pt x="10851161" y="3523319"/>
                  <a:pt x="10827665" y="3498901"/>
                  <a:pt x="10798952" y="3473312"/>
                </a:cubicBezTo>
                <a:cubicBezTo>
                  <a:pt x="10770236" y="3447749"/>
                  <a:pt x="10662803" y="3350230"/>
                  <a:pt x="10560213" y="3256608"/>
                </a:cubicBezTo>
                <a:cubicBezTo>
                  <a:pt x="10457625" y="3162985"/>
                  <a:pt x="10369691" y="3086396"/>
                  <a:pt x="10364804" y="3086396"/>
                </a:cubicBezTo>
                <a:cubicBezTo>
                  <a:pt x="10355633" y="3086396"/>
                  <a:pt x="9380939" y="3970478"/>
                  <a:pt x="9376936" y="3982419"/>
                </a:cubicBezTo>
                <a:cubicBezTo>
                  <a:pt x="9375459" y="3986824"/>
                  <a:pt x="9543440" y="3989116"/>
                  <a:pt x="9866990" y="3989116"/>
                </a:cubicBezTo>
                <a:lnTo>
                  <a:pt x="10359289" y="3989116"/>
                </a:lnTo>
                <a:close/>
                <a:moveTo>
                  <a:pt x="11220063" y="3615236"/>
                </a:moveTo>
                <a:cubicBezTo>
                  <a:pt x="11221026" y="3411441"/>
                  <a:pt x="11220325" y="3240822"/>
                  <a:pt x="11218502" y="3236060"/>
                </a:cubicBezTo>
                <a:cubicBezTo>
                  <a:pt x="11215531" y="3228320"/>
                  <a:pt x="10406796" y="3967270"/>
                  <a:pt x="10400904" y="3983132"/>
                </a:cubicBezTo>
                <a:cubicBezTo>
                  <a:pt x="10399567" y="3986748"/>
                  <a:pt x="10566252" y="3988530"/>
                  <a:pt x="10808475" y="3987486"/>
                </a:cubicBezTo>
                <a:lnTo>
                  <a:pt x="11218311" y="3985755"/>
                </a:lnTo>
                <a:close/>
                <a:moveTo>
                  <a:pt x="6452738" y="3758382"/>
                </a:moveTo>
                <a:cubicBezTo>
                  <a:pt x="6587558" y="3635198"/>
                  <a:pt x="6711277" y="3522275"/>
                  <a:pt x="6727648" y="3507457"/>
                </a:cubicBezTo>
                <a:cubicBezTo>
                  <a:pt x="7025143" y="3238199"/>
                  <a:pt x="7186290" y="3089579"/>
                  <a:pt x="7189371" y="3081584"/>
                </a:cubicBezTo>
                <a:cubicBezTo>
                  <a:pt x="7191433" y="3076161"/>
                  <a:pt x="7191459" y="3068955"/>
                  <a:pt x="7189371" y="3065594"/>
                </a:cubicBezTo>
                <a:cubicBezTo>
                  <a:pt x="7187156" y="3062004"/>
                  <a:pt x="6986263" y="3059458"/>
                  <a:pt x="6704809" y="3059458"/>
                </a:cubicBezTo>
                <a:lnTo>
                  <a:pt x="6224067" y="3059458"/>
                </a:lnTo>
                <a:lnTo>
                  <a:pt x="6196466" y="3081355"/>
                </a:lnTo>
                <a:cubicBezTo>
                  <a:pt x="6133067" y="3131616"/>
                  <a:pt x="5711879" y="3521562"/>
                  <a:pt x="5713076" y="3528870"/>
                </a:cubicBezTo>
                <a:cubicBezTo>
                  <a:pt x="5714425" y="3536967"/>
                  <a:pt x="6196033" y="3982318"/>
                  <a:pt x="6203519" y="3982369"/>
                </a:cubicBezTo>
                <a:cubicBezTo>
                  <a:pt x="6205760" y="3982369"/>
                  <a:pt x="6317893" y="3881591"/>
                  <a:pt x="6452738" y="3758382"/>
                </a:cubicBezTo>
                <a:close/>
                <a:moveTo>
                  <a:pt x="8237298" y="3538164"/>
                </a:moveTo>
                <a:cubicBezTo>
                  <a:pt x="8237298" y="3312369"/>
                  <a:pt x="8235032" y="3126320"/>
                  <a:pt x="8232257" y="3124767"/>
                </a:cubicBezTo>
                <a:cubicBezTo>
                  <a:pt x="8224542" y="3120388"/>
                  <a:pt x="7778860" y="3531773"/>
                  <a:pt x="7783392" y="3539080"/>
                </a:cubicBezTo>
                <a:cubicBezTo>
                  <a:pt x="7790395" y="3550410"/>
                  <a:pt x="8226655" y="3948708"/>
                  <a:pt x="8232079" y="3948708"/>
                </a:cubicBezTo>
                <a:cubicBezTo>
                  <a:pt x="8234956" y="3948708"/>
                  <a:pt x="8237298" y="3763958"/>
                  <a:pt x="8237298" y="3538164"/>
                </a:cubicBezTo>
                <a:close/>
                <a:moveTo>
                  <a:pt x="7193114" y="3531034"/>
                </a:moveTo>
                <a:cubicBezTo>
                  <a:pt x="7193114" y="3309161"/>
                  <a:pt x="7190848" y="3126270"/>
                  <a:pt x="7188047" y="3124614"/>
                </a:cubicBezTo>
                <a:cubicBezTo>
                  <a:pt x="7181350" y="3120642"/>
                  <a:pt x="6740430" y="3523778"/>
                  <a:pt x="6743078" y="3531492"/>
                </a:cubicBezTo>
                <a:cubicBezTo>
                  <a:pt x="6746796" y="3542441"/>
                  <a:pt x="7182904" y="3940102"/>
                  <a:pt x="7188047" y="3937250"/>
                </a:cubicBezTo>
                <a:cubicBezTo>
                  <a:pt x="7190848" y="3935697"/>
                  <a:pt x="7193114" y="3752907"/>
                  <a:pt x="7193114" y="3531034"/>
                </a:cubicBezTo>
                <a:close/>
                <a:moveTo>
                  <a:pt x="9041812" y="3311707"/>
                </a:moveTo>
                <a:cubicBezTo>
                  <a:pt x="9177344" y="3187377"/>
                  <a:pt x="9288235" y="3083392"/>
                  <a:pt x="9288235" y="3080642"/>
                </a:cubicBezTo>
                <a:cubicBezTo>
                  <a:pt x="9288235" y="3060247"/>
                  <a:pt x="9269432" y="3059458"/>
                  <a:pt x="8786685" y="3059560"/>
                </a:cubicBezTo>
                <a:cubicBezTo>
                  <a:pt x="8519719" y="3059610"/>
                  <a:pt x="8297133" y="3062284"/>
                  <a:pt x="8292066" y="3065518"/>
                </a:cubicBezTo>
                <a:cubicBezTo>
                  <a:pt x="8286974" y="3068726"/>
                  <a:pt x="8283944" y="3074480"/>
                  <a:pt x="8285319" y="3078300"/>
                </a:cubicBezTo>
                <a:cubicBezTo>
                  <a:pt x="8289393" y="3089528"/>
                  <a:pt x="8778869" y="3537043"/>
                  <a:pt x="8787500" y="3537425"/>
                </a:cubicBezTo>
                <a:cubicBezTo>
                  <a:pt x="8791829" y="3537603"/>
                  <a:pt x="8906279" y="3436037"/>
                  <a:pt x="9041812" y="3311707"/>
                </a:cubicBezTo>
                <a:close/>
                <a:moveTo>
                  <a:pt x="10086136" y="3303483"/>
                </a:moveTo>
                <a:cubicBezTo>
                  <a:pt x="10223006" y="3178517"/>
                  <a:pt x="10336183" y="3072494"/>
                  <a:pt x="10337642" y="3067886"/>
                </a:cubicBezTo>
                <a:cubicBezTo>
                  <a:pt x="10339745" y="3061189"/>
                  <a:pt x="10238446" y="3059483"/>
                  <a:pt x="9846261" y="3059560"/>
                </a:cubicBezTo>
                <a:cubicBezTo>
                  <a:pt x="9543715" y="3059610"/>
                  <a:pt x="9348320" y="3062157"/>
                  <a:pt x="9342130" y="3066103"/>
                </a:cubicBezTo>
                <a:cubicBezTo>
                  <a:pt x="9334318" y="3071094"/>
                  <a:pt x="9333715" y="3075270"/>
                  <a:pt x="9339469" y="3084538"/>
                </a:cubicBezTo>
                <a:cubicBezTo>
                  <a:pt x="9352760" y="3105925"/>
                  <a:pt x="9816757" y="3530092"/>
                  <a:pt x="9827176" y="3530372"/>
                </a:cubicBezTo>
                <a:cubicBezTo>
                  <a:pt x="9832734" y="3530525"/>
                  <a:pt x="9949264" y="3428423"/>
                  <a:pt x="10086136" y="3303483"/>
                </a:cubicBezTo>
                <a:close/>
                <a:moveTo>
                  <a:pt x="7997016" y="3305061"/>
                </a:moveTo>
                <a:cubicBezTo>
                  <a:pt x="8124808" y="3188192"/>
                  <a:pt x="8231111" y="3087950"/>
                  <a:pt x="8233276" y="3082323"/>
                </a:cubicBezTo>
                <a:cubicBezTo>
                  <a:pt x="8235745" y="3075881"/>
                  <a:pt x="8226579" y="3061139"/>
                  <a:pt x="8208629" y="3042730"/>
                </a:cubicBezTo>
                <a:cubicBezTo>
                  <a:pt x="8144618" y="2977115"/>
                  <a:pt x="7750521" y="2621567"/>
                  <a:pt x="7741788" y="2621567"/>
                </a:cubicBezTo>
                <a:cubicBezTo>
                  <a:pt x="7729465" y="2621567"/>
                  <a:pt x="7263846" y="3046243"/>
                  <a:pt x="7263846" y="3057472"/>
                </a:cubicBezTo>
                <a:cubicBezTo>
                  <a:pt x="7263846" y="3065747"/>
                  <a:pt x="7750852" y="3517005"/>
                  <a:pt x="7760171" y="3517387"/>
                </a:cubicBezTo>
                <a:cubicBezTo>
                  <a:pt x="7762667" y="3517488"/>
                  <a:pt x="7869250" y="3421931"/>
                  <a:pt x="7997016" y="3305061"/>
                </a:cubicBezTo>
                <a:close/>
                <a:moveTo>
                  <a:pt x="5936477" y="3288741"/>
                </a:moveTo>
                <a:cubicBezTo>
                  <a:pt x="6068139" y="3168460"/>
                  <a:pt x="6175868" y="3067682"/>
                  <a:pt x="6175868" y="3064754"/>
                </a:cubicBezTo>
                <a:cubicBezTo>
                  <a:pt x="6175868" y="3061851"/>
                  <a:pt x="6172914" y="3059458"/>
                  <a:pt x="6169350" y="3059458"/>
                </a:cubicBezTo>
                <a:cubicBezTo>
                  <a:pt x="6165759" y="3059458"/>
                  <a:pt x="6158936" y="3052176"/>
                  <a:pt x="6154174" y="3043315"/>
                </a:cubicBezTo>
                <a:cubicBezTo>
                  <a:pt x="6143022" y="3022437"/>
                  <a:pt x="5685908" y="2599594"/>
                  <a:pt x="5677659" y="2602497"/>
                </a:cubicBezTo>
                <a:cubicBezTo>
                  <a:pt x="5661694" y="2608175"/>
                  <a:pt x="5192308" y="3043672"/>
                  <a:pt x="5193860" y="3051336"/>
                </a:cubicBezTo>
                <a:cubicBezTo>
                  <a:pt x="5196127" y="3062284"/>
                  <a:pt x="5684940" y="3511683"/>
                  <a:pt x="5691943" y="3509239"/>
                </a:cubicBezTo>
                <a:cubicBezTo>
                  <a:pt x="5694794" y="3508246"/>
                  <a:pt x="5804840" y="3409022"/>
                  <a:pt x="5936477" y="3288741"/>
                </a:cubicBezTo>
                <a:close/>
                <a:moveTo>
                  <a:pt x="11055181" y="3346844"/>
                </a:moveTo>
                <a:lnTo>
                  <a:pt x="11222146" y="3192343"/>
                </a:lnTo>
                <a:lnTo>
                  <a:pt x="11220229" y="3127594"/>
                </a:lnTo>
                <a:lnTo>
                  <a:pt x="11218311" y="3062819"/>
                </a:lnTo>
                <a:lnTo>
                  <a:pt x="10807759" y="3061087"/>
                </a:lnTo>
                <a:cubicBezTo>
                  <a:pt x="10581957" y="3060120"/>
                  <a:pt x="10394765" y="3061801"/>
                  <a:pt x="10391779" y="3064779"/>
                </a:cubicBezTo>
                <a:cubicBezTo>
                  <a:pt x="10386737" y="3069821"/>
                  <a:pt x="10513992" y="3189847"/>
                  <a:pt x="10605761" y="3266614"/>
                </a:cubicBezTo>
                <a:cubicBezTo>
                  <a:pt x="10627722" y="3284972"/>
                  <a:pt x="10696833" y="3347379"/>
                  <a:pt x="10759341" y="3405304"/>
                </a:cubicBezTo>
                <a:cubicBezTo>
                  <a:pt x="10825498" y="3466591"/>
                  <a:pt x="10876175" y="3508679"/>
                  <a:pt x="10880603" y="3505980"/>
                </a:cubicBezTo>
                <a:cubicBezTo>
                  <a:pt x="10884789" y="3503433"/>
                  <a:pt x="10963348" y="3431835"/>
                  <a:pt x="11055178" y="3346844"/>
                </a:cubicBezTo>
                <a:close/>
                <a:moveTo>
                  <a:pt x="6454572" y="2815993"/>
                </a:moveTo>
                <a:cubicBezTo>
                  <a:pt x="6586132" y="2696094"/>
                  <a:pt x="6693199" y="2594654"/>
                  <a:pt x="6692486" y="2590606"/>
                </a:cubicBezTo>
                <a:cubicBezTo>
                  <a:pt x="6691798" y="2586532"/>
                  <a:pt x="6582466" y="2483463"/>
                  <a:pt x="6449530" y="2361552"/>
                </a:cubicBezTo>
                <a:cubicBezTo>
                  <a:pt x="6290776" y="2215963"/>
                  <a:pt x="6202934" y="2139883"/>
                  <a:pt x="6193538" y="2139883"/>
                </a:cubicBezTo>
                <a:lnTo>
                  <a:pt x="6179229" y="2139883"/>
                </a:lnTo>
                <a:lnTo>
                  <a:pt x="6177497" y="2580396"/>
                </a:lnTo>
                <a:cubicBezTo>
                  <a:pt x="6175689" y="3039368"/>
                  <a:pt x="6175970" y="3044308"/>
                  <a:pt x="6203544" y="3037103"/>
                </a:cubicBezTo>
                <a:cubicBezTo>
                  <a:pt x="6210037" y="3035397"/>
                  <a:pt x="6322986" y="2935918"/>
                  <a:pt x="6454572" y="2815993"/>
                </a:cubicBezTo>
                <a:close/>
                <a:moveTo>
                  <a:pt x="7175011" y="3034200"/>
                </a:moveTo>
                <a:cubicBezTo>
                  <a:pt x="7177684" y="3029617"/>
                  <a:pt x="6727954" y="2613573"/>
                  <a:pt x="6716369" y="2609881"/>
                </a:cubicBezTo>
                <a:cubicBezTo>
                  <a:pt x="6710946" y="2608175"/>
                  <a:pt x="6254723" y="3023124"/>
                  <a:pt x="6251082" y="3033105"/>
                </a:cubicBezTo>
                <a:cubicBezTo>
                  <a:pt x="6248383" y="3040514"/>
                  <a:pt x="7170733" y="3041609"/>
                  <a:pt x="7175011" y="3034200"/>
                </a:cubicBezTo>
                <a:close/>
                <a:moveTo>
                  <a:pt x="7482893" y="2820678"/>
                </a:moveTo>
                <a:cubicBezTo>
                  <a:pt x="7612799" y="2702332"/>
                  <a:pt x="7718185" y="2601631"/>
                  <a:pt x="7717141" y="2596921"/>
                </a:cubicBezTo>
                <a:cubicBezTo>
                  <a:pt x="7714341" y="2584546"/>
                  <a:pt x="7231867" y="2143498"/>
                  <a:pt x="7225425" y="2147471"/>
                </a:cubicBezTo>
                <a:cubicBezTo>
                  <a:pt x="7218830" y="2151545"/>
                  <a:pt x="7218168" y="3028394"/>
                  <a:pt x="7224788" y="3034989"/>
                </a:cubicBezTo>
                <a:cubicBezTo>
                  <a:pt x="7227385" y="3037586"/>
                  <a:pt x="7233369" y="3038860"/>
                  <a:pt x="7238105" y="3037790"/>
                </a:cubicBezTo>
                <a:cubicBezTo>
                  <a:pt x="7242866" y="3036746"/>
                  <a:pt x="7353013" y="2939049"/>
                  <a:pt x="7482893" y="2820678"/>
                </a:cubicBezTo>
                <a:close/>
                <a:moveTo>
                  <a:pt x="8305561" y="3020705"/>
                </a:moveTo>
                <a:cubicBezTo>
                  <a:pt x="8375810" y="2961914"/>
                  <a:pt x="8760409" y="2605374"/>
                  <a:pt x="8765476" y="2594349"/>
                </a:cubicBezTo>
                <a:cubicBezTo>
                  <a:pt x="8773318" y="2577315"/>
                  <a:pt x="8799365" y="2577315"/>
                  <a:pt x="8807207" y="2594323"/>
                </a:cubicBezTo>
                <a:cubicBezTo>
                  <a:pt x="8814082" y="2609219"/>
                  <a:pt x="9266285" y="3025772"/>
                  <a:pt x="9275586" y="3025772"/>
                </a:cubicBezTo>
                <a:cubicBezTo>
                  <a:pt x="9279064" y="3025772"/>
                  <a:pt x="9280867" y="2837890"/>
                  <a:pt x="9279863" y="2579454"/>
                </a:cubicBezTo>
                <a:lnTo>
                  <a:pt x="9278132" y="2133161"/>
                </a:lnTo>
                <a:lnTo>
                  <a:pt x="8782968" y="2133161"/>
                </a:lnTo>
                <a:cubicBezTo>
                  <a:pt x="8510655" y="2133161"/>
                  <a:pt x="8282518" y="2135326"/>
                  <a:pt x="8276051" y="2137999"/>
                </a:cubicBezTo>
                <a:cubicBezTo>
                  <a:pt x="8264975" y="2142531"/>
                  <a:pt x="8264262" y="2170310"/>
                  <a:pt x="8264262" y="2586558"/>
                </a:cubicBezTo>
                <a:cubicBezTo>
                  <a:pt x="8264262" y="2830583"/>
                  <a:pt x="8266274" y="3032290"/>
                  <a:pt x="8268743" y="3034760"/>
                </a:cubicBezTo>
                <a:cubicBezTo>
                  <a:pt x="8276331" y="3042322"/>
                  <a:pt x="8282595" y="3039954"/>
                  <a:pt x="8305561" y="3020705"/>
                </a:cubicBezTo>
                <a:close/>
                <a:moveTo>
                  <a:pt x="9241080" y="3033589"/>
                </a:moveTo>
                <a:cubicBezTo>
                  <a:pt x="9241080" y="3025136"/>
                  <a:pt x="8790250" y="2613471"/>
                  <a:pt x="8783757" y="2616017"/>
                </a:cubicBezTo>
                <a:cubicBezTo>
                  <a:pt x="8772707" y="2620320"/>
                  <a:pt x="8331609" y="3027351"/>
                  <a:pt x="8331609" y="3033232"/>
                </a:cubicBezTo>
                <a:cubicBezTo>
                  <a:pt x="8331609" y="3036695"/>
                  <a:pt x="8524379" y="3039241"/>
                  <a:pt x="8786354" y="3039241"/>
                </a:cubicBezTo>
                <a:cubicBezTo>
                  <a:pt x="9036449" y="3039241"/>
                  <a:pt x="9241080" y="3036695"/>
                  <a:pt x="9241080" y="3033589"/>
                </a:cubicBezTo>
                <a:close/>
                <a:moveTo>
                  <a:pt x="9360597" y="3017344"/>
                </a:moveTo>
                <a:cubicBezTo>
                  <a:pt x="9419694" y="2969604"/>
                  <a:pt x="9820438" y="2597735"/>
                  <a:pt x="9820438" y="2590657"/>
                </a:cubicBezTo>
                <a:cubicBezTo>
                  <a:pt x="9820438" y="2579250"/>
                  <a:pt x="9315647" y="2121958"/>
                  <a:pt x="9308174" y="2126592"/>
                </a:cubicBezTo>
                <a:cubicBezTo>
                  <a:pt x="9300836" y="2131124"/>
                  <a:pt x="9298888" y="3027452"/>
                  <a:pt x="9306201" y="3034760"/>
                </a:cubicBezTo>
                <a:cubicBezTo>
                  <a:pt x="9315805" y="3044359"/>
                  <a:pt x="9334619" y="3038350"/>
                  <a:pt x="9360597" y="3017344"/>
                </a:cubicBezTo>
                <a:close/>
                <a:moveTo>
                  <a:pt x="10311098" y="3033538"/>
                </a:moveTo>
                <a:cubicBezTo>
                  <a:pt x="10309863" y="3030381"/>
                  <a:pt x="10204984" y="2933219"/>
                  <a:pt x="10078032" y="2817597"/>
                </a:cubicBezTo>
                <a:cubicBezTo>
                  <a:pt x="9928141" y="2681097"/>
                  <a:pt x="9844288" y="2609168"/>
                  <a:pt x="9838878" y="2612452"/>
                </a:cubicBezTo>
                <a:cubicBezTo>
                  <a:pt x="9821765" y="2622841"/>
                  <a:pt x="9382550" y="3028165"/>
                  <a:pt x="9382550" y="3033589"/>
                </a:cubicBezTo>
                <a:cubicBezTo>
                  <a:pt x="9382550" y="3036695"/>
                  <a:pt x="9591978" y="3039241"/>
                  <a:pt x="9847947" y="3039241"/>
                </a:cubicBezTo>
                <a:cubicBezTo>
                  <a:pt x="10103916" y="3039241"/>
                  <a:pt x="10312333" y="3036669"/>
                  <a:pt x="10311098" y="3033538"/>
                </a:cubicBezTo>
                <a:close/>
                <a:moveTo>
                  <a:pt x="10784039" y="2668774"/>
                </a:moveTo>
                <a:cubicBezTo>
                  <a:pt x="11000660" y="2471852"/>
                  <a:pt x="11187849" y="2300266"/>
                  <a:pt x="11200020" y="2287459"/>
                </a:cubicBezTo>
                <a:lnTo>
                  <a:pt x="11222148" y="2264212"/>
                </a:lnTo>
                <a:lnTo>
                  <a:pt x="11220229" y="2195313"/>
                </a:lnTo>
                <a:lnTo>
                  <a:pt x="11218311" y="2126414"/>
                </a:lnTo>
                <a:lnTo>
                  <a:pt x="10798018" y="2124683"/>
                </a:lnTo>
                <a:cubicBezTo>
                  <a:pt x="10493180" y="2123409"/>
                  <a:pt x="10375203" y="2125039"/>
                  <a:pt x="10368550" y="2130564"/>
                </a:cubicBezTo>
                <a:cubicBezTo>
                  <a:pt x="10360980" y="2136828"/>
                  <a:pt x="10359379" y="2216090"/>
                  <a:pt x="10359379" y="2584215"/>
                </a:cubicBezTo>
                <a:cubicBezTo>
                  <a:pt x="10359379" y="2829539"/>
                  <a:pt x="10361293" y="3032163"/>
                  <a:pt x="10363633" y="3034505"/>
                </a:cubicBezTo>
                <a:cubicBezTo>
                  <a:pt x="10365973" y="3036848"/>
                  <a:pt x="10372904" y="3036084"/>
                  <a:pt x="10379038" y="3032799"/>
                </a:cubicBezTo>
                <a:cubicBezTo>
                  <a:pt x="10385169" y="3029515"/>
                  <a:pt x="10567421" y="2865720"/>
                  <a:pt x="10784039" y="2668774"/>
                </a:cubicBezTo>
                <a:close/>
                <a:moveTo>
                  <a:pt x="11220058" y="2675852"/>
                </a:moveTo>
                <a:cubicBezTo>
                  <a:pt x="11221015" y="2477836"/>
                  <a:pt x="11219498" y="2313736"/>
                  <a:pt x="11216689" y="2311139"/>
                </a:cubicBezTo>
                <a:cubicBezTo>
                  <a:pt x="11211505" y="2306377"/>
                  <a:pt x="10425818" y="3018439"/>
                  <a:pt x="10421301" y="3031985"/>
                </a:cubicBezTo>
                <a:cubicBezTo>
                  <a:pt x="10419542" y="3037281"/>
                  <a:pt x="10531958" y="3038860"/>
                  <a:pt x="10818580" y="3037612"/>
                </a:cubicBezTo>
                <a:lnTo>
                  <a:pt x="11218314" y="3035880"/>
                </a:lnTo>
                <a:close/>
                <a:moveTo>
                  <a:pt x="8244046" y="2597430"/>
                </a:moveTo>
                <a:cubicBezTo>
                  <a:pt x="8244046" y="2337033"/>
                  <a:pt x="8241576" y="2163257"/>
                  <a:pt x="8237884" y="2164581"/>
                </a:cubicBezTo>
                <a:cubicBezTo>
                  <a:pt x="8221283" y="2170615"/>
                  <a:pt x="7765722" y="2592465"/>
                  <a:pt x="7767275" y="2600333"/>
                </a:cubicBezTo>
                <a:cubicBezTo>
                  <a:pt x="7769643" y="2612095"/>
                  <a:pt x="8224516" y="3031399"/>
                  <a:pt x="8235618" y="3032036"/>
                </a:cubicBezTo>
                <a:cubicBezTo>
                  <a:pt x="8242263" y="3032418"/>
                  <a:pt x="8244046" y="2941265"/>
                  <a:pt x="8244046" y="2597430"/>
                </a:cubicBezTo>
                <a:close/>
                <a:moveTo>
                  <a:pt x="10337532" y="2572732"/>
                </a:moveTo>
                <a:lnTo>
                  <a:pt x="10335801" y="2126414"/>
                </a:lnTo>
                <a:lnTo>
                  <a:pt x="9845126" y="2124683"/>
                </a:lnTo>
                <a:cubicBezTo>
                  <a:pt x="9575255" y="2123740"/>
                  <a:pt x="9355469" y="2125523"/>
                  <a:pt x="9356712" y="2128680"/>
                </a:cubicBezTo>
                <a:cubicBezTo>
                  <a:pt x="9357954" y="2131812"/>
                  <a:pt x="9466592" y="2232156"/>
                  <a:pt x="9598127" y="2351648"/>
                </a:cubicBezTo>
                <a:cubicBezTo>
                  <a:pt x="9729662" y="2471165"/>
                  <a:pt x="9863048" y="2592694"/>
                  <a:pt x="9894545" y="2621771"/>
                </a:cubicBezTo>
                <a:cubicBezTo>
                  <a:pt x="10085276" y="2797788"/>
                  <a:pt x="10329815" y="3018668"/>
                  <a:pt x="10334164" y="3018846"/>
                </a:cubicBezTo>
                <a:cubicBezTo>
                  <a:pt x="10336970" y="3018948"/>
                  <a:pt x="10338485" y="2818183"/>
                  <a:pt x="10337532" y="2572732"/>
                </a:cubicBezTo>
                <a:close/>
                <a:moveTo>
                  <a:pt x="7193114" y="2591242"/>
                </a:moveTo>
                <a:cubicBezTo>
                  <a:pt x="7193114" y="2363386"/>
                  <a:pt x="7190797" y="2176929"/>
                  <a:pt x="7187996" y="2176929"/>
                </a:cubicBezTo>
                <a:cubicBezTo>
                  <a:pt x="7179797" y="2176929"/>
                  <a:pt x="6738368" y="2583426"/>
                  <a:pt x="6738368" y="2590937"/>
                </a:cubicBezTo>
                <a:cubicBezTo>
                  <a:pt x="6738368" y="2598576"/>
                  <a:pt x="7179543" y="3005555"/>
                  <a:pt x="7187818" y="3005555"/>
                </a:cubicBezTo>
                <a:cubicBezTo>
                  <a:pt x="7190721" y="3005555"/>
                  <a:pt x="7193114" y="2819125"/>
                  <a:pt x="7193114" y="2591242"/>
                </a:cubicBezTo>
                <a:close/>
                <a:moveTo>
                  <a:pt x="6155651" y="2583961"/>
                </a:moveTo>
                <a:cubicBezTo>
                  <a:pt x="6155651" y="2314932"/>
                  <a:pt x="6153309" y="2169877"/>
                  <a:pt x="6149031" y="2171328"/>
                </a:cubicBezTo>
                <a:cubicBezTo>
                  <a:pt x="6132354" y="2176981"/>
                  <a:pt x="5703731" y="2576525"/>
                  <a:pt x="5705590" y="2584699"/>
                </a:cubicBezTo>
                <a:cubicBezTo>
                  <a:pt x="5707805" y="2594527"/>
                  <a:pt x="6142055" y="2998553"/>
                  <a:pt x="6150610" y="2998732"/>
                </a:cubicBezTo>
                <a:cubicBezTo>
                  <a:pt x="6153385" y="2998783"/>
                  <a:pt x="6155651" y="2812123"/>
                  <a:pt x="6155651" y="2583961"/>
                </a:cubicBezTo>
                <a:close/>
                <a:moveTo>
                  <a:pt x="7995158" y="2353990"/>
                </a:moveTo>
                <a:cubicBezTo>
                  <a:pt x="8128348" y="2232691"/>
                  <a:pt x="8237298" y="2131099"/>
                  <a:pt x="8237298" y="2128247"/>
                </a:cubicBezTo>
                <a:cubicBezTo>
                  <a:pt x="8237298" y="2122264"/>
                  <a:pt x="7258016" y="2121016"/>
                  <a:pt x="7252058" y="2126974"/>
                </a:cubicBezTo>
                <a:cubicBezTo>
                  <a:pt x="7245743" y="2133288"/>
                  <a:pt x="7734506" y="2580625"/>
                  <a:pt x="7744232" y="2577442"/>
                </a:cubicBezTo>
                <a:cubicBezTo>
                  <a:pt x="7749070" y="2575838"/>
                  <a:pt x="7861993" y="2475290"/>
                  <a:pt x="7995158" y="2353990"/>
                </a:cubicBezTo>
                <a:close/>
                <a:moveTo>
                  <a:pt x="6953341" y="2358828"/>
                </a:moveTo>
                <a:cubicBezTo>
                  <a:pt x="7081337" y="2242112"/>
                  <a:pt x="7186137" y="2142836"/>
                  <a:pt x="7186214" y="2138202"/>
                </a:cubicBezTo>
                <a:cubicBezTo>
                  <a:pt x="7186341" y="2131557"/>
                  <a:pt x="7086862" y="2129775"/>
                  <a:pt x="6710869" y="2129775"/>
                </a:cubicBezTo>
                <a:cubicBezTo>
                  <a:pt x="6449352" y="2129775"/>
                  <a:pt x="6236390" y="2132295"/>
                  <a:pt x="6237612" y="2135376"/>
                </a:cubicBezTo>
                <a:cubicBezTo>
                  <a:pt x="6241406" y="2144848"/>
                  <a:pt x="6711124" y="2574005"/>
                  <a:pt x="6716013" y="2572477"/>
                </a:cubicBezTo>
                <a:cubicBezTo>
                  <a:pt x="6718558" y="2571688"/>
                  <a:pt x="6825345" y="2475545"/>
                  <a:pt x="6953341" y="2358828"/>
                </a:cubicBezTo>
                <a:close/>
                <a:moveTo>
                  <a:pt x="7179645" y="2103498"/>
                </a:moveTo>
                <a:cubicBezTo>
                  <a:pt x="7179645" y="2092549"/>
                  <a:pt x="6707457" y="1663724"/>
                  <a:pt x="6699233" y="1667237"/>
                </a:cubicBezTo>
                <a:cubicBezTo>
                  <a:pt x="6688132" y="1671998"/>
                  <a:pt x="6226918" y="2095147"/>
                  <a:pt x="6224143" y="2103116"/>
                </a:cubicBezTo>
                <a:cubicBezTo>
                  <a:pt x="6222717" y="2107190"/>
                  <a:pt x="6398479" y="2109583"/>
                  <a:pt x="6700761" y="2109583"/>
                </a:cubicBezTo>
                <a:cubicBezTo>
                  <a:pt x="6980254" y="2109583"/>
                  <a:pt x="7179645" y="2107037"/>
                  <a:pt x="7179645" y="2103498"/>
                </a:cubicBezTo>
                <a:close/>
                <a:moveTo>
                  <a:pt x="9286600" y="1659319"/>
                </a:moveTo>
                <a:cubicBezTo>
                  <a:pt x="9287759" y="1360754"/>
                  <a:pt x="9286076" y="1213179"/>
                  <a:pt x="9281531" y="1214706"/>
                </a:cubicBezTo>
                <a:cubicBezTo>
                  <a:pt x="9277788" y="1215954"/>
                  <a:pt x="9173179" y="1309296"/>
                  <a:pt x="9049063" y="1422143"/>
                </a:cubicBezTo>
                <a:cubicBezTo>
                  <a:pt x="8877915" y="1577739"/>
                  <a:pt x="8823401" y="1631056"/>
                  <a:pt x="8823401" y="1642769"/>
                </a:cubicBezTo>
                <a:cubicBezTo>
                  <a:pt x="8823401" y="1654761"/>
                  <a:pt x="8819633" y="1658224"/>
                  <a:pt x="8806520" y="1658224"/>
                </a:cubicBezTo>
                <a:cubicBezTo>
                  <a:pt x="8793764" y="1658224"/>
                  <a:pt x="8730670" y="1711948"/>
                  <a:pt x="8548822" y="1877729"/>
                </a:cubicBezTo>
                <a:cubicBezTo>
                  <a:pt x="8416396" y="1998469"/>
                  <a:pt x="8307013" y="2100035"/>
                  <a:pt x="8305790" y="2103447"/>
                </a:cubicBezTo>
                <a:cubicBezTo>
                  <a:pt x="8304415" y="2107216"/>
                  <a:pt x="8497288" y="2108973"/>
                  <a:pt x="8794197" y="2107928"/>
                </a:cubicBezTo>
                <a:lnTo>
                  <a:pt x="9284867" y="2106197"/>
                </a:lnTo>
                <a:close/>
                <a:moveTo>
                  <a:pt x="10311098" y="2096852"/>
                </a:moveTo>
                <a:cubicBezTo>
                  <a:pt x="10309863" y="2093542"/>
                  <a:pt x="10201233" y="1991466"/>
                  <a:pt x="10069698" y="1869989"/>
                </a:cubicBezTo>
                <a:cubicBezTo>
                  <a:pt x="9938163" y="1748511"/>
                  <a:pt x="9828466" y="1646002"/>
                  <a:pt x="9825928" y="1642183"/>
                </a:cubicBezTo>
                <a:cubicBezTo>
                  <a:pt x="9823389" y="1638364"/>
                  <a:pt x="9823389" y="1631845"/>
                  <a:pt x="9825928" y="1627670"/>
                </a:cubicBezTo>
                <a:cubicBezTo>
                  <a:pt x="9828466" y="1623494"/>
                  <a:pt x="9941745" y="1518312"/>
                  <a:pt x="10077658" y="1393931"/>
                </a:cubicBezTo>
                <a:cubicBezTo>
                  <a:pt x="10213567" y="1269525"/>
                  <a:pt x="10322956" y="1165947"/>
                  <a:pt x="10320740" y="1163732"/>
                </a:cubicBezTo>
                <a:cubicBezTo>
                  <a:pt x="10318525" y="1161517"/>
                  <a:pt x="10097841" y="1159683"/>
                  <a:pt x="9830330" y="1159683"/>
                </a:cubicBezTo>
                <a:cubicBezTo>
                  <a:pt x="9348470" y="1159683"/>
                  <a:pt x="9343782" y="1159811"/>
                  <a:pt x="9326196" y="1173662"/>
                </a:cubicBezTo>
                <a:lnTo>
                  <a:pt x="9308447" y="1187615"/>
                </a:lnTo>
                <a:lnTo>
                  <a:pt x="9308447" y="1638160"/>
                </a:lnTo>
                <a:cubicBezTo>
                  <a:pt x="9308447" y="2060137"/>
                  <a:pt x="9309193" y="2089137"/>
                  <a:pt x="9320235" y="2095554"/>
                </a:cubicBezTo>
                <a:cubicBezTo>
                  <a:pt x="9335202" y="2104287"/>
                  <a:pt x="10314362" y="2105561"/>
                  <a:pt x="10311098" y="2096852"/>
                </a:cubicBezTo>
                <a:close/>
                <a:moveTo>
                  <a:pt x="11220325" y="2049010"/>
                </a:moveTo>
                <a:cubicBezTo>
                  <a:pt x="11221433" y="2021282"/>
                  <a:pt x="11220771" y="1992332"/>
                  <a:pt x="11218854" y="1984694"/>
                </a:cubicBezTo>
                <a:cubicBezTo>
                  <a:pt x="11215905" y="1972956"/>
                  <a:pt x="10386536" y="1184789"/>
                  <a:pt x="10363842" y="1172185"/>
                </a:cubicBezTo>
                <a:cubicBezTo>
                  <a:pt x="10355396" y="1167475"/>
                  <a:pt x="9858827" y="1617536"/>
                  <a:pt x="9855598" y="1632813"/>
                </a:cubicBezTo>
                <a:cubicBezTo>
                  <a:pt x="9854557" y="1637752"/>
                  <a:pt x="9966026" y="1745532"/>
                  <a:pt x="10103305" y="1872357"/>
                </a:cubicBezTo>
                <a:lnTo>
                  <a:pt x="10352909" y="2102938"/>
                </a:lnTo>
                <a:lnTo>
                  <a:pt x="10785610" y="2101206"/>
                </a:lnTo>
                <a:lnTo>
                  <a:pt x="11218314" y="2099475"/>
                </a:lnTo>
                <a:close/>
                <a:moveTo>
                  <a:pt x="7484472" y="1872688"/>
                </a:moveTo>
                <a:cubicBezTo>
                  <a:pt x="7618783" y="1749784"/>
                  <a:pt x="7729516" y="1645952"/>
                  <a:pt x="7730534" y="1641902"/>
                </a:cubicBezTo>
                <a:cubicBezTo>
                  <a:pt x="7732189" y="1635435"/>
                  <a:pt x="7265909" y="1198665"/>
                  <a:pt x="7242128" y="1184432"/>
                </a:cubicBezTo>
                <a:cubicBezTo>
                  <a:pt x="7236679" y="1181148"/>
                  <a:pt x="7228786" y="1182192"/>
                  <a:pt x="7223082" y="1186928"/>
                </a:cubicBezTo>
                <a:cubicBezTo>
                  <a:pt x="7214731" y="1193853"/>
                  <a:pt x="7213331" y="1259977"/>
                  <a:pt x="7213331" y="1641062"/>
                </a:cubicBezTo>
                <a:cubicBezTo>
                  <a:pt x="7213331" y="1886386"/>
                  <a:pt x="7215342" y="2089137"/>
                  <a:pt x="7217812" y="2091608"/>
                </a:cubicBezTo>
                <a:cubicBezTo>
                  <a:pt x="7220281" y="2094077"/>
                  <a:pt x="7226341" y="2096089"/>
                  <a:pt x="7231281" y="2096089"/>
                </a:cubicBezTo>
                <a:cubicBezTo>
                  <a:pt x="7236221" y="2096089"/>
                  <a:pt x="7350162" y="1995566"/>
                  <a:pt x="7484472" y="1872688"/>
                </a:cubicBezTo>
                <a:close/>
                <a:moveTo>
                  <a:pt x="8219170" y="2091047"/>
                </a:moveTo>
                <a:cubicBezTo>
                  <a:pt x="8222734" y="2084758"/>
                  <a:pt x="7764449" y="1661585"/>
                  <a:pt x="7754086" y="1661585"/>
                </a:cubicBezTo>
                <a:cubicBezTo>
                  <a:pt x="7746371" y="1661585"/>
                  <a:pt x="7285871" y="2079513"/>
                  <a:pt x="7281823" y="2090182"/>
                </a:cubicBezTo>
                <a:cubicBezTo>
                  <a:pt x="7279073" y="2097387"/>
                  <a:pt x="8215070" y="2098253"/>
                  <a:pt x="8219170" y="2091047"/>
                </a:cubicBezTo>
                <a:close/>
                <a:moveTo>
                  <a:pt x="8774769" y="1633959"/>
                </a:moveTo>
                <a:cubicBezTo>
                  <a:pt x="8771688" y="1620999"/>
                  <a:pt x="8283740" y="1179543"/>
                  <a:pt x="8277095" y="1183669"/>
                </a:cubicBezTo>
                <a:cubicBezTo>
                  <a:pt x="8270373" y="1187819"/>
                  <a:pt x="8268362" y="2084478"/>
                  <a:pt x="8275058" y="2091175"/>
                </a:cubicBezTo>
                <a:cubicBezTo>
                  <a:pt x="8281016" y="2097158"/>
                  <a:pt x="8777035" y="1643328"/>
                  <a:pt x="8774769" y="1633959"/>
                </a:cubicBezTo>
                <a:close/>
                <a:moveTo>
                  <a:pt x="7193114" y="1644169"/>
                </a:moveTo>
                <a:cubicBezTo>
                  <a:pt x="7193114" y="1387337"/>
                  <a:pt x="7190644" y="1220079"/>
                  <a:pt x="7186901" y="1221453"/>
                </a:cubicBezTo>
                <a:cubicBezTo>
                  <a:pt x="7169358" y="1227768"/>
                  <a:pt x="6727725" y="1640171"/>
                  <a:pt x="6729558" y="1648497"/>
                </a:cubicBezTo>
                <a:cubicBezTo>
                  <a:pt x="6731977" y="1659700"/>
                  <a:pt x="7176895" y="2069151"/>
                  <a:pt x="7186621" y="2069151"/>
                </a:cubicBezTo>
                <a:cubicBezTo>
                  <a:pt x="7190721" y="2069151"/>
                  <a:pt x="7193114" y="1912637"/>
                  <a:pt x="7193114" y="1644169"/>
                </a:cubicBezTo>
                <a:close/>
                <a:moveTo>
                  <a:pt x="8244046" y="1645136"/>
                </a:moveTo>
                <a:cubicBezTo>
                  <a:pt x="8244046" y="1411933"/>
                  <a:pt x="8241780" y="1219748"/>
                  <a:pt x="8238979" y="1218067"/>
                </a:cubicBezTo>
                <a:cubicBezTo>
                  <a:pt x="8236203" y="1216361"/>
                  <a:pt x="8129774" y="1310544"/>
                  <a:pt x="8002439" y="1427312"/>
                </a:cubicBezTo>
                <a:lnTo>
                  <a:pt x="7770967" y="1639637"/>
                </a:lnTo>
                <a:lnTo>
                  <a:pt x="7793603" y="1661967"/>
                </a:lnTo>
                <a:cubicBezTo>
                  <a:pt x="7850331" y="1717906"/>
                  <a:pt x="8234497" y="2069099"/>
                  <a:pt x="8238979" y="2069125"/>
                </a:cubicBezTo>
                <a:cubicBezTo>
                  <a:pt x="8241780" y="2069151"/>
                  <a:pt x="8244046" y="1878340"/>
                  <a:pt x="8244046" y="1645136"/>
                </a:cubicBezTo>
                <a:close/>
                <a:moveTo>
                  <a:pt x="11220053" y="1546676"/>
                </a:moveTo>
                <a:lnTo>
                  <a:pt x="11218314" y="1163070"/>
                </a:lnTo>
                <a:lnTo>
                  <a:pt x="10805109" y="1161338"/>
                </a:lnTo>
                <a:cubicBezTo>
                  <a:pt x="10577848" y="1160371"/>
                  <a:pt x="10392924" y="1162179"/>
                  <a:pt x="10394169" y="1165336"/>
                </a:cubicBezTo>
                <a:cubicBezTo>
                  <a:pt x="10399514" y="1178881"/>
                  <a:pt x="11212066" y="1939143"/>
                  <a:pt x="11216687" y="1934941"/>
                </a:cubicBezTo>
                <a:cubicBezTo>
                  <a:pt x="11219495" y="1932370"/>
                  <a:pt x="11221010" y="1757652"/>
                  <a:pt x="11220053" y="1546650"/>
                </a:cubicBezTo>
                <a:close/>
                <a:moveTo>
                  <a:pt x="7984973" y="1415319"/>
                </a:moveTo>
                <a:cubicBezTo>
                  <a:pt x="8226604" y="1194974"/>
                  <a:pt x="8246388" y="1175674"/>
                  <a:pt x="8240481" y="1166100"/>
                </a:cubicBezTo>
                <a:cubicBezTo>
                  <a:pt x="8234676" y="1156755"/>
                  <a:pt x="7258601" y="1157443"/>
                  <a:pt x="7261733" y="1166813"/>
                </a:cubicBezTo>
                <a:cubicBezTo>
                  <a:pt x="7266138" y="1180078"/>
                  <a:pt x="7742068" y="1616950"/>
                  <a:pt x="7752558" y="1617358"/>
                </a:cubicBezTo>
                <a:cubicBezTo>
                  <a:pt x="7758287" y="1617587"/>
                  <a:pt x="7862884" y="1526688"/>
                  <a:pt x="7984973" y="1415319"/>
                </a:cubicBezTo>
                <a:close/>
                <a:moveTo>
                  <a:pt x="9033875" y="1408114"/>
                </a:moveTo>
                <a:cubicBezTo>
                  <a:pt x="9281954" y="1182726"/>
                  <a:pt x="9290081" y="1174859"/>
                  <a:pt x="9284434" y="1165718"/>
                </a:cubicBezTo>
                <a:cubicBezTo>
                  <a:pt x="9278641" y="1156348"/>
                  <a:pt x="8302939" y="1157825"/>
                  <a:pt x="8306045" y="1167220"/>
                </a:cubicBezTo>
                <a:cubicBezTo>
                  <a:pt x="8309049" y="1176157"/>
                  <a:pt x="8790836" y="1617078"/>
                  <a:pt x="8798092" y="1617511"/>
                </a:cubicBezTo>
                <a:cubicBezTo>
                  <a:pt x="8800842" y="1617663"/>
                  <a:pt x="8906941" y="1523430"/>
                  <a:pt x="9033875" y="1408114"/>
                </a:cubicBezTo>
                <a:close/>
                <a:moveTo>
                  <a:pt x="8225586" y="1135495"/>
                </a:moveTo>
                <a:cubicBezTo>
                  <a:pt x="8230424" y="1130657"/>
                  <a:pt x="7759433" y="700202"/>
                  <a:pt x="7752355" y="703002"/>
                </a:cubicBezTo>
                <a:cubicBezTo>
                  <a:pt x="7739751" y="707993"/>
                  <a:pt x="7282230" y="1132058"/>
                  <a:pt x="7285718" y="1135546"/>
                </a:cubicBezTo>
                <a:cubicBezTo>
                  <a:pt x="7290912" y="1140740"/>
                  <a:pt x="8220392" y="1140689"/>
                  <a:pt x="8225586" y="1135495"/>
                </a:cubicBezTo>
                <a:close/>
                <a:moveTo>
                  <a:pt x="9260166" y="1132949"/>
                </a:moveTo>
                <a:cubicBezTo>
                  <a:pt x="9256533" y="1122356"/>
                  <a:pt x="8802013" y="700838"/>
                  <a:pt x="8796539" y="703002"/>
                </a:cubicBezTo>
                <a:cubicBezTo>
                  <a:pt x="8783936" y="707993"/>
                  <a:pt x="8326440" y="1132058"/>
                  <a:pt x="8329928" y="1135546"/>
                </a:cubicBezTo>
                <a:cubicBezTo>
                  <a:pt x="8336981" y="1142599"/>
                  <a:pt x="9262593" y="1140002"/>
                  <a:pt x="9260166" y="1132949"/>
                </a:cubicBezTo>
                <a:close/>
                <a:moveTo>
                  <a:pt x="10318958" y="1133280"/>
                </a:moveTo>
                <a:cubicBezTo>
                  <a:pt x="10318958" y="1125132"/>
                  <a:pt x="9862315" y="694855"/>
                  <a:pt x="9853653" y="694855"/>
                </a:cubicBezTo>
                <a:cubicBezTo>
                  <a:pt x="9846374" y="694855"/>
                  <a:pt x="9373860" y="1123477"/>
                  <a:pt x="9370199" y="1133382"/>
                </a:cubicBezTo>
                <a:cubicBezTo>
                  <a:pt x="9368875" y="1136997"/>
                  <a:pt x="9562995" y="1139492"/>
                  <a:pt x="9843456" y="1139492"/>
                </a:cubicBezTo>
                <a:cubicBezTo>
                  <a:pt x="10128563" y="1139492"/>
                  <a:pt x="10318958" y="1136997"/>
                  <a:pt x="10318958" y="1133280"/>
                </a:cubicBezTo>
                <a:close/>
                <a:moveTo>
                  <a:pt x="11220241" y="1074463"/>
                </a:moveTo>
                <a:cubicBezTo>
                  <a:pt x="11222001" y="1018168"/>
                  <a:pt x="11220827" y="1011344"/>
                  <a:pt x="11206767" y="996016"/>
                </a:cubicBezTo>
                <a:cubicBezTo>
                  <a:pt x="11198296" y="986773"/>
                  <a:pt x="11119214" y="916677"/>
                  <a:pt x="11031028" y="840267"/>
                </a:cubicBezTo>
                <a:cubicBezTo>
                  <a:pt x="10924580" y="747994"/>
                  <a:pt x="10867795" y="703053"/>
                  <a:pt x="10862074" y="706491"/>
                </a:cubicBezTo>
                <a:cubicBezTo>
                  <a:pt x="10844149" y="717312"/>
                  <a:pt x="10399799" y="1127806"/>
                  <a:pt x="10399799" y="1133560"/>
                </a:cubicBezTo>
                <a:cubicBezTo>
                  <a:pt x="10399799" y="1137048"/>
                  <a:pt x="10571658" y="1138856"/>
                  <a:pt x="10809055" y="1137863"/>
                </a:cubicBezTo>
                <a:lnTo>
                  <a:pt x="11218314" y="1136106"/>
                </a:lnTo>
                <a:close/>
              </a:path>
            </a:pathLst>
          </a:custGeom>
          <a:gradFill flip="none" rotWithShape="1">
            <a:gsLst>
              <a:gs pos="30000">
                <a:schemeClr val="accent2"/>
              </a:gs>
              <a:gs pos="44000">
                <a:schemeClr val="accent4">
                  <a:lumMod val="75000"/>
                </a:schemeClr>
              </a:gs>
              <a:gs pos="9000">
                <a:schemeClr val="accent1"/>
              </a:gs>
              <a:gs pos="64000">
                <a:schemeClr val="bg1">
                  <a:alpha val="0"/>
                </a:schemeClr>
              </a:gs>
            </a:gsLst>
            <a:lin ang="13500000" scaled="1"/>
            <a:tileRect/>
          </a:gradFill>
          <a:ln w="6735" cap="flat">
            <a:noFill/>
            <a:prstDash val="solid"/>
            <a:miter/>
          </a:ln>
        </p:spPr>
        <p:txBody>
          <a:bodyPr rtlCol="0" anchor="ctr"/>
          <a:lstStyle/>
          <a:p>
            <a:endParaRPr lang="en-US"/>
          </a:p>
        </p:txBody>
      </p:sp>
    </p:spTree>
    <p:extLst>
      <p:ext uri="{BB962C8B-B14F-4D97-AF65-F5344CB8AC3E}">
        <p14:creationId xmlns:p14="http://schemas.microsoft.com/office/powerpoint/2010/main" val="42379063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F57119-A272-4D5A-B071-55A9CDBB28C1}"/>
              </a:ext>
            </a:extLst>
          </p:cNvPr>
          <p:cNvSpPr>
            <a:spLocks noGrp="1"/>
          </p:cNvSpPr>
          <p:nvPr>
            <p:ph type="title"/>
          </p:nvPr>
        </p:nvSpPr>
        <p:spPr>
          <a:xfrm>
            <a:off x="344487" y="41020"/>
            <a:ext cx="10670985" cy="420624"/>
          </a:xfrm>
          <a:prstGeom prst="rect">
            <a:avLst/>
          </a:prstGeom>
        </p:spPr>
        <p:txBody>
          <a:bodyPr lIns="0" rIns="0" anchor="b"/>
          <a:lstStyle/>
          <a:p>
            <a:r>
              <a:rPr lang="en-US"/>
              <a:t>Click to edit Master title style</a:t>
            </a:r>
            <a:endParaRPr lang="en-IN"/>
          </a:p>
        </p:txBody>
      </p:sp>
      <p:sp>
        <p:nvSpPr>
          <p:cNvPr id="4" name="Text Placeholder 3">
            <a:extLst>
              <a:ext uri="{FF2B5EF4-FFF2-40B4-BE49-F238E27FC236}">
                <a16:creationId xmlns:a16="http://schemas.microsoft.com/office/drawing/2014/main" id="{BEAAAB35-9F47-466B-AA6C-FFC46D91DB65}"/>
              </a:ext>
            </a:extLst>
          </p:cNvPr>
          <p:cNvSpPr>
            <a:spLocks noGrp="1"/>
          </p:cNvSpPr>
          <p:nvPr>
            <p:ph type="body" sz="quarter" idx="10"/>
          </p:nvPr>
        </p:nvSpPr>
        <p:spPr>
          <a:xfrm>
            <a:off x="344488" y="511175"/>
            <a:ext cx="10670984" cy="288925"/>
          </a:xfrm>
        </p:spPr>
        <p:txBody>
          <a:bodyPr lIns="0" rIns="0"/>
          <a:lstStyle>
            <a:lvl1pPr marL="0" indent="0">
              <a:buNone/>
              <a:defRPr sz="1400" b="1">
                <a:solidFill>
                  <a:srgbClr val="595959"/>
                </a:solidFill>
                <a:latin typeface="Segoe UI Semibold" panose="020B0702040204020203" pitchFamily="34" charset="0"/>
                <a:cs typeface="Segoe UI Semibold" panose="020B0702040204020203" pitchFamily="34" charset="0"/>
              </a:defRPr>
            </a:lvl1pPr>
            <a:lvl2pPr marL="228600" indent="0">
              <a:buNone/>
              <a:defRPr>
                <a:solidFill>
                  <a:schemeClr val="bg1">
                    <a:lumMod val="50000"/>
                  </a:schemeClr>
                </a:solidFill>
              </a:defRPr>
            </a:lvl2pPr>
            <a:lvl3pPr marL="457200" indent="0">
              <a:buNone/>
              <a:defRPr>
                <a:solidFill>
                  <a:schemeClr val="bg1">
                    <a:lumMod val="50000"/>
                  </a:schemeClr>
                </a:solidFill>
              </a:defRPr>
            </a:lvl3pPr>
            <a:lvl4pPr marL="685800" indent="0">
              <a:buNone/>
              <a:defRPr>
                <a:solidFill>
                  <a:schemeClr val="bg1">
                    <a:lumMod val="50000"/>
                  </a:schemeClr>
                </a:solidFill>
              </a:defRPr>
            </a:lvl4pPr>
            <a:lvl5pPr marL="914400" indent="0">
              <a:buNone/>
              <a:defRPr>
                <a:solidFill>
                  <a:schemeClr val="bg1">
                    <a:lumMod val="50000"/>
                  </a:schemeClr>
                </a:solidFill>
              </a:defRPr>
            </a:lvl5pPr>
          </a:lstStyle>
          <a:p>
            <a:pPr lvl="0"/>
            <a:r>
              <a:rPr lang="en-US"/>
              <a:t>Click to edit Master text styles</a:t>
            </a:r>
          </a:p>
        </p:txBody>
      </p:sp>
      <p:sp>
        <p:nvSpPr>
          <p:cNvPr id="6" name="Text Placeholder 5">
            <a:extLst>
              <a:ext uri="{FF2B5EF4-FFF2-40B4-BE49-F238E27FC236}">
                <a16:creationId xmlns:a16="http://schemas.microsoft.com/office/drawing/2014/main" id="{8F021CD9-0F6D-4950-B57A-4E4108C2AAC5}"/>
              </a:ext>
            </a:extLst>
          </p:cNvPr>
          <p:cNvSpPr>
            <a:spLocks noGrp="1"/>
          </p:cNvSpPr>
          <p:nvPr>
            <p:ph type="body" sz="quarter" idx="11" hasCustomPrompt="1"/>
          </p:nvPr>
        </p:nvSpPr>
        <p:spPr>
          <a:xfrm>
            <a:off x="3319463" y="6651625"/>
            <a:ext cx="1776412" cy="130175"/>
          </a:xfrm>
        </p:spPr>
        <p:txBody>
          <a:bodyPr lIns="36000" anchor="ctr"/>
          <a:lstStyle>
            <a:lvl1pPr marL="0" indent="0">
              <a:buNone/>
              <a:defRPr sz="800">
                <a:solidFill>
                  <a:schemeClr val="bg1"/>
                </a:solidFill>
              </a:defRPr>
            </a:lvl1pPr>
          </a:lstStyle>
          <a:p>
            <a:pPr lvl="0"/>
            <a:r>
              <a:rPr lang="en-US"/>
              <a:t>Footnotes</a:t>
            </a:r>
            <a:endParaRPr lang="en-IN"/>
          </a:p>
        </p:txBody>
      </p:sp>
    </p:spTree>
    <p:extLst>
      <p:ext uri="{BB962C8B-B14F-4D97-AF65-F5344CB8AC3E}">
        <p14:creationId xmlns:p14="http://schemas.microsoft.com/office/powerpoint/2010/main" val="21153705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sp>
        <p:nvSpPr>
          <p:cNvPr id="231" name="Rectangle 230">
            <a:extLst>
              <a:ext uri="{FF2B5EF4-FFF2-40B4-BE49-F238E27FC236}">
                <a16:creationId xmlns:a16="http://schemas.microsoft.com/office/drawing/2014/main" id="{E3E07557-3C3B-43A4-A269-12689DB40B0C}"/>
              </a:ext>
            </a:extLst>
          </p:cNvPr>
          <p:cNvSpPr/>
          <p:nvPr userDrawn="1"/>
        </p:nvSpPr>
        <p:spPr>
          <a:xfrm>
            <a:off x="287440" y="5641084"/>
            <a:ext cx="11617121" cy="1026416"/>
          </a:xfrm>
          <a:prstGeom prst="rect">
            <a:avLst/>
          </a:prstGeom>
        </p:spPr>
        <p:txBody>
          <a:bodyPr wrap="square" lIns="50695" tIns="50695" rIns="50695" bIns="50695">
            <a:spAutoFit/>
          </a:bodyPr>
          <a:lstStyle/>
          <a:p>
            <a:pPr algn="just">
              <a:lnSpc>
                <a:spcPct val="120000"/>
              </a:lnSpc>
              <a:spcBef>
                <a:spcPts val="100"/>
              </a:spcBef>
              <a:spcAft>
                <a:spcPts val="100"/>
              </a:spcAft>
            </a:pPr>
            <a:r>
              <a:rPr lang="en-US" sz="800" b="1">
                <a:latin typeface="+mj-lt"/>
                <a:cs typeface="Arial" pitchFamily="34" charset="0"/>
              </a:rPr>
              <a:t>Disclaimer:</a:t>
            </a:r>
          </a:p>
          <a:p>
            <a:pPr algn="just">
              <a:lnSpc>
                <a:spcPct val="120000"/>
              </a:lnSpc>
              <a:spcBef>
                <a:spcPts val="100"/>
              </a:spcBef>
              <a:spcAft>
                <a:spcPts val="100"/>
              </a:spcAft>
            </a:pPr>
            <a:r>
              <a:rPr lang="en-US" sz="800">
                <a:latin typeface="+mj-lt"/>
                <a:cs typeface="Arial" pitchFamily="34" charset="0"/>
              </a:rPr>
              <a:t>This presentation has been prepared by Equirus Capital Pvt. Ltd. (Equirus) for restricted distribution. No representation or warranty, e</a:t>
            </a:r>
            <a:r>
              <a:rPr lang="en-US" sz="800" b="1">
                <a:latin typeface="+mj-lt"/>
                <a:cs typeface="Arial" pitchFamily="34" charset="0"/>
              </a:rPr>
              <a:t>i</a:t>
            </a:r>
            <a:r>
              <a:rPr lang="en-US" sz="800">
                <a:latin typeface="+mj-lt"/>
                <a:cs typeface="Arial" pitchFamily="34" charset="0"/>
              </a:rPr>
              <a:t>ther expressed or implied, is made nor responsibility of any kind is accepted by Equirus Group company, its directors or employees either as to the accuracy or completeness of any information stated in this document. Neither Equirus nor any of its affiliates and/or their directors, officers, employees shall in any way be responsible or liable for any losses or damages whatsoever which any person may suffer or incur as a result of acting or otherwise relying upon anything stated or inferred in or omitted from this presentation.</a:t>
            </a:r>
          </a:p>
          <a:p>
            <a:pPr algn="just">
              <a:lnSpc>
                <a:spcPct val="120000"/>
              </a:lnSpc>
              <a:spcBef>
                <a:spcPts val="100"/>
              </a:spcBef>
              <a:spcAft>
                <a:spcPts val="100"/>
              </a:spcAft>
            </a:pPr>
            <a:r>
              <a:rPr lang="en-US" sz="800">
                <a:latin typeface="+mj-lt"/>
                <a:cs typeface="Arial" pitchFamily="34" charset="0"/>
              </a:rPr>
              <a:t>Opinions and projections found in this presentation reflect our opinion as of the presentation date and are subject to change without notice. This presentation is neither intended nor should be considered as an offer or solicitation, or as the basis for any contract, for purchase of any security, loan or other financial instrument. </a:t>
            </a:r>
          </a:p>
        </p:txBody>
      </p:sp>
      <p:sp>
        <p:nvSpPr>
          <p:cNvPr id="915" name="Rectangle 914">
            <a:extLst>
              <a:ext uri="{FF2B5EF4-FFF2-40B4-BE49-F238E27FC236}">
                <a16:creationId xmlns:a16="http://schemas.microsoft.com/office/drawing/2014/main" id="{B12CDB53-D1BF-426C-8EAE-0E589618A436}"/>
              </a:ext>
            </a:extLst>
          </p:cNvPr>
          <p:cNvSpPr/>
          <p:nvPr userDrawn="1"/>
        </p:nvSpPr>
        <p:spPr>
          <a:xfrm>
            <a:off x="4184650" y="564054"/>
            <a:ext cx="3822700" cy="477054"/>
          </a:xfrm>
          <a:prstGeom prst="rect">
            <a:avLst/>
          </a:prstGeom>
          <a:noFill/>
        </p:spPr>
        <p:txBody>
          <a:bodyPr wrap="square">
            <a:spAutoFit/>
          </a:bodyPr>
          <a:lstStyle/>
          <a:p>
            <a:pPr algn="ctr" defTabSz="1007521">
              <a:lnSpc>
                <a:spcPts val="1500"/>
              </a:lnSpc>
              <a:defRPr/>
            </a:pPr>
            <a:r>
              <a:rPr lang="en-US" sz="1100" b="1">
                <a:latin typeface="+mj-lt"/>
                <a:cs typeface="Arial" pitchFamily="34" charset="0"/>
              </a:rPr>
              <a:t>For any other queries write to us at </a:t>
            </a:r>
            <a:r>
              <a:rPr lang="en-US" sz="1100">
                <a:latin typeface="+mj-lt"/>
                <a:cs typeface="Arial" pitchFamily="34" charset="0"/>
              </a:rPr>
              <a:t> </a:t>
            </a:r>
          </a:p>
          <a:p>
            <a:pPr algn="ctr" defTabSz="1007521">
              <a:lnSpc>
                <a:spcPts val="1500"/>
              </a:lnSpc>
              <a:defRPr/>
            </a:pPr>
            <a:r>
              <a:rPr lang="en-US" sz="1100">
                <a:solidFill>
                  <a:schemeClr val="accent5"/>
                </a:solidFill>
                <a:latin typeface="+mj-lt"/>
                <a:cs typeface="Arial" pitchFamily="34" charset="0"/>
                <a:hlinkClick r:id="rId2"/>
              </a:rPr>
              <a:t>contact@equirus.com</a:t>
            </a:r>
            <a:r>
              <a:rPr lang="en-US" sz="1100">
                <a:solidFill>
                  <a:schemeClr val="accent5"/>
                </a:solidFill>
                <a:latin typeface="+mj-lt"/>
                <a:cs typeface="Arial" pitchFamily="34" charset="0"/>
              </a:rPr>
              <a:t> </a:t>
            </a:r>
          </a:p>
        </p:txBody>
      </p:sp>
      <p:grpSp>
        <p:nvGrpSpPr>
          <p:cNvPr id="4203" name="Group 4202">
            <a:extLst>
              <a:ext uri="{FF2B5EF4-FFF2-40B4-BE49-F238E27FC236}">
                <a16:creationId xmlns:a16="http://schemas.microsoft.com/office/drawing/2014/main" id="{AB1DF952-FCB6-2442-2943-BCC8F83791F4}"/>
              </a:ext>
            </a:extLst>
          </p:cNvPr>
          <p:cNvGrpSpPr/>
          <p:nvPr userDrawn="1"/>
        </p:nvGrpSpPr>
        <p:grpSpPr>
          <a:xfrm>
            <a:off x="6678382" y="274927"/>
            <a:ext cx="5439860" cy="5263358"/>
            <a:chOff x="6678382" y="274927"/>
            <a:chExt cx="5439860" cy="5263358"/>
          </a:xfrm>
        </p:grpSpPr>
        <p:grpSp>
          <p:nvGrpSpPr>
            <p:cNvPr id="4204" name="Group 4203">
              <a:extLst>
                <a:ext uri="{FF2B5EF4-FFF2-40B4-BE49-F238E27FC236}">
                  <a16:creationId xmlns:a16="http://schemas.microsoft.com/office/drawing/2014/main" id="{9C4E7995-27E6-59AC-0391-A27A011DE787}"/>
                </a:ext>
              </a:extLst>
            </p:cNvPr>
            <p:cNvGrpSpPr/>
            <p:nvPr userDrawn="1"/>
          </p:nvGrpSpPr>
          <p:grpSpPr>
            <a:xfrm>
              <a:off x="7154455" y="274927"/>
              <a:ext cx="4527005" cy="5171536"/>
              <a:chOff x="5120293" y="677331"/>
              <a:chExt cx="4848118" cy="5503339"/>
            </a:xfrm>
          </p:grpSpPr>
          <p:grpSp>
            <p:nvGrpSpPr>
              <p:cNvPr id="4222" name="Group 4221">
                <a:extLst>
                  <a:ext uri="{FF2B5EF4-FFF2-40B4-BE49-F238E27FC236}">
                    <a16:creationId xmlns:a16="http://schemas.microsoft.com/office/drawing/2014/main" id="{5A9CD411-9281-5417-9839-69870AFBF4E6}"/>
                  </a:ext>
                </a:extLst>
              </p:cNvPr>
              <p:cNvGrpSpPr>
                <a:grpSpLocks noChangeAspect="1"/>
              </p:cNvGrpSpPr>
              <p:nvPr/>
            </p:nvGrpSpPr>
            <p:grpSpPr>
              <a:xfrm>
                <a:off x="5120293" y="677331"/>
                <a:ext cx="4848118" cy="5503339"/>
                <a:chOff x="3034954" y="-42989"/>
                <a:chExt cx="6029325" cy="6844186"/>
              </a:xfrm>
              <a:solidFill>
                <a:sysClr val="window" lastClr="FFFFFF">
                  <a:lumMod val="85000"/>
                </a:sysClr>
              </a:solidFill>
            </p:grpSpPr>
            <p:sp>
              <p:nvSpPr>
                <p:cNvPr id="4237" name="Oval 4236">
                  <a:extLst>
                    <a:ext uri="{FF2B5EF4-FFF2-40B4-BE49-F238E27FC236}">
                      <a16:creationId xmlns:a16="http://schemas.microsoft.com/office/drawing/2014/main" id="{2D247D9F-13E0-34EF-184B-C0A131415942}"/>
                    </a:ext>
                  </a:extLst>
                </p:cNvPr>
                <p:cNvSpPr>
                  <a:spLocks noChangeAspect="1"/>
                </p:cNvSpPr>
                <p:nvPr/>
              </p:nvSpPr>
              <p:spPr>
                <a:xfrm>
                  <a:off x="4722130" y="-4206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38" name="Oval 4237">
                  <a:extLst>
                    <a:ext uri="{FF2B5EF4-FFF2-40B4-BE49-F238E27FC236}">
                      <a16:creationId xmlns:a16="http://schemas.microsoft.com/office/drawing/2014/main" id="{7805794C-D98A-51B7-E5DC-E42CD67269C0}"/>
                    </a:ext>
                  </a:extLst>
                </p:cNvPr>
                <p:cNvSpPr>
                  <a:spLocks noChangeAspect="1"/>
                </p:cNvSpPr>
                <p:nvPr/>
              </p:nvSpPr>
              <p:spPr>
                <a:xfrm>
                  <a:off x="4554216" y="-4298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39" name="Oval 4238">
                  <a:extLst>
                    <a:ext uri="{FF2B5EF4-FFF2-40B4-BE49-F238E27FC236}">
                      <a16:creationId xmlns:a16="http://schemas.microsoft.com/office/drawing/2014/main" id="{42251497-6912-7A06-B27C-FD28416799A1}"/>
                    </a:ext>
                  </a:extLst>
                </p:cNvPr>
                <p:cNvSpPr>
                  <a:spLocks noChangeAspect="1"/>
                </p:cNvSpPr>
                <p:nvPr/>
              </p:nvSpPr>
              <p:spPr>
                <a:xfrm>
                  <a:off x="4407672" y="-4263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40" name="Oval 4239">
                  <a:extLst>
                    <a:ext uri="{FF2B5EF4-FFF2-40B4-BE49-F238E27FC236}">
                      <a16:creationId xmlns:a16="http://schemas.microsoft.com/office/drawing/2014/main" id="{AE8AD149-2A4E-DAC4-9884-8ED39FBB4290}"/>
                    </a:ext>
                  </a:extLst>
                </p:cNvPr>
                <p:cNvSpPr>
                  <a:spLocks noChangeAspect="1"/>
                </p:cNvSpPr>
                <p:nvPr/>
              </p:nvSpPr>
              <p:spPr>
                <a:xfrm>
                  <a:off x="4256705" y="-4085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41" name="Oval 4240">
                  <a:extLst>
                    <a:ext uri="{FF2B5EF4-FFF2-40B4-BE49-F238E27FC236}">
                      <a16:creationId xmlns:a16="http://schemas.microsoft.com/office/drawing/2014/main" id="{94E93F5D-173E-19B6-E82D-0BE763D4FC69}"/>
                    </a:ext>
                  </a:extLst>
                </p:cNvPr>
                <p:cNvSpPr>
                  <a:spLocks noChangeAspect="1"/>
                </p:cNvSpPr>
                <p:nvPr/>
              </p:nvSpPr>
              <p:spPr>
                <a:xfrm>
                  <a:off x="4867596" y="12907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42" name="Oval 4241">
                  <a:extLst>
                    <a:ext uri="{FF2B5EF4-FFF2-40B4-BE49-F238E27FC236}">
                      <a16:creationId xmlns:a16="http://schemas.microsoft.com/office/drawing/2014/main" id="{C2AE29D6-AF70-A800-A71A-71454DFD8698}"/>
                    </a:ext>
                  </a:extLst>
                </p:cNvPr>
                <p:cNvSpPr>
                  <a:spLocks noChangeAspect="1"/>
                </p:cNvSpPr>
                <p:nvPr/>
              </p:nvSpPr>
              <p:spPr>
                <a:xfrm>
                  <a:off x="4722130" y="12493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43" name="Oval 4242">
                  <a:extLst>
                    <a:ext uri="{FF2B5EF4-FFF2-40B4-BE49-F238E27FC236}">
                      <a16:creationId xmlns:a16="http://schemas.microsoft.com/office/drawing/2014/main" id="{B5E9986F-9262-E113-FA33-D3CA08B12826}"/>
                    </a:ext>
                  </a:extLst>
                </p:cNvPr>
                <p:cNvSpPr>
                  <a:spLocks noChangeAspect="1"/>
                </p:cNvSpPr>
                <p:nvPr/>
              </p:nvSpPr>
              <p:spPr>
                <a:xfrm>
                  <a:off x="4557975" y="12493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44" name="Oval 4243">
                  <a:extLst>
                    <a:ext uri="{FF2B5EF4-FFF2-40B4-BE49-F238E27FC236}">
                      <a16:creationId xmlns:a16="http://schemas.microsoft.com/office/drawing/2014/main" id="{064393D9-499B-D212-E487-BBD73F402B20}"/>
                    </a:ext>
                  </a:extLst>
                </p:cNvPr>
                <p:cNvSpPr>
                  <a:spLocks noChangeAspect="1"/>
                </p:cNvSpPr>
                <p:nvPr/>
              </p:nvSpPr>
              <p:spPr>
                <a:xfrm>
                  <a:off x="4402155" y="12493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45" name="Oval 4244">
                  <a:extLst>
                    <a:ext uri="{FF2B5EF4-FFF2-40B4-BE49-F238E27FC236}">
                      <a16:creationId xmlns:a16="http://schemas.microsoft.com/office/drawing/2014/main" id="{27DA3745-7007-E6AC-098B-15312A3039C7}"/>
                    </a:ext>
                  </a:extLst>
                </p:cNvPr>
                <p:cNvSpPr>
                  <a:spLocks noChangeAspect="1"/>
                </p:cNvSpPr>
                <p:nvPr/>
              </p:nvSpPr>
              <p:spPr>
                <a:xfrm>
                  <a:off x="4256705" y="12907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46" name="Oval 4245">
                  <a:extLst>
                    <a:ext uri="{FF2B5EF4-FFF2-40B4-BE49-F238E27FC236}">
                      <a16:creationId xmlns:a16="http://schemas.microsoft.com/office/drawing/2014/main" id="{E3899108-A73B-7A3A-CF90-0BBF1A407C8B}"/>
                    </a:ext>
                  </a:extLst>
                </p:cNvPr>
                <p:cNvSpPr>
                  <a:spLocks noChangeAspect="1"/>
                </p:cNvSpPr>
                <p:nvPr/>
              </p:nvSpPr>
              <p:spPr>
                <a:xfrm>
                  <a:off x="4115329" y="11740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47" name="Oval 4246">
                  <a:extLst>
                    <a:ext uri="{FF2B5EF4-FFF2-40B4-BE49-F238E27FC236}">
                      <a16:creationId xmlns:a16="http://schemas.microsoft.com/office/drawing/2014/main" id="{7C0642A7-CCB5-0D6C-F4D1-41623A094E3F}"/>
                    </a:ext>
                  </a:extLst>
                </p:cNvPr>
                <p:cNvSpPr>
                  <a:spLocks noChangeAspect="1"/>
                </p:cNvSpPr>
                <p:nvPr/>
              </p:nvSpPr>
              <p:spPr>
                <a:xfrm>
                  <a:off x="5478453" y="27037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48" name="Oval 4247">
                  <a:extLst>
                    <a:ext uri="{FF2B5EF4-FFF2-40B4-BE49-F238E27FC236}">
                      <a16:creationId xmlns:a16="http://schemas.microsoft.com/office/drawing/2014/main" id="{E5C3F532-85A0-65F4-03C0-568F96ED787F}"/>
                    </a:ext>
                  </a:extLst>
                </p:cNvPr>
                <p:cNvSpPr>
                  <a:spLocks noChangeAspect="1"/>
                </p:cNvSpPr>
                <p:nvPr/>
              </p:nvSpPr>
              <p:spPr>
                <a:xfrm>
                  <a:off x="5013029" y="27435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49" name="Oval 4248">
                  <a:extLst>
                    <a:ext uri="{FF2B5EF4-FFF2-40B4-BE49-F238E27FC236}">
                      <a16:creationId xmlns:a16="http://schemas.microsoft.com/office/drawing/2014/main" id="{E00AA7E5-C8EB-B2E5-5E38-D1E254EBEE8B}"/>
                    </a:ext>
                  </a:extLst>
                </p:cNvPr>
                <p:cNvSpPr>
                  <a:spLocks noChangeAspect="1"/>
                </p:cNvSpPr>
                <p:nvPr/>
              </p:nvSpPr>
              <p:spPr>
                <a:xfrm>
                  <a:off x="4867596" y="27037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50" name="Oval 4249">
                  <a:extLst>
                    <a:ext uri="{FF2B5EF4-FFF2-40B4-BE49-F238E27FC236}">
                      <a16:creationId xmlns:a16="http://schemas.microsoft.com/office/drawing/2014/main" id="{FD08AE8C-B6FB-F4C5-9D11-869D17A2D437}"/>
                    </a:ext>
                  </a:extLst>
                </p:cNvPr>
                <p:cNvSpPr>
                  <a:spLocks noChangeAspect="1"/>
                </p:cNvSpPr>
                <p:nvPr/>
              </p:nvSpPr>
              <p:spPr>
                <a:xfrm>
                  <a:off x="4722130" y="27037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51" name="Oval 4250">
                  <a:extLst>
                    <a:ext uri="{FF2B5EF4-FFF2-40B4-BE49-F238E27FC236}">
                      <a16:creationId xmlns:a16="http://schemas.microsoft.com/office/drawing/2014/main" id="{21EB6D70-38F6-F951-CC20-4762AF2CEDC8}"/>
                    </a:ext>
                  </a:extLst>
                </p:cNvPr>
                <p:cNvSpPr>
                  <a:spLocks noChangeAspect="1"/>
                </p:cNvSpPr>
                <p:nvPr/>
              </p:nvSpPr>
              <p:spPr>
                <a:xfrm>
                  <a:off x="4557975" y="27037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52" name="Oval 4251">
                  <a:extLst>
                    <a:ext uri="{FF2B5EF4-FFF2-40B4-BE49-F238E27FC236}">
                      <a16:creationId xmlns:a16="http://schemas.microsoft.com/office/drawing/2014/main" id="{BDCC2200-3019-BB1B-D84C-AAC58841449B}"/>
                    </a:ext>
                  </a:extLst>
                </p:cNvPr>
                <p:cNvSpPr>
                  <a:spLocks noChangeAspect="1"/>
                </p:cNvSpPr>
                <p:nvPr/>
              </p:nvSpPr>
              <p:spPr>
                <a:xfrm>
                  <a:off x="4402155" y="27435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53" name="Oval 4252">
                  <a:extLst>
                    <a:ext uri="{FF2B5EF4-FFF2-40B4-BE49-F238E27FC236}">
                      <a16:creationId xmlns:a16="http://schemas.microsoft.com/office/drawing/2014/main" id="{484A6FA8-A50D-50FC-A12F-E915D8908109}"/>
                    </a:ext>
                  </a:extLst>
                </p:cNvPr>
                <p:cNvSpPr>
                  <a:spLocks noChangeAspect="1"/>
                </p:cNvSpPr>
                <p:nvPr/>
              </p:nvSpPr>
              <p:spPr>
                <a:xfrm>
                  <a:off x="5623919" y="27079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54" name="Oval 4253">
                  <a:extLst>
                    <a:ext uri="{FF2B5EF4-FFF2-40B4-BE49-F238E27FC236}">
                      <a16:creationId xmlns:a16="http://schemas.microsoft.com/office/drawing/2014/main" id="{2CE700A1-F949-105E-AA17-3C2D3FB9521B}"/>
                    </a:ext>
                  </a:extLst>
                </p:cNvPr>
                <p:cNvSpPr>
                  <a:spLocks noChangeAspect="1"/>
                </p:cNvSpPr>
                <p:nvPr/>
              </p:nvSpPr>
              <p:spPr>
                <a:xfrm>
                  <a:off x="5319104" y="27037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55" name="Oval 4254">
                  <a:extLst>
                    <a:ext uri="{FF2B5EF4-FFF2-40B4-BE49-F238E27FC236}">
                      <a16:creationId xmlns:a16="http://schemas.microsoft.com/office/drawing/2014/main" id="{727F28ED-83EF-7890-1E39-FA97D8600BFC}"/>
                    </a:ext>
                  </a:extLst>
                </p:cNvPr>
                <p:cNvSpPr>
                  <a:spLocks noChangeAspect="1"/>
                </p:cNvSpPr>
                <p:nvPr/>
              </p:nvSpPr>
              <p:spPr>
                <a:xfrm>
                  <a:off x="4256705" y="27079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56" name="Oval 4255">
                  <a:extLst>
                    <a:ext uri="{FF2B5EF4-FFF2-40B4-BE49-F238E27FC236}">
                      <a16:creationId xmlns:a16="http://schemas.microsoft.com/office/drawing/2014/main" id="{142D83E3-BF89-B62D-343C-C30965034B00}"/>
                    </a:ext>
                  </a:extLst>
                </p:cNvPr>
                <p:cNvSpPr>
                  <a:spLocks noChangeAspect="1"/>
                </p:cNvSpPr>
                <p:nvPr/>
              </p:nvSpPr>
              <p:spPr>
                <a:xfrm>
                  <a:off x="5478278" y="41582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57" name="Oval 4256">
                  <a:extLst>
                    <a:ext uri="{FF2B5EF4-FFF2-40B4-BE49-F238E27FC236}">
                      <a16:creationId xmlns:a16="http://schemas.microsoft.com/office/drawing/2014/main" id="{0EDDC78C-9F71-0BE0-0CD3-1FA4BC04504C}"/>
                    </a:ext>
                  </a:extLst>
                </p:cNvPr>
                <p:cNvSpPr>
                  <a:spLocks noChangeAspect="1"/>
                </p:cNvSpPr>
                <p:nvPr/>
              </p:nvSpPr>
              <p:spPr>
                <a:xfrm>
                  <a:off x="5333021" y="41582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58" name="Oval 4257">
                  <a:extLst>
                    <a:ext uri="{FF2B5EF4-FFF2-40B4-BE49-F238E27FC236}">
                      <a16:creationId xmlns:a16="http://schemas.microsoft.com/office/drawing/2014/main" id="{060BFE82-5FCC-5ABE-45BE-DE16B0A5C854}"/>
                    </a:ext>
                  </a:extLst>
                </p:cNvPr>
                <p:cNvSpPr>
                  <a:spLocks noChangeAspect="1"/>
                </p:cNvSpPr>
                <p:nvPr/>
              </p:nvSpPr>
              <p:spPr>
                <a:xfrm>
                  <a:off x="5164001" y="42279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59" name="Oval 4258">
                  <a:extLst>
                    <a:ext uri="{FF2B5EF4-FFF2-40B4-BE49-F238E27FC236}">
                      <a16:creationId xmlns:a16="http://schemas.microsoft.com/office/drawing/2014/main" id="{554C461A-2D2B-7D85-BCDE-CA2CC576E69F}"/>
                    </a:ext>
                  </a:extLst>
                </p:cNvPr>
                <p:cNvSpPr>
                  <a:spLocks noChangeAspect="1"/>
                </p:cNvSpPr>
                <p:nvPr/>
              </p:nvSpPr>
              <p:spPr>
                <a:xfrm>
                  <a:off x="5018557" y="42279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60" name="Oval 4259">
                  <a:extLst>
                    <a:ext uri="{FF2B5EF4-FFF2-40B4-BE49-F238E27FC236}">
                      <a16:creationId xmlns:a16="http://schemas.microsoft.com/office/drawing/2014/main" id="{D80B699C-BA60-4AA9-2C54-85BBC261B578}"/>
                    </a:ext>
                  </a:extLst>
                </p:cNvPr>
                <p:cNvSpPr>
                  <a:spLocks noChangeAspect="1"/>
                </p:cNvSpPr>
                <p:nvPr/>
              </p:nvSpPr>
              <p:spPr>
                <a:xfrm>
                  <a:off x="4867401" y="41582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61" name="Oval 4260">
                  <a:extLst>
                    <a:ext uri="{FF2B5EF4-FFF2-40B4-BE49-F238E27FC236}">
                      <a16:creationId xmlns:a16="http://schemas.microsoft.com/office/drawing/2014/main" id="{C691F2E8-C44E-EF64-646E-37BB730EDA72}"/>
                    </a:ext>
                  </a:extLst>
                </p:cNvPr>
                <p:cNvSpPr>
                  <a:spLocks noChangeAspect="1"/>
                </p:cNvSpPr>
                <p:nvPr/>
              </p:nvSpPr>
              <p:spPr>
                <a:xfrm>
                  <a:off x="4722130" y="41582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62" name="Oval 4261">
                  <a:extLst>
                    <a:ext uri="{FF2B5EF4-FFF2-40B4-BE49-F238E27FC236}">
                      <a16:creationId xmlns:a16="http://schemas.microsoft.com/office/drawing/2014/main" id="{A7C086A7-9D3D-85FA-6DBB-E73FE1B229D0}"/>
                    </a:ext>
                  </a:extLst>
                </p:cNvPr>
                <p:cNvSpPr>
                  <a:spLocks noChangeAspect="1"/>
                </p:cNvSpPr>
                <p:nvPr/>
              </p:nvSpPr>
              <p:spPr>
                <a:xfrm>
                  <a:off x="4553118" y="42279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63" name="Oval 4262">
                  <a:extLst>
                    <a:ext uri="{FF2B5EF4-FFF2-40B4-BE49-F238E27FC236}">
                      <a16:creationId xmlns:a16="http://schemas.microsoft.com/office/drawing/2014/main" id="{2432FC15-FFCE-07D9-C379-E6420283324B}"/>
                    </a:ext>
                  </a:extLst>
                </p:cNvPr>
                <p:cNvSpPr>
                  <a:spLocks noChangeAspect="1"/>
                </p:cNvSpPr>
                <p:nvPr/>
              </p:nvSpPr>
              <p:spPr>
                <a:xfrm>
                  <a:off x="4407672" y="42279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64" name="Oval 4263">
                  <a:extLst>
                    <a:ext uri="{FF2B5EF4-FFF2-40B4-BE49-F238E27FC236}">
                      <a16:creationId xmlns:a16="http://schemas.microsoft.com/office/drawing/2014/main" id="{4905F872-60DD-5F23-E199-107E610B6684}"/>
                    </a:ext>
                  </a:extLst>
                </p:cNvPr>
                <p:cNvSpPr>
                  <a:spLocks noChangeAspect="1"/>
                </p:cNvSpPr>
                <p:nvPr/>
              </p:nvSpPr>
              <p:spPr>
                <a:xfrm>
                  <a:off x="5482530" y="58283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65" name="Oval 4264">
                  <a:extLst>
                    <a:ext uri="{FF2B5EF4-FFF2-40B4-BE49-F238E27FC236}">
                      <a16:creationId xmlns:a16="http://schemas.microsoft.com/office/drawing/2014/main" id="{BFFC1FC5-8127-E715-8088-AB1C4C79D967}"/>
                    </a:ext>
                  </a:extLst>
                </p:cNvPr>
                <p:cNvSpPr>
                  <a:spLocks noChangeAspect="1"/>
                </p:cNvSpPr>
                <p:nvPr/>
              </p:nvSpPr>
              <p:spPr>
                <a:xfrm>
                  <a:off x="5337086" y="58283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66" name="Oval 4265">
                  <a:extLst>
                    <a:ext uri="{FF2B5EF4-FFF2-40B4-BE49-F238E27FC236}">
                      <a16:creationId xmlns:a16="http://schemas.microsoft.com/office/drawing/2014/main" id="{C1D1B408-1A0A-81F9-6B90-9BA0A52DDD2C}"/>
                    </a:ext>
                  </a:extLst>
                </p:cNvPr>
                <p:cNvSpPr>
                  <a:spLocks noChangeAspect="1"/>
                </p:cNvSpPr>
                <p:nvPr/>
              </p:nvSpPr>
              <p:spPr>
                <a:xfrm>
                  <a:off x="5164001" y="56823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67" name="Oval 4266">
                  <a:extLst>
                    <a:ext uri="{FF2B5EF4-FFF2-40B4-BE49-F238E27FC236}">
                      <a16:creationId xmlns:a16="http://schemas.microsoft.com/office/drawing/2014/main" id="{FEC0DC59-C228-0C6F-4F0B-A8E4337FD9FE}"/>
                    </a:ext>
                  </a:extLst>
                </p:cNvPr>
                <p:cNvSpPr>
                  <a:spLocks noChangeAspect="1"/>
                </p:cNvSpPr>
                <p:nvPr/>
              </p:nvSpPr>
              <p:spPr>
                <a:xfrm>
                  <a:off x="5015939" y="57581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68" name="Oval 4267">
                  <a:extLst>
                    <a:ext uri="{FF2B5EF4-FFF2-40B4-BE49-F238E27FC236}">
                      <a16:creationId xmlns:a16="http://schemas.microsoft.com/office/drawing/2014/main" id="{87DE1908-12BB-03EE-CBA8-4A9624B3EB0F}"/>
                    </a:ext>
                  </a:extLst>
                </p:cNvPr>
                <p:cNvSpPr>
                  <a:spLocks noChangeAspect="1"/>
                </p:cNvSpPr>
                <p:nvPr/>
              </p:nvSpPr>
              <p:spPr>
                <a:xfrm>
                  <a:off x="4871661" y="58283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69" name="Oval 4268">
                  <a:extLst>
                    <a:ext uri="{FF2B5EF4-FFF2-40B4-BE49-F238E27FC236}">
                      <a16:creationId xmlns:a16="http://schemas.microsoft.com/office/drawing/2014/main" id="{0415ACC6-6E64-6EA6-8D1C-7B1512110FDA}"/>
                    </a:ext>
                  </a:extLst>
                </p:cNvPr>
                <p:cNvSpPr>
                  <a:spLocks noChangeAspect="1"/>
                </p:cNvSpPr>
                <p:nvPr/>
              </p:nvSpPr>
              <p:spPr>
                <a:xfrm>
                  <a:off x="4726207" y="58283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70" name="Oval 4269">
                  <a:extLst>
                    <a:ext uri="{FF2B5EF4-FFF2-40B4-BE49-F238E27FC236}">
                      <a16:creationId xmlns:a16="http://schemas.microsoft.com/office/drawing/2014/main" id="{EDDC6CF1-2985-7800-11EF-D9B20A393131}"/>
                    </a:ext>
                  </a:extLst>
                </p:cNvPr>
                <p:cNvSpPr>
                  <a:spLocks noChangeAspect="1"/>
                </p:cNvSpPr>
                <p:nvPr/>
              </p:nvSpPr>
              <p:spPr>
                <a:xfrm>
                  <a:off x="4554216" y="56788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71" name="Oval 4270">
                  <a:extLst>
                    <a:ext uri="{FF2B5EF4-FFF2-40B4-BE49-F238E27FC236}">
                      <a16:creationId xmlns:a16="http://schemas.microsoft.com/office/drawing/2014/main" id="{50AE50B9-811F-0104-5708-019D44B86755}"/>
                    </a:ext>
                  </a:extLst>
                </p:cNvPr>
                <p:cNvSpPr>
                  <a:spLocks noChangeAspect="1"/>
                </p:cNvSpPr>
                <p:nvPr/>
              </p:nvSpPr>
              <p:spPr>
                <a:xfrm>
                  <a:off x="4407672" y="56823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72" name="Oval 4271">
                  <a:extLst>
                    <a:ext uri="{FF2B5EF4-FFF2-40B4-BE49-F238E27FC236}">
                      <a16:creationId xmlns:a16="http://schemas.microsoft.com/office/drawing/2014/main" id="{F862ECB6-6E8B-8B0C-888B-6FFC0D2749C3}"/>
                    </a:ext>
                  </a:extLst>
                </p:cNvPr>
                <p:cNvSpPr>
                  <a:spLocks noChangeAspect="1"/>
                </p:cNvSpPr>
                <p:nvPr/>
              </p:nvSpPr>
              <p:spPr>
                <a:xfrm>
                  <a:off x="4256705" y="57002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73" name="Oval 4272">
                  <a:extLst>
                    <a:ext uri="{FF2B5EF4-FFF2-40B4-BE49-F238E27FC236}">
                      <a16:creationId xmlns:a16="http://schemas.microsoft.com/office/drawing/2014/main" id="{F9EDA232-B973-D320-55E8-A0CE7352D463}"/>
                    </a:ext>
                  </a:extLst>
                </p:cNvPr>
                <p:cNvSpPr>
                  <a:spLocks noChangeAspect="1"/>
                </p:cNvSpPr>
                <p:nvPr/>
              </p:nvSpPr>
              <p:spPr>
                <a:xfrm>
                  <a:off x="5333021" y="73580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74" name="Oval 4273">
                  <a:extLst>
                    <a:ext uri="{FF2B5EF4-FFF2-40B4-BE49-F238E27FC236}">
                      <a16:creationId xmlns:a16="http://schemas.microsoft.com/office/drawing/2014/main" id="{D5013609-7817-FCC8-904E-EEEFDEE81B7F}"/>
                    </a:ext>
                  </a:extLst>
                </p:cNvPr>
                <p:cNvSpPr>
                  <a:spLocks noChangeAspect="1"/>
                </p:cNvSpPr>
                <p:nvPr/>
              </p:nvSpPr>
              <p:spPr>
                <a:xfrm>
                  <a:off x="5168854" y="73580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75" name="Oval 4274">
                  <a:extLst>
                    <a:ext uri="{FF2B5EF4-FFF2-40B4-BE49-F238E27FC236}">
                      <a16:creationId xmlns:a16="http://schemas.microsoft.com/office/drawing/2014/main" id="{B44C9BBA-3316-5B83-419A-B43E0C92D89D}"/>
                    </a:ext>
                  </a:extLst>
                </p:cNvPr>
                <p:cNvSpPr>
                  <a:spLocks noChangeAspect="1"/>
                </p:cNvSpPr>
                <p:nvPr/>
              </p:nvSpPr>
              <p:spPr>
                <a:xfrm>
                  <a:off x="5013029" y="73994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76" name="Oval 4275">
                  <a:extLst>
                    <a:ext uri="{FF2B5EF4-FFF2-40B4-BE49-F238E27FC236}">
                      <a16:creationId xmlns:a16="http://schemas.microsoft.com/office/drawing/2014/main" id="{2849EB5C-6480-6355-E2A8-05F72411EEF4}"/>
                    </a:ext>
                  </a:extLst>
                </p:cNvPr>
                <p:cNvSpPr>
                  <a:spLocks noChangeAspect="1"/>
                </p:cNvSpPr>
                <p:nvPr/>
              </p:nvSpPr>
              <p:spPr>
                <a:xfrm>
                  <a:off x="4867596" y="73580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77" name="Oval 4276">
                  <a:extLst>
                    <a:ext uri="{FF2B5EF4-FFF2-40B4-BE49-F238E27FC236}">
                      <a16:creationId xmlns:a16="http://schemas.microsoft.com/office/drawing/2014/main" id="{973B7E88-CE15-A24A-22B4-3F1C3F26DF18}"/>
                    </a:ext>
                  </a:extLst>
                </p:cNvPr>
                <p:cNvSpPr>
                  <a:spLocks noChangeAspect="1"/>
                </p:cNvSpPr>
                <p:nvPr/>
              </p:nvSpPr>
              <p:spPr>
                <a:xfrm>
                  <a:off x="4722130" y="73580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78" name="Oval 4277">
                  <a:extLst>
                    <a:ext uri="{FF2B5EF4-FFF2-40B4-BE49-F238E27FC236}">
                      <a16:creationId xmlns:a16="http://schemas.microsoft.com/office/drawing/2014/main" id="{A4481EAD-FE57-42B0-54C0-82497DCAD11A}"/>
                    </a:ext>
                  </a:extLst>
                </p:cNvPr>
                <p:cNvSpPr>
                  <a:spLocks noChangeAspect="1"/>
                </p:cNvSpPr>
                <p:nvPr/>
              </p:nvSpPr>
              <p:spPr>
                <a:xfrm>
                  <a:off x="4557975" y="73580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79" name="Oval 4278">
                  <a:extLst>
                    <a:ext uri="{FF2B5EF4-FFF2-40B4-BE49-F238E27FC236}">
                      <a16:creationId xmlns:a16="http://schemas.microsoft.com/office/drawing/2014/main" id="{2018B246-9D95-AA4F-C55E-B8CCA5EE5288}"/>
                    </a:ext>
                  </a:extLst>
                </p:cNvPr>
                <p:cNvSpPr>
                  <a:spLocks noChangeAspect="1"/>
                </p:cNvSpPr>
                <p:nvPr/>
              </p:nvSpPr>
              <p:spPr>
                <a:xfrm>
                  <a:off x="4402155" y="73580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80" name="Oval 4279">
                  <a:extLst>
                    <a:ext uri="{FF2B5EF4-FFF2-40B4-BE49-F238E27FC236}">
                      <a16:creationId xmlns:a16="http://schemas.microsoft.com/office/drawing/2014/main" id="{E66E931F-F67C-7CFF-83DF-F4BE7118D109}"/>
                    </a:ext>
                  </a:extLst>
                </p:cNvPr>
                <p:cNvSpPr>
                  <a:spLocks noChangeAspect="1"/>
                </p:cNvSpPr>
                <p:nvPr/>
              </p:nvSpPr>
              <p:spPr>
                <a:xfrm>
                  <a:off x="4256705" y="73994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81" name="Oval 4280">
                  <a:extLst>
                    <a:ext uri="{FF2B5EF4-FFF2-40B4-BE49-F238E27FC236}">
                      <a16:creationId xmlns:a16="http://schemas.microsoft.com/office/drawing/2014/main" id="{851F7CE4-73EA-7131-ACE3-7ACACF757CED}"/>
                    </a:ext>
                  </a:extLst>
                </p:cNvPr>
                <p:cNvSpPr>
                  <a:spLocks noChangeAspect="1"/>
                </p:cNvSpPr>
                <p:nvPr/>
              </p:nvSpPr>
              <p:spPr>
                <a:xfrm>
                  <a:off x="5478149" y="88125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82" name="Oval 4281">
                  <a:extLst>
                    <a:ext uri="{FF2B5EF4-FFF2-40B4-BE49-F238E27FC236}">
                      <a16:creationId xmlns:a16="http://schemas.microsoft.com/office/drawing/2014/main" id="{60894126-19F2-D93E-1B1E-64E6246F5C38}"/>
                    </a:ext>
                  </a:extLst>
                </p:cNvPr>
                <p:cNvSpPr>
                  <a:spLocks noChangeAspect="1"/>
                </p:cNvSpPr>
                <p:nvPr/>
              </p:nvSpPr>
              <p:spPr>
                <a:xfrm>
                  <a:off x="5332706" y="88125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83" name="Oval 4282">
                  <a:extLst>
                    <a:ext uri="{FF2B5EF4-FFF2-40B4-BE49-F238E27FC236}">
                      <a16:creationId xmlns:a16="http://schemas.microsoft.com/office/drawing/2014/main" id="{4CC4CE61-09C0-297A-7793-8F86E71476A7}"/>
                    </a:ext>
                  </a:extLst>
                </p:cNvPr>
                <p:cNvSpPr>
                  <a:spLocks noChangeAspect="1"/>
                </p:cNvSpPr>
                <p:nvPr/>
              </p:nvSpPr>
              <p:spPr>
                <a:xfrm>
                  <a:off x="5167225" y="88125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84" name="Oval 4283">
                  <a:extLst>
                    <a:ext uri="{FF2B5EF4-FFF2-40B4-BE49-F238E27FC236}">
                      <a16:creationId xmlns:a16="http://schemas.microsoft.com/office/drawing/2014/main" id="{B0D6542C-EF68-DA07-EB20-8488E0CAE7C5}"/>
                    </a:ext>
                  </a:extLst>
                </p:cNvPr>
                <p:cNvSpPr>
                  <a:spLocks noChangeAspect="1"/>
                </p:cNvSpPr>
                <p:nvPr/>
              </p:nvSpPr>
              <p:spPr>
                <a:xfrm>
                  <a:off x="5012002" y="88578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85" name="Oval 4284">
                  <a:extLst>
                    <a:ext uri="{FF2B5EF4-FFF2-40B4-BE49-F238E27FC236}">
                      <a16:creationId xmlns:a16="http://schemas.microsoft.com/office/drawing/2014/main" id="{19EF37C4-573A-3AFB-28E7-585D1CE85505}"/>
                    </a:ext>
                  </a:extLst>
                </p:cNvPr>
                <p:cNvSpPr>
                  <a:spLocks noChangeAspect="1"/>
                </p:cNvSpPr>
                <p:nvPr/>
              </p:nvSpPr>
              <p:spPr>
                <a:xfrm>
                  <a:off x="4867281" y="88125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86" name="Oval 4285">
                  <a:extLst>
                    <a:ext uri="{FF2B5EF4-FFF2-40B4-BE49-F238E27FC236}">
                      <a16:creationId xmlns:a16="http://schemas.microsoft.com/office/drawing/2014/main" id="{670B2786-D967-D193-A938-CC32A631E28D}"/>
                    </a:ext>
                  </a:extLst>
                </p:cNvPr>
                <p:cNvSpPr>
                  <a:spLocks noChangeAspect="1"/>
                </p:cNvSpPr>
                <p:nvPr/>
              </p:nvSpPr>
              <p:spPr>
                <a:xfrm>
                  <a:off x="4721826" y="88125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87" name="Oval 4286">
                  <a:extLst>
                    <a:ext uri="{FF2B5EF4-FFF2-40B4-BE49-F238E27FC236}">
                      <a16:creationId xmlns:a16="http://schemas.microsoft.com/office/drawing/2014/main" id="{D288ABDA-7408-85BA-21A2-90C273081749}"/>
                    </a:ext>
                  </a:extLst>
                </p:cNvPr>
                <p:cNvSpPr>
                  <a:spLocks noChangeAspect="1"/>
                </p:cNvSpPr>
                <p:nvPr/>
              </p:nvSpPr>
              <p:spPr>
                <a:xfrm>
                  <a:off x="4562231" y="88345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88" name="Oval 4287">
                  <a:extLst>
                    <a:ext uri="{FF2B5EF4-FFF2-40B4-BE49-F238E27FC236}">
                      <a16:creationId xmlns:a16="http://schemas.microsoft.com/office/drawing/2014/main" id="{29047AE5-E830-DA2B-A944-B826507C19DA}"/>
                    </a:ext>
                  </a:extLst>
                </p:cNvPr>
                <p:cNvSpPr>
                  <a:spLocks noChangeAspect="1"/>
                </p:cNvSpPr>
                <p:nvPr/>
              </p:nvSpPr>
              <p:spPr>
                <a:xfrm>
                  <a:off x="4407672" y="88822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89" name="Oval 4288">
                  <a:extLst>
                    <a:ext uri="{FF2B5EF4-FFF2-40B4-BE49-F238E27FC236}">
                      <a16:creationId xmlns:a16="http://schemas.microsoft.com/office/drawing/2014/main" id="{CD94AB9C-0B85-EBF5-D267-9CB50A81DE36}"/>
                    </a:ext>
                  </a:extLst>
                </p:cNvPr>
                <p:cNvSpPr>
                  <a:spLocks noChangeAspect="1"/>
                </p:cNvSpPr>
                <p:nvPr/>
              </p:nvSpPr>
              <p:spPr>
                <a:xfrm>
                  <a:off x="5478453" y="102670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90" name="Oval 4289">
                  <a:extLst>
                    <a:ext uri="{FF2B5EF4-FFF2-40B4-BE49-F238E27FC236}">
                      <a16:creationId xmlns:a16="http://schemas.microsoft.com/office/drawing/2014/main" id="{CDA34696-0A07-A1EA-3686-AE984C9469D4}"/>
                    </a:ext>
                  </a:extLst>
                </p:cNvPr>
                <p:cNvSpPr>
                  <a:spLocks noChangeAspect="1"/>
                </p:cNvSpPr>
                <p:nvPr/>
              </p:nvSpPr>
              <p:spPr>
                <a:xfrm>
                  <a:off x="5164001" y="103366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91" name="Oval 4290">
                  <a:extLst>
                    <a:ext uri="{FF2B5EF4-FFF2-40B4-BE49-F238E27FC236}">
                      <a16:creationId xmlns:a16="http://schemas.microsoft.com/office/drawing/2014/main" id="{A5708E9C-A538-27D6-E7ED-93674FAD4687}"/>
                    </a:ext>
                  </a:extLst>
                </p:cNvPr>
                <p:cNvSpPr>
                  <a:spLocks noChangeAspect="1"/>
                </p:cNvSpPr>
                <p:nvPr/>
              </p:nvSpPr>
              <p:spPr>
                <a:xfrm>
                  <a:off x="5018557" y="103366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92" name="Oval 4291">
                  <a:extLst>
                    <a:ext uri="{FF2B5EF4-FFF2-40B4-BE49-F238E27FC236}">
                      <a16:creationId xmlns:a16="http://schemas.microsoft.com/office/drawing/2014/main" id="{2AF28395-AB94-2826-AAC0-92186DEE92EA}"/>
                    </a:ext>
                  </a:extLst>
                </p:cNvPr>
                <p:cNvSpPr>
                  <a:spLocks noChangeAspect="1"/>
                </p:cNvSpPr>
                <p:nvPr/>
              </p:nvSpPr>
              <p:spPr>
                <a:xfrm>
                  <a:off x="4871575" y="103423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93" name="Oval 4292">
                  <a:extLst>
                    <a:ext uri="{FF2B5EF4-FFF2-40B4-BE49-F238E27FC236}">
                      <a16:creationId xmlns:a16="http://schemas.microsoft.com/office/drawing/2014/main" id="{104CEF16-1410-FBA8-9B9C-E9F642E46101}"/>
                    </a:ext>
                  </a:extLst>
                </p:cNvPr>
                <p:cNvSpPr>
                  <a:spLocks noChangeAspect="1"/>
                </p:cNvSpPr>
                <p:nvPr/>
              </p:nvSpPr>
              <p:spPr>
                <a:xfrm>
                  <a:off x="4722130" y="102670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94" name="Oval 4293">
                  <a:extLst>
                    <a:ext uri="{FF2B5EF4-FFF2-40B4-BE49-F238E27FC236}">
                      <a16:creationId xmlns:a16="http://schemas.microsoft.com/office/drawing/2014/main" id="{01BDA8EA-BF0F-FDFA-5BDE-482BAFA0480E}"/>
                    </a:ext>
                  </a:extLst>
                </p:cNvPr>
                <p:cNvSpPr>
                  <a:spLocks noChangeAspect="1"/>
                </p:cNvSpPr>
                <p:nvPr/>
              </p:nvSpPr>
              <p:spPr>
                <a:xfrm>
                  <a:off x="5166618" y="118475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95" name="Oval 4294">
                  <a:extLst>
                    <a:ext uri="{FF2B5EF4-FFF2-40B4-BE49-F238E27FC236}">
                      <a16:creationId xmlns:a16="http://schemas.microsoft.com/office/drawing/2014/main" id="{1E019464-94AF-C722-CDB8-857D4073BE19}"/>
                    </a:ext>
                  </a:extLst>
                </p:cNvPr>
                <p:cNvSpPr>
                  <a:spLocks noChangeAspect="1"/>
                </p:cNvSpPr>
                <p:nvPr/>
              </p:nvSpPr>
              <p:spPr>
                <a:xfrm>
                  <a:off x="5013029" y="118475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96" name="Oval 4295">
                  <a:extLst>
                    <a:ext uri="{FF2B5EF4-FFF2-40B4-BE49-F238E27FC236}">
                      <a16:creationId xmlns:a16="http://schemas.microsoft.com/office/drawing/2014/main" id="{E59436AA-F399-0956-F0E6-8A08D409CE2A}"/>
                    </a:ext>
                  </a:extLst>
                </p:cNvPr>
                <p:cNvSpPr>
                  <a:spLocks noChangeAspect="1"/>
                </p:cNvSpPr>
                <p:nvPr/>
              </p:nvSpPr>
              <p:spPr>
                <a:xfrm>
                  <a:off x="4871661" y="119370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97" name="Oval 4296">
                  <a:extLst>
                    <a:ext uri="{FF2B5EF4-FFF2-40B4-BE49-F238E27FC236}">
                      <a16:creationId xmlns:a16="http://schemas.microsoft.com/office/drawing/2014/main" id="{35896FA7-FA99-9D19-FA77-FA5183CBD151}"/>
                    </a:ext>
                  </a:extLst>
                </p:cNvPr>
                <p:cNvSpPr>
                  <a:spLocks noChangeAspect="1"/>
                </p:cNvSpPr>
                <p:nvPr/>
              </p:nvSpPr>
              <p:spPr>
                <a:xfrm>
                  <a:off x="4726207" y="119370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98" name="Oval 4297">
                  <a:extLst>
                    <a:ext uri="{FF2B5EF4-FFF2-40B4-BE49-F238E27FC236}">
                      <a16:creationId xmlns:a16="http://schemas.microsoft.com/office/drawing/2014/main" id="{285B770C-F1AA-B4A0-A45A-D27B538738C4}"/>
                    </a:ext>
                  </a:extLst>
                </p:cNvPr>
                <p:cNvSpPr>
                  <a:spLocks noChangeAspect="1"/>
                </p:cNvSpPr>
                <p:nvPr/>
              </p:nvSpPr>
              <p:spPr>
                <a:xfrm>
                  <a:off x="4554780" y="117953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99" name="Oval 4298">
                  <a:extLst>
                    <a:ext uri="{FF2B5EF4-FFF2-40B4-BE49-F238E27FC236}">
                      <a16:creationId xmlns:a16="http://schemas.microsoft.com/office/drawing/2014/main" id="{B53C830B-C545-CFB3-7942-6EA7B0CA5C0C}"/>
                    </a:ext>
                  </a:extLst>
                </p:cNvPr>
                <p:cNvSpPr>
                  <a:spLocks noChangeAspect="1"/>
                </p:cNvSpPr>
                <p:nvPr/>
              </p:nvSpPr>
              <p:spPr>
                <a:xfrm>
                  <a:off x="5333021" y="134667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00" name="Oval 4299">
                  <a:extLst>
                    <a:ext uri="{FF2B5EF4-FFF2-40B4-BE49-F238E27FC236}">
                      <a16:creationId xmlns:a16="http://schemas.microsoft.com/office/drawing/2014/main" id="{40723F18-EE61-6020-8753-E335CC85FD1D}"/>
                    </a:ext>
                  </a:extLst>
                </p:cNvPr>
                <p:cNvSpPr>
                  <a:spLocks noChangeAspect="1"/>
                </p:cNvSpPr>
                <p:nvPr/>
              </p:nvSpPr>
              <p:spPr>
                <a:xfrm>
                  <a:off x="5164318" y="135193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01" name="Oval 4300">
                  <a:extLst>
                    <a:ext uri="{FF2B5EF4-FFF2-40B4-BE49-F238E27FC236}">
                      <a16:creationId xmlns:a16="http://schemas.microsoft.com/office/drawing/2014/main" id="{DD1DA018-4C3E-CCA6-5557-25DBB65D3B1C}"/>
                    </a:ext>
                  </a:extLst>
                </p:cNvPr>
                <p:cNvSpPr>
                  <a:spLocks noChangeAspect="1"/>
                </p:cNvSpPr>
                <p:nvPr/>
              </p:nvSpPr>
              <p:spPr>
                <a:xfrm>
                  <a:off x="5013029" y="135081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02" name="Oval 4301">
                  <a:extLst>
                    <a:ext uri="{FF2B5EF4-FFF2-40B4-BE49-F238E27FC236}">
                      <a16:creationId xmlns:a16="http://schemas.microsoft.com/office/drawing/2014/main" id="{CA7B9921-DACF-3AE6-8365-B6341A4EA2F2}"/>
                    </a:ext>
                  </a:extLst>
                </p:cNvPr>
                <p:cNvSpPr>
                  <a:spLocks noChangeAspect="1"/>
                </p:cNvSpPr>
                <p:nvPr/>
              </p:nvSpPr>
              <p:spPr>
                <a:xfrm>
                  <a:off x="4867596" y="134667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03" name="Oval 4302">
                  <a:extLst>
                    <a:ext uri="{FF2B5EF4-FFF2-40B4-BE49-F238E27FC236}">
                      <a16:creationId xmlns:a16="http://schemas.microsoft.com/office/drawing/2014/main" id="{9B351AEF-014B-F18B-BC50-C8791664F41F}"/>
                    </a:ext>
                  </a:extLst>
                </p:cNvPr>
                <p:cNvSpPr>
                  <a:spLocks noChangeAspect="1"/>
                </p:cNvSpPr>
                <p:nvPr/>
              </p:nvSpPr>
              <p:spPr>
                <a:xfrm>
                  <a:off x="4722130" y="134667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04" name="Oval 4303">
                  <a:extLst>
                    <a:ext uri="{FF2B5EF4-FFF2-40B4-BE49-F238E27FC236}">
                      <a16:creationId xmlns:a16="http://schemas.microsoft.com/office/drawing/2014/main" id="{DDDEB684-2CDD-AFAF-36E7-FF5B6AAEE397}"/>
                    </a:ext>
                  </a:extLst>
                </p:cNvPr>
                <p:cNvSpPr>
                  <a:spLocks noChangeAspect="1"/>
                </p:cNvSpPr>
                <p:nvPr/>
              </p:nvSpPr>
              <p:spPr>
                <a:xfrm>
                  <a:off x="4557975" y="134667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05" name="Oval 4304">
                  <a:extLst>
                    <a:ext uri="{FF2B5EF4-FFF2-40B4-BE49-F238E27FC236}">
                      <a16:creationId xmlns:a16="http://schemas.microsoft.com/office/drawing/2014/main" id="{E4A6BCD5-922F-BAE8-786E-8372301703D0}"/>
                    </a:ext>
                  </a:extLst>
                </p:cNvPr>
                <p:cNvSpPr>
                  <a:spLocks noChangeAspect="1"/>
                </p:cNvSpPr>
                <p:nvPr/>
              </p:nvSpPr>
              <p:spPr>
                <a:xfrm>
                  <a:off x="4402155" y="134667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06" name="Oval 4305">
                  <a:extLst>
                    <a:ext uri="{FF2B5EF4-FFF2-40B4-BE49-F238E27FC236}">
                      <a16:creationId xmlns:a16="http://schemas.microsoft.com/office/drawing/2014/main" id="{45337CC1-818E-1D41-2092-671527C14D04}"/>
                    </a:ext>
                  </a:extLst>
                </p:cNvPr>
                <p:cNvSpPr>
                  <a:spLocks noChangeAspect="1"/>
                </p:cNvSpPr>
                <p:nvPr/>
              </p:nvSpPr>
              <p:spPr>
                <a:xfrm>
                  <a:off x="5622884" y="149664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07" name="Oval 4306">
                  <a:extLst>
                    <a:ext uri="{FF2B5EF4-FFF2-40B4-BE49-F238E27FC236}">
                      <a16:creationId xmlns:a16="http://schemas.microsoft.com/office/drawing/2014/main" id="{CB64FFB0-C854-924B-59AA-1BB331FAF141}"/>
                    </a:ext>
                  </a:extLst>
                </p:cNvPr>
                <p:cNvSpPr>
                  <a:spLocks noChangeAspect="1"/>
                </p:cNvSpPr>
                <p:nvPr/>
              </p:nvSpPr>
              <p:spPr>
                <a:xfrm>
                  <a:off x="5478149" y="149214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08" name="Oval 4307">
                  <a:extLst>
                    <a:ext uri="{FF2B5EF4-FFF2-40B4-BE49-F238E27FC236}">
                      <a16:creationId xmlns:a16="http://schemas.microsoft.com/office/drawing/2014/main" id="{2274B5E9-9D1D-9666-58C6-C113642D3E7C}"/>
                    </a:ext>
                  </a:extLst>
                </p:cNvPr>
                <p:cNvSpPr>
                  <a:spLocks noChangeAspect="1"/>
                </p:cNvSpPr>
                <p:nvPr/>
              </p:nvSpPr>
              <p:spPr>
                <a:xfrm>
                  <a:off x="5332706" y="149214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09" name="Oval 4308">
                  <a:extLst>
                    <a:ext uri="{FF2B5EF4-FFF2-40B4-BE49-F238E27FC236}">
                      <a16:creationId xmlns:a16="http://schemas.microsoft.com/office/drawing/2014/main" id="{1E4232A1-CADE-43F6-FD89-FF7AB4B86455}"/>
                    </a:ext>
                  </a:extLst>
                </p:cNvPr>
                <p:cNvSpPr>
                  <a:spLocks noChangeAspect="1"/>
                </p:cNvSpPr>
                <p:nvPr/>
              </p:nvSpPr>
              <p:spPr>
                <a:xfrm>
                  <a:off x="5164001" y="149909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10" name="Oval 4309">
                  <a:extLst>
                    <a:ext uri="{FF2B5EF4-FFF2-40B4-BE49-F238E27FC236}">
                      <a16:creationId xmlns:a16="http://schemas.microsoft.com/office/drawing/2014/main" id="{596EED22-5A71-4583-014C-720E9FB093D2}"/>
                    </a:ext>
                  </a:extLst>
                </p:cNvPr>
                <p:cNvSpPr>
                  <a:spLocks noChangeAspect="1"/>
                </p:cNvSpPr>
                <p:nvPr/>
              </p:nvSpPr>
              <p:spPr>
                <a:xfrm>
                  <a:off x="5012002" y="149664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11" name="Oval 4310">
                  <a:extLst>
                    <a:ext uri="{FF2B5EF4-FFF2-40B4-BE49-F238E27FC236}">
                      <a16:creationId xmlns:a16="http://schemas.microsoft.com/office/drawing/2014/main" id="{086E2589-D148-5AB4-91F0-848F456391C0}"/>
                    </a:ext>
                  </a:extLst>
                </p:cNvPr>
                <p:cNvSpPr>
                  <a:spLocks noChangeAspect="1"/>
                </p:cNvSpPr>
                <p:nvPr/>
              </p:nvSpPr>
              <p:spPr>
                <a:xfrm>
                  <a:off x="4867281" y="1492145"/>
                  <a:ext cx="95108"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12" name="Oval 4311">
                  <a:extLst>
                    <a:ext uri="{FF2B5EF4-FFF2-40B4-BE49-F238E27FC236}">
                      <a16:creationId xmlns:a16="http://schemas.microsoft.com/office/drawing/2014/main" id="{639817B3-22F4-E239-8016-9EB44B3DA549}"/>
                    </a:ext>
                  </a:extLst>
                </p:cNvPr>
                <p:cNvSpPr>
                  <a:spLocks noChangeAspect="1"/>
                </p:cNvSpPr>
                <p:nvPr/>
              </p:nvSpPr>
              <p:spPr>
                <a:xfrm>
                  <a:off x="4721826" y="149214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13" name="Oval 4312">
                  <a:extLst>
                    <a:ext uri="{FF2B5EF4-FFF2-40B4-BE49-F238E27FC236}">
                      <a16:creationId xmlns:a16="http://schemas.microsoft.com/office/drawing/2014/main" id="{636C40DC-7D59-CA6B-E18E-E65D60324A6D}"/>
                    </a:ext>
                  </a:extLst>
                </p:cNvPr>
                <p:cNvSpPr>
                  <a:spLocks noChangeAspect="1"/>
                </p:cNvSpPr>
                <p:nvPr/>
              </p:nvSpPr>
              <p:spPr>
                <a:xfrm>
                  <a:off x="4554224" y="149214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14" name="Oval 4313">
                  <a:extLst>
                    <a:ext uri="{FF2B5EF4-FFF2-40B4-BE49-F238E27FC236}">
                      <a16:creationId xmlns:a16="http://schemas.microsoft.com/office/drawing/2014/main" id="{1314D110-D8A6-8F51-3FE7-6070810B0B01}"/>
                    </a:ext>
                  </a:extLst>
                </p:cNvPr>
                <p:cNvSpPr>
                  <a:spLocks noChangeAspect="1"/>
                </p:cNvSpPr>
                <p:nvPr/>
              </p:nvSpPr>
              <p:spPr>
                <a:xfrm>
                  <a:off x="4407672" y="149909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15" name="Oval 4314">
                  <a:extLst>
                    <a:ext uri="{FF2B5EF4-FFF2-40B4-BE49-F238E27FC236}">
                      <a16:creationId xmlns:a16="http://schemas.microsoft.com/office/drawing/2014/main" id="{3EBE0B0A-F964-4105-8E28-6BA35F83A7A6}"/>
                    </a:ext>
                  </a:extLst>
                </p:cNvPr>
                <p:cNvSpPr>
                  <a:spLocks noChangeAspect="1"/>
                </p:cNvSpPr>
                <p:nvPr/>
              </p:nvSpPr>
              <p:spPr>
                <a:xfrm>
                  <a:off x="8823739" y="163757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16" name="Oval 4315">
                  <a:extLst>
                    <a:ext uri="{FF2B5EF4-FFF2-40B4-BE49-F238E27FC236}">
                      <a16:creationId xmlns:a16="http://schemas.microsoft.com/office/drawing/2014/main" id="{99511CC0-FBE5-B09E-EEDE-BA4F7C1FE9DF}"/>
                    </a:ext>
                  </a:extLst>
                </p:cNvPr>
                <p:cNvSpPr>
                  <a:spLocks noChangeAspect="1"/>
                </p:cNvSpPr>
                <p:nvPr/>
              </p:nvSpPr>
              <p:spPr>
                <a:xfrm>
                  <a:off x="8678306" y="164512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17" name="Oval 4316">
                  <a:extLst>
                    <a:ext uri="{FF2B5EF4-FFF2-40B4-BE49-F238E27FC236}">
                      <a16:creationId xmlns:a16="http://schemas.microsoft.com/office/drawing/2014/main" id="{8A9E62E0-3C78-FD93-07C4-1956A93C3F8B}"/>
                    </a:ext>
                  </a:extLst>
                </p:cNvPr>
                <p:cNvSpPr>
                  <a:spLocks noChangeAspect="1"/>
                </p:cNvSpPr>
                <p:nvPr/>
              </p:nvSpPr>
              <p:spPr>
                <a:xfrm>
                  <a:off x="8509275" y="164454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18" name="Oval 4317">
                  <a:extLst>
                    <a:ext uri="{FF2B5EF4-FFF2-40B4-BE49-F238E27FC236}">
                      <a16:creationId xmlns:a16="http://schemas.microsoft.com/office/drawing/2014/main" id="{A3C09240-9F55-D8FA-D0A5-1CCF1B5F62E8}"/>
                    </a:ext>
                  </a:extLst>
                </p:cNvPr>
                <p:cNvSpPr>
                  <a:spLocks noChangeAspect="1"/>
                </p:cNvSpPr>
                <p:nvPr/>
              </p:nvSpPr>
              <p:spPr>
                <a:xfrm>
                  <a:off x="5626811" y="165298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19" name="Oval 4318">
                  <a:extLst>
                    <a:ext uri="{FF2B5EF4-FFF2-40B4-BE49-F238E27FC236}">
                      <a16:creationId xmlns:a16="http://schemas.microsoft.com/office/drawing/2014/main" id="{205064F5-F3C4-733C-EB2B-3C78FA6FEA59}"/>
                    </a:ext>
                  </a:extLst>
                </p:cNvPr>
                <p:cNvSpPr>
                  <a:spLocks noChangeAspect="1"/>
                </p:cNvSpPr>
                <p:nvPr/>
              </p:nvSpPr>
              <p:spPr>
                <a:xfrm>
                  <a:off x="5478453" y="163757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20" name="Oval 4319">
                  <a:extLst>
                    <a:ext uri="{FF2B5EF4-FFF2-40B4-BE49-F238E27FC236}">
                      <a16:creationId xmlns:a16="http://schemas.microsoft.com/office/drawing/2014/main" id="{B1111ADE-9353-C11C-6908-717A98846E0A}"/>
                    </a:ext>
                  </a:extLst>
                </p:cNvPr>
                <p:cNvSpPr>
                  <a:spLocks noChangeAspect="1"/>
                </p:cNvSpPr>
                <p:nvPr/>
              </p:nvSpPr>
              <p:spPr>
                <a:xfrm>
                  <a:off x="5333021" y="164512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21" name="Oval 4320">
                  <a:extLst>
                    <a:ext uri="{FF2B5EF4-FFF2-40B4-BE49-F238E27FC236}">
                      <a16:creationId xmlns:a16="http://schemas.microsoft.com/office/drawing/2014/main" id="{46ED73D7-9BD9-6F97-7131-BC5B6C44FD24}"/>
                    </a:ext>
                  </a:extLst>
                </p:cNvPr>
                <p:cNvSpPr>
                  <a:spLocks noChangeAspect="1"/>
                </p:cNvSpPr>
                <p:nvPr/>
              </p:nvSpPr>
              <p:spPr>
                <a:xfrm>
                  <a:off x="5164001" y="164454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22" name="Oval 4321">
                  <a:extLst>
                    <a:ext uri="{FF2B5EF4-FFF2-40B4-BE49-F238E27FC236}">
                      <a16:creationId xmlns:a16="http://schemas.microsoft.com/office/drawing/2014/main" id="{AFC2CCEC-8957-E4D4-CDFA-F56C6A0FCA99}"/>
                    </a:ext>
                  </a:extLst>
                </p:cNvPr>
                <p:cNvSpPr>
                  <a:spLocks noChangeAspect="1"/>
                </p:cNvSpPr>
                <p:nvPr/>
              </p:nvSpPr>
              <p:spPr>
                <a:xfrm>
                  <a:off x="5018557" y="164454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23" name="Oval 4322">
                  <a:extLst>
                    <a:ext uri="{FF2B5EF4-FFF2-40B4-BE49-F238E27FC236}">
                      <a16:creationId xmlns:a16="http://schemas.microsoft.com/office/drawing/2014/main" id="{FB3CC9BD-4F46-5F1F-E1F8-DFADE936A252}"/>
                    </a:ext>
                  </a:extLst>
                </p:cNvPr>
                <p:cNvSpPr>
                  <a:spLocks noChangeAspect="1"/>
                </p:cNvSpPr>
                <p:nvPr/>
              </p:nvSpPr>
              <p:spPr>
                <a:xfrm>
                  <a:off x="4871575" y="164512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24" name="Oval 4323">
                  <a:extLst>
                    <a:ext uri="{FF2B5EF4-FFF2-40B4-BE49-F238E27FC236}">
                      <a16:creationId xmlns:a16="http://schemas.microsoft.com/office/drawing/2014/main" id="{8D9DE076-9138-46E1-9898-794DE61D604F}"/>
                    </a:ext>
                  </a:extLst>
                </p:cNvPr>
                <p:cNvSpPr>
                  <a:spLocks noChangeAspect="1"/>
                </p:cNvSpPr>
                <p:nvPr/>
              </p:nvSpPr>
              <p:spPr>
                <a:xfrm>
                  <a:off x="4722130" y="164512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25" name="Oval 4324">
                  <a:extLst>
                    <a:ext uri="{FF2B5EF4-FFF2-40B4-BE49-F238E27FC236}">
                      <a16:creationId xmlns:a16="http://schemas.microsoft.com/office/drawing/2014/main" id="{67E56926-BF88-38BA-9069-0F94D5A3D97B}"/>
                    </a:ext>
                  </a:extLst>
                </p:cNvPr>
                <p:cNvSpPr>
                  <a:spLocks noChangeAspect="1"/>
                </p:cNvSpPr>
                <p:nvPr/>
              </p:nvSpPr>
              <p:spPr>
                <a:xfrm>
                  <a:off x="4553118" y="164454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26" name="Oval 4325">
                  <a:extLst>
                    <a:ext uri="{FF2B5EF4-FFF2-40B4-BE49-F238E27FC236}">
                      <a16:creationId xmlns:a16="http://schemas.microsoft.com/office/drawing/2014/main" id="{D9241215-375A-0989-D700-824876A48C65}"/>
                    </a:ext>
                  </a:extLst>
                </p:cNvPr>
                <p:cNvSpPr>
                  <a:spLocks noChangeAspect="1"/>
                </p:cNvSpPr>
                <p:nvPr/>
              </p:nvSpPr>
              <p:spPr>
                <a:xfrm>
                  <a:off x="4407672" y="164454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27" name="Oval 4326">
                  <a:extLst>
                    <a:ext uri="{FF2B5EF4-FFF2-40B4-BE49-F238E27FC236}">
                      <a16:creationId xmlns:a16="http://schemas.microsoft.com/office/drawing/2014/main" id="{2128EEF3-062B-7DE5-C598-57E4C68062AC}"/>
                    </a:ext>
                  </a:extLst>
                </p:cNvPr>
                <p:cNvSpPr>
                  <a:spLocks noChangeAspect="1"/>
                </p:cNvSpPr>
                <p:nvPr/>
              </p:nvSpPr>
              <p:spPr>
                <a:xfrm>
                  <a:off x="4260685" y="164512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28" name="Oval 4327">
                  <a:extLst>
                    <a:ext uri="{FF2B5EF4-FFF2-40B4-BE49-F238E27FC236}">
                      <a16:creationId xmlns:a16="http://schemas.microsoft.com/office/drawing/2014/main" id="{FA232EAD-AE8A-D7EB-9A4E-34192F1DD944}"/>
                    </a:ext>
                  </a:extLst>
                </p:cNvPr>
                <p:cNvSpPr>
                  <a:spLocks noChangeAspect="1"/>
                </p:cNvSpPr>
                <p:nvPr/>
              </p:nvSpPr>
              <p:spPr>
                <a:xfrm>
                  <a:off x="8969172" y="179629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29" name="Oval 4328">
                  <a:extLst>
                    <a:ext uri="{FF2B5EF4-FFF2-40B4-BE49-F238E27FC236}">
                      <a16:creationId xmlns:a16="http://schemas.microsoft.com/office/drawing/2014/main" id="{108EB00A-1F2E-7874-E1A9-3C2E26C26798}"/>
                    </a:ext>
                  </a:extLst>
                </p:cNvPr>
                <p:cNvSpPr>
                  <a:spLocks noChangeAspect="1"/>
                </p:cNvSpPr>
                <p:nvPr/>
              </p:nvSpPr>
              <p:spPr>
                <a:xfrm>
                  <a:off x="8823739" y="181210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30" name="Oval 4329">
                  <a:extLst>
                    <a:ext uri="{FF2B5EF4-FFF2-40B4-BE49-F238E27FC236}">
                      <a16:creationId xmlns:a16="http://schemas.microsoft.com/office/drawing/2014/main" id="{0DB3C9A2-88A0-9206-6CFD-5D26D69DA000}"/>
                    </a:ext>
                  </a:extLst>
                </p:cNvPr>
                <p:cNvSpPr>
                  <a:spLocks noChangeAspect="1"/>
                </p:cNvSpPr>
                <p:nvPr/>
              </p:nvSpPr>
              <p:spPr>
                <a:xfrm>
                  <a:off x="8659573" y="181210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31" name="Oval 4330">
                  <a:extLst>
                    <a:ext uri="{FF2B5EF4-FFF2-40B4-BE49-F238E27FC236}">
                      <a16:creationId xmlns:a16="http://schemas.microsoft.com/office/drawing/2014/main" id="{FFC1E0E4-538A-10B5-57CE-CB02BE47D6C0}"/>
                    </a:ext>
                  </a:extLst>
                </p:cNvPr>
                <p:cNvSpPr>
                  <a:spLocks noChangeAspect="1"/>
                </p:cNvSpPr>
                <p:nvPr/>
              </p:nvSpPr>
              <p:spPr>
                <a:xfrm>
                  <a:off x="8503874" y="181210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32" name="Oval 4331">
                  <a:extLst>
                    <a:ext uri="{FF2B5EF4-FFF2-40B4-BE49-F238E27FC236}">
                      <a16:creationId xmlns:a16="http://schemas.microsoft.com/office/drawing/2014/main" id="{BA2B2FDD-57CA-CD5D-13B0-DFF10C81830C}"/>
                    </a:ext>
                  </a:extLst>
                </p:cNvPr>
                <p:cNvSpPr>
                  <a:spLocks noChangeAspect="1"/>
                </p:cNvSpPr>
                <p:nvPr/>
              </p:nvSpPr>
              <p:spPr>
                <a:xfrm>
                  <a:off x="8358314" y="181210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33" name="Oval 4332">
                  <a:extLst>
                    <a:ext uri="{FF2B5EF4-FFF2-40B4-BE49-F238E27FC236}">
                      <a16:creationId xmlns:a16="http://schemas.microsoft.com/office/drawing/2014/main" id="{E12B426D-921C-4CCF-AFD7-3EF47383D364}"/>
                    </a:ext>
                  </a:extLst>
                </p:cNvPr>
                <p:cNvSpPr>
                  <a:spLocks noChangeAspect="1"/>
                </p:cNvSpPr>
                <p:nvPr/>
              </p:nvSpPr>
              <p:spPr>
                <a:xfrm>
                  <a:off x="5478453" y="181210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34" name="Oval 4333">
                  <a:extLst>
                    <a:ext uri="{FF2B5EF4-FFF2-40B4-BE49-F238E27FC236}">
                      <a16:creationId xmlns:a16="http://schemas.microsoft.com/office/drawing/2014/main" id="{DC1DA010-3AB0-867F-F4E3-4C399F15734C}"/>
                    </a:ext>
                  </a:extLst>
                </p:cNvPr>
                <p:cNvSpPr>
                  <a:spLocks noChangeAspect="1"/>
                </p:cNvSpPr>
                <p:nvPr/>
              </p:nvSpPr>
              <p:spPr>
                <a:xfrm>
                  <a:off x="5333021" y="181210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35" name="Oval 4334">
                  <a:extLst>
                    <a:ext uri="{FF2B5EF4-FFF2-40B4-BE49-F238E27FC236}">
                      <a16:creationId xmlns:a16="http://schemas.microsoft.com/office/drawing/2014/main" id="{A6E355C5-DDC9-834B-92A2-4B6727F4B192}"/>
                    </a:ext>
                  </a:extLst>
                </p:cNvPr>
                <p:cNvSpPr>
                  <a:spLocks noChangeAspect="1"/>
                </p:cNvSpPr>
                <p:nvPr/>
              </p:nvSpPr>
              <p:spPr>
                <a:xfrm>
                  <a:off x="5158589" y="181210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36" name="Oval 4335">
                  <a:extLst>
                    <a:ext uri="{FF2B5EF4-FFF2-40B4-BE49-F238E27FC236}">
                      <a16:creationId xmlns:a16="http://schemas.microsoft.com/office/drawing/2014/main" id="{ECE7E55C-44B0-E376-8A77-F4A3822F461F}"/>
                    </a:ext>
                  </a:extLst>
                </p:cNvPr>
                <p:cNvSpPr>
                  <a:spLocks noChangeAspect="1"/>
                </p:cNvSpPr>
                <p:nvPr/>
              </p:nvSpPr>
              <p:spPr>
                <a:xfrm>
                  <a:off x="5013029" y="181210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37" name="Oval 4336">
                  <a:extLst>
                    <a:ext uri="{FF2B5EF4-FFF2-40B4-BE49-F238E27FC236}">
                      <a16:creationId xmlns:a16="http://schemas.microsoft.com/office/drawing/2014/main" id="{589FE590-CC09-F32F-8F5E-D46EEC8AD20E}"/>
                    </a:ext>
                  </a:extLst>
                </p:cNvPr>
                <p:cNvSpPr>
                  <a:spLocks noChangeAspect="1"/>
                </p:cNvSpPr>
                <p:nvPr/>
              </p:nvSpPr>
              <p:spPr>
                <a:xfrm>
                  <a:off x="4867596" y="181210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38" name="Oval 4337">
                  <a:extLst>
                    <a:ext uri="{FF2B5EF4-FFF2-40B4-BE49-F238E27FC236}">
                      <a16:creationId xmlns:a16="http://schemas.microsoft.com/office/drawing/2014/main" id="{E5400275-DDAC-2D5F-A0B0-643BDA4D8E41}"/>
                    </a:ext>
                  </a:extLst>
                </p:cNvPr>
                <p:cNvSpPr>
                  <a:spLocks noChangeAspect="1"/>
                </p:cNvSpPr>
                <p:nvPr/>
              </p:nvSpPr>
              <p:spPr>
                <a:xfrm>
                  <a:off x="4722130" y="181210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39" name="Oval 4338">
                  <a:extLst>
                    <a:ext uri="{FF2B5EF4-FFF2-40B4-BE49-F238E27FC236}">
                      <a16:creationId xmlns:a16="http://schemas.microsoft.com/office/drawing/2014/main" id="{1D8B83DA-7061-1727-7CB8-E9088183BB24}"/>
                    </a:ext>
                  </a:extLst>
                </p:cNvPr>
                <p:cNvSpPr>
                  <a:spLocks noChangeAspect="1"/>
                </p:cNvSpPr>
                <p:nvPr/>
              </p:nvSpPr>
              <p:spPr>
                <a:xfrm>
                  <a:off x="4557975" y="181210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40" name="Oval 4339">
                  <a:extLst>
                    <a:ext uri="{FF2B5EF4-FFF2-40B4-BE49-F238E27FC236}">
                      <a16:creationId xmlns:a16="http://schemas.microsoft.com/office/drawing/2014/main" id="{AB98D379-AE7D-1B15-662B-162E38833F02}"/>
                    </a:ext>
                  </a:extLst>
                </p:cNvPr>
                <p:cNvSpPr>
                  <a:spLocks noChangeAspect="1"/>
                </p:cNvSpPr>
                <p:nvPr/>
              </p:nvSpPr>
              <p:spPr>
                <a:xfrm>
                  <a:off x="4402155" y="181210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41" name="Oval 4340">
                  <a:extLst>
                    <a:ext uri="{FF2B5EF4-FFF2-40B4-BE49-F238E27FC236}">
                      <a16:creationId xmlns:a16="http://schemas.microsoft.com/office/drawing/2014/main" id="{92284DD1-7CE4-359E-3DB4-E3901D691875}"/>
                    </a:ext>
                  </a:extLst>
                </p:cNvPr>
                <p:cNvSpPr>
                  <a:spLocks noChangeAspect="1"/>
                </p:cNvSpPr>
                <p:nvPr/>
              </p:nvSpPr>
              <p:spPr>
                <a:xfrm>
                  <a:off x="4256705" y="181625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42" name="Oval 4341">
                  <a:extLst>
                    <a:ext uri="{FF2B5EF4-FFF2-40B4-BE49-F238E27FC236}">
                      <a16:creationId xmlns:a16="http://schemas.microsoft.com/office/drawing/2014/main" id="{9B75D418-D0D1-0F6D-87C4-0B14A893545E}"/>
                    </a:ext>
                  </a:extLst>
                </p:cNvPr>
                <p:cNvSpPr>
                  <a:spLocks noChangeAspect="1"/>
                </p:cNvSpPr>
                <p:nvPr/>
              </p:nvSpPr>
              <p:spPr>
                <a:xfrm>
                  <a:off x="4115329" y="180458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43" name="Oval 4342">
                  <a:extLst>
                    <a:ext uri="{FF2B5EF4-FFF2-40B4-BE49-F238E27FC236}">
                      <a16:creationId xmlns:a16="http://schemas.microsoft.com/office/drawing/2014/main" id="{C87B1250-9367-664E-F082-AF17B15FED74}"/>
                    </a:ext>
                  </a:extLst>
                </p:cNvPr>
                <p:cNvSpPr>
                  <a:spLocks noChangeAspect="1"/>
                </p:cNvSpPr>
                <p:nvPr/>
              </p:nvSpPr>
              <p:spPr>
                <a:xfrm>
                  <a:off x="8969172" y="196168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44" name="Oval 4343">
                  <a:extLst>
                    <a:ext uri="{FF2B5EF4-FFF2-40B4-BE49-F238E27FC236}">
                      <a16:creationId xmlns:a16="http://schemas.microsoft.com/office/drawing/2014/main" id="{E378E10E-2471-BCA1-44D4-44393166A273}"/>
                    </a:ext>
                  </a:extLst>
                </p:cNvPr>
                <p:cNvSpPr>
                  <a:spLocks noChangeAspect="1"/>
                </p:cNvSpPr>
                <p:nvPr/>
              </p:nvSpPr>
              <p:spPr>
                <a:xfrm>
                  <a:off x="8678306" y="195756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45" name="Oval 4344">
                  <a:extLst>
                    <a:ext uri="{FF2B5EF4-FFF2-40B4-BE49-F238E27FC236}">
                      <a16:creationId xmlns:a16="http://schemas.microsoft.com/office/drawing/2014/main" id="{66066087-BCE6-0289-3814-7C00CA33441F}"/>
                    </a:ext>
                  </a:extLst>
                </p:cNvPr>
                <p:cNvSpPr>
                  <a:spLocks noChangeAspect="1"/>
                </p:cNvSpPr>
                <p:nvPr/>
              </p:nvSpPr>
              <p:spPr>
                <a:xfrm>
                  <a:off x="8509603" y="196281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46" name="Oval 4345">
                  <a:extLst>
                    <a:ext uri="{FF2B5EF4-FFF2-40B4-BE49-F238E27FC236}">
                      <a16:creationId xmlns:a16="http://schemas.microsoft.com/office/drawing/2014/main" id="{36E3138F-6B09-1CFA-66AF-42BB614A52A7}"/>
                    </a:ext>
                  </a:extLst>
                </p:cNvPr>
                <p:cNvSpPr>
                  <a:spLocks noChangeAspect="1"/>
                </p:cNvSpPr>
                <p:nvPr/>
              </p:nvSpPr>
              <p:spPr>
                <a:xfrm>
                  <a:off x="8358314" y="196152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47" name="Oval 4346">
                  <a:extLst>
                    <a:ext uri="{FF2B5EF4-FFF2-40B4-BE49-F238E27FC236}">
                      <a16:creationId xmlns:a16="http://schemas.microsoft.com/office/drawing/2014/main" id="{3DE55FF5-6A75-2C9F-C0B8-08E4990C81F2}"/>
                    </a:ext>
                  </a:extLst>
                </p:cNvPr>
                <p:cNvSpPr>
                  <a:spLocks noChangeAspect="1"/>
                </p:cNvSpPr>
                <p:nvPr/>
              </p:nvSpPr>
              <p:spPr>
                <a:xfrm>
                  <a:off x="8212848" y="195756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48" name="Oval 4347">
                  <a:extLst>
                    <a:ext uri="{FF2B5EF4-FFF2-40B4-BE49-F238E27FC236}">
                      <a16:creationId xmlns:a16="http://schemas.microsoft.com/office/drawing/2014/main" id="{FCCC6DBD-FB56-E7F4-FD08-CC4E3E3633E9}"/>
                    </a:ext>
                  </a:extLst>
                </p:cNvPr>
                <p:cNvSpPr>
                  <a:spLocks noChangeAspect="1"/>
                </p:cNvSpPr>
                <p:nvPr/>
              </p:nvSpPr>
              <p:spPr>
                <a:xfrm>
                  <a:off x="7898714" y="196282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49" name="Oval 4348">
                  <a:extLst>
                    <a:ext uri="{FF2B5EF4-FFF2-40B4-BE49-F238E27FC236}">
                      <a16:creationId xmlns:a16="http://schemas.microsoft.com/office/drawing/2014/main" id="{686F1D7C-6E8D-3EAE-4D8F-F9F58E6784B5}"/>
                    </a:ext>
                  </a:extLst>
                </p:cNvPr>
                <p:cNvSpPr>
                  <a:spLocks noChangeAspect="1"/>
                </p:cNvSpPr>
                <p:nvPr/>
              </p:nvSpPr>
              <p:spPr>
                <a:xfrm>
                  <a:off x="5623919" y="196168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50" name="Oval 4349">
                  <a:extLst>
                    <a:ext uri="{FF2B5EF4-FFF2-40B4-BE49-F238E27FC236}">
                      <a16:creationId xmlns:a16="http://schemas.microsoft.com/office/drawing/2014/main" id="{9103A47F-F62F-D9AA-5E03-EF1D07C664BF}"/>
                    </a:ext>
                  </a:extLst>
                </p:cNvPr>
                <p:cNvSpPr>
                  <a:spLocks noChangeAspect="1"/>
                </p:cNvSpPr>
                <p:nvPr/>
              </p:nvSpPr>
              <p:spPr>
                <a:xfrm>
                  <a:off x="5478453" y="195756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51" name="Oval 4350">
                  <a:extLst>
                    <a:ext uri="{FF2B5EF4-FFF2-40B4-BE49-F238E27FC236}">
                      <a16:creationId xmlns:a16="http://schemas.microsoft.com/office/drawing/2014/main" id="{6FE67A22-C172-BAC6-1B4F-928A7FD88330}"/>
                    </a:ext>
                  </a:extLst>
                </p:cNvPr>
                <p:cNvSpPr>
                  <a:spLocks noChangeAspect="1"/>
                </p:cNvSpPr>
                <p:nvPr/>
              </p:nvSpPr>
              <p:spPr>
                <a:xfrm>
                  <a:off x="5333021" y="195756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52" name="Oval 4351">
                  <a:extLst>
                    <a:ext uri="{FF2B5EF4-FFF2-40B4-BE49-F238E27FC236}">
                      <a16:creationId xmlns:a16="http://schemas.microsoft.com/office/drawing/2014/main" id="{AC3E2F5B-49FA-48DE-8C8C-9D6465117EEA}"/>
                    </a:ext>
                  </a:extLst>
                </p:cNvPr>
                <p:cNvSpPr>
                  <a:spLocks noChangeAspect="1"/>
                </p:cNvSpPr>
                <p:nvPr/>
              </p:nvSpPr>
              <p:spPr>
                <a:xfrm>
                  <a:off x="5164318" y="196282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53" name="Oval 4352">
                  <a:extLst>
                    <a:ext uri="{FF2B5EF4-FFF2-40B4-BE49-F238E27FC236}">
                      <a16:creationId xmlns:a16="http://schemas.microsoft.com/office/drawing/2014/main" id="{FA43C8FB-F42B-FECC-EE4C-AFE6B0D4AE31}"/>
                    </a:ext>
                  </a:extLst>
                </p:cNvPr>
                <p:cNvSpPr>
                  <a:spLocks noChangeAspect="1"/>
                </p:cNvSpPr>
                <p:nvPr/>
              </p:nvSpPr>
              <p:spPr>
                <a:xfrm>
                  <a:off x="4867596" y="195756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54" name="Oval 4353">
                  <a:extLst>
                    <a:ext uri="{FF2B5EF4-FFF2-40B4-BE49-F238E27FC236}">
                      <a16:creationId xmlns:a16="http://schemas.microsoft.com/office/drawing/2014/main" id="{8CAFDCAD-06FA-3EE2-7825-A3580EECE239}"/>
                    </a:ext>
                  </a:extLst>
                </p:cNvPr>
                <p:cNvSpPr>
                  <a:spLocks noChangeAspect="1"/>
                </p:cNvSpPr>
                <p:nvPr/>
              </p:nvSpPr>
              <p:spPr>
                <a:xfrm>
                  <a:off x="4722130" y="195756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55" name="Oval 4354">
                  <a:extLst>
                    <a:ext uri="{FF2B5EF4-FFF2-40B4-BE49-F238E27FC236}">
                      <a16:creationId xmlns:a16="http://schemas.microsoft.com/office/drawing/2014/main" id="{FA28A627-F5BE-FB3D-D6B6-DEA8EEE441B2}"/>
                    </a:ext>
                  </a:extLst>
                </p:cNvPr>
                <p:cNvSpPr>
                  <a:spLocks noChangeAspect="1"/>
                </p:cNvSpPr>
                <p:nvPr/>
              </p:nvSpPr>
              <p:spPr>
                <a:xfrm>
                  <a:off x="4557975" y="195756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56" name="Oval 4355">
                  <a:extLst>
                    <a:ext uri="{FF2B5EF4-FFF2-40B4-BE49-F238E27FC236}">
                      <a16:creationId xmlns:a16="http://schemas.microsoft.com/office/drawing/2014/main" id="{1E89FDA3-D9D0-5DCD-6BC9-22FDC2A2A51B}"/>
                    </a:ext>
                  </a:extLst>
                </p:cNvPr>
                <p:cNvSpPr>
                  <a:spLocks noChangeAspect="1"/>
                </p:cNvSpPr>
                <p:nvPr/>
              </p:nvSpPr>
              <p:spPr>
                <a:xfrm>
                  <a:off x="4402155" y="196154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57" name="Oval 4356">
                  <a:extLst>
                    <a:ext uri="{FF2B5EF4-FFF2-40B4-BE49-F238E27FC236}">
                      <a16:creationId xmlns:a16="http://schemas.microsoft.com/office/drawing/2014/main" id="{232BD996-FA1A-1606-39CF-016AEFDA300F}"/>
                    </a:ext>
                  </a:extLst>
                </p:cNvPr>
                <p:cNvSpPr>
                  <a:spLocks noChangeAspect="1"/>
                </p:cNvSpPr>
                <p:nvPr/>
              </p:nvSpPr>
              <p:spPr>
                <a:xfrm>
                  <a:off x="4256705" y="195756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58" name="Oval 4357">
                  <a:extLst>
                    <a:ext uri="{FF2B5EF4-FFF2-40B4-BE49-F238E27FC236}">
                      <a16:creationId xmlns:a16="http://schemas.microsoft.com/office/drawing/2014/main" id="{30C59806-CB91-66C5-FCC2-80D19A7D3814}"/>
                    </a:ext>
                  </a:extLst>
                </p:cNvPr>
                <p:cNvSpPr>
                  <a:spLocks noChangeAspect="1"/>
                </p:cNvSpPr>
                <p:nvPr/>
              </p:nvSpPr>
              <p:spPr>
                <a:xfrm>
                  <a:off x="4111259" y="195756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59" name="Oval 4358">
                  <a:extLst>
                    <a:ext uri="{FF2B5EF4-FFF2-40B4-BE49-F238E27FC236}">
                      <a16:creationId xmlns:a16="http://schemas.microsoft.com/office/drawing/2014/main" id="{7D455857-699F-2060-B627-FA2EE01E8AAE}"/>
                    </a:ext>
                  </a:extLst>
                </p:cNvPr>
                <p:cNvSpPr>
                  <a:spLocks noChangeAspect="1"/>
                </p:cNvSpPr>
                <p:nvPr/>
              </p:nvSpPr>
              <p:spPr>
                <a:xfrm>
                  <a:off x="8823433" y="195756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60" name="Oval 4359">
                  <a:extLst>
                    <a:ext uri="{FF2B5EF4-FFF2-40B4-BE49-F238E27FC236}">
                      <a16:creationId xmlns:a16="http://schemas.microsoft.com/office/drawing/2014/main" id="{88BBF837-35F8-AB2B-D303-A4A00661A8CC}"/>
                    </a:ext>
                  </a:extLst>
                </p:cNvPr>
                <p:cNvSpPr>
                  <a:spLocks noChangeAspect="1"/>
                </p:cNvSpPr>
                <p:nvPr/>
              </p:nvSpPr>
              <p:spPr>
                <a:xfrm>
                  <a:off x="8968160" y="210753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61" name="Oval 4360">
                  <a:extLst>
                    <a:ext uri="{FF2B5EF4-FFF2-40B4-BE49-F238E27FC236}">
                      <a16:creationId xmlns:a16="http://schemas.microsoft.com/office/drawing/2014/main" id="{BD2F57BE-BAE1-2656-3E27-10C5541D7FDF}"/>
                    </a:ext>
                  </a:extLst>
                </p:cNvPr>
                <p:cNvSpPr>
                  <a:spLocks noChangeAspect="1"/>
                </p:cNvSpPr>
                <p:nvPr/>
              </p:nvSpPr>
              <p:spPr>
                <a:xfrm>
                  <a:off x="8663834" y="210520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62" name="Oval 4361">
                  <a:extLst>
                    <a:ext uri="{FF2B5EF4-FFF2-40B4-BE49-F238E27FC236}">
                      <a16:creationId xmlns:a16="http://schemas.microsoft.com/office/drawing/2014/main" id="{5295CD4D-7E8B-17C7-89BF-4089DDB12658}"/>
                    </a:ext>
                  </a:extLst>
                </p:cNvPr>
                <p:cNvSpPr>
                  <a:spLocks noChangeAspect="1"/>
                </p:cNvSpPr>
                <p:nvPr/>
              </p:nvSpPr>
              <p:spPr>
                <a:xfrm>
                  <a:off x="8509275" y="210998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63" name="Oval 4362">
                  <a:extLst>
                    <a:ext uri="{FF2B5EF4-FFF2-40B4-BE49-F238E27FC236}">
                      <a16:creationId xmlns:a16="http://schemas.microsoft.com/office/drawing/2014/main" id="{2ACA10A7-693F-BE29-09C2-524C0B49EE2C}"/>
                    </a:ext>
                  </a:extLst>
                </p:cNvPr>
                <p:cNvSpPr>
                  <a:spLocks noChangeAspect="1"/>
                </p:cNvSpPr>
                <p:nvPr/>
              </p:nvSpPr>
              <p:spPr>
                <a:xfrm>
                  <a:off x="8363821" y="210998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64" name="Oval 4363">
                  <a:extLst>
                    <a:ext uri="{FF2B5EF4-FFF2-40B4-BE49-F238E27FC236}">
                      <a16:creationId xmlns:a16="http://schemas.microsoft.com/office/drawing/2014/main" id="{053804D7-460A-CCDC-6DBD-A825FE850CBF}"/>
                    </a:ext>
                  </a:extLst>
                </p:cNvPr>
                <p:cNvSpPr>
                  <a:spLocks noChangeAspect="1"/>
                </p:cNvSpPr>
                <p:nvPr/>
              </p:nvSpPr>
              <p:spPr>
                <a:xfrm>
                  <a:off x="8212672" y="210300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65" name="Oval 4364">
                  <a:extLst>
                    <a:ext uri="{FF2B5EF4-FFF2-40B4-BE49-F238E27FC236}">
                      <a16:creationId xmlns:a16="http://schemas.microsoft.com/office/drawing/2014/main" id="{908483FE-A811-411C-C5DC-C3B3AB0D1FEF}"/>
                    </a:ext>
                  </a:extLst>
                </p:cNvPr>
                <p:cNvSpPr>
                  <a:spLocks noChangeAspect="1"/>
                </p:cNvSpPr>
                <p:nvPr/>
              </p:nvSpPr>
              <p:spPr>
                <a:xfrm>
                  <a:off x="8067416" y="210300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66" name="Oval 4365">
                  <a:extLst>
                    <a:ext uri="{FF2B5EF4-FFF2-40B4-BE49-F238E27FC236}">
                      <a16:creationId xmlns:a16="http://schemas.microsoft.com/office/drawing/2014/main" id="{5623F169-34F8-1928-3363-F48FCF505B12}"/>
                    </a:ext>
                  </a:extLst>
                </p:cNvPr>
                <p:cNvSpPr>
                  <a:spLocks noChangeAspect="1"/>
                </p:cNvSpPr>
                <p:nvPr/>
              </p:nvSpPr>
              <p:spPr>
                <a:xfrm>
                  <a:off x="7288626" y="210300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67" name="Oval 4366">
                  <a:extLst>
                    <a:ext uri="{FF2B5EF4-FFF2-40B4-BE49-F238E27FC236}">
                      <a16:creationId xmlns:a16="http://schemas.microsoft.com/office/drawing/2014/main" id="{B77D3FAD-C15A-4000-9441-57742E93384E}"/>
                    </a:ext>
                  </a:extLst>
                </p:cNvPr>
                <p:cNvSpPr>
                  <a:spLocks noChangeAspect="1"/>
                </p:cNvSpPr>
                <p:nvPr/>
              </p:nvSpPr>
              <p:spPr>
                <a:xfrm>
                  <a:off x="5929995" y="210998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68" name="Oval 4367">
                  <a:extLst>
                    <a:ext uri="{FF2B5EF4-FFF2-40B4-BE49-F238E27FC236}">
                      <a16:creationId xmlns:a16="http://schemas.microsoft.com/office/drawing/2014/main" id="{6FCD683E-4305-C2D4-6E33-867B678CBEF1}"/>
                    </a:ext>
                  </a:extLst>
                </p:cNvPr>
                <p:cNvSpPr>
                  <a:spLocks noChangeAspect="1"/>
                </p:cNvSpPr>
                <p:nvPr/>
              </p:nvSpPr>
              <p:spPr>
                <a:xfrm>
                  <a:off x="5774880" y="210998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69" name="Oval 4368">
                  <a:extLst>
                    <a:ext uri="{FF2B5EF4-FFF2-40B4-BE49-F238E27FC236}">
                      <a16:creationId xmlns:a16="http://schemas.microsoft.com/office/drawing/2014/main" id="{68372F24-CBDD-7E16-C004-D0FBECBEDE8D}"/>
                    </a:ext>
                  </a:extLst>
                </p:cNvPr>
                <p:cNvSpPr>
                  <a:spLocks noChangeAspect="1"/>
                </p:cNvSpPr>
                <p:nvPr/>
              </p:nvSpPr>
              <p:spPr>
                <a:xfrm>
                  <a:off x="5626187" y="210520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70" name="Oval 4369">
                  <a:extLst>
                    <a:ext uri="{FF2B5EF4-FFF2-40B4-BE49-F238E27FC236}">
                      <a16:creationId xmlns:a16="http://schemas.microsoft.com/office/drawing/2014/main" id="{F0894BDD-F47D-7F53-8705-B61FF0AE30C0}"/>
                    </a:ext>
                  </a:extLst>
                </p:cNvPr>
                <p:cNvSpPr>
                  <a:spLocks noChangeAspect="1"/>
                </p:cNvSpPr>
                <p:nvPr/>
              </p:nvSpPr>
              <p:spPr>
                <a:xfrm>
                  <a:off x="5478278" y="210300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71" name="Oval 4370">
                  <a:extLst>
                    <a:ext uri="{FF2B5EF4-FFF2-40B4-BE49-F238E27FC236}">
                      <a16:creationId xmlns:a16="http://schemas.microsoft.com/office/drawing/2014/main" id="{757ED77F-7145-0EAA-08B4-BD84795D1ACF}"/>
                    </a:ext>
                  </a:extLst>
                </p:cNvPr>
                <p:cNvSpPr>
                  <a:spLocks noChangeAspect="1"/>
                </p:cNvSpPr>
                <p:nvPr/>
              </p:nvSpPr>
              <p:spPr>
                <a:xfrm>
                  <a:off x="5333021" y="210300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72" name="Oval 4371">
                  <a:extLst>
                    <a:ext uri="{FF2B5EF4-FFF2-40B4-BE49-F238E27FC236}">
                      <a16:creationId xmlns:a16="http://schemas.microsoft.com/office/drawing/2014/main" id="{C0EDF8DE-AB2F-4AA4-DDE1-1F12630823CC}"/>
                    </a:ext>
                  </a:extLst>
                </p:cNvPr>
                <p:cNvSpPr>
                  <a:spLocks noChangeAspect="1"/>
                </p:cNvSpPr>
                <p:nvPr/>
              </p:nvSpPr>
              <p:spPr>
                <a:xfrm>
                  <a:off x="5164001" y="210998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73" name="Oval 4372">
                  <a:extLst>
                    <a:ext uri="{FF2B5EF4-FFF2-40B4-BE49-F238E27FC236}">
                      <a16:creationId xmlns:a16="http://schemas.microsoft.com/office/drawing/2014/main" id="{440566A9-83E6-D518-2C68-FD296BDED2BB}"/>
                    </a:ext>
                  </a:extLst>
                </p:cNvPr>
                <p:cNvSpPr>
                  <a:spLocks noChangeAspect="1"/>
                </p:cNvSpPr>
                <p:nvPr/>
              </p:nvSpPr>
              <p:spPr>
                <a:xfrm>
                  <a:off x="5018557" y="210998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74" name="Oval 4373">
                  <a:extLst>
                    <a:ext uri="{FF2B5EF4-FFF2-40B4-BE49-F238E27FC236}">
                      <a16:creationId xmlns:a16="http://schemas.microsoft.com/office/drawing/2014/main" id="{7FCA0637-325E-A2FA-495E-9078EA4F9EAE}"/>
                    </a:ext>
                  </a:extLst>
                </p:cNvPr>
                <p:cNvSpPr>
                  <a:spLocks noChangeAspect="1"/>
                </p:cNvSpPr>
                <p:nvPr/>
              </p:nvSpPr>
              <p:spPr>
                <a:xfrm>
                  <a:off x="4867401" y="210300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75" name="Oval 4374">
                  <a:extLst>
                    <a:ext uri="{FF2B5EF4-FFF2-40B4-BE49-F238E27FC236}">
                      <a16:creationId xmlns:a16="http://schemas.microsoft.com/office/drawing/2014/main" id="{7352123E-D422-9ACD-F129-42498076DC0F}"/>
                    </a:ext>
                  </a:extLst>
                </p:cNvPr>
                <p:cNvSpPr>
                  <a:spLocks noChangeAspect="1"/>
                </p:cNvSpPr>
                <p:nvPr/>
              </p:nvSpPr>
              <p:spPr>
                <a:xfrm>
                  <a:off x="4722130" y="210300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76" name="Oval 4375">
                  <a:extLst>
                    <a:ext uri="{FF2B5EF4-FFF2-40B4-BE49-F238E27FC236}">
                      <a16:creationId xmlns:a16="http://schemas.microsoft.com/office/drawing/2014/main" id="{A2439843-1554-C110-CAB5-23888CDEA4CA}"/>
                    </a:ext>
                  </a:extLst>
                </p:cNvPr>
                <p:cNvSpPr>
                  <a:spLocks noChangeAspect="1"/>
                </p:cNvSpPr>
                <p:nvPr/>
              </p:nvSpPr>
              <p:spPr>
                <a:xfrm>
                  <a:off x="4554224" y="210300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77" name="Oval 4376">
                  <a:extLst>
                    <a:ext uri="{FF2B5EF4-FFF2-40B4-BE49-F238E27FC236}">
                      <a16:creationId xmlns:a16="http://schemas.microsoft.com/office/drawing/2014/main" id="{6307835B-ABD8-5AE6-1E46-EA83DA9904BA}"/>
                    </a:ext>
                  </a:extLst>
                </p:cNvPr>
                <p:cNvSpPr>
                  <a:spLocks noChangeAspect="1"/>
                </p:cNvSpPr>
                <p:nvPr/>
              </p:nvSpPr>
              <p:spPr>
                <a:xfrm>
                  <a:off x="4407672" y="210998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78" name="Oval 4377">
                  <a:extLst>
                    <a:ext uri="{FF2B5EF4-FFF2-40B4-BE49-F238E27FC236}">
                      <a16:creationId xmlns:a16="http://schemas.microsoft.com/office/drawing/2014/main" id="{7F6EE7BB-A1E9-11D4-9D66-80CA440D1A04}"/>
                    </a:ext>
                  </a:extLst>
                </p:cNvPr>
                <p:cNvSpPr>
                  <a:spLocks noChangeAspect="1"/>
                </p:cNvSpPr>
                <p:nvPr/>
              </p:nvSpPr>
              <p:spPr>
                <a:xfrm>
                  <a:off x="4258989" y="210520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79" name="Oval 4378">
                  <a:extLst>
                    <a:ext uri="{FF2B5EF4-FFF2-40B4-BE49-F238E27FC236}">
                      <a16:creationId xmlns:a16="http://schemas.microsoft.com/office/drawing/2014/main" id="{30945DD2-20BF-0902-0F2B-9CBF1488504C}"/>
                    </a:ext>
                  </a:extLst>
                </p:cNvPr>
                <p:cNvSpPr>
                  <a:spLocks noChangeAspect="1"/>
                </p:cNvSpPr>
                <p:nvPr/>
              </p:nvSpPr>
              <p:spPr>
                <a:xfrm>
                  <a:off x="4110951" y="210300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80" name="Oval 4379">
                  <a:extLst>
                    <a:ext uri="{FF2B5EF4-FFF2-40B4-BE49-F238E27FC236}">
                      <a16:creationId xmlns:a16="http://schemas.microsoft.com/office/drawing/2014/main" id="{D5A94283-E49D-758C-E8C5-51211D5CE255}"/>
                    </a:ext>
                  </a:extLst>
                </p:cNvPr>
                <p:cNvSpPr>
                  <a:spLocks noChangeAspect="1"/>
                </p:cNvSpPr>
                <p:nvPr/>
              </p:nvSpPr>
              <p:spPr>
                <a:xfrm>
                  <a:off x="3951355" y="210520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81" name="Oval 4380">
                  <a:extLst>
                    <a:ext uri="{FF2B5EF4-FFF2-40B4-BE49-F238E27FC236}">
                      <a16:creationId xmlns:a16="http://schemas.microsoft.com/office/drawing/2014/main" id="{52283AAB-76A4-960C-AE8B-2CDF26B40001}"/>
                    </a:ext>
                  </a:extLst>
                </p:cNvPr>
                <p:cNvSpPr>
                  <a:spLocks noChangeAspect="1"/>
                </p:cNvSpPr>
                <p:nvPr/>
              </p:nvSpPr>
              <p:spPr>
                <a:xfrm>
                  <a:off x="3796796" y="210998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82" name="Oval 4381">
                  <a:extLst>
                    <a:ext uri="{FF2B5EF4-FFF2-40B4-BE49-F238E27FC236}">
                      <a16:creationId xmlns:a16="http://schemas.microsoft.com/office/drawing/2014/main" id="{94778C23-8BD9-6238-827F-CD7ABF52DB90}"/>
                    </a:ext>
                  </a:extLst>
                </p:cNvPr>
                <p:cNvSpPr>
                  <a:spLocks noChangeAspect="1"/>
                </p:cNvSpPr>
                <p:nvPr/>
              </p:nvSpPr>
              <p:spPr>
                <a:xfrm>
                  <a:off x="3500196" y="210300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83" name="Oval 4382">
                  <a:extLst>
                    <a:ext uri="{FF2B5EF4-FFF2-40B4-BE49-F238E27FC236}">
                      <a16:creationId xmlns:a16="http://schemas.microsoft.com/office/drawing/2014/main" id="{4B532C85-1098-63A1-A630-CB539B286673}"/>
                    </a:ext>
                  </a:extLst>
                </p:cNvPr>
                <p:cNvSpPr>
                  <a:spLocks noChangeAspect="1"/>
                </p:cNvSpPr>
                <p:nvPr/>
              </p:nvSpPr>
              <p:spPr>
                <a:xfrm>
                  <a:off x="8661806" y="225659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84" name="Oval 4383">
                  <a:extLst>
                    <a:ext uri="{FF2B5EF4-FFF2-40B4-BE49-F238E27FC236}">
                      <a16:creationId xmlns:a16="http://schemas.microsoft.com/office/drawing/2014/main" id="{BDFC3284-8681-297B-41C7-A2A179F29473}"/>
                    </a:ext>
                  </a:extLst>
                </p:cNvPr>
                <p:cNvSpPr>
                  <a:spLocks noChangeAspect="1"/>
                </p:cNvSpPr>
                <p:nvPr/>
              </p:nvSpPr>
              <p:spPr>
                <a:xfrm>
                  <a:off x="8509275" y="225541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85" name="Oval 4384">
                  <a:extLst>
                    <a:ext uri="{FF2B5EF4-FFF2-40B4-BE49-F238E27FC236}">
                      <a16:creationId xmlns:a16="http://schemas.microsoft.com/office/drawing/2014/main" id="{0C361E09-DA81-87CF-7C2C-B8A5D449FADB}"/>
                    </a:ext>
                  </a:extLst>
                </p:cNvPr>
                <p:cNvSpPr>
                  <a:spLocks noChangeAspect="1"/>
                </p:cNvSpPr>
                <p:nvPr/>
              </p:nvSpPr>
              <p:spPr>
                <a:xfrm>
                  <a:off x="8363821" y="225541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86" name="Oval 4385">
                  <a:extLst>
                    <a:ext uri="{FF2B5EF4-FFF2-40B4-BE49-F238E27FC236}">
                      <a16:creationId xmlns:a16="http://schemas.microsoft.com/office/drawing/2014/main" id="{DE8AFC1F-FE9E-4136-76CA-F7DF929CFAB5}"/>
                    </a:ext>
                  </a:extLst>
                </p:cNvPr>
                <p:cNvSpPr>
                  <a:spLocks noChangeAspect="1"/>
                </p:cNvSpPr>
                <p:nvPr/>
              </p:nvSpPr>
              <p:spPr>
                <a:xfrm>
                  <a:off x="8216925" y="227001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87" name="Oval 4386">
                  <a:extLst>
                    <a:ext uri="{FF2B5EF4-FFF2-40B4-BE49-F238E27FC236}">
                      <a16:creationId xmlns:a16="http://schemas.microsoft.com/office/drawing/2014/main" id="{E4C3B530-2233-0B3C-9E91-92ABF904E442}"/>
                    </a:ext>
                  </a:extLst>
                </p:cNvPr>
                <p:cNvSpPr>
                  <a:spLocks noChangeAspect="1"/>
                </p:cNvSpPr>
                <p:nvPr/>
              </p:nvSpPr>
              <p:spPr>
                <a:xfrm>
                  <a:off x="8067416" y="225598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88" name="Oval 4387">
                  <a:extLst>
                    <a:ext uri="{FF2B5EF4-FFF2-40B4-BE49-F238E27FC236}">
                      <a16:creationId xmlns:a16="http://schemas.microsoft.com/office/drawing/2014/main" id="{3366298F-5DC4-1CD9-3606-667A8A3D674A}"/>
                    </a:ext>
                  </a:extLst>
                </p:cNvPr>
                <p:cNvSpPr>
                  <a:spLocks noChangeAspect="1"/>
                </p:cNvSpPr>
                <p:nvPr/>
              </p:nvSpPr>
              <p:spPr>
                <a:xfrm>
                  <a:off x="7898396" y="225541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89" name="Oval 4388">
                  <a:extLst>
                    <a:ext uri="{FF2B5EF4-FFF2-40B4-BE49-F238E27FC236}">
                      <a16:creationId xmlns:a16="http://schemas.microsoft.com/office/drawing/2014/main" id="{F4E51AD7-EF5D-89EF-617E-B1794EADE334}"/>
                    </a:ext>
                  </a:extLst>
                </p:cNvPr>
                <p:cNvSpPr>
                  <a:spLocks noChangeAspect="1"/>
                </p:cNvSpPr>
                <p:nvPr/>
              </p:nvSpPr>
              <p:spPr>
                <a:xfrm>
                  <a:off x="7752952" y="225541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90" name="Oval 4389">
                  <a:extLst>
                    <a:ext uri="{FF2B5EF4-FFF2-40B4-BE49-F238E27FC236}">
                      <a16:creationId xmlns:a16="http://schemas.microsoft.com/office/drawing/2014/main" id="{4588AD0D-6C51-39F9-7E87-89693F78F640}"/>
                    </a:ext>
                  </a:extLst>
                </p:cNvPr>
                <p:cNvSpPr>
                  <a:spLocks noChangeAspect="1"/>
                </p:cNvSpPr>
                <p:nvPr/>
              </p:nvSpPr>
              <p:spPr>
                <a:xfrm>
                  <a:off x="7289184" y="225584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91" name="Oval 4390">
                  <a:extLst>
                    <a:ext uri="{FF2B5EF4-FFF2-40B4-BE49-F238E27FC236}">
                      <a16:creationId xmlns:a16="http://schemas.microsoft.com/office/drawing/2014/main" id="{E0EF14EB-71EC-9D0F-95D7-C8A57CF55CEC}"/>
                    </a:ext>
                  </a:extLst>
                </p:cNvPr>
                <p:cNvSpPr>
                  <a:spLocks noChangeAspect="1"/>
                </p:cNvSpPr>
                <p:nvPr/>
              </p:nvSpPr>
              <p:spPr>
                <a:xfrm>
                  <a:off x="6531204" y="225541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92" name="Oval 4391">
                  <a:extLst>
                    <a:ext uri="{FF2B5EF4-FFF2-40B4-BE49-F238E27FC236}">
                      <a16:creationId xmlns:a16="http://schemas.microsoft.com/office/drawing/2014/main" id="{9632F2CB-F3D1-A65D-F225-DE6126484CC6}"/>
                    </a:ext>
                  </a:extLst>
                </p:cNvPr>
                <p:cNvSpPr>
                  <a:spLocks noChangeAspect="1"/>
                </p:cNvSpPr>
                <p:nvPr/>
              </p:nvSpPr>
              <p:spPr>
                <a:xfrm>
                  <a:off x="6385750" y="225541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93" name="Oval 4392">
                  <a:extLst>
                    <a:ext uri="{FF2B5EF4-FFF2-40B4-BE49-F238E27FC236}">
                      <a16:creationId xmlns:a16="http://schemas.microsoft.com/office/drawing/2014/main" id="{4AAEC395-0730-38B6-D1DD-459E093FE123}"/>
                    </a:ext>
                  </a:extLst>
                </p:cNvPr>
                <p:cNvSpPr>
                  <a:spLocks noChangeAspect="1"/>
                </p:cNvSpPr>
                <p:nvPr/>
              </p:nvSpPr>
              <p:spPr>
                <a:xfrm>
                  <a:off x="6238757" y="225598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94" name="Oval 4393">
                  <a:extLst>
                    <a:ext uri="{FF2B5EF4-FFF2-40B4-BE49-F238E27FC236}">
                      <a16:creationId xmlns:a16="http://schemas.microsoft.com/office/drawing/2014/main" id="{B0503A92-E7D6-E224-6567-B992718850D1}"/>
                    </a:ext>
                  </a:extLst>
                </p:cNvPr>
                <p:cNvSpPr>
                  <a:spLocks noChangeAspect="1"/>
                </p:cNvSpPr>
                <p:nvPr/>
              </p:nvSpPr>
              <p:spPr>
                <a:xfrm>
                  <a:off x="6089344" y="225598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95" name="Oval 4394">
                  <a:extLst>
                    <a:ext uri="{FF2B5EF4-FFF2-40B4-BE49-F238E27FC236}">
                      <a16:creationId xmlns:a16="http://schemas.microsoft.com/office/drawing/2014/main" id="{1AD04AA3-5546-229E-3828-D7896FC63C0B}"/>
                    </a:ext>
                  </a:extLst>
                </p:cNvPr>
                <p:cNvSpPr>
                  <a:spLocks noChangeAspect="1"/>
                </p:cNvSpPr>
                <p:nvPr/>
              </p:nvSpPr>
              <p:spPr>
                <a:xfrm>
                  <a:off x="5929995" y="225584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96" name="Oval 4395">
                  <a:extLst>
                    <a:ext uri="{FF2B5EF4-FFF2-40B4-BE49-F238E27FC236}">
                      <a16:creationId xmlns:a16="http://schemas.microsoft.com/office/drawing/2014/main" id="{AB24570F-908D-B1FF-D0BA-44FEE7D1BB20}"/>
                    </a:ext>
                  </a:extLst>
                </p:cNvPr>
                <p:cNvSpPr>
                  <a:spLocks noChangeAspect="1"/>
                </p:cNvSpPr>
                <p:nvPr/>
              </p:nvSpPr>
              <p:spPr>
                <a:xfrm>
                  <a:off x="5774880" y="225541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97" name="Oval 4396">
                  <a:extLst>
                    <a:ext uri="{FF2B5EF4-FFF2-40B4-BE49-F238E27FC236}">
                      <a16:creationId xmlns:a16="http://schemas.microsoft.com/office/drawing/2014/main" id="{A551C0B9-80CF-4481-C725-8A8F8B7C20C6}"/>
                    </a:ext>
                  </a:extLst>
                </p:cNvPr>
                <p:cNvSpPr>
                  <a:spLocks noChangeAspect="1"/>
                </p:cNvSpPr>
                <p:nvPr/>
              </p:nvSpPr>
              <p:spPr>
                <a:xfrm>
                  <a:off x="5626811" y="226385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98" name="Oval 4397">
                  <a:extLst>
                    <a:ext uri="{FF2B5EF4-FFF2-40B4-BE49-F238E27FC236}">
                      <a16:creationId xmlns:a16="http://schemas.microsoft.com/office/drawing/2014/main" id="{DDB8A9E7-2845-BFC5-9BB4-7C619D862D60}"/>
                    </a:ext>
                  </a:extLst>
                </p:cNvPr>
                <p:cNvSpPr>
                  <a:spLocks noChangeAspect="1"/>
                </p:cNvSpPr>
                <p:nvPr/>
              </p:nvSpPr>
              <p:spPr>
                <a:xfrm>
                  <a:off x="5482530" y="227001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99" name="Oval 4398">
                  <a:extLst>
                    <a:ext uri="{FF2B5EF4-FFF2-40B4-BE49-F238E27FC236}">
                      <a16:creationId xmlns:a16="http://schemas.microsoft.com/office/drawing/2014/main" id="{BA3811D6-F405-9ED0-5545-3B196A5902E8}"/>
                    </a:ext>
                  </a:extLst>
                </p:cNvPr>
                <p:cNvSpPr>
                  <a:spLocks noChangeAspect="1"/>
                </p:cNvSpPr>
                <p:nvPr/>
              </p:nvSpPr>
              <p:spPr>
                <a:xfrm>
                  <a:off x="5333021" y="225598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00" name="Oval 4399">
                  <a:extLst>
                    <a:ext uri="{FF2B5EF4-FFF2-40B4-BE49-F238E27FC236}">
                      <a16:creationId xmlns:a16="http://schemas.microsoft.com/office/drawing/2014/main" id="{D1DA4D00-2194-AB31-B1EB-60E68F855207}"/>
                    </a:ext>
                  </a:extLst>
                </p:cNvPr>
                <p:cNvSpPr>
                  <a:spLocks noChangeAspect="1"/>
                </p:cNvSpPr>
                <p:nvPr/>
              </p:nvSpPr>
              <p:spPr>
                <a:xfrm>
                  <a:off x="5164001" y="225541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01" name="Oval 4400">
                  <a:extLst>
                    <a:ext uri="{FF2B5EF4-FFF2-40B4-BE49-F238E27FC236}">
                      <a16:creationId xmlns:a16="http://schemas.microsoft.com/office/drawing/2014/main" id="{63EAF207-0F64-7F3D-6FE1-592424249468}"/>
                    </a:ext>
                  </a:extLst>
                </p:cNvPr>
                <p:cNvSpPr>
                  <a:spLocks noChangeAspect="1"/>
                </p:cNvSpPr>
                <p:nvPr/>
              </p:nvSpPr>
              <p:spPr>
                <a:xfrm>
                  <a:off x="5018557" y="225541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02" name="Oval 4401">
                  <a:extLst>
                    <a:ext uri="{FF2B5EF4-FFF2-40B4-BE49-F238E27FC236}">
                      <a16:creationId xmlns:a16="http://schemas.microsoft.com/office/drawing/2014/main" id="{C1669B27-D23D-9337-B6CD-AC76E206EEFB}"/>
                    </a:ext>
                  </a:extLst>
                </p:cNvPr>
                <p:cNvSpPr>
                  <a:spLocks noChangeAspect="1"/>
                </p:cNvSpPr>
                <p:nvPr/>
              </p:nvSpPr>
              <p:spPr>
                <a:xfrm>
                  <a:off x="4871575" y="225598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03" name="Oval 4402">
                  <a:extLst>
                    <a:ext uri="{FF2B5EF4-FFF2-40B4-BE49-F238E27FC236}">
                      <a16:creationId xmlns:a16="http://schemas.microsoft.com/office/drawing/2014/main" id="{963993BA-3EB9-C1FB-434B-2C925E2B625A}"/>
                    </a:ext>
                  </a:extLst>
                </p:cNvPr>
                <p:cNvSpPr>
                  <a:spLocks noChangeAspect="1"/>
                </p:cNvSpPr>
                <p:nvPr/>
              </p:nvSpPr>
              <p:spPr>
                <a:xfrm>
                  <a:off x="4722130" y="225598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04" name="Oval 4403">
                  <a:extLst>
                    <a:ext uri="{FF2B5EF4-FFF2-40B4-BE49-F238E27FC236}">
                      <a16:creationId xmlns:a16="http://schemas.microsoft.com/office/drawing/2014/main" id="{BE0273BE-DDF4-82C1-17EE-918EBAC7B62D}"/>
                    </a:ext>
                  </a:extLst>
                </p:cNvPr>
                <p:cNvSpPr>
                  <a:spLocks noChangeAspect="1"/>
                </p:cNvSpPr>
                <p:nvPr/>
              </p:nvSpPr>
              <p:spPr>
                <a:xfrm>
                  <a:off x="4553118" y="225541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05" name="Oval 4404">
                  <a:extLst>
                    <a:ext uri="{FF2B5EF4-FFF2-40B4-BE49-F238E27FC236}">
                      <a16:creationId xmlns:a16="http://schemas.microsoft.com/office/drawing/2014/main" id="{A8465BF9-7D62-47E2-E597-890E29418960}"/>
                    </a:ext>
                  </a:extLst>
                </p:cNvPr>
                <p:cNvSpPr>
                  <a:spLocks noChangeAspect="1"/>
                </p:cNvSpPr>
                <p:nvPr/>
              </p:nvSpPr>
              <p:spPr>
                <a:xfrm>
                  <a:off x="4407672" y="225541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06" name="Oval 4405">
                  <a:extLst>
                    <a:ext uri="{FF2B5EF4-FFF2-40B4-BE49-F238E27FC236}">
                      <a16:creationId xmlns:a16="http://schemas.microsoft.com/office/drawing/2014/main" id="{BB7C7B5C-7F85-313E-6D4D-86043B00D4BE}"/>
                    </a:ext>
                  </a:extLst>
                </p:cNvPr>
                <p:cNvSpPr>
                  <a:spLocks noChangeAspect="1"/>
                </p:cNvSpPr>
                <p:nvPr/>
              </p:nvSpPr>
              <p:spPr>
                <a:xfrm>
                  <a:off x="4260685" y="225598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07" name="Oval 4406">
                  <a:extLst>
                    <a:ext uri="{FF2B5EF4-FFF2-40B4-BE49-F238E27FC236}">
                      <a16:creationId xmlns:a16="http://schemas.microsoft.com/office/drawing/2014/main" id="{EB5B64C8-4DDA-4FAE-4572-72ACF56F58F9}"/>
                    </a:ext>
                  </a:extLst>
                </p:cNvPr>
                <p:cNvSpPr>
                  <a:spLocks noChangeAspect="1"/>
                </p:cNvSpPr>
                <p:nvPr/>
              </p:nvSpPr>
              <p:spPr>
                <a:xfrm>
                  <a:off x="4115329" y="227001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08" name="Oval 4407">
                  <a:extLst>
                    <a:ext uri="{FF2B5EF4-FFF2-40B4-BE49-F238E27FC236}">
                      <a16:creationId xmlns:a16="http://schemas.microsoft.com/office/drawing/2014/main" id="{45FA834D-559C-7CF0-B548-322C0F46D531}"/>
                    </a:ext>
                  </a:extLst>
                </p:cNvPr>
                <p:cNvSpPr>
                  <a:spLocks noChangeAspect="1"/>
                </p:cNvSpPr>
                <p:nvPr/>
              </p:nvSpPr>
              <p:spPr>
                <a:xfrm>
                  <a:off x="3965813" y="225598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09" name="Oval 4408">
                  <a:extLst>
                    <a:ext uri="{FF2B5EF4-FFF2-40B4-BE49-F238E27FC236}">
                      <a16:creationId xmlns:a16="http://schemas.microsoft.com/office/drawing/2014/main" id="{73506E40-0859-9DE8-E32B-07F26AAC86F5}"/>
                    </a:ext>
                  </a:extLst>
                </p:cNvPr>
                <p:cNvSpPr>
                  <a:spLocks noChangeAspect="1"/>
                </p:cNvSpPr>
                <p:nvPr/>
              </p:nvSpPr>
              <p:spPr>
                <a:xfrm>
                  <a:off x="3796796" y="225541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10" name="Oval 4409">
                  <a:extLst>
                    <a:ext uri="{FF2B5EF4-FFF2-40B4-BE49-F238E27FC236}">
                      <a16:creationId xmlns:a16="http://schemas.microsoft.com/office/drawing/2014/main" id="{A8282BC2-7050-0560-3876-A30F980A1678}"/>
                    </a:ext>
                  </a:extLst>
                </p:cNvPr>
                <p:cNvSpPr>
                  <a:spLocks noChangeAspect="1"/>
                </p:cNvSpPr>
                <p:nvPr/>
              </p:nvSpPr>
              <p:spPr>
                <a:xfrm>
                  <a:off x="3651349" y="225541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11" name="Oval 4410">
                  <a:extLst>
                    <a:ext uri="{FF2B5EF4-FFF2-40B4-BE49-F238E27FC236}">
                      <a16:creationId xmlns:a16="http://schemas.microsoft.com/office/drawing/2014/main" id="{4DD17138-F0F1-1397-71B9-2071E398BBB5}"/>
                    </a:ext>
                  </a:extLst>
                </p:cNvPr>
                <p:cNvSpPr>
                  <a:spLocks noChangeAspect="1"/>
                </p:cNvSpPr>
                <p:nvPr/>
              </p:nvSpPr>
              <p:spPr>
                <a:xfrm>
                  <a:off x="3504361" y="225598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12" name="Oval 4411">
                  <a:extLst>
                    <a:ext uri="{FF2B5EF4-FFF2-40B4-BE49-F238E27FC236}">
                      <a16:creationId xmlns:a16="http://schemas.microsoft.com/office/drawing/2014/main" id="{A95FDECF-6792-5D74-4F87-E1BEE2F95F20}"/>
                    </a:ext>
                  </a:extLst>
                </p:cNvPr>
                <p:cNvSpPr>
                  <a:spLocks noChangeAspect="1"/>
                </p:cNvSpPr>
                <p:nvPr/>
              </p:nvSpPr>
              <p:spPr>
                <a:xfrm>
                  <a:off x="3354936" y="225598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13" name="Oval 4412">
                  <a:extLst>
                    <a:ext uri="{FF2B5EF4-FFF2-40B4-BE49-F238E27FC236}">
                      <a16:creationId xmlns:a16="http://schemas.microsoft.com/office/drawing/2014/main" id="{C13607C8-2A0C-2B2B-7F37-9A7B305E87E2}"/>
                    </a:ext>
                  </a:extLst>
                </p:cNvPr>
                <p:cNvSpPr>
                  <a:spLocks noChangeAspect="1"/>
                </p:cNvSpPr>
                <p:nvPr/>
              </p:nvSpPr>
              <p:spPr>
                <a:xfrm>
                  <a:off x="8503874"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14" name="Oval 4413">
                  <a:extLst>
                    <a:ext uri="{FF2B5EF4-FFF2-40B4-BE49-F238E27FC236}">
                      <a16:creationId xmlns:a16="http://schemas.microsoft.com/office/drawing/2014/main" id="{423D6ECF-EDA2-5808-9193-5BECAA7A3456}"/>
                    </a:ext>
                  </a:extLst>
                </p:cNvPr>
                <p:cNvSpPr>
                  <a:spLocks noChangeAspect="1"/>
                </p:cNvSpPr>
                <p:nvPr/>
              </p:nvSpPr>
              <p:spPr>
                <a:xfrm>
                  <a:off x="8358314" y="242713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15" name="Oval 4414">
                  <a:extLst>
                    <a:ext uri="{FF2B5EF4-FFF2-40B4-BE49-F238E27FC236}">
                      <a16:creationId xmlns:a16="http://schemas.microsoft.com/office/drawing/2014/main" id="{E911B614-36ED-D367-7049-F31A12A1B186}"/>
                    </a:ext>
                  </a:extLst>
                </p:cNvPr>
                <p:cNvSpPr>
                  <a:spLocks noChangeAspect="1"/>
                </p:cNvSpPr>
                <p:nvPr/>
              </p:nvSpPr>
              <p:spPr>
                <a:xfrm>
                  <a:off x="8212848"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16" name="Oval 4415">
                  <a:extLst>
                    <a:ext uri="{FF2B5EF4-FFF2-40B4-BE49-F238E27FC236}">
                      <a16:creationId xmlns:a16="http://schemas.microsoft.com/office/drawing/2014/main" id="{0FAE7A1B-4D02-6389-109C-F2D8DD150CA5}"/>
                    </a:ext>
                  </a:extLst>
                </p:cNvPr>
                <p:cNvSpPr>
                  <a:spLocks noChangeAspect="1"/>
                </p:cNvSpPr>
                <p:nvPr/>
              </p:nvSpPr>
              <p:spPr>
                <a:xfrm>
                  <a:off x="8044023" y="2399605"/>
                  <a:ext cx="141895" cy="141884"/>
                </a:xfrm>
                <a:prstGeom prst="ellipse">
                  <a:avLst/>
                </a:prstGeom>
                <a:solidFill>
                  <a:srgbClr val="385723"/>
                </a:solidFill>
                <a:ln w="10484" cap="flat">
                  <a:solidFill>
                    <a:sysClr val="window" lastClr="FFFFFF"/>
                  </a:solidFill>
                  <a:prstDash val="solid"/>
                  <a:miter/>
                </a:ln>
                <a:effectLst>
                  <a:outerShdw blurRad="38100" algn="c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4417" name="Oval 4416">
                  <a:extLst>
                    <a:ext uri="{FF2B5EF4-FFF2-40B4-BE49-F238E27FC236}">
                      <a16:creationId xmlns:a16="http://schemas.microsoft.com/office/drawing/2014/main" id="{2D5F31EA-7027-8DFB-B4A2-2C6C9D038372}"/>
                    </a:ext>
                  </a:extLst>
                </p:cNvPr>
                <p:cNvSpPr>
                  <a:spLocks noChangeAspect="1"/>
                </p:cNvSpPr>
                <p:nvPr/>
              </p:nvSpPr>
              <p:spPr>
                <a:xfrm>
                  <a:off x="7903249"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18" name="Oval 4417">
                  <a:extLst>
                    <a:ext uri="{FF2B5EF4-FFF2-40B4-BE49-F238E27FC236}">
                      <a16:creationId xmlns:a16="http://schemas.microsoft.com/office/drawing/2014/main" id="{5D3ED5F1-E484-CDA3-E839-90CFA5E82924}"/>
                    </a:ext>
                  </a:extLst>
                </p:cNvPr>
                <p:cNvSpPr>
                  <a:spLocks noChangeAspect="1"/>
                </p:cNvSpPr>
                <p:nvPr/>
              </p:nvSpPr>
              <p:spPr>
                <a:xfrm>
                  <a:off x="7747424"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19" name="Oval 4418">
                  <a:extLst>
                    <a:ext uri="{FF2B5EF4-FFF2-40B4-BE49-F238E27FC236}">
                      <a16:creationId xmlns:a16="http://schemas.microsoft.com/office/drawing/2014/main" id="{0B89E93E-0681-7528-E420-42889BCF983B}"/>
                    </a:ext>
                  </a:extLst>
                </p:cNvPr>
                <p:cNvSpPr>
                  <a:spLocks noChangeAspect="1"/>
                </p:cNvSpPr>
                <p:nvPr/>
              </p:nvSpPr>
              <p:spPr>
                <a:xfrm>
                  <a:off x="7606056" y="241547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20" name="Oval 4419">
                  <a:extLst>
                    <a:ext uri="{FF2B5EF4-FFF2-40B4-BE49-F238E27FC236}">
                      <a16:creationId xmlns:a16="http://schemas.microsoft.com/office/drawing/2014/main" id="{91787456-1B37-6DFB-57CB-043B2326791C}"/>
                    </a:ext>
                  </a:extLst>
                </p:cNvPr>
                <p:cNvSpPr>
                  <a:spLocks noChangeAspect="1"/>
                </p:cNvSpPr>
                <p:nvPr/>
              </p:nvSpPr>
              <p:spPr>
                <a:xfrm>
                  <a:off x="7460602" y="241547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21" name="Oval 4420">
                  <a:extLst>
                    <a:ext uri="{FF2B5EF4-FFF2-40B4-BE49-F238E27FC236}">
                      <a16:creationId xmlns:a16="http://schemas.microsoft.com/office/drawing/2014/main" id="{A09532D9-6EA2-F831-34E2-E2249F34ADA8}"/>
                    </a:ext>
                  </a:extLst>
                </p:cNvPr>
                <p:cNvSpPr>
                  <a:spLocks noChangeAspect="1"/>
                </p:cNvSpPr>
                <p:nvPr/>
              </p:nvSpPr>
              <p:spPr>
                <a:xfrm>
                  <a:off x="7292378"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22" name="Oval 4421">
                  <a:extLst>
                    <a:ext uri="{FF2B5EF4-FFF2-40B4-BE49-F238E27FC236}">
                      <a16:creationId xmlns:a16="http://schemas.microsoft.com/office/drawing/2014/main" id="{9328B11E-2DD9-5817-0F62-00E82DE8AC6D}"/>
                    </a:ext>
                  </a:extLst>
                </p:cNvPr>
                <p:cNvSpPr>
                  <a:spLocks noChangeAspect="1"/>
                </p:cNvSpPr>
                <p:nvPr/>
              </p:nvSpPr>
              <p:spPr>
                <a:xfrm>
                  <a:off x="7136566"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23" name="Oval 4422">
                  <a:extLst>
                    <a:ext uri="{FF2B5EF4-FFF2-40B4-BE49-F238E27FC236}">
                      <a16:creationId xmlns:a16="http://schemas.microsoft.com/office/drawing/2014/main" id="{CE416B11-5B57-4D99-2AE1-F624AA867172}"/>
                    </a:ext>
                  </a:extLst>
                </p:cNvPr>
                <p:cNvSpPr>
                  <a:spLocks noChangeAspect="1"/>
                </p:cNvSpPr>
                <p:nvPr/>
              </p:nvSpPr>
              <p:spPr>
                <a:xfrm>
                  <a:off x="6849733" y="241547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24" name="Oval 4423">
                  <a:extLst>
                    <a:ext uri="{FF2B5EF4-FFF2-40B4-BE49-F238E27FC236}">
                      <a16:creationId xmlns:a16="http://schemas.microsoft.com/office/drawing/2014/main" id="{AFD8454C-5329-B507-74AA-BDEFC52B49B1}"/>
                    </a:ext>
                  </a:extLst>
                </p:cNvPr>
                <p:cNvSpPr>
                  <a:spLocks noChangeAspect="1"/>
                </p:cNvSpPr>
                <p:nvPr/>
              </p:nvSpPr>
              <p:spPr>
                <a:xfrm>
                  <a:off x="6704278" y="241547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25" name="Oval 4424">
                  <a:extLst>
                    <a:ext uri="{FF2B5EF4-FFF2-40B4-BE49-F238E27FC236}">
                      <a16:creationId xmlns:a16="http://schemas.microsoft.com/office/drawing/2014/main" id="{1A7FC45D-2ABC-7204-2295-17445EE4F200}"/>
                    </a:ext>
                  </a:extLst>
                </p:cNvPr>
                <p:cNvSpPr>
                  <a:spLocks noChangeAspect="1"/>
                </p:cNvSpPr>
                <p:nvPr/>
              </p:nvSpPr>
              <p:spPr>
                <a:xfrm>
                  <a:off x="6525803"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26" name="Oval 4425">
                  <a:extLst>
                    <a:ext uri="{FF2B5EF4-FFF2-40B4-BE49-F238E27FC236}">
                      <a16:creationId xmlns:a16="http://schemas.microsoft.com/office/drawing/2014/main" id="{2EFA3656-AFE1-A737-5C13-AA06935588A3}"/>
                    </a:ext>
                  </a:extLst>
                </p:cNvPr>
                <p:cNvSpPr>
                  <a:spLocks noChangeAspect="1"/>
                </p:cNvSpPr>
                <p:nvPr/>
              </p:nvSpPr>
              <p:spPr>
                <a:xfrm>
                  <a:off x="6380243"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27" name="Oval 4426">
                  <a:extLst>
                    <a:ext uri="{FF2B5EF4-FFF2-40B4-BE49-F238E27FC236}">
                      <a16:creationId xmlns:a16="http://schemas.microsoft.com/office/drawing/2014/main" id="{98F0B1C5-562E-FAB8-7285-DD47204B1954}"/>
                    </a:ext>
                  </a:extLst>
                </p:cNvPr>
                <p:cNvSpPr>
                  <a:spLocks noChangeAspect="1"/>
                </p:cNvSpPr>
                <p:nvPr/>
              </p:nvSpPr>
              <p:spPr>
                <a:xfrm>
                  <a:off x="6234777"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28" name="Oval 4427">
                  <a:extLst>
                    <a:ext uri="{FF2B5EF4-FFF2-40B4-BE49-F238E27FC236}">
                      <a16:creationId xmlns:a16="http://schemas.microsoft.com/office/drawing/2014/main" id="{755F0DC1-B63D-9876-EBB0-C4AFF030591E}"/>
                    </a:ext>
                  </a:extLst>
                </p:cNvPr>
                <p:cNvSpPr>
                  <a:spLocks noChangeAspect="1"/>
                </p:cNvSpPr>
                <p:nvPr/>
              </p:nvSpPr>
              <p:spPr>
                <a:xfrm>
                  <a:off x="6089344"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29" name="Oval 4428">
                  <a:extLst>
                    <a:ext uri="{FF2B5EF4-FFF2-40B4-BE49-F238E27FC236}">
                      <a16:creationId xmlns:a16="http://schemas.microsoft.com/office/drawing/2014/main" id="{665E0CD7-6772-B1C2-CAD6-E91F61B5812F}"/>
                    </a:ext>
                  </a:extLst>
                </p:cNvPr>
                <p:cNvSpPr>
                  <a:spLocks noChangeAspect="1"/>
                </p:cNvSpPr>
                <p:nvPr/>
              </p:nvSpPr>
              <p:spPr>
                <a:xfrm>
                  <a:off x="5929995"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30" name="Oval 4429">
                  <a:extLst>
                    <a:ext uri="{FF2B5EF4-FFF2-40B4-BE49-F238E27FC236}">
                      <a16:creationId xmlns:a16="http://schemas.microsoft.com/office/drawing/2014/main" id="{5F55A07E-D27F-B03D-B45C-1EDBEAFF9832}"/>
                    </a:ext>
                  </a:extLst>
                </p:cNvPr>
                <p:cNvSpPr>
                  <a:spLocks noChangeAspect="1"/>
                </p:cNvSpPr>
                <p:nvPr/>
              </p:nvSpPr>
              <p:spPr>
                <a:xfrm>
                  <a:off x="5769352"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31" name="Oval 4430">
                  <a:extLst>
                    <a:ext uri="{FF2B5EF4-FFF2-40B4-BE49-F238E27FC236}">
                      <a16:creationId xmlns:a16="http://schemas.microsoft.com/office/drawing/2014/main" id="{995E750A-A837-3D4B-A8E0-D4DB1D1B04D1}"/>
                    </a:ext>
                  </a:extLst>
                </p:cNvPr>
                <p:cNvSpPr>
                  <a:spLocks noChangeAspect="1"/>
                </p:cNvSpPr>
                <p:nvPr/>
              </p:nvSpPr>
              <p:spPr>
                <a:xfrm>
                  <a:off x="5623919" y="242713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32" name="Oval 4431">
                  <a:extLst>
                    <a:ext uri="{FF2B5EF4-FFF2-40B4-BE49-F238E27FC236}">
                      <a16:creationId xmlns:a16="http://schemas.microsoft.com/office/drawing/2014/main" id="{E6450FDC-1DD4-4647-9B05-07525889D710}"/>
                    </a:ext>
                  </a:extLst>
                </p:cNvPr>
                <p:cNvSpPr>
                  <a:spLocks noChangeAspect="1"/>
                </p:cNvSpPr>
                <p:nvPr/>
              </p:nvSpPr>
              <p:spPr>
                <a:xfrm>
                  <a:off x="5478453"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33" name="Oval 4432">
                  <a:extLst>
                    <a:ext uri="{FF2B5EF4-FFF2-40B4-BE49-F238E27FC236}">
                      <a16:creationId xmlns:a16="http://schemas.microsoft.com/office/drawing/2014/main" id="{6B3D6A87-0A31-8F63-C88C-4AACB985F4C3}"/>
                    </a:ext>
                  </a:extLst>
                </p:cNvPr>
                <p:cNvSpPr>
                  <a:spLocks noChangeAspect="1"/>
                </p:cNvSpPr>
                <p:nvPr/>
              </p:nvSpPr>
              <p:spPr>
                <a:xfrm>
                  <a:off x="5333021"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34" name="Oval 4433">
                  <a:extLst>
                    <a:ext uri="{FF2B5EF4-FFF2-40B4-BE49-F238E27FC236}">
                      <a16:creationId xmlns:a16="http://schemas.microsoft.com/office/drawing/2014/main" id="{79736AE5-C3DC-716E-DE95-E28B1DEB5859}"/>
                    </a:ext>
                  </a:extLst>
                </p:cNvPr>
                <p:cNvSpPr>
                  <a:spLocks noChangeAspect="1"/>
                </p:cNvSpPr>
                <p:nvPr/>
              </p:nvSpPr>
              <p:spPr>
                <a:xfrm>
                  <a:off x="5158589"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35" name="Oval 4434">
                  <a:extLst>
                    <a:ext uri="{FF2B5EF4-FFF2-40B4-BE49-F238E27FC236}">
                      <a16:creationId xmlns:a16="http://schemas.microsoft.com/office/drawing/2014/main" id="{05E21575-B14E-1884-F554-D9F2B9C7115A}"/>
                    </a:ext>
                  </a:extLst>
                </p:cNvPr>
                <p:cNvSpPr>
                  <a:spLocks noChangeAspect="1"/>
                </p:cNvSpPr>
                <p:nvPr/>
              </p:nvSpPr>
              <p:spPr>
                <a:xfrm>
                  <a:off x="5013029" y="242713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36" name="Oval 4435">
                  <a:extLst>
                    <a:ext uri="{FF2B5EF4-FFF2-40B4-BE49-F238E27FC236}">
                      <a16:creationId xmlns:a16="http://schemas.microsoft.com/office/drawing/2014/main" id="{118C8B5D-B3B3-0AF2-FD4E-EA262AEB2D4F}"/>
                    </a:ext>
                  </a:extLst>
                </p:cNvPr>
                <p:cNvSpPr>
                  <a:spLocks noChangeAspect="1"/>
                </p:cNvSpPr>
                <p:nvPr/>
              </p:nvSpPr>
              <p:spPr>
                <a:xfrm>
                  <a:off x="4867596"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37" name="Oval 4436">
                  <a:extLst>
                    <a:ext uri="{FF2B5EF4-FFF2-40B4-BE49-F238E27FC236}">
                      <a16:creationId xmlns:a16="http://schemas.microsoft.com/office/drawing/2014/main" id="{9B5C8E92-14C6-4713-4C42-D90007E90882}"/>
                    </a:ext>
                  </a:extLst>
                </p:cNvPr>
                <p:cNvSpPr>
                  <a:spLocks noChangeAspect="1"/>
                </p:cNvSpPr>
                <p:nvPr/>
              </p:nvSpPr>
              <p:spPr>
                <a:xfrm>
                  <a:off x="4722130"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38" name="Oval 4437">
                  <a:extLst>
                    <a:ext uri="{FF2B5EF4-FFF2-40B4-BE49-F238E27FC236}">
                      <a16:creationId xmlns:a16="http://schemas.microsoft.com/office/drawing/2014/main" id="{8ECC278C-92A1-9DF9-2375-2F7033514676}"/>
                    </a:ext>
                  </a:extLst>
                </p:cNvPr>
                <p:cNvSpPr>
                  <a:spLocks noChangeAspect="1"/>
                </p:cNvSpPr>
                <p:nvPr/>
              </p:nvSpPr>
              <p:spPr>
                <a:xfrm>
                  <a:off x="4557975"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39" name="Oval 4438">
                  <a:extLst>
                    <a:ext uri="{FF2B5EF4-FFF2-40B4-BE49-F238E27FC236}">
                      <a16:creationId xmlns:a16="http://schemas.microsoft.com/office/drawing/2014/main" id="{9028B581-3DB6-AF3E-892F-B78664680C15}"/>
                    </a:ext>
                  </a:extLst>
                </p:cNvPr>
                <p:cNvSpPr>
                  <a:spLocks noChangeAspect="1"/>
                </p:cNvSpPr>
                <p:nvPr/>
              </p:nvSpPr>
              <p:spPr>
                <a:xfrm>
                  <a:off x="4402155"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40" name="Oval 4439">
                  <a:extLst>
                    <a:ext uri="{FF2B5EF4-FFF2-40B4-BE49-F238E27FC236}">
                      <a16:creationId xmlns:a16="http://schemas.microsoft.com/office/drawing/2014/main" id="{3E37CB9B-F925-07CF-E44E-A91E6F2BADD9}"/>
                    </a:ext>
                  </a:extLst>
                </p:cNvPr>
                <p:cNvSpPr>
                  <a:spLocks noChangeAspect="1"/>
                </p:cNvSpPr>
                <p:nvPr/>
              </p:nvSpPr>
              <p:spPr>
                <a:xfrm>
                  <a:off x="4256705"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41" name="Oval 4440">
                  <a:extLst>
                    <a:ext uri="{FF2B5EF4-FFF2-40B4-BE49-F238E27FC236}">
                      <a16:creationId xmlns:a16="http://schemas.microsoft.com/office/drawing/2014/main" id="{739E0B05-CF53-0B95-514C-BC1B33ABE8D8}"/>
                    </a:ext>
                  </a:extLst>
                </p:cNvPr>
                <p:cNvSpPr>
                  <a:spLocks noChangeAspect="1"/>
                </p:cNvSpPr>
                <p:nvPr/>
              </p:nvSpPr>
              <p:spPr>
                <a:xfrm>
                  <a:off x="4111259"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42" name="Oval 4441">
                  <a:extLst>
                    <a:ext uri="{FF2B5EF4-FFF2-40B4-BE49-F238E27FC236}">
                      <a16:creationId xmlns:a16="http://schemas.microsoft.com/office/drawing/2014/main" id="{FEDBA18B-8035-6270-DB90-F4A23D948AF2}"/>
                    </a:ext>
                  </a:extLst>
                </p:cNvPr>
                <p:cNvSpPr>
                  <a:spLocks noChangeAspect="1"/>
                </p:cNvSpPr>
                <p:nvPr/>
              </p:nvSpPr>
              <p:spPr>
                <a:xfrm>
                  <a:off x="3965813"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43" name="Oval 4442">
                  <a:extLst>
                    <a:ext uri="{FF2B5EF4-FFF2-40B4-BE49-F238E27FC236}">
                      <a16:creationId xmlns:a16="http://schemas.microsoft.com/office/drawing/2014/main" id="{FC230BEA-9789-D037-41AB-888C40A4792A}"/>
                    </a:ext>
                  </a:extLst>
                </p:cNvPr>
                <p:cNvSpPr>
                  <a:spLocks noChangeAspect="1"/>
                </p:cNvSpPr>
                <p:nvPr/>
              </p:nvSpPr>
              <p:spPr>
                <a:xfrm>
                  <a:off x="3791277"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44" name="Oval 4443">
                  <a:extLst>
                    <a:ext uri="{FF2B5EF4-FFF2-40B4-BE49-F238E27FC236}">
                      <a16:creationId xmlns:a16="http://schemas.microsoft.com/office/drawing/2014/main" id="{9CB24ECB-3D58-7056-D73C-9CBF1BFA0859}"/>
                    </a:ext>
                  </a:extLst>
                </p:cNvPr>
                <p:cNvSpPr>
                  <a:spLocks noChangeAspect="1"/>
                </p:cNvSpPr>
                <p:nvPr/>
              </p:nvSpPr>
              <p:spPr>
                <a:xfrm>
                  <a:off x="3645831" y="242713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45" name="Oval 4444">
                  <a:extLst>
                    <a:ext uri="{FF2B5EF4-FFF2-40B4-BE49-F238E27FC236}">
                      <a16:creationId xmlns:a16="http://schemas.microsoft.com/office/drawing/2014/main" id="{7448C06B-D664-FA89-A874-487C439AE13D}"/>
                    </a:ext>
                  </a:extLst>
                </p:cNvPr>
                <p:cNvSpPr>
                  <a:spLocks noChangeAspect="1"/>
                </p:cNvSpPr>
                <p:nvPr/>
              </p:nvSpPr>
              <p:spPr>
                <a:xfrm>
                  <a:off x="3500382" y="24229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46" name="Oval 4445">
                  <a:extLst>
                    <a:ext uri="{FF2B5EF4-FFF2-40B4-BE49-F238E27FC236}">
                      <a16:creationId xmlns:a16="http://schemas.microsoft.com/office/drawing/2014/main" id="{851AF581-3369-5907-060F-80C981A99D0C}"/>
                    </a:ext>
                  </a:extLst>
                </p:cNvPr>
                <p:cNvSpPr>
                  <a:spLocks noChangeAspect="1"/>
                </p:cNvSpPr>
                <p:nvPr/>
              </p:nvSpPr>
              <p:spPr>
                <a:xfrm>
                  <a:off x="8509603" y="257368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47" name="Oval 4446">
                  <a:extLst>
                    <a:ext uri="{FF2B5EF4-FFF2-40B4-BE49-F238E27FC236}">
                      <a16:creationId xmlns:a16="http://schemas.microsoft.com/office/drawing/2014/main" id="{2BBB1CC3-81E0-543D-7E81-2227D0557CAD}"/>
                    </a:ext>
                  </a:extLst>
                </p:cNvPr>
                <p:cNvSpPr>
                  <a:spLocks noChangeAspect="1"/>
                </p:cNvSpPr>
                <p:nvPr/>
              </p:nvSpPr>
              <p:spPr>
                <a:xfrm>
                  <a:off x="8358314" y="257256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48" name="Oval 4447">
                  <a:extLst>
                    <a:ext uri="{FF2B5EF4-FFF2-40B4-BE49-F238E27FC236}">
                      <a16:creationId xmlns:a16="http://schemas.microsoft.com/office/drawing/2014/main" id="{2C61DB2C-EBE2-CAEA-ACF7-50DE19DE6B2A}"/>
                    </a:ext>
                  </a:extLst>
                </p:cNvPr>
                <p:cNvSpPr>
                  <a:spLocks noChangeAspect="1"/>
                </p:cNvSpPr>
                <p:nvPr/>
              </p:nvSpPr>
              <p:spPr>
                <a:xfrm>
                  <a:off x="7747424" y="257240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49" name="Oval 4448">
                  <a:extLst>
                    <a:ext uri="{FF2B5EF4-FFF2-40B4-BE49-F238E27FC236}">
                      <a16:creationId xmlns:a16="http://schemas.microsoft.com/office/drawing/2014/main" id="{44918557-9E76-E999-3DB0-7E651CB89584}"/>
                    </a:ext>
                  </a:extLst>
                </p:cNvPr>
                <p:cNvSpPr>
                  <a:spLocks noChangeAspect="1"/>
                </p:cNvSpPr>
                <p:nvPr/>
              </p:nvSpPr>
              <p:spPr>
                <a:xfrm>
                  <a:off x="7292378" y="256842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50" name="Oval 4449">
                  <a:extLst>
                    <a:ext uri="{FF2B5EF4-FFF2-40B4-BE49-F238E27FC236}">
                      <a16:creationId xmlns:a16="http://schemas.microsoft.com/office/drawing/2014/main" id="{F1083DBE-D0D1-BBAA-477C-0654052BD9B5}"/>
                    </a:ext>
                  </a:extLst>
                </p:cNvPr>
                <p:cNvSpPr>
                  <a:spLocks noChangeAspect="1"/>
                </p:cNvSpPr>
                <p:nvPr/>
              </p:nvSpPr>
              <p:spPr>
                <a:xfrm>
                  <a:off x="7142391" y="257368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51" name="Oval 4450">
                  <a:extLst>
                    <a:ext uri="{FF2B5EF4-FFF2-40B4-BE49-F238E27FC236}">
                      <a16:creationId xmlns:a16="http://schemas.microsoft.com/office/drawing/2014/main" id="{F85A8695-B47B-9785-861B-5DA642A781B8}"/>
                    </a:ext>
                  </a:extLst>
                </p:cNvPr>
                <p:cNvSpPr>
                  <a:spLocks noChangeAspect="1"/>
                </p:cNvSpPr>
                <p:nvPr/>
              </p:nvSpPr>
              <p:spPr>
                <a:xfrm>
                  <a:off x="6991100" y="257256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52" name="Oval 4451">
                  <a:extLst>
                    <a:ext uri="{FF2B5EF4-FFF2-40B4-BE49-F238E27FC236}">
                      <a16:creationId xmlns:a16="http://schemas.microsoft.com/office/drawing/2014/main" id="{7E4FE940-B15A-F7E9-C2D1-C6AB3264B0C5}"/>
                    </a:ext>
                  </a:extLst>
                </p:cNvPr>
                <p:cNvSpPr>
                  <a:spLocks noChangeAspect="1"/>
                </p:cNvSpPr>
                <p:nvPr/>
              </p:nvSpPr>
              <p:spPr>
                <a:xfrm>
                  <a:off x="6845668" y="256842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53" name="Oval 4452">
                  <a:extLst>
                    <a:ext uri="{FF2B5EF4-FFF2-40B4-BE49-F238E27FC236}">
                      <a16:creationId xmlns:a16="http://schemas.microsoft.com/office/drawing/2014/main" id="{9FB04DB6-5001-B58A-CF68-326271F43577}"/>
                    </a:ext>
                  </a:extLst>
                </p:cNvPr>
                <p:cNvSpPr>
                  <a:spLocks noChangeAspect="1"/>
                </p:cNvSpPr>
                <p:nvPr/>
              </p:nvSpPr>
              <p:spPr>
                <a:xfrm>
                  <a:off x="6681501" y="256842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54" name="Oval 4453">
                  <a:extLst>
                    <a:ext uri="{FF2B5EF4-FFF2-40B4-BE49-F238E27FC236}">
                      <a16:creationId xmlns:a16="http://schemas.microsoft.com/office/drawing/2014/main" id="{EA7A24C3-C99B-71D1-F3AE-46440BC70674}"/>
                    </a:ext>
                  </a:extLst>
                </p:cNvPr>
                <p:cNvSpPr>
                  <a:spLocks noChangeAspect="1"/>
                </p:cNvSpPr>
                <p:nvPr/>
              </p:nvSpPr>
              <p:spPr>
                <a:xfrm>
                  <a:off x="6531510" y="257368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55" name="Oval 4454">
                  <a:extLst>
                    <a:ext uri="{FF2B5EF4-FFF2-40B4-BE49-F238E27FC236}">
                      <a16:creationId xmlns:a16="http://schemas.microsoft.com/office/drawing/2014/main" id="{A0AB4264-5C7D-D824-190D-726D812313A9}"/>
                    </a:ext>
                  </a:extLst>
                </p:cNvPr>
                <p:cNvSpPr>
                  <a:spLocks noChangeAspect="1"/>
                </p:cNvSpPr>
                <p:nvPr/>
              </p:nvSpPr>
              <p:spPr>
                <a:xfrm>
                  <a:off x="6380243" y="257240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56" name="Oval 4455">
                  <a:extLst>
                    <a:ext uri="{FF2B5EF4-FFF2-40B4-BE49-F238E27FC236}">
                      <a16:creationId xmlns:a16="http://schemas.microsoft.com/office/drawing/2014/main" id="{305C37D9-36C2-E506-8926-BE1EDEB3FE75}"/>
                    </a:ext>
                  </a:extLst>
                </p:cNvPr>
                <p:cNvSpPr>
                  <a:spLocks noChangeAspect="1"/>
                </p:cNvSpPr>
                <p:nvPr/>
              </p:nvSpPr>
              <p:spPr>
                <a:xfrm>
                  <a:off x="6234777" y="256842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57" name="Oval 4456">
                  <a:extLst>
                    <a:ext uri="{FF2B5EF4-FFF2-40B4-BE49-F238E27FC236}">
                      <a16:creationId xmlns:a16="http://schemas.microsoft.com/office/drawing/2014/main" id="{DC874B91-CCCA-9B7A-93E6-BFEFE12A992F}"/>
                    </a:ext>
                  </a:extLst>
                </p:cNvPr>
                <p:cNvSpPr>
                  <a:spLocks noChangeAspect="1"/>
                </p:cNvSpPr>
                <p:nvPr/>
              </p:nvSpPr>
              <p:spPr>
                <a:xfrm>
                  <a:off x="6089344" y="256842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58" name="Oval 4457">
                  <a:extLst>
                    <a:ext uri="{FF2B5EF4-FFF2-40B4-BE49-F238E27FC236}">
                      <a16:creationId xmlns:a16="http://schemas.microsoft.com/office/drawing/2014/main" id="{6AB04473-A3AF-EBB1-522E-A6B55AD79510}"/>
                    </a:ext>
                  </a:extLst>
                </p:cNvPr>
                <p:cNvSpPr>
                  <a:spLocks noChangeAspect="1"/>
                </p:cNvSpPr>
                <p:nvPr/>
              </p:nvSpPr>
              <p:spPr>
                <a:xfrm>
                  <a:off x="5929995" y="256842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59" name="Oval 4458">
                  <a:extLst>
                    <a:ext uri="{FF2B5EF4-FFF2-40B4-BE49-F238E27FC236}">
                      <a16:creationId xmlns:a16="http://schemas.microsoft.com/office/drawing/2014/main" id="{0C7A2FB1-6CBD-0F48-2F9E-7D02E1564AC4}"/>
                    </a:ext>
                  </a:extLst>
                </p:cNvPr>
                <p:cNvSpPr>
                  <a:spLocks noChangeAspect="1"/>
                </p:cNvSpPr>
                <p:nvPr/>
              </p:nvSpPr>
              <p:spPr>
                <a:xfrm>
                  <a:off x="5769352" y="256842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60" name="Oval 4459">
                  <a:extLst>
                    <a:ext uri="{FF2B5EF4-FFF2-40B4-BE49-F238E27FC236}">
                      <a16:creationId xmlns:a16="http://schemas.microsoft.com/office/drawing/2014/main" id="{CC2B5564-EBD4-CD94-703B-887E43E2ABEA}"/>
                    </a:ext>
                  </a:extLst>
                </p:cNvPr>
                <p:cNvSpPr>
                  <a:spLocks noChangeAspect="1"/>
                </p:cNvSpPr>
                <p:nvPr/>
              </p:nvSpPr>
              <p:spPr>
                <a:xfrm>
                  <a:off x="5333021" y="256842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61" name="Oval 4460">
                  <a:extLst>
                    <a:ext uri="{FF2B5EF4-FFF2-40B4-BE49-F238E27FC236}">
                      <a16:creationId xmlns:a16="http://schemas.microsoft.com/office/drawing/2014/main" id="{2D11678A-DE88-ABF0-E5F5-C1A830F7F51B}"/>
                    </a:ext>
                  </a:extLst>
                </p:cNvPr>
                <p:cNvSpPr>
                  <a:spLocks noChangeAspect="1"/>
                </p:cNvSpPr>
                <p:nvPr/>
              </p:nvSpPr>
              <p:spPr>
                <a:xfrm>
                  <a:off x="5164318" y="257368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62" name="Oval 4461">
                  <a:extLst>
                    <a:ext uri="{FF2B5EF4-FFF2-40B4-BE49-F238E27FC236}">
                      <a16:creationId xmlns:a16="http://schemas.microsoft.com/office/drawing/2014/main" id="{305CAF61-0F59-3BE7-F299-6ED8DA2B8C8A}"/>
                    </a:ext>
                  </a:extLst>
                </p:cNvPr>
                <p:cNvSpPr>
                  <a:spLocks noChangeAspect="1"/>
                </p:cNvSpPr>
                <p:nvPr/>
              </p:nvSpPr>
              <p:spPr>
                <a:xfrm>
                  <a:off x="5013029" y="257240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63" name="Oval 4462">
                  <a:extLst>
                    <a:ext uri="{FF2B5EF4-FFF2-40B4-BE49-F238E27FC236}">
                      <a16:creationId xmlns:a16="http://schemas.microsoft.com/office/drawing/2014/main" id="{1F99A13C-9FA6-E8F5-7E85-BEC9FD8CF361}"/>
                    </a:ext>
                  </a:extLst>
                </p:cNvPr>
                <p:cNvSpPr>
                  <a:spLocks noChangeAspect="1"/>
                </p:cNvSpPr>
                <p:nvPr/>
              </p:nvSpPr>
              <p:spPr>
                <a:xfrm>
                  <a:off x="4722130" y="256842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64" name="Oval 4463">
                  <a:extLst>
                    <a:ext uri="{FF2B5EF4-FFF2-40B4-BE49-F238E27FC236}">
                      <a16:creationId xmlns:a16="http://schemas.microsoft.com/office/drawing/2014/main" id="{7F5B09FC-61D0-7EAD-BAB6-7119CBA114C7}"/>
                    </a:ext>
                  </a:extLst>
                </p:cNvPr>
                <p:cNvSpPr>
                  <a:spLocks noChangeAspect="1"/>
                </p:cNvSpPr>
                <p:nvPr/>
              </p:nvSpPr>
              <p:spPr>
                <a:xfrm>
                  <a:off x="4557975" y="256842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65" name="Oval 4464">
                  <a:extLst>
                    <a:ext uri="{FF2B5EF4-FFF2-40B4-BE49-F238E27FC236}">
                      <a16:creationId xmlns:a16="http://schemas.microsoft.com/office/drawing/2014/main" id="{24F72ED6-5182-FE29-8C96-A0E194082D93}"/>
                    </a:ext>
                  </a:extLst>
                </p:cNvPr>
                <p:cNvSpPr>
                  <a:spLocks noChangeAspect="1"/>
                </p:cNvSpPr>
                <p:nvPr/>
              </p:nvSpPr>
              <p:spPr>
                <a:xfrm>
                  <a:off x="4402155" y="257240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66" name="Oval 4465">
                  <a:extLst>
                    <a:ext uri="{FF2B5EF4-FFF2-40B4-BE49-F238E27FC236}">
                      <a16:creationId xmlns:a16="http://schemas.microsoft.com/office/drawing/2014/main" id="{6052DE41-E6E4-3FC8-7680-AC587184D64F}"/>
                    </a:ext>
                  </a:extLst>
                </p:cNvPr>
                <p:cNvSpPr>
                  <a:spLocks noChangeAspect="1"/>
                </p:cNvSpPr>
                <p:nvPr/>
              </p:nvSpPr>
              <p:spPr>
                <a:xfrm>
                  <a:off x="4256705" y="256842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67" name="Oval 4466">
                  <a:extLst>
                    <a:ext uri="{FF2B5EF4-FFF2-40B4-BE49-F238E27FC236}">
                      <a16:creationId xmlns:a16="http://schemas.microsoft.com/office/drawing/2014/main" id="{38575EE4-4B72-B45D-4A38-620E0E96E2F2}"/>
                    </a:ext>
                  </a:extLst>
                </p:cNvPr>
                <p:cNvSpPr>
                  <a:spLocks noChangeAspect="1"/>
                </p:cNvSpPr>
                <p:nvPr/>
              </p:nvSpPr>
              <p:spPr>
                <a:xfrm>
                  <a:off x="4111259" y="256842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68" name="Oval 4467">
                  <a:extLst>
                    <a:ext uri="{FF2B5EF4-FFF2-40B4-BE49-F238E27FC236}">
                      <a16:creationId xmlns:a16="http://schemas.microsoft.com/office/drawing/2014/main" id="{A4318EE3-BEDA-ADA8-90AB-1972E884961F}"/>
                    </a:ext>
                  </a:extLst>
                </p:cNvPr>
                <p:cNvSpPr>
                  <a:spLocks noChangeAspect="1"/>
                </p:cNvSpPr>
                <p:nvPr/>
              </p:nvSpPr>
              <p:spPr>
                <a:xfrm>
                  <a:off x="3947098" y="256842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69" name="Oval 4468">
                  <a:extLst>
                    <a:ext uri="{FF2B5EF4-FFF2-40B4-BE49-F238E27FC236}">
                      <a16:creationId xmlns:a16="http://schemas.microsoft.com/office/drawing/2014/main" id="{4199DB10-57C3-1FA1-69F9-7279C3E0343A}"/>
                    </a:ext>
                  </a:extLst>
                </p:cNvPr>
                <p:cNvSpPr>
                  <a:spLocks noChangeAspect="1"/>
                </p:cNvSpPr>
                <p:nvPr/>
              </p:nvSpPr>
              <p:spPr>
                <a:xfrm>
                  <a:off x="3797115" y="257368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70" name="Oval 4469">
                  <a:extLst>
                    <a:ext uri="{FF2B5EF4-FFF2-40B4-BE49-F238E27FC236}">
                      <a16:creationId xmlns:a16="http://schemas.microsoft.com/office/drawing/2014/main" id="{554C2975-66AA-2656-48EE-0E0AA172C9A7}"/>
                    </a:ext>
                  </a:extLst>
                </p:cNvPr>
                <p:cNvSpPr>
                  <a:spLocks noChangeAspect="1"/>
                </p:cNvSpPr>
                <p:nvPr/>
              </p:nvSpPr>
              <p:spPr>
                <a:xfrm>
                  <a:off x="3645831" y="257258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71" name="Oval 4470">
                  <a:extLst>
                    <a:ext uri="{FF2B5EF4-FFF2-40B4-BE49-F238E27FC236}">
                      <a16:creationId xmlns:a16="http://schemas.microsoft.com/office/drawing/2014/main" id="{F57118FA-D053-4F1F-9A84-82FC5D94D7DE}"/>
                    </a:ext>
                  </a:extLst>
                </p:cNvPr>
                <p:cNvSpPr>
                  <a:spLocks noChangeAspect="1"/>
                </p:cNvSpPr>
                <p:nvPr/>
              </p:nvSpPr>
              <p:spPr>
                <a:xfrm>
                  <a:off x="8212544" y="256842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72" name="Oval 4471">
                  <a:extLst>
                    <a:ext uri="{FF2B5EF4-FFF2-40B4-BE49-F238E27FC236}">
                      <a16:creationId xmlns:a16="http://schemas.microsoft.com/office/drawing/2014/main" id="{88283F2A-658B-99AC-9F95-65D60852B91F}"/>
                    </a:ext>
                  </a:extLst>
                </p:cNvPr>
                <p:cNvSpPr>
                  <a:spLocks noChangeAspect="1"/>
                </p:cNvSpPr>
                <p:nvPr/>
              </p:nvSpPr>
              <p:spPr>
                <a:xfrm>
                  <a:off x="8067109" y="256842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73" name="Oval 4472">
                  <a:extLst>
                    <a:ext uri="{FF2B5EF4-FFF2-40B4-BE49-F238E27FC236}">
                      <a16:creationId xmlns:a16="http://schemas.microsoft.com/office/drawing/2014/main" id="{046D1B45-3694-8D1D-1F67-F13CCCB370E4}"/>
                    </a:ext>
                  </a:extLst>
                </p:cNvPr>
                <p:cNvSpPr>
                  <a:spLocks noChangeAspect="1"/>
                </p:cNvSpPr>
                <p:nvPr/>
              </p:nvSpPr>
              <p:spPr>
                <a:xfrm>
                  <a:off x="7901620" y="256842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74" name="Oval 4473">
                  <a:extLst>
                    <a:ext uri="{FF2B5EF4-FFF2-40B4-BE49-F238E27FC236}">
                      <a16:creationId xmlns:a16="http://schemas.microsoft.com/office/drawing/2014/main" id="{5524D58E-1216-6871-2061-549B63D33E6E}"/>
                    </a:ext>
                  </a:extLst>
                </p:cNvPr>
                <p:cNvSpPr>
                  <a:spLocks noChangeAspect="1"/>
                </p:cNvSpPr>
                <p:nvPr/>
              </p:nvSpPr>
              <p:spPr>
                <a:xfrm>
                  <a:off x="5623919" y="256886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75" name="Oval 4474">
                  <a:extLst>
                    <a:ext uri="{FF2B5EF4-FFF2-40B4-BE49-F238E27FC236}">
                      <a16:creationId xmlns:a16="http://schemas.microsoft.com/office/drawing/2014/main" id="{50C42901-1482-92B2-9CA1-B9431F6CD14B}"/>
                    </a:ext>
                  </a:extLst>
                </p:cNvPr>
                <p:cNvSpPr>
                  <a:spLocks noChangeAspect="1"/>
                </p:cNvSpPr>
                <p:nvPr/>
              </p:nvSpPr>
              <p:spPr>
                <a:xfrm>
                  <a:off x="5478149" y="256842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76" name="Oval 4475">
                  <a:extLst>
                    <a:ext uri="{FF2B5EF4-FFF2-40B4-BE49-F238E27FC236}">
                      <a16:creationId xmlns:a16="http://schemas.microsoft.com/office/drawing/2014/main" id="{A0B6F0BA-0845-C0C8-9D7F-BCDF600443FE}"/>
                    </a:ext>
                  </a:extLst>
                </p:cNvPr>
                <p:cNvSpPr>
                  <a:spLocks noChangeAspect="1"/>
                </p:cNvSpPr>
                <p:nvPr/>
              </p:nvSpPr>
              <p:spPr>
                <a:xfrm>
                  <a:off x="4867281" y="256842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77" name="Oval 4476">
                  <a:extLst>
                    <a:ext uri="{FF2B5EF4-FFF2-40B4-BE49-F238E27FC236}">
                      <a16:creationId xmlns:a16="http://schemas.microsoft.com/office/drawing/2014/main" id="{8834FDD4-0E54-48BE-3F0A-C0B2BB042CA4}"/>
                    </a:ext>
                  </a:extLst>
                </p:cNvPr>
                <p:cNvSpPr>
                  <a:spLocks noChangeAspect="1"/>
                </p:cNvSpPr>
                <p:nvPr/>
              </p:nvSpPr>
              <p:spPr>
                <a:xfrm>
                  <a:off x="3500074" y="256842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78" name="Oval 4477">
                  <a:extLst>
                    <a:ext uri="{FF2B5EF4-FFF2-40B4-BE49-F238E27FC236}">
                      <a16:creationId xmlns:a16="http://schemas.microsoft.com/office/drawing/2014/main" id="{77BCE127-3CA6-0C30-1816-44E566338175}"/>
                    </a:ext>
                  </a:extLst>
                </p:cNvPr>
                <p:cNvSpPr>
                  <a:spLocks noChangeAspect="1"/>
                </p:cNvSpPr>
                <p:nvPr/>
              </p:nvSpPr>
              <p:spPr>
                <a:xfrm>
                  <a:off x="8509275" y="272083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79" name="Oval 4478">
                  <a:extLst>
                    <a:ext uri="{FF2B5EF4-FFF2-40B4-BE49-F238E27FC236}">
                      <a16:creationId xmlns:a16="http://schemas.microsoft.com/office/drawing/2014/main" id="{4BE5E947-DC12-6FBB-384A-6380432AFC07}"/>
                    </a:ext>
                  </a:extLst>
                </p:cNvPr>
                <p:cNvSpPr>
                  <a:spLocks noChangeAspect="1"/>
                </p:cNvSpPr>
                <p:nvPr/>
              </p:nvSpPr>
              <p:spPr>
                <a:xfrm>
                  <a:off x="8363821" y="272083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80" name="Oval 4479">
                  <a:extLst>
                    <a:ext uri="{FF2B5EF4-FFF2-40B4-BE49-F238E27FC236}">
                      <a16:creationId xmlns:a16="http://schemas.microsoft.com/office/drawing/2014/main" id="{ECBE5EB0-094F-9735-4865-67350E6CBDCD}"/>
                    </a:ext>
                  </a:extLst>
                </p:cNvPr>
                <p:cNvSpPr>
                  <a:spLocks noChangeAspect="1"/>
                </p:cNvSpPr>
                <p:nvPr/>
              </p:nvSpPr>
              <p:spPr>
                <a:xfrm>
                  <a:off x="8212672" y="271389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81" name="Oval 4480">
                  <a:extLst>
                    <a:ext uri="{FF2B5EF4-FFF2-40B4-BE49-F238E27FC236}">
                      <a16:creationId xmlns:a16="http://schemas.microsoft.com/office/drawing/2014/main" id="{D3E49766-6612-926C-618A-FF55021FFDB8}"/>
                    </a:ext>
                  </a:extLst>
                </p:cNvPr>
                <p:cNvSpPr>
                  <a:spLocks noChangeAspect="1"/>
                </p:cNvSpPr>
                <p:nvPr/>
              </p:nvSpPr>
              <p:spPr>
                <a:xfrm>
                  <a:off x="7456525" y="271389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82" name="Oval 4481">
                  <a:extLst>
                    <a:ext uri="{FF2B5EF4-FFF2-40B4-BE49-F238E27FC236}">
                      <a16:creationId xmlns:a16="http://schemas.microsoft.com/office/drawing/2014/main" id="{9B72E275-EA06-9547-3C35-D9E8543EAF9C}"/>
                    </a:ext>
                  </a:extLst>
                </p:cNvPr>
                <p:cNvSpPr>
                  <a:spLocks noChangeAspect="1"/>
                </p:cNvSpPr>
                <p:nvPr/>
              </p:nvSpPr>
              <p:spPr>
                <a:xfrm>
                  <a:off x="7311092" y="271972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83" name="Oval 4482">
                  <a:extLst>
                    <a:ext uri="{FF2B5EF4-FFF2-40B4-BE49-F238E27FC236}">
                      <a16:creationId xmlns:a16="http://schemas.microsoft.com/office/drawing/2014/main" id="{DC620079-EBCC-3136-C432-221A077AF22C}"/>
                    </a:ext>
                  </a:extLst>
                </p:cNvPr>
                <p:cNvSpPr>
                  <a:spLocks noChangeAspect="1"/>
                </p:cNvSpPr>
                <p:nvPr/>
              </p:nvSpPr>
              <p:spPr>
                <a:xfrm>
                  <a:off x="7142073" y="272083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84" name="Oval 4483">
                  <a:extLst>
                    <a:ext uri="{FF2B5EF4-FFF2-40B4-BE49-F238E27FC236}">
                      <a16:creationId xmlns:a16="http://schemas.microsoft.com/office/drawing/2014/main" id="{E661F12B-D338-E534-381F-FB763C2666CD}"/>
                    </a:ext>
                  </a:extLst>
                </p:cNvPr>
                <p:cNvSpPr>
                  <a:spLocks noChangeAspect="1"/>
                </p:cNvSpPr>
                <p:nvPr/>
              </p:nvSpPr>
              <p:spPr>
                <a:xfrm>
                  <a:off x="6996628" y="272083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85" name="Oval 4484">
                  <a:extLst>
                    <a:ext uri="{FF2B5EF4-FFF2-40B4-BE49-F238E27FC236}">
                      <a16:creationId xmlns:a16="http://schemas.microsoft.com/office/drawing/2014/main" id="{1DC8785E-EEE8-F78A-8FF2-65F6BB688D0A}"/>
                    </a:ext>
                  </a:extLst>
                </p:cNvPr>
                <p:cNvSpPr>
                  <a:spLocks noChangeAspect="1"/>
                </p:cNvSpPr>
                <p:nvPr/>
              </p:nvSpPr>
              <p:spPr>
                <a:xfrm>
                  <a:off x="6845668" y="271389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86" name="Oval 4485">
                  <a:extLst>
                    <a:ext uri="{FF2B5EF4-FFF2-40B4-BE49-F238E27FC236}">
                      <a16:creationId xmlns:a16="http://schemas.microsoft.com/office/drawing/2014/main" id="{A94D6293-CAAB-9D8C-7783-8ACD5A1E11CC}"/>
                    </a:ext>
                  </a:extLst>
                </p:cNvPr>
                <p:cNvSpPr>
                  <a:spLocks noChangeAspect="1"/>
                </p:cNvSpPr>
                <p:nvPr/>
              </p:nvSpPr>
              <p:spPr>
                <a:xfrm>
                  <a:off x="6700201" y="271389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87" name="Oval 4486">
                  <a:extLst>
                    <a:ext uri="{FF2B5EF4-FFF2-40B4-BE49-F238E27FC236}">
                      <a16:creationId xmlns:a16="http://schemas.microsoft.com/office/drawing/2014/main" id="{8EC03B3A-37B1-F88B-1C3C-FCAD42F90CA5}"/>
                    </a:ext>
                  </a:extLst>
                </p:cNvPr>
                <p:cNvSpPr>
                  <a:spLocks noChangeAspect="1"/>
                </p:cNvSpPr>
                <p:nvPr/>
              </p:nvSpPr>
              <p:spPr>
                <a:xfrm>
                  <a:off x="6531204" y="272085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88" name="Oval 4487">
                  <a:extLst>
                    <a:ext uri="{FF2B5EF4-FFF2-40B4-BE49-F238E27FC236}">
                      <a16:creationId xmlns:a16="http://schemas.microsoft.com/office/drawing/2014/main" id="{92D914E7-B675-4C0F-1DF2-80E56539DF4A}"/>
                    </a:ext>
                  </a:extLst>
                </p:cNvPr>
                <p:cNvSpPr>
                  <a:spLocks noChangeAspect="1"/>
                </p:cNvSpPr>
                <p:nvPr/>
              </p:nvSpPr>
              <p:spPr>
                <a:xfrm>
                  <a:off x="6385750" y="272085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89" name="Oval 4488">
                  <a:extLst>
                    <a:ext uri="{FF2B5EF4-FFF2-40B4-BE49-F238E27FC236}">
                      <a16:creationId xmlns:a16="http://schemas.microsoft.com/office/drawing/2014/main" id="{C9848262-E35C-5A1C-67BB-8B9C5390F7CE}"/>
                    </a:ext>
                  </a:extLst>
                </p:cNvPr>
                <p:cNvSpPr>
                  <a:spLocks noChangeAspect="1"/>
                </p:cNvSpPr>
                <p:nvPr/>
              </p:nvSpPr>
              <p:spPr>
                <a:xfrm>
                  <a:off x="6234601" y="271389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90" name="Oval 4489">
                  <a:extLst>
                    <a:ext uri="{FF2B5EF4-FFF2-40B4-BE49-F238E27FC236}">
                      <a16:creationId xmlns:a16="http://schemas.microsoft.com/office/drawing/2014/main" id="{61BE78CF-B417-49E7-38E5-A9A82A9C6A0B}"/>
                    </a:ext>
                  </a:extLst>
                </p:cNvPr>
                <p:cNvSpPr>
                  <a:spLocks noChangeAspect="1"/>
                </p:cNvSpPr>
                <p:nvPr/>
              </p:nvSpPr>
              <p:spPr>
                <a:xfrm>
                  <a:off x="6089344" y="271389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91" name="Oval 4490">
                  <a:extLst>
                    <a:ext uri="{FF2B5EF4-FFF2-40B4-BE49-F238E27FC236}">
                      <a16:creationId xmlns:a16="http://schemas.microsoft.com/office/drawing/2014/main" id="{BE4C0440-2484-0C92-C0BE-9A46AE81A46D}"/>
                    </a:ext>
                  </a:extLst>
                </p:cNvPr>
                <p:cNvSpPr>
                  <a:spLocks noChangeAspect="1"/>
                </p:cNvSpPr>
                <p:nvPr/>
              </p:nvSpPr>
              <p:spPr>
                <a:xfrm>
                  <a:off x="5929995" y="272085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92" name="Oval 4491">
                  <a:extLst>
                    <a:ext uri="{FF2B5EF4-FFF2-40B4-BE49-F238E27FC236}">
                      <a16:creationId xmlns:a16="http://schemas.microsoft.com/office/drawing/2014/main" id="{965BA58B-5A5F-2A70-88F9-4D80BFC2E964}"/>
                    </a:ext>
                  </a:extLst>
                </p:cNvPr>
                <p:cNvSpPr>
                  <a:spLocks noChangeAspect="1"/>
                </p:cNvSpPr>
                <p:nvPr/>
              </p:nvSpPr>
              <p:spPr>
                <a:xfrm>
                  <a:off x="5774880" y="272085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93" name="Oval 4492">
                  <a:extLst>
                    <a:ext uri="{FF2B5EF4-FFF2-40B4-BE49-F238E27FC236}">
                      <a16:creationId xmlns:a16="http://schemas.microsoft.com/office/drawing/2014/main" id="{121E91A1-5A1B-DDBF-2744-C73B9ADFB683}"/>
                    </a:ext>
                  </a:extLst>
                </p:cNvPr>
                <p:cNvSpPr>
                  <a:spLocks noChangeAspect="1"/>
                </p:cNvSpPr>
                <p:nvPr/>
              </p:nvSpPr>
              <p:spPr>
                <a:xfrm>
                  <a:off x="5626187" y="271609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94" name="Oval 4493">
                  <a:extLst>
                    <a:ext uri="{FF2B5EF4-FFF2-40B4-BE49-F238E27FC236}">
                      <a16:creationId xmlns:a16="http://schemas.microsoft.com/office/drawing/2014/main" id="{6579D50F-A676-BA6E-A5A6-C769E5C64A68}"/>
                    </a:ext>
                  </a:extLst>
                </p:cNvPr>
                <p:cNvSpPr>
                  <a:spLocks noChangeAspect="1"/>
                </p:cNvSpPr>
                <p:nvPr/>
              </p:nvSpPr>
              <p:spPr>
                <a:xfrm>
                  <a:off x="5478453" y="271389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95" name="Oval 4494">
                  <a:extLst>
                    <a:ext uri="{FF2B5EF4-FFF2-40B4-BE49-F238E27FC236}">
                      <a16:creationId xmlns:a16="http://schemas.microsoft.com/office/drawing/2014/main" id="{0EC73839-754E-10D5-862F-FB3BA0FF9D50}"/>
                    </a:ext>
                  </a:extLst>
                </p:cNvPr>
                <p:cNvSpPr>
                  <a:spLocks noChangeAspect="1"/>
                </p:cNvSpPr>
                <p:nvPr/>
              </p:nvSpPr>
              <p:spPr>
                <a:xfrm>
                  <a:off x="5333021" y="271389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96" name="Oval 4495">
                  <a:extLst>
                    <a:ext uri="{FF2B5EF4-FFF2-40B4-BE49-F238E27FC236}">
                      <a16:creationId xmlns:a16="http://schemas.microsoft.com/office/drawing/2014/main" id="{73967E89-0B31-98A7-AC20-3B92B3F4EE36}"/>
                    </a:ext>
                  </a:extLst>
                </p:cNvPr>
                <p:cNvSpPr>
                  <a:spLocks noChangeAspect="1"/>
                </p:cNvSpPr>
                <p:nvPr/>
              </p:nvSpPr>
              <p:spPr>
                <a:xfrm>
                  <a:off x="5164001" y="272085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97" name="Oval 4496">
                  <a:extLst>
                    <a:ext uri="{FF2B5EF4-FFF2-40B4-BE49-F238E27FC236}">
                      <a16:creationId xmlns:a16="http://schemas.microsoft.com/office/drawing/2014/main" id="{6FB222B5-18D8-D391-53B3-09860938009F}"/>
                    </a:ext>
                  </a:extLst>
                </p:cNvPr>
                <p:cNvSpPr>
                  <a:spLocks noChangeAspect="1"/>
                </p:cNvSpPr>
                <p:nvPr/>
              </p:nvSpPr>
              <p:spPr>
                <a:xfrm>
                  <a:off x="5018557" y="272085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98" name="Oval 4497">
                  <a:extLst>
                    <a:ext uri="{FF2B5EF4-FFF2-40B4-BE49-F238E27FC236}">
                      <a16:creationId xmlns:a16="http://schemas.microsoft.com/office/drawing/2014/main" id="{4EC142A7-77C0-90BB-4BB3-3E460F542129}"/>
                    </a:ext>
                  </a:extLst>
                </p:cNvPr>
                <p:cNvSpPr>
                  <a:spLocks noChangeAspect="1"/>
                </p:cNvSpPr>
                <p:nvPr/>
              </p:nvSpPr>
              <p:spPr>
                <a:xfrm>
                  <a:off x="4867401" y="271389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99" name="Oval 4498">
                  <a:extLst>
                    <a:ext uri="{FF2B5EF4-FFF2-40B4-BE49-F238E27FC236}">
                      <a16:creationId xmlns:a16="http://schemas.microsoft.com/office/drawing/2014/main" id="{CB5BCF83-4909-AAAD-FBE8-F03C9D66747A}"/>
                    </a:ext>
                  </a:extLst>
                </p:cNvPr>
                <p:cNvSpPr>
                  <a:spLocks noChangeAspect="1"/>
                </p:cNvSpPr>
                <p:nvPr/>
              </p:nvSpPr>
              <p:spPr>
                <a:xfrm>
                  <a:off x="4722130" y="271389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00" name="Oval 4499">
                  <a:extLst>
                    <a:ext uri="{FF2B5EF4-FFF2-40B4-BE49-F238E27FC236}">
                      <a16:creationId xmlns:a16="http://schemas.microsoft.com/office/drawing/2014/main" id="{10984E1B-D2AD-BA42-3F7F-E8A7588E1AE9}"/>
                    </a:ext>
                  </a:extLst>
                </p:cNvPr>
                <p:cNvSpPr>
                  <a:spLocks noChangeAspect="1"/>
                </p:cNvSpPr>
                <p:nvPr/>
              </p:nvSpPr>
              <p:spPr>
                <a:xfrm>
                  <a:off x="4553118" y="272085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01" name="Oval 4500">
                  <a:extLst>
                    <a:ext uri="{FF2B5EF4-FFF2-40B4-BE49-F238E27FC236}">
                      <a16:creationId xmlns:a16="http://schemas.microsoft.com/office/drawing/2014/main" id="{6B5B0015-0590-D007-6CD8-D5A337AE8F54}"/>
                    </a:ext>
                  </a:extLst>
                </p:cNvPr>
                <p:cNvSpPr>
                  <a:spLocks noChangeAspect="1"/>
                </p:cNvSpPr>
                <p:nvPr/>
              </p:nvSpPr>
              <p:spPr>
                <a:xfrm>
                  <a:off x="4407672" y="272085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02" name="Oval 4501">
                  <a:extLst>
                    <a:ext uri="{FF2B5EF4-FFF2-40B4-BE49-F238E27FC236}">
                      <a16:creationId xmlns:a16="http://schemas.microsoft.com/office/drawing/2014/main" id="{B796D25C-D0E0-4B65-DC62-46EE5C4D41AF}"/>
                    </a:ext>
                  </a:extLst>
                </p:cNvPr>
                <p:cNvSpPr>
                  <a:spLocks noChangeAspect="1"/>
                </p:cNvSpPr>
                <p:nvPr/>
              </p:nvSpPr>
              <p:spPr>
                <a:xfrm>
                  <a:off x="4256521" y="271389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03" name="Oval 4502">
                  <a:extLst>
                    <a:ext uri="{FF2B5EF4-FFF2-40B4-BE49-F238E27FC236}">
                      <a16:creationId xmlns:a16="http://schemas.microsoft.com/office/drawing/2014/main" id="{779569EB-E574-F7D2-709E-C132867B4378}"/>
                    </a:ext>
                  </a:extLst>
                </p:cNvPr>
                <p:cNvSpPr>
                  <a:spLocks noChangeAspect="1"/>
                </p:cNvSpPr>
                <p:nvPr/>
              </p:nvSpPr>
              <p:spPr>
                <a:xfrm>
                  <a:off x="4111259" y="271389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04" name="Oval 4503">
                  <a:extLst>
                    <a:ext uri="{FF2B5EF4-FFF2-40B4-BE49-F238E27FC236}">
                      <a16:creationId xmlns:a16="http://schemas.microsoft.com/office/drawing/2014/main" id="{A2BF7AD5-7F25-E7D2-E942-964E2782C4DD}"/>
                    </a:ext>
                  </a:extLst>
                </p:cNvPr>
                <p:cNvSpPr>
                  <a:spLocks noChangeAspect="1"/>
                </p:cNvSpPr>
                <p:nvPr/>
              </p:nvSpPr>
              <p:spPr>
                <a:xfrm>
                  <a:off x="3965813" y="271389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05" name="Oval 4504">
                  <a:extLst>
                    <a:ext uri="{FF2B5EF4-FFF2-40B4-BE49-F238E27FC236}">
                      <a16:creationId xmlns:a16="http://schemas.microsoft.com/office/drawing/2014/main" id="{981B3964-7214-3E48-5BE7-5C687E457D51}"/>
                    </a:ext>
                  </a:extLst>
                </p:cNvPr>
                <p:cNvSpPr>
                  <a:spLocks noChangeAspect="1"/>
                </p:cNvSpPr>
                <p:nvPr/>
              </p:nvSpPr>
              <p:spPr>
                <a:xfrm>
                  <a:off x="3796796" y="272085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06" name="Oval 4505">
                  <a:extLst>
                    <a:ext uri="{FF2B5EF4-FFF2-40B4-BE49-F238E27FC236}">
                      <a16:creationId xmlns:a16="http://schemas.microsoft.com/office/drawing/2014/main" id="{A22CACAB-7ABA-7D75-956D-9B8EB97CB455}"/>
                    </a:ext>
                  </a:extLst>
                </p:cNvPr>
                <p:cNvSpPr>
                  <a:spLocks noChangeAspect="1"/>
                </p:cNvSpPr>
                <p:nvPr/>
              </p:nvSpPr>
              <p:spPr>
                <a:xfrm>
                  <a:off x="3651349" y="272085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07" name="Oval 4506">
                  <a:extLst>
                    <a:ext uri="{FF2B5EF4-FFF2-40B4-BE49-F238E27FC236}">
                      <a16:creationId xmlns:a16="http://schemas.microsoft.com/office/drawing/2014/main" id="{372812A3-C44A-D088-BE93-F620FDB3C233}"/>
                    </a:ext>
                  </a:extLst>
                </p:cNvPr>
                <p:cNvSpPr>
                  <a:spLocks noChangeAspect="1"/>
                </p:cNvSpPr>
                <p:nvPr/>
              </p:nvSpPr>
              <p:spPr>
                <a:xfrm>
                  <a:off x="8358314" y="287194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08" name="Oval 4507">
                  <a:extLst>
                    <a:ext uri="{FF2B5EF4-FFF2-40B4-BE49-F238E27FC236}">
                      <a16:creationId xmlns:a16="http://schemas.microsoft.com/office/drawing/2014/main" id="{92F56C81-766B-9391-ED73-AFA6445D2EEB}"/>
                    </a:ext>
                  </a:extLst>
                </p:cNvPr>
                <p:cNvSpPr>
                  <a:spLocks noChangeAspect="1"/>
                </p:cNvSpPr>
                <p:nvPr/>
              </p:nvSpPr>
              <p:spPr>
                <a:xfrm>
                  <a:off x="8216925" y="288089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09" name="Oval 4508">
                  <a:extLst>
                    <a:ext uri="{FF2B5EF4-FFF2-40B4-BE49-F238E27FC236}">
                      <a16:creationId xmlns:a16="http://schemas.microsoft.com/office/drawing/2014/main" id="{9B085019-B954-1242-A425-8FFB17999082}"/>
                    </a:ext>
                  </a:extLst>
                </p:cNvPr>
                <p:cNvSpPr>
                  <a:spLocks noChangeAspect="1"/>
                </p:cNvSpPr>
                <p:nvPr/>
              </p:nvSpPr>
              <p:spPr>
                <a:xfrm>
                  <a:off x="8071492" y="288089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10" name="Oval 4509">
                  <a:extLst>
                    <a:ext uri="{FF2B5EF4-FFF2-40B4-BE49-F238E27FC236}">
                      <a16:creationId xmlns:a16="http://schemas.microsoft.com/office/drawing/2014/main" id="{16388619-A05F-C597-26CB-38251774E5F8}"/>
                    </a:ext>
                  </a:extLst>
                </p:cNvPr>
                <p:cNvSpPr>
                  <a:spLocks noChangeAspect="1"/>
                </p:cNvSpPr>
                <p:nvPr/>
              </p:nvSpPr>
              <p:spPr>
                <a:xfrm>
                  <a:off x="7900050" y="286672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11" name="Oval 4510">
                  <a:extLst>
                    <a:ext uri="{FF2B5EF4-FFF2-40B4-BE49-F238E27FC236}">
                      <a16:creationId xmlns:a16="http://schemas.microsoft.com/office/drawing/2014/main" id="{39CC60AB-74E1-7833-EB6F-919B98EE5A53}"/>
                    </a:ext>
                  </a:extLst>
                </p:cNvPr>
                <p:cNvSpPr>
                  <a:spLocks noChangeAspect="1"/>
                </p:cNvSpPr>
                <p:nvPr/>
              </p:nvSpPr>
              <p:spPr>
                <a:xfrm>
                  <a:off x="7142073" y="286630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12" name="Oval 4511">
                  <a:extLst>
                    <a:ext uri="{FF2B5EF4-FFF2-40B4-BE49-F238E27FC236}">
                      <a16:creationId xmlns:a16="http://schemas.microsoft.com/office/drawing/2014/main" id="{533906D7-EBB9-3891-C9D7-33ED999F7886}"/>
                    </a:ext>
                  </a:extLst>
                </p:cNvPr>
                <p:cNvSpPr>
                  <a:spLocks noChangeAspect="1"/>
                </p:cNvSpPr>
                <p:nvPr/>
              </p:nvSpPr>
              <p:spPr>
                <a:xfrm>
                  <a:off x="6991100" y="286808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13" name="Oval 4512">
                  <a:extLst>
                    <a:ext uri="{FF2B5EF4-FFF2-40B4-BE49-F238E27FC236}">
                      <a16:creationId xmlns:a16="http://schemas.microsoft.com/office/drawing/2014/main" id="{5F659C6D-BE21-CA54-0FBC-9DC661FBA504}"/>
                    </a:ext>
                  </a:extLst>
                </p:cNvPr>
                <p:cNvSpPr>
                  <a:spLocks noChangeAspect="1"/>
                </p:cNvSpPr>
                <p:nvPr/>
              </p:nvSpPr>
              <p:spPr>
                <a:xfrm>
                  <a:off x="6849733" y="288089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14" name="Oval 4513">
                  <a:extLst>
                    <a:ext uri="{FF2B5EF4-FFF2-40B4-BE49-F238E27FC236}">
                      <a16:creationId xmlns:a16="http://schemas.microsoft.com/office/drawing/2014/main" id="{76EF7693-0E3C-221A-1CD3-B7158023EAFB}"/>
                    </a:ext>
                  </a:extLst>
                </p:cNvPr>
                <p:cNvSpPr>
                  <a:spLocks noChangeAspect="1"/>
                </p:cNvSpPr>
                <p:nvPr/>
              </p:nvSpPr>
              <p:spPr>
                <a:xfrm>
                  <a:off x="6704278" y="288089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15" name="Oval 4514">
                  <a:extLst>
                    <a:ext uri="{FF2B5EF4-FFF2-40B4-BE49-F238E27FC236}">
                      <a16:creationId xmlns:a16="http://schemas.microsoft.com/office/drawing/2014/main" id="{BD3915B8-C6D3-A2A4-A36B-6CA4A5A7232F}"/>
                    </a:ext>
                  </a:extLst>
                </p:cNvPr>
                <p:cNvSpPr>
                  <a:spLocks noChangeAspect="1"/>
                </p:cNvSpPr>
                <p:nvPr/>
              </p:nvSpPr>
              <p:spPr>
                <a:xfrm>
                  <a:off x="6532861" y="286672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16" name="Oval 4515">
                  <a:extLst>
                    <a:ext uri="{FF2B5EF4-FFF2-40B4-BE49-F238E27FC236}">
                      <a16:creationId xmlns:a16="http://schemas.microsoft.com/office/drawing/2014/main" id="{0D812516-0EB7-D1B6-D9E2-CC742E0EF101}"/>
                    </a:ext>
                  </a:extLst>
                </p:cNvPr>
                <p:cNvSpPr>
                  <a:spLocks noChangeAspect="1"/>
                </p:cNvSpPr>
                <p:nvPr/>
              </p:nvSpPr>
              <p:spPr>
                <a:xfrm>
                  <a:off x="6385750" y="286630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17" name="Oval 4516">
                  <a:extLst>
                    <a:ext uri="{FF2B5EF4-FFF2-40B4-BE49-F238E27FC236}">
                      <a16:creationId xmlns:a16="http://schemas.microsoft.com/office/drawing/2014/main" id="{B9BB97D8-5B6B-B36C-39F9-41965C98E490}"/>
                    </a:ext>
                  </a:extLst>
                </p:cNvPr>
                <p:cNvSpPr>
                  <a:spLocks noChangeAspect="1"/>
                </p:cNvSpPr>
                <p:nvPr/>
              </p:nvSpPr>
              <p:spPr>
                <a:xfrm>
                  <a:off x="6238854" y="288089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18" name="Oval 4517">
                  <a:extLst>
                    <a:ext uri="{FF2B5EF4-FFF2-40B4-BE49-F238E27FC236}">
                      <a16:creationId xmlns:a16="http://schemas.microsoft.com/office/drawing/2014/main" id="{58099479-C203-A743-21C0-B4D67A52B374}"/>
                    </a:ext>
                  </a:extLst>
                </p:cNvPr>
                <p:cNvSpPr>
                  <a:spLocks noChangeAspect="1"/>
                </p:cNvSpPr>
                <p:nvPr/>
              </p:nvSpPr>
              <p:spPr>
                <a:xfrm>
                  <a:off x="6093409" y="288089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19" name="Oval 4518">
                  <a:extLst>
                    <a:ext uri="{FF2B5EF4-FFF2-40B4-BE49-F238E27FC236}">
                      <a16:creationId xmlns:a16="http://schemas.microsoft.com/office/drawing/2014/main" id="{CB700F00-5CF8-612D-904D-023DF984D2C6}"/>
                    </a:ext>
                  </a:extLst>
                </p:cNvPr>
                <p:cNvSpPr>
                  <a:spLocks noChangeAspect="1"/>
                </p:cNvSpPr>
                <p:nvPr/>
              </p:nvSpPr>
              <p:spPr>
                <a:xfrm>
                  <a:off x="5929995" y="286746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20" name="Oval 4519">
                  <a:extLst>
                    <a:ext uri="{FF2B5EF4-FFF2-40B4-BE49-F238E27FC236}">
                      <a16:creationId xmlns:a16="http://schemas.microsoft.com/office/drawing/2014/main" id="{D5CA8883-8055-CE77-8A63-3FEE55FF90A7}"/>
                    </a:ext>
                  </a:extLst>
                </p:cNvPr>
                <p:cNvSpPr>
                  <a:spLocks noChangeAspect="1"/>
                </p:cNvSpPr>
                <p:nvPr/>
              </p:nvSpPr>
              <p:spPr>
                <a:xfrm>
                  <a:off x="5774880" y="286630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21" name="Oval 4520">
                  <a:extLst>
                    <a:ext uri="{FF2B5EF4-FFF2-40B4-BE49-F238E27FC236}">
                      <a16:creationId xmlns:a16="http://schemas.microsoft.com/office/drawing/2014/main" id="{98A2CFED-7D5A-762E-9136-232F8CEB883A}"/>
                    </a:ext>
                  </a:extLst>
                </p:cNvPr>
                <p:cNvSpPr>
                  <a:spLocks noChangeAspect="1"/>
                </p:cNvSpPr>
                <p:nvPr/>
              </p:nvSpPr>
              <p:spPr>
                <a:xfrm>
                  <a:off x="5623919" y="287194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22" name="Oval 4521">
                  <a:extLst>
                    <a:ext uri="{FF2B5EF4-FFF2-40B4-BE49-F238E27FC236}">
                      <a16:creationId xmlns:a16="http://schemas.microsoft.com/office/drawing/2014/main" id="{E7E275FC-75AD-C10C-AAE8-ABD9CDDBE88D}"/>
                    </a:ext>
                  </a:extLst>
                </p:cNvPr>
                <p:cNvSpPr>
                  <a:spLocks noChangeAspect="1"/>
                </p:cNvSpPr>
                <p:nvPr/>
              </p:nvSpPr>
              <p:spPr>
                <a:xfrm>
                  <a:off x="5482530" y="288089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23" name="Oval 4522">
                  <a:extLst>
                    <a:ext uri="{FF2B5EF4-FFF2-40B4-BE49-F238E27FC236}">
                      <a16:creationId xmlns:a16="http://schemas.microsoft.com/office/drawing/2014/main" id="{153587C9-0FD5-364A-63C6-B5D99FE34E04}"/>
                    </a:ext>
                  </a:extLst>
                </p:cNvPr>
                <p:cNvSpPr>
                  <a:spLocks noChangeAspect="1"/>
                </p:cNvSpPr>
                <p:nvPr/>
              </p:nvSpPr>
              <p:spPr>
                <a:xfrm>
                  <a:off x="5333021" y="286686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24" name="Oval 4523">
                  <a:extLst>
                    <a:ext uri="{FF2B5EF4-FFF2-40B4-BE49-F238E27FC236}">
                      <a16:creationId xmlns:a16="http://schemas.microsoft.com/office/drawing/2014/main" id="{8936F06C-FE3D-6E8D-BD43-EB31CC102FF9}"/>
                    </a:ext>
                  </a:extLst>
                </p:cNvPr>
                <p:cNvSpPr>
                  <a:spLocks noChangeAspect="1"/>
                </p:cNvSpPr>
                <p:nvPr/>
              </p:nvSpPr>
              <p:spPr>
                <a:xfrm>
                  <a:off x="5164001" y="286630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25" name="Oval 4524">
                  <a:extLst>
                    <a:ext uri="{FF2B5EF4-FFF2-40B4-BE49-F238E27FC236}">
                      <a16:creationId xmlns:a16="http://schemas.microsoft.com/office/drawing/2014/main" id="{736043E9-EAF3-CEED-26A1-82753E8C315D}"/>
                    </a:ext>
                  </a:extLst>
                </p:cNvPr>
                <p:cNvSpPr>
                  <a:spLocks noChangeAspect="1"/>
                </p:cNvSpPr>
                <p:nvPr/>
              </p:nvSpPr>
              <p:spPr>
                <a:xfrm>
                  <a:off x="5015939" y="287388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26" name="Oval 4525">
                  <a:extLst>
                    <a:ext uri="{FF2B5EF4-FFF2-40B4-BE49-F238E27FC236}">
                      <a16:creationId xmlns:a16="http://schemas.microsoft.com/office/drawing/2014/main" id="{CEF0C669-E14A-4D52-7161-F27D59A8ADE7}"/>
                    </a:ext>
                  </a:extLst>
                </p:cNvPr>
                <p:cNvSpPr>
                  <a:spLocks noChangeAspect="1"/>
                </p:cNvSpPr>
                <p:nvPr/>
              </p:nvSpPr>
              <p:spPr>
                <a:xfrm>
                  <a:off x="4871661" y="288089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27" name="Oval 4526">
                  <a:extLst>
                    <a:ext uri="{FF2B5EF4-FFF2-40B4-BE49-F238E27FC236}">
                      <a16:creationId xmlns:a16="http://schemas.microsoft.com/office/drawing/2014/main" id="{799149C0-453F-91B5-5ED3-DE17D550A82B}"/>
                    </a:ext>
                  </a:extLst>
                </p:cNvPr>
                <p:cNvSpPr>
                  <a:spLocks noChangeAspect="1"/>
                </p:cNvSpPr>
                <p:nvPr/>
              </p:nvSpPr>
              <p:spPr>
                <a:xfrm>
                  <a:off x="4726207" y="288089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28" name="Oval 4527">
                  <a:extLst>
                    <a:ext uri="{FF2B5EF4-FFF2-40B4-BE49-F238E27FC236}">
                      <a16:creationId xmlns:a16="http://schemas.microsoft.com/office/drawing/2014/main" id="{796EF69F-4618-3B64-BE4B-8C5B1A9719F6}"/>
                    </a:ext>
                  </a:extLst>
                </p:cNvPr>
                <p:cNvSpPr>
                  <a:spLocks noChangeAspect="1"/>
                </p:cNvSpPr>
                <p:nvPr/>
              </p:nvSpPr>
              <p:spPr>
                <a:xfrm>
                  <a:off x="4560207" y="286746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29" name="Oval 4528">
                  <a:extLst>
                    <a:ext uri="{FF2B5EF4-FFF2-40B4-BE49-F238E27FC236}">
                      <a16:creationId xmlns:a16="http://schemas.microsoft.com/office/drawing/2014/main" id="{9165B746-7A3B-CEA1-1A2A-F4EE298E3431}"/>
                    </a:ext>
                  </a:extLst>
                </p:cNvPr>
                <p:cNvSpPr>
                  <a:spLocks noChangeAspect="1"/>
                </p:cNvSpPr>
                <p:nvPr/>
              </p:nvSpPr>
              <p:spPr>
                <a:xfrm>
                  <a:off x="4407672" y="286630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30" name="Oval 4529">
                  <a:extLst>
                    <a:ext uri="{FF2B5EF4-FFF2-40B4-BE49-F238E27FC236}">
                      <a16:creationId xmlns:a16="http://schemas.microsoft.com/office/drawing/2014/main" id="{07B93B88-8030-5945-2430-DA2DABF14454}"/>
                    </a:ext>
                  </a:extLst>
                </p:cNvPr>
                <p:cNvSpPr>
                  <a:spLocks noChangeAspect="1"/>
                </p:cNvSpPr>
                <p:nvPr/>
              </p:nvSpPr>
              <p:spPr>
                <a:xfrm>
                  <a:off x="4256705" y="286808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31" name="Oval 4530">
                  <a:extLst>
                    <a:ext uri="{FF2B5EF4-FFF2-40B4-BE49-F238E27FC236}">
                      <a16:creationId xmlns:a16="http://schemas.microsoft.com/office/drawing/2014/main" id="{32884F13-5977-3991-A84D-5C2229CFB18B}"/>
                    </a:ext>
                  </a:extLst>
                </p:cNvPr>
                <p:cNvSpPr>
                  <a:spLocks noChangeAspect="1"/>
                </p:cNvSpPr>
                <p:nvPr/>
              </p:nvSpPr>
              <p:spPr>
                <a:xfrm>
                  <a:off x="4115329" y="288089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32" name="Oval 4531">
                  <a:extLst>
                    <a:ext uri="{FF2B5EF4-FFF2-40B4-BE49-F238E27FC236}">
                      <a16:creationId xmlns:a16="http://schemas.microsoft.com/office/drawing/2014/main" id="{FE37CCA0-D509-AE94-F12A-EADEA6D16053}"/>
                    </a:ext>
                  </a:extLst>
                </p:cNvPr>
                <p:cNvSpPr>
                  <a:spLocks noChangeAspect="1"/>
                </p:cNvSpPr>
                <p:nvPr/>
              </p:nvSpPr>
              <p:spPr>
                <a:xfrm>
                  <a:off x="3969883" y="288089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33" name="Oval 4532">
                  <a:extLst>
                    <a:ext uri="{FF2B5EF4-FFF2-40B4-BE49-F238E27FC236}">
                      <a16:creationId xmlns:a16="http://schemas.microsoft.com/office/drawing/2014/main" id="{0C9CB068-9C73-DF28-F89D-9734377D1064}"/>
                    </a:ext>
                  </a:extLst>
                </p:cNvPr>
                <p:cNvSpPr>
                  <a:spLocks noChangeAspect="1"/>
                </p:cNvSpPr>
                <p:nvPr/>
              </p:nvSpPr>
              <p:spPr>
                <a:xfrm>
                  <a:off x="3796796" y="286630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34" name="Oval 4533">
                  <a:extLst>
                    <a:ext uri="{FF2B5EF4-FFF2-40B4-BE49-F238E27FC236}">
                      <a16:creationId xmlns:a16="http://schemas.microsoft.com/office/drawing/2014/main" id="{53219430-13B4-1417-FFEB-3D72E0109F3C}"/>
                    </a:ext>
                  </a:extLst>
                </p:cNvPr>
                <p:cNvSpPr>
                  <a:spLocks noChangeAspect="1"/>
                </p:cNvSpPr>
                <p:nvPr/>
              </p:nvSpPr>
              <p:spPr>
                <a:xfrm>
                  <a:off x="3648737" y="287388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35" name="Oval 4534">
                  <a:extLst>
                    <a:ext uri="{FF2B5EF4-FFF2-40B4-BE49-F238E27FC236}">
                      <a16:creationId xmlns:a16="http://schemas.microsoft.com/office/drawing/2014/main" id="{FDA28306-5467-3F93-9C2A-6A52F77402CC}"/>
                    </a:ext>
                  </a:extLst>
                </p:cNvPr>
                <p:cNvSpPr>
                  <a:spLocks noChangeAspect="1"/>
                </p:cNvSpPr>
                <p:nvPr/>
              </p:nvSpPr>
              <p:spPr>
                <a:xfrm>
                  <a:off x="8358314" y="303800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36" name="Oval 4535">
                  <a:extLst>
                    <a:ext uri="{FF2B5EF4-FFF2-40B4-BE49-F238E27FC236}">
                      <a16:creationId xmlns:a16="http://schemas.microsoft.com/office/drawing/2014/main" id="{1FE08C1C-BADF-AA09-349A-5F3982B20EDA}"/>
                    </a:ext>
                  </a:extLst>
                </p:cNvPr>
                <p:cNvSpPr>
                  <a:spLocks noChangeAspect="1"/>
                </p:cNvSpPr>
                <p:nvPr/>
              </p:nvSpPr>
              <p:spPr>
                <a:xfrm>
                  <a:off x="8212848"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37" name="Oval 4536">
                  <a:extLst>
                    <a:ext uri="{FF2B5EF4-FFF2-40B4-BE49-F238E27FC236}">
                      <a16:creationId xmlns:a16="http://schemas.microsoft.com/office/drawing/2014/main" id="{ECB3AB8F-CF33-D449-946D-47A1CEC6232C}"/>
                    </a:ext>
                  </a:extLst>
                </p:cNvPr>
                <p:cNvSpPr>
                  <a:spLocks noChangeAspect="1"/>
                </p:cNvSpPr>
                <p:nvPr/>
              </p:nvSpPr>
              <p:spPr>
                <a:xfrm>
                  <a:off x="7903249"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38" name="Oval 4537">
                  <a:extLst>
                    <a:ext uri="{FF2B5EF4-FFF2-40B4-BE49-F238E27FC236}">
                      <a16:creationId xmlns:a16="http://schemas.microsoft.com/office/drawing/2014/main" id="{20BAEA50-38A5-C79F-B4F4-583D2F5B95D7}"/>
                    </a:ext>
                  </a:extLst>
                </p:cNvPr>
                <p:cNvSpPr>
                  <a:spLocks noChangeAspect="1"/>
                </p:cNvSpPr>
                <p:nvPr/>
              </p:nvSpPr>
              <p:spPr>
                <a:xfrm>
                  <a:off x="7292378"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39" name="Oval 4538">
                  <a:extLst>
                    <a:ext uri="{FF2B5EF4-FFF2-40B4-BE49-F238E27FC236}">
                      <a16:creationId xmlns:a16="http://schemas.microsoft.com/office/drawing/2014/main" id="{EB3F62B4-E6AA-364F-7F4F-2170FAD6E0A0}"/>
                    </a:ext>
                  </a:extLst>
                </p:cNvPr>
                <p:cNvSpPr>
                  <a:spLocks noChangeAspect="1"/>
                </p:cNvSpPr>
                <p:nvPr/>
              </p:nvSpPr>
              <p:spPr>
                <a:xfrm>
                  <a:off x="7136566"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40" name="Oval 4539">
                  <a:extLst>
                    <a:ext uri="{FF2B5EF4-FFF2-40B4-BE49-F238E27FC236}">
                      <a16:creationId xmlns:a16="http://schemas.microsoft.com/office/drawing/2014/main" id="{46B9F2A9-DC4E-967B-A968-546A72EBF482}"/>
                    </a:ext>
                  </a:extLst>
                </p:cNvPr>
                <p:cNvSpPr>
                  <a:spLocks noChangeAspect="1"/>
                </p:cNvSpPr>
                <p:nvPr/>
              </p:nvSpPr>
              <p:spPr>
                <a:xfrm>
                  <a:off x="6991100" y="303800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41" name="Oval 4540">
                  <a:extLst>
                    <a:ext uri="{FF2B5EF4-FFF2-40B4-BE49-F238E27FC236}">
                      <a16:creationId xmlns:a16="http://schemas.microsoft.com/office/drawing/2014/main" id="{1A115E77-5AF6-72FC-A4C2-C72EFA30F8CE}"/>
                    </a:ext>
                  </a:extLst>
                </p:cNvPr>
                <p:cNvSpPr>
                  <a:spLocks noChangeAspect="1"/>
                </p:cNvSpPr>
                <p:nvPr/>
              </p:nvSpPr>
              <p:spPr>
                <a:xfrm>
                  <a:off x="6845668"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42" name="Oval 4541">
                  <a:extLst>
                    <a:ext uri="{FF2B5EF4-FFF2-40B4-BE49-F238E27FC236}">
                      <a16:creationId xmlns:a16="http://schemas.microsoft.com/office/drawing/2014/main" id="{89EF660E-E2D3-982C-5C0A-EC3FA38CBCD2}"/>
                    </a:ext>
                  </a:extLst>
                </p:cNvPr>
                <p:cNvSpPr>
                  <a:spLocks noChangeAspect="1"/>
                </p:cNvSpPr>
                <p:nvPr/>
              </p:nvSpPr>
              <p:spPr>
                <a:xfrm>
                  <a:off x="6700201"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43" name="Oval 4542">
                  <a:extLst>
                    <a:ext uri="{FF2B5EF4-FFF2-40B4-BE49-F238E27FC236}">
                      <a16:creationId xmlns:a16="http://schemas.microsoft.com/office/drawing/2014/main" id="{2B9E79BF-F501-8204-2762-32B81B8FE582}"/>
                    </a:ext>
                  </a:extLst>
                </p:cNvPr>
                <p:cNvSpPr>
                  <a:spLocks noChangeAspect="1"/>
                </p:cNvSpPr>
                <p:nvPr/>
              </p:nvSpPr>
              <p:spPr>
                <a:xfrm>
                  <a:off x="6536054"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44" name="Oval 4543">
                  <a:extLst>
                    <a:ext uri="{FF2B5EF4-FFF2-40B4-BE49-F238E27FC236}">
                      <a16:creationId xmlns:a16="http://schemas.microsoft.com/office/drawing/2014/main" id="{392AA646-28E0-7B54-37B8-9F344D110E2A}"/>
                    </a:ext>
                  </a:extLst>
                </p:cNvPr>
                <p:cNvSpPr>
                  <a:spLocks noChangeAspect="1"/>
                </p:cNvSpPr>
                <p:nvPr/>
              </p:nvSpPr>
              <p:spPr>
                <a:xfrm>
                  <a:off x="6380243" y="303800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45" name="Oval 4544">
                  <a:extLst>
                    <a:ext uri="{FF2B5EF4-FFF2-40B4-BE49-F238E27FC236}">
                      <a16:creationId xmlns:a16="http://schemas.microsoft.com/office/drawing/2014/main" id="{DC6A08E8-748E-7DAC-6597-5D9F6CBE5FDC}"/>
                    </a:ext>
                  </a:extLst>
                </p:cNvPr>
                <p:cNvSpPr>
                  <a:spLocks noChangeAspect="1"/>
                </p:cNvSpPr>
                <p:nvPr/>
              </p:nvSpPr>
              <p:spPr>
                <a:xfrm>
                  <a:off x="6234777"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46" name="Oval 4545">
                  <a:extLst>
                    <a:ext uri="{FF2B5EF4-FFF2-40B4-BE49-F238E27FC236}">
                      <a16:creationId xmlns:a16="http://schemas.microsoft.com/office/drawing/2014/main" id="{EDA3867F-DDF9-8B0A-9684-F05CBDFFAB7F}"/>
                    </a:ext>
                  </a:extLst>
                </p:cNvPr>
                <p:cNvSpPr>
                  <a:spLocks noChangeAspect="1"/>
                </p:cNvSpPr>
                <p:nvPr/>
              </p:nvSpPr>
              <p:spPr>
                <a:xfrm>
                  <a:off x="6089344"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47" name="Oval 4546">
                  <a:extLst>
                    <a:ext uri="{FF2B5EF4-FFF2-40B4-BE49-F238E27FC236}">
                      <a16:creationId xmlns:a16="http://schemas.microsoft.com/office/drawing/2014/main" id="{4876B57F-D756-892F-9081-C90F517D10A9}"/>
                    </a:ext>
                  </a:extLst>
                </p:cNvPr>
                <p:cNvSpPr>
                  <a:spLocks noChangeAspect="1"/>
                </p:cNvSpPr>
                <p:nvPr/>
              </p:nvSpPr>
              <p:spPr>
                <a:xfrm>
                  <a:off x="5929995"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48" name="Oval 4547">
                  <a:extLst>
                    <a:ext uri="{FF2B5EF4-FFF2-40B4-BE49-F238E27FC236}">
                      <a16:creationId xmlns:a16="http://schemas.microsoft.com/office/drawing/2014/main" id="{39F2A96A-A7C0-9B8F-1CD8-58225B8E121B}"/>
                    </a:ext>
                  </a:extLst>
                </p:cNvPr>
                <p:cNvSpPr>
                  <a:spLocks noChangeAspect="1"/>
                </p:cNvSpPr>
                <p:nvPr/>
              </p:nvSpPr>
              <p:spPr>
                <a:xfrm>
                  <a:off x="5769352"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49" name="Oval 4548">
                  <a:extLst>
                    <a:ext uri="{FF2B5EF4-FFF2-40B4-BE49-F238E27FC236}">
                      <a16:creationId xmlns:a16="http://schemas.microsoft.com/office/drawing/2014/main" id="{BB8CAA25-3E45-B049-606E-2208DF8DD054}"/>
                    </a:ext>
                  </a:extLst>
                </p:cNvPr>
                <p:cNvSpPr>
                  <a:spLocks noChangeAspect="1"/>
                </p:cNvSpPr>
                <p:nvPr/>
              </p:nvSpPr>
              <p:spPr>
                <a:xfrm>
                  <a:off x="5623919" y="303800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50" name="Oval 4549">
                  <a:extLst>
                    <a:ext uri="{FF2B5EF4-FFF2-40B4-BE49-F238E27FC236}">
                      <a16:creationId xmlns:a16="http://schemas.microsoft.com/office/drawing/2014/main" id="{91FAB6D7-8301-4346-9B1F-0A7B2BCB39B5}"/>
                    </a:ext>
                  </a:extLst>
                </p:cNvPr>
                <p:cNvSpPr>
                  <a:spLocks noChangeAspect="1"/>
                </p:cNvSpPr>
                <p:nvPr/>
              </p:nvSpPr>
              <p:spPr>
                <a:xfrm>
                  <a:off x="5478453"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51" name="Oval 4550">
                  <a:extLst>
                    <a:ext uri="{FF2B5EF4-FFF2-40B4-BE49-F238E27FC236}">
                      <a16:creationId xmlns:a16="http://schemas.microsoft.com/office/drawing/2014/main" id="{0ACD3B30-ADCF-ACEE-A378-7530D8864B5B}"/>
                    </a:ext>
                  </a:extLst>
                </p:cNvPr>
                <p:cNvSpPr>
                  <a:spLocks noChangeAspect="1"/>
                </p:cNvSpPr>
                <p:nvPr/>
              </p:nvSpPr>
              <p:spPr>
                <a:xfrm>
                  <a:off x="5333021"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52" name="Oval 4551">
                  <a:extLst>
                    <a:ext uri="{FF2B5EF4-FFF2-40B4-BE49-F238E27FC236}">
                      <a16:creationId xmlns:a16="http://schemas.microsoft.com/office/drawing/2014/main" id="{D2186084-9E3D-3B66-ACF6-8293CF91B01F}"/>
                    </a:ext>
                  </a:extLst>
                </p:cNvPr>
                <p:cNvSpPr>
                  <a:spLocks noChangeAspect="1"/>
                </p:cNvSpPr>
                <p:nvPr/>
              </p:nvSpPr>
              <p:spPr>
                <a:xfrm>
                  <a:off x="5158461"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53" name="Oval 4552">
                  <a:extLst>
                    <a:ext uri="{FF2B5EF4-FFF2-40B4-BE49-F238E27FC236}">
                      <a16:creationId xmlns:a16="http://schemas.microsoft.com/office/drawing/2014/main" id="{2C54A393-BA24-BE3D-607A-59C3C1733448}"/>
                    </a:ext>
                  </a:extLst>
                </p:cNvPr>
                <p:cNvSpPr>
                  <a:spLocks noChangeAspect="1"/>
                </p:cNvSpPr>
                <p:nvPr/>
              </p:nvSpPr>
              <p:spPr>
                <a:xfrm>
                  <a:off x="5013029" y="303800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54" name="Oval 4553">
                  <a:extLst>
                    <a:ext uri="{FF2B5EF4-FFF2-40B4-BE49-F238E27FC236}">
                      <a16:creationId xmlns:a16="http://schemas.microsoft.com/office/drawing/2014/main" id="{0A09D5B2-7DCB-22E7-AD16-4900AF495F96}"/>
                    </a:ext>
                  </a:extLst>
                </p:cNvPr>
                <p:cNvSpPr>
                  <a:spLocks noChangeAspect="1"/>
                </p:cNvSpPr>
                <p:nvPr/>
              </p:nvSpPr>
              <p:spPr>
                <a:xfrm>
                  <a:off x="4867596"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55" name="Oval 4554">
                  <a:extLst>
                    <a:ext uri="{FF2B5EF4-FFF2-40B4-BE49-F238E27FC236}">
                      <a16:creationId xmlns:a16="http://schemas.microsoft.com/office/drawing/2014/main" id="{C519EC8E-EC19-B7BD-3001-EF1359813DD2}"/>
                    </a:ext>
                  </a:extLst>
                </p:cNvPr>
                <p:cNvSpPr>
                  <a:spLocks noChangeAspect="1"/>
                </p:cNvSpPr>
                <p:nvPr/>
              </p:nvSpPr>
              <p:spPr>
                <a:xfrm>
                  <a:off x="4722130"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56" name="Oval 4555">
                  <a:extLst>
                    <a:ext uri="{FF2B5EF4-FFF2-40B4-BE49-F238E27FC236}">
                      <a16:creationId xmlns:a16="http://schemas.microsoft.com/office/drawing/2014/main" id="{CA628FD9-6924-8A12-2EE9-AF4C163BF47A}"/>
                    </a:ext>
                  </a:extLst>
                </p:cNvPr>
                <p:cNvSpPr>
                  <a:spLocks noChangeAspect="1"/>
                </p:cNvSpPr>
                <p:nvPr/>
              </p:nvSpPr>
              <p:spPr>
                <a:xfrm>
                  <a:off x="4557975"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57" name="Oval 4556">
                  <a:extLst>
                    <a:ext uri="{FF2B5EF4-FFF2-40B4-BE49-F238E27FC236}">
                      <a16:creationId xmlns:a16="http://schemas.microsoft.com/office/drawing/2014/main" id="{40278108-3DD5-0889-BB11-D29A80E6ED5C}"/>
                    </a:ext>
                  </a:extLst>
                </p:cNvPr>
                <p:cNvSpPr>
                  <a:spLocks noChangeAspect="1"/>
                </p:cNvSpPr>
                <p:nvPr/>
              </p:nvSpPr>
              <p:spPr>
                <a:xfrm>
                  <a:off x="4402155"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58" name="Oval 4557">
                  <a:extLst>
                    <a:ext uri="{FF2B5EF4-FFF2-40B4-BE49-F238E27FC236}">
                      <a16:creationId xmlns:a16="http://schemas.microsoft.com/office/drawing/2014/main" id="{EA124F12-ACCD-FCC6-0490-3A9BC3A9218E}"/>
                    </a:ext>
                  </a:extLst>
                </p:cNvPr>
                <p:cNvSpPr>
                  <a:spLocks noChangeAspect="1"/>
                </p:cNvSpPr>
                <p:nvPr/>
              </p:nvSpPr>
              <p:spPr>
                <a:xfrm>
                  <a:off x="4256705" y="303800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59" name="Oval 4558">
                  <a:extLst>
                    <a:ext uri="{FF2B5EF4-FFF2-40B4-BE49-F238E27FC236}">
                      <a16:creationId xmlns:a16="http://schemas.microsoft.com/office/drawing/2014/main" id="{FA10515F-520D-1C5F-CD9C-CADAC027040B}"/>
                    </a:ext>
                  </a:extLst>
                </p:cNvPr>
                <p:cNvSpPr>
                  <a:spLocks noChangeAspect="1"/>
                </p:cNvSpPr>
                <p:nvPr/>
              </p:nvSpPr>
              <p:spPr>
                <a:xfrm>
                  <a:off x="4111259"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60" name="Oval 4559">
                  <a:extLst>
                    <a:ext uri="{FF2B5EF4-FFF2-40B4-BE49-F238E27FC236}">
                      <a16:creationId xmlns:a16="http://schemas.microsoft.com/office/drawing/2014/main" id="{EA11D02B-4E02-93AA-5650-DA6A5B7FAE02}"/>
                    </a:ext>
                  </a:extLst>
                </p:cNvPr>
                <p:cNvSpPr>
                  <a:spLocks noChangeAspect="1"/>
                </p:cNvSpPr>
                <p:nvPr/>
              </p:nvSpPr>
              <p:spPr>
                <a:xfrm>
                  <a:off x="3965813"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61" name="Oval 4560">
                  <a:extLst>
                    <a:ext uri="{FF2B5EF4-FFF2-40B4-BE49-F238E27FC236}">
                      <a16:creationId xmlns:a16="http://schemas.microsoft.com/office/drawing/2014/main" id="{C4E85977-20B7-5756-925B-554F167E541F}"/>
                    </a:ext>
                  </a:extLst>
                </p:cNvPr>
                <p:cNvSpPr>
                  <a:spLocks noChangeAspect="1"/>
                </p:cNvSpPr>
                <p:nvPr/>
              </p:nvSpPr>
              <p:spPr>
                <a:xfrm>
                  <a:off x="3791277"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62" name="Oval 4561">
                  <a:extLst>
                    <a:ext uri="{FF2B5EF4-FFF2-40B4-BE49-F238E27FC236}">
                      <a16:creationId xmlns:a16="http://schemas.microsoft.com/office/drawing/2014/main" id="{4B781049-2455-FB56-A970-94249E9779D6}"/>
                    </a:ext>
                  </a:extLst>
                </p:cNvPr>
                <p:cNvSpPr>
                  <a:spLocks noChangeAspect="1"/>
                </p:cNvSpPr>
                <p:nvPr/>
              </p:nvSpPr>
              <p:spPr>
                <a:xfrm>
                  <a:off x="3645831" y="303800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63" name="Oval 4562">
                  <a:extLst>
                    <a:ext uri="{FF2B5EF4-FFF2-40B4-BE49-F238E27FC236}">
                      <a16:creationId xmlns:a16="http://schemas.microsoft.com/office/drawing/2014/main" id="{18543B25-3F0E-AEF3-FBA3-224A7E3A4F93}"/>
                    </a:ext>
                  </a:extLst>
                </p:cNvPr>
                <p:cNvSpPr>
                  <a:spLocks noChangeAspect="1"/>
                </p:cNvSpPr>
                <p:nvPr/>
              </p:nvSpPr>
              <p:spPr>
                <a:xfrm>
                  <a:off x="3500382"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64" name="Oval 4563">
                  <a:extLst>
                    <a:ext uri="{FF2B5EF4-FFF2-40B4-BE49-F238E27FC236}">
                      <a16:creationId xmlns:a16="http://schemas.microsoft.com/office/drawing/2014/main" id="{7E331FC5-F888-147B-8E8D-9C915AAF74BF}"/>
                    </a:ext>
                  </a:extLst>
                </p:cNvPr>
                <p:cNvSpPr>
                  <a:spLocks noChangeAspect="1"/>
                </p:cNvSpPr>
                <p:nvPr/>
              </p:nvSpPr>
              <p:spPr>
                <a:xfrm>
                  <a:off x="3354936"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65" name="Oval 4564">
                  <a:extLst>
                    <a:ext uri="{FF2B5EF4-FFF2-40B4-BE49-F238E27FC236}">
                      <a16:creationId xmlns:a16="http://schemas.microsoft.com/office/drawing/2014/main" id="{E025E5D9-CE41-8809-C6F1-5DE27D412C3B}"/>
                    </a:ext>
                  </a:extLst>
                </p:cNvPr>
                <p:cNvSpPr>
                  <a:spLocks noChangeAspect="1"/>
                </p:cNvSpPr>
                <p:nvPr/>
              </p:nvSpPr>
              <p:spPr>
                <a:xfrm>
                  <a:off x="3190774"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66" name="Oval 4565">
                  <a:extLst>
                    <a:ext uri="{FF2B5EF4-FFF2-40B4-BE49-F238E27FC236}">
                      <a16:creationId xmlns:a16="http://schemas.microsoft.com/office/drawing/2014/main" id="{06940E50-620E-63C3-CF46-9211CD978CB8}"/>
                    </a:ext>
                  </a:extLst>
                </p:cNvPr>
                <p:cNvSpPr>
                  <a:spLocks noChangeAspect="1"/>
                </p:cNvSpPr>
                <p:nvPr/>
              </p:nvSpPr>
              <p:spPr>
                <a:xfrm>
                  <a:off x="3034954" y="30338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67" name="Oval 4566">
                  <a:extLst>
                    <a:ext uri="{FF2B5EF4-FFF2-40B4-BE49-F238E27FC236}">
                      <a16:creationId xmlns:a16="http://schemas.microsoft.com/office/drawing/2014/main" id="{A3EF7BE4-5261-2E7C-5F00-AA58E7BAC69F}"/>
                    </a:ext>
                  </a:extLst>
                </p:cNvPr>
                <p:cNvSpPr>
                  <a:spLocks noChangeAspect="1"/>
                </p:cNvSpPr>
                <p:nvPr/>
              </p:nvSpPr>
              <p:spPr>
                <a:xfrm>
                  <a:off x="7142398" y="319384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68" name="Oval 4567">
                  <a:extLst>
                    <a:ext uri="{FF2B5EF4-FFF2-40B4-BE49-F238E27FC236}">
                      <a16:creationId xmlns:a16="http://schemas.microsoft.com/office/drawing/2014/main" id="{22B63D7B-60E4-8EC8-B7AE-0D539201A91F}"/>
                    </a:ext>
                  </a:extLst>
                </p:cNvPr>
                <p:cNvSpPr>
                  <a:spLocks noChangeAspect="1"/>
                </p:cNvSpPr>
                <p:nvPr/>
              </p:nvSpPr>
              <p:spPr>
                <a:xfrm>
                  <a:off x="6700201" y="317931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69" name="Oval 4568">
                  <a:extLst>
                    <a:ext uri="{FF2B5EF4-FFF2-40B4-BE49-F238E27FC236}">
                      <a16:creationId xmlns:a16="http://schemas.microsoft.com/office/drawing/2014/main" id="{22C20B6F-D18F-442F-5ED1-F99B2DF1BA1F}"/>
                    </a:ext>
                  </a:extLst>
                </p:cNvPr>
                <p:cNvSpPr>
                  <a:spLocks noChangeAspect="1"/>
                </p:cNvSpPr>
                <p:nvPr/>
              </p:nvSpPr>
              <p:spPr>
                <a:xfrm>
                  <a:off x="6531510" y="318457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70" name="Oval 4569">
                  <a:extLst>
                    <a:ext uri="{FF2B5EF4-FFF2-40B4-BE49-F238E27FC236}">
                      <a16:creationId xmlns:a16="http://schemas.microsoft.com/office/drawing/2014/main" id="{F9589FEA-4A1F-CC20-F854-F285ECBFC954}"/>
                    </a:ext>
                  </a:extLst>
                </p:cNvPr>
                <p:cNvSpPr>
                  <a:spLocks noChangeAspect="1"/>
                </p:cNvSpPr>
                <p:nvPr/>
              </p:nvSpPr>
              <p:spPr>
                <a:xfrm>
                  <a:off x="5775206" y="319384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71" name="Oval 4570">
                  <a:extLst>
                    <a:ext uri="{FF2B5EF4-FFF2-40B4-BE49-F238E27FC236}">
                      <a16:creationId xmlns:a16="http://schemas.microsoft.com/office/drawing/2014/main" id="{30FD9377-AC5B-32B3-9CA7-E08D3B340682}"/>
                    </a:ext>
                  </a:extLst>
                </p:cNvPr>
                <p:cNvSpPr>
                  <a:spLocks noChangeAspect="1"/>
                </p:cNvSpPr>
                <p:nvPr/>
              </p:nvSpPr>
              <p:spPr>
                <a:xfrm>
                  <a:off x="4408000" y="319384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72" name="Oval 4571">
                  <a:extLst>
                    <a:ext uri="{FF2B5EF4-FFF2-40B4-BE49-F238E27FC236}">
                      <a16:creationId xmlns:a16="http://schemas.microsoft.com/office/drawing/2014/main" id="{457036D7-3325-09AE-28B4-1570DA7CF905}"/>
                    </a:ext>
                  </a:extLst>
                </p:cNvPr>
                <p:cNvSpPr>
                  <a:spLocks noChangeAspect="1"/>
                </p:cNvSpPr>
                <p:nvPr/>
              </p:nvSpPr>
              <p:spPr>
                <a:xfrm>
                  <a:off x="4111259" y="317931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73" name="Oval 4572">
                  <a:extLst>
                    <a:ext uri="{FF2B5EF4-FFF2-40B4-BE49-F238E27FC236}">
                      <a16:creationId xmlns:a16="http://schemas.microsoft.com/office/drawing/2014/main" id="{43C3E815-D4C6-119B-0A3C-A0F999ABB9F3}"/>
                    </a:ext>
                  </a:extLst>
                </p:cNvPr>
                <p:cNvSpPr>
                  <a:spLocks noChangeAspect="1"/>
                </p:cNvSpPr>
                <p:nvPr/>
              </p:nvSpPr>
              <p:spPr>
                <a:xfrm>
                  <a:off x="3797123" y="319384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74" name="Oval 4573">
                  <a:extLst>
                    <a:ext uri="{FF2B5EF4-FFF2-40B4-BE49-F238E27FC236}">
                      <a16:creationId xmlns:a16="http://schemas.microsoft.com/office/drawing/2014/main" id="{689F6301-E818-D6AA-7C23-705452A55587}"/>
                    </a:ext>
                  </a:extLst>
                </p:cNvPr>
                <p:cNvSpPr>
                  <a:spLocks noChangeAspect="1"/>
                </p:cNvSpPr>
                <p:nvPr/>
              </p:nvSpPr>
              <p:spPr>
                <a:xfrm>
                  <a:off x="3645831" y="318329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75" name="Oval 4574">
                  <a:extLst>
                    <a:ext uri="{FF2B5EF4-FFF2-40B4-BE49-F238E27FC236}">
                      <a16:creationId xmlns:a16="http://schemas.microsoft.com/office/drawing/2014/main" id="{89626037-7875-E708-AB87-D7479DF56DD4}"/>
                    </a:ext>
                  </a:extLst>
                </p:cNvPr>
                <p:cNvSpPr>
                  <a:spLocks noChangeAspect="1"/>
                </p:cNvSpPr>
                <p:nvPr/>
              </p:nvSpPr>
              <p:spPr>
                <a:xfrm>
                  <a:off x="8212544" y="317931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76" name="Oval 4575">
                  <a:extLst>
                    <a:ext uri="{FF2B5EF4-FFF2-40B4-BE49-F238E27FC236}">
                      <a16:creationId xmlns:a16="http://schemas.microsoft.com/office/drawing/2014/main" id="{0196C224-1554-7B58-C3E8-08065A79F2D9}"/>
                    </a:ext>
                  </a:extLst>
                </p:cNvPr>
                <p:cNvSpPr>
                  <a:spLocks noChangeAspect="1"/>
                </p:cNvSpPr>
                <p:nvPr/>
              </p:nvSpPr>
              <p:spPr>
                <a:xfrm>
                  <a:off x="7899512" y="317931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77" name="Oval 4576">
                  <a:extLst>
                    <a:ext uri="{FF2B5EF4-FFF2-40B4-BE49-F238E27FC236}">
                      <a16:creationId xmlns:a16="http://schemas.microsoft.com/office/drawing/2014/main" id="{89E23ECC-8B7F-87D9-15DB-5866EC732720}"/>
                    </a:ext>
                  </a:extLst>
                </p:cNvPr>
                <p:cNvSpPr>
                  <a:spLocks noChangeAspect="1"/>
                </p:cNvSpPr>
                <p:nvPr/>
              </p:nvSpPr>
              <p:spPr>
                <a:xfrm>
                  <a:off x="7456221" y="317931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78" name="Oval 4577">
                  <a:extLst>
                    <a:ext uri="{FF2B5EF4-FFF2-40B4-BE49-F238E27FC236}">
                      <a16:creationId xmlns:a16="http://schemas.microsoft.com/office/drawing/2014/main" id="{AF9465B8-C10C-F0AC-CCE1-008C4B4A3223}"/>
                    </a:ext>
                  </a:extLst>
                </p:cNvPr>
                <p:cNvSpPr>
                  <a:spLocks noChangeAspect="1"/>
                </p:cNvSpPr>
                <p:nvPr/>
              </p:nvSpPr>
              <p:spPr>
                <a:xfrm>
                  <a:off x="7297191" y="317931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79" name="Oval 4578">
                  <a:extLst>
                    <a:ext uri="{FF2B5EF4-FFF2-40B4-BE49-F238E27FC236}">
                      <a16:creationId xmlns:a16="http://schemas.microsoft.com/office/drawing/2014/main" id="{733BF259-96C9-F01D-AE71-01DDA99775F7}"/>
                    </a:ext>
                  </a:extLst>
                </p:cNvPr>
                <p:cNvSpPr>
                  <a:spLocks noChangeAspect="1"/>
                </p:cNvSpPr>
                <p:nvPr/>
              </p:nvSpPr>
              <p:spPr>
                <a:xfrm>
                  <a:off x="6991100" y="317973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80" name="Oval 4579">
                  <a:extLst>
                    <a:ext uri="{FF2B5EF4-FFF2-40B4-BE49-F238E27FC236}">
                      <a16:creationId xmlns:a16="http://schemas.microsoft.com/office/drawing/2014/main" id="{8C9C784D-D17B-6647-2923-E1528185DF8E}"/>
                    </a:ext>
                  </a:extLst>
                </p:cNvPr>
                <p:cNvSpPr>
                  <a:spLocks noChangeAspect="1"/>
                </p:cNvSpPr>
                <p:nvPr/>
              </p:nvSpPr>
              <p:spPr>
                <a:xfrm>
                  <a:off x="6845353" y="317931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81" name="Oval 4580">
                  <a:extLst>
                    <a:ext uri="{FF2B5EF4-FFF2-40B4-BE49-F238E27FC236}">
                      <a16:creationId xmlns:a16="http://schemas.microsoft.com/office/drawing/2014/main" id="{E19F9562-1F0B-6E9E-A587-BB9FCAA9C5A4}"/>
                    </a:ext>
                  </a:extLst>
                </p:cNvPr>
                <p:cNvSpPr>
                  <a:spLocks noChangeAspect="1"/>
                </p:cNvSpPr>
                <p:nvPr/>
              </p:nvSpPr>
              <p:spPr>
                <a:xfrm>
                  <a:off x="6382441" y="318158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82" name="Oval 4581">
                  <a:extLst>
                    <a:ext uri="{FF2B5EF4-FFF2-40B4-BE49-F238E27FC236}">
                      <a16:creationId xmlns:a16="http://schemas.microsoft.com/office/drawing/2014/main" id="{BBD2E419-3512-45B5-9FA1-5BE27F29218C}"/>
                    </a:ext>
                  </a:extLst>
                </p:cNvPr>
                <p:cNvSpPr>
                  <a:spLocks noChangeAspect="1"/>
                </p:cNvSpPr>
                <p:nvPr/>
              </p:nvSpPr>
              <p:spPr>
                <a:xfrm>
                  <a:off x="6234472" y="317931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83" name="Oval 4582">
                  <a:extLst>
                    <a:ext uri="{FF2B5EF4-FFF2-40B4-BE49-F238E27FC236}">
                      <a16:creationId xmlns:a16="http://schemas.microsoft.com/office/drawing/2014/main" id="{B1CDE491-47B7-42F3-3F3B-57ACA05E9EA4}"/>
                    </a:ext>
                  </a:extLst>
                </p:cNvPr>
                <p:cNvSpPr>
                  <a:spLocks noChangeAspect="1"/>
                </p:cNvSpPr>
                <p:nvPr/>
              </p:nvSpPr>
              <p:spPr>
                <a:xfrm>
                  <a:off x="6089029" y="317931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84" name="Oval 4583">
                  <a:extLst>
                    <a:ext uri="{FF2B5EF4-FFF2-40B4-BE49-F238E27FC236}">
                      <a16:creationId xmlns:a16="http://schemas.microsoft.com/office/drawing/2014/main" id="{E37232A6-7745-52B1-51CF-B9D3CD280336}"/>
                    </a:ext>
                  </a:extLst>
                </p:cNvPr>
                <p:cNvSpPr>
                  <a:spLocks noChangeAspect="1"/>
                </p:cNvSpPr>
                <p:nvPr/>
              </p:nvSpPr>
              <p:spPr>
                <a:xfrm>
                  <a:off x="5932113" y="317931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85" name="Oval 4584">
                  <a:extLst>
                    <a:ext uri="{FF2B5EF4-FFF2-40B4-BE49-F238E27FC236}">
                      <a16:creationId xmlns:a16="http://schemas.microsoft.com/office/drawing/2014/main" id="{8D1E9C44-6591-BCE9-0BDB-02C15AB42219}"/>
                    </a:ext>
                  </a:extLst>
                </p:cNvPr>
                <p:cNvSpPr>
                  <a:spLocks noChangeAspect="1"/>
                </p:cNvSpPr>
                <p:nvPr/>
              </p:nvSpPr>
              <p:spPr>
                <a:xfrm>
                  <a:off x="5623919" y="317973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86" name="Oval 4585">
                  <a:extLst>
                    <a:ext uri="{FF2B5EF4-FFF2-40B4-BE49-F238E27FC236}">
                      <a16:creationId xmlns:a16="http://schemas.microsoft.com/office/drawing/2014/main" id="{DF7B0C6D-EFC2-05B0-E432-6B51A10F6950}"/>
                    </a:ext>
                  </a:extLst>
                </p:cNvPr>
                <p:cNvSpPr>
                  <a:spLocks noChangeAspect="1"/>
                </p:cNvSpPr>
                <p:nvPr/>
              </p:nvSpPr>
              <p:spPr>
                <a:xfrm>
                  <a:off x="5478149" y="317931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87" name="Oval 4586">
                  <a:extLst>
                    <a:ext uri="{FF2B5EF4-FFF2-40B4-BE49-F238E27FC236}">
                      <a16:creationId xmlns:a16="http://schemas.microsoft.com/office/drawing/2014/main" id="{A14C83B6-74E2-A20E-5307-339B7166547E}"/>
                    </a:ext>
                  </a:extLst>
                </p:cNvPr>
                <p:cNvSpPr>
                  <a:spLocks noChangeAspect="1"/>
                </p:cNvSpPr>
                <p:nvPr/>
              </p:nvSpPr>
              <p:spPr>
                <a:xfrm>
                  <a:off x="5332706" y="317931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88" name="Oval 4587">
                  <a:extLst>
                    <a:ext uri="{FF2B5EF4-FFF2-40B4-BE49-F238E27FC236}">
                      <a16:creationId xmlns:a16="http://schemas.microsoft.com/office/drawing/2014/main" id="{B5F437F0-1C51-4E60-9089-A14ECD0B7402}"/>
                    </a:ext>
                  </a:extLst>
                </p:cNvPr>
                <p:cNvSpPr>
                  <a:spLocks noChangeAspect="1"/>
                </p:cNvSpPr>
                <p:nvPr/>
              </p:nvSpPr>
              <p:spPr>
                <a:xfrm>
                  <a:off x="5167225" y="317931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89" name="Oval 4588">
                  <a:extLst>
                    <a:ext uri="{FF2B5EF4-FFF2-40B4-BE49-F238E27FC236}">
                      <a16:creationId xmlns:a16="http://schemas.microsoft.com/office/drawing/2014/main" id="{5AFE29D4-62BE-F945-7E29-D2117ED2B7C8}"/>
                    </a:ext>
                  </a:extLst>
                </p:cNvPr>
                <p:cNvSpPr>
                  <a:spLocks noChangeAspect="1"/>
                </p:cNvSpPr>
                <p:nvPr/>
              </p:nvSpPr>
              <p:spPr>
                <a:xfrm>
                  <a:off x="5015227" y="318158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90" name="Oval 4589">
                  <a:extLst>
                    <a:ext uri="{FF2B5EF4-FFF2-40B4-BE49-F238E27FC236}">
                      <a16:creationId xmlns:a16="http://schemas.microsoft.com/office/drawing/2014/main" id="{7AAC7704-06B6-0B5A-0B6A-321156BC8B1F}"/>
                    </a:ext>
                  </a:extLst>
                </p:cNvPr>
                <p:cNvSpPr>
                  <a:spLocks noChangeAspect="1"/>
                </p:cNvSpPr>
                <p:nvPr/>
              </p:nvSpPr>
              <p:spPr>
                <a:xfrm>
                  <a:off x="4867281" y="317931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91" name="Oval 4590">
                  <a:extLst>
                    <a:ext uri="{FF2B5EF4-FFF2-40B4-BE49-F238E27FC236}">
                      <a16:creationId xmlns:a16="http://schemas.microsoft.com/office/drawing/2014/main" id="{4B647766-7856-2FFA-BF8A-2E15CACD1442}"/>
                    </a:ext>
                  </a:extLst>
                </p:cNvPr>
                <p:cNvSpPr>
                  <a:spLocks noChangeAspect="1"/>
                </p:cNvSpPr>
                <p:nvPr/>
              </p:nvSpPr>
              <p:spPr>
                <a:xfrm>
                  <a:off x="4721826" y="317931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92" name="Oval 4591">
                  <a:extLst>
                    <a:ext uri="{FF2B5EF4-FFF2-40B4-BE49-F238E27FC236}">
                      <a16:creationId xmlns:a16="http://schemas.microsoft.com/office/drawing/2014/main" id="{22F3D541-0A05-E0E4-1E94-5D8064DEAD50}"/>
                    </a:ext>
                  </a:extLst>
                </p:cNvPr>
                <p:cNvSpPr>
                  <a:spLocks noChangeAspect="1"/>
                </p:cNvSpPr>
                <p:nvPr/>
              </p:nvSpPr>
              <p:spPr>
                <a:xfrm>
                  <a:off x="4556349" y="317931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93" name="Oval 4592">
                  <a:extLst>
                    <a:ext uri="{FF2B5EF4-FFF2-40B4-BE49-F238E27FC236}">
                      <a16:creationId xmlns:a16="http://schemas.microsoft.com/office/drawing/2014/main" id="{B396BE02-E058-F2DE-ED0A-3298ABBA23A9}"/>
                    </a:ext>
                  </a:extLst>
                </p:cNvPr>
                <p:cNvSpPr>
                  <a:spLocks noChangeAspect="1"/>
                </p:cNvSpPr>
                <p:nvPr/>
              </p:nvSpPr>
              <p:spPr>
                <a:xfrm>
                  <a:off x="4256705" y="317973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94" name="Oval 4593">
                  <a:extLst>
                    <a:ext uri="{FF2B5EF4-FFF2-40B4-BE49-F238E27FC236}">
                      <a16:creationId xmlns:a16="http://schemas.microsoft.com/office/drawing/2014/main" id="{F73C8CC5-E406-0370-0409-C55BDFAE094B}"/>
                    </a:ext>
                  </a:extLst>
                </p:cNvPr>
                <p:cNvSpPr>
                  <a:spLocks noChangeAspect="1"/>
                </p:cNvSpPr>
                <p:nvPr/>
              </p:nvSpPr>
              <p:spPr>
                <a:xfrm>
                  <a:off x="3951912" y="317931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95" name="Oval 4594">
                  <a:extLst>
                    <a:ext uri="{FF2B5EF4-FFF2-40B4-BE49-F238E27FC236}">
                      <a16:creationId xmlns:a16="http://schemas.microsoft.com/office/drawing/2014/main" id="{70378EA6-926E-5583-C7E5-98F659AB7E3B}"/>
                    </a:ext>
                  </a:extLst>
                </p:cNvPr>
                <p:cNvSpPr>
                  <a:spLocks noChangeAspect="1"/>
                </p:cNvSpPr>
                <p:nvPr/>
              </p:nvSpPr>
              <p:spPr>
                <a:xfrm>
                  <a:off x="3500074" y="317931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96" name="Oval 4595">
                  <a:extLst>
                    <a:ext uri="{FF2B5EF4-FFF2-40B4-BE49-F238E27FC236}">
                      <a16:creationId xmlns:a16="http://schemas.microsoft.com/office/drawing/2014/main" id="{CB8D2BDF-59CF-E76B-3BFA-B283FE249BB4}"/>
                    </a:ext>
                  </a:extLst>
                </p:cNvPr>
                <p:cNvSpPr>
                  <a:spLocks noChangeAspect="1"/>
                </p:cNvSpPr>
                <p:nvPr/>
              </p:nvSpPr>
              <p:spPr>
                <a:xfrm>
                  <a:off x="3354627" y="317931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97" name="Oval 4596">
                  <a:extLst>
                    <a:ext uri="{FF2B5EF4-FFF2-40B4-BE49-F238E27FC236}">
                      <a16:creationId xmlns:a16="http://schemas.microsoft.com/office/drawing/2014/main" id="{2AE9546F-FFA5-05F9-EA69-79CF1E775469}"/>
                    </a:ext>
                  </a:extLst>
                </p:cNvPr>
                <p:cNvSpPr>
                  <a:spLocks noChangeAspect="1"/>
                </p:cNvSpPr>
                <p:nvPr/>
              </p:nvSpPr>
              <p:spPr>
                <a:xfrm>
                  <a:off x="3189152" y="317931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98" name="Oval 4597">
                  <a:extLst>
                    <a:ext uri="{FF2B5EF4-FFF2-40B4-BE49-F238E27FC236}">
                      <a16:creationId xmlns:a16="http://schemas.microsoft.com/office/drawing/2014/main" id="{40A09B37-2906-20E8-14A6-80868D3AE5E5}"/>
                    </a:ext>
                  </a:extLst>
                </p:cNvPr>
                <p:cNvSpPr>
                  <a:spLocks noChangeAspect="1"/>
                </p:cNvSpPr>
                <p:nvPr/>
              </p:nvSpPr>
              <p:spPr>
                <a:xfrm>
                  <a:off x="3040471" y="318628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99" name="Oval 4598">
                  <a:extLst>
                    <a:ext uri="{FF2B5EF4-FFF2-40B4-BE49-F238E27FC236}">
                      <a16:creationId xmlns:a16="http://schemas.microsoft.com/office/drawing/2014/main" id="{23EAFB73-094D-6B36-09A0-D54471F48861}"/>
                    </a:ext>
                  </a:extLst>
                </p:cNvPr>
                <p:cNvSpPr>
                  <a:spLocks noChangeAspect="1"/>
                </p:cNvSpPr>
                <p:nvPr/>
              </p:nvSpPr>
              <p:spPr>
                <a:xfrm>
                  <a:off x="8212672" y="332475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00" name="Oval 4599">
                  <a:extLst>
                    <a:ext uri="{FF2B5EF4-FFF2-40B4-BE49-F238E27FC236}">
                      <a16:creationId xmlns:a16="http://schemas.microsoft.com/office/drawing/2014/main" id="{FC6D9C63-DC5F-9147-10E3-C2536BC16F28}"/>
                    </a:ext>
                  </a:extLst>
                </p:cNvPr>
                <p:cNvSpPr>
                  <a:spLocks noChangeAspect="1"/>
                </p:cNvSpPr>
                <p:nvPr/>
              </p:nvSpPr>
              <p:spPr>
                <a:xfrm>
                  <a:off x="7287527" y="333173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01" name="Oval 4600">
                  <a:extLst>
                    <a:ext uri="{FF2B5EF4-FFF2-40B4-BE49-F238E27FC236}">
                      <a16:creationId xmlns:a16="http://schemas.microsoft.com/office/drawing/2014/main" id="{F13B5970-B6E0-7A8E-D30F-EF43FBA8ECA6}"/>
                    </a:ext>
                  </a:extLst>
                </p:cNvPr>
                <p:cNvSpPr>
                  <a:spLocks noChangeAspect="1"/>
                </p:cNvSpPr>
                <p:nvPr/>
              </p:nvSpPr>
              <p:spPr>
                <a:xfrm>
                  <a:off x="7142073" y="333173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02" name="Oval 4601">
                  <a:extLst>
                    <a:ext uri="{FF2B5EF4-FFF2-40B4-BE49-F238E27FC236}">
                      <a16:creationId xmlns:a16="http://schemas.microsoft.com/office/drawing/2014/main" id="{E6E8DD0A-7D62-2E68-74E4-BA08C80D13B7}"/>
                    </a:ext>
                  </a:extLst>
                </p:cNvPr>
                <p:cNvSpPr>
                  <a:spLocks noChangeAspect="1"/>
                </p:cNvSpPr>
                <p:nvPr/>
              </p:nvSpPr>
              <p:spPr>
                <a:xfrm>
                  <a:off x="6996628" y="333173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03" name="Oval 4602">
                  <a:extLst>
                    <a:ext uri="{FF2B5EF4-FFF2-40B4-BE49-F238E27FC236}">
                      <a16:creationId xmlns:a16="http://schemas.microsoft.com/office/drawing/2014/main" id="{75804993-205B-BADE-9074-A50FEDD2F868}"/>
                    </a:ext>
                  </a:extLst>
                </p:cNvPr>
                <p:cNvSpPr>
                  <a:spLocks noChangeAspect="1"/>
                </p:cNvSpPr>
                <p:nvPr/>
              </p:nvSpPr>
              <p:spPr>
                <a:xfrm>
                  <a:off x="6845668" y="332475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04" name="Oval 4603">
                  <a:extLst>
                    <a:ext uri="{FF2B5EF4-FFF2-40B4-BE49-F238E27FC236}">
                      <a16:creationId xmlns:a16="http://schemas.microsoft.com/office/drawing/2014/main" id="{DC835D3F-132F-F000-BE6F-8B6D8F15F7D0}"/>
                    </a:ext>
                  </a:extLst>
                </p:cNvPr>
                <p:cNvSpPr>
                  <a:spLocks noChangeAspect="1"/>
                </p:cNvSpPr>
                <p:nvPr/>
              </p:nvSpPr>
              <p:spPr>
                <a:xfrm>
                  <a:off x="6700201" y="332475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05" name="Oval 4604">
                  <a:extLst>
                    <a:ext uri="{FF2B5EF4-FFF2-40B4-BE49-F238E27FC236}">
                      <a16:creationId xmlns:a16="http://schemas.microsoft.com/office/drawing/2014/main" id="{23D7B2B5-EC81-E859-F394-6071B262BD77}"/>
                    </a:ext>
                  </a:extLst>
                </p:cNvPr>
                <p:cNvSpPr>
                  <a:spLocks noChangeAspect="1"/>
                </p:cNvSpPr>
                <p:nvPr/>
              </p:nvSpPr>
              <p:spPr>
                <a:xfrm>
                  <a:off x="6531204" y="333173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06" name="Oval 4605">
                  <a:extLst>
                    <a:ext uri="{FF2B5EF4-FFF2-40B4-BE49-F238E27FC236}">
                      <a16:creationId xmlns:a16="http://schemas.microsoft.com/office/drawing/2014/main" id="{60075C71-B4D7-5A54-7887-6F82480837A1}"/>
                    </a:ext>
                  </a:extLst>
                </p:cNvPr>
                <p:cNvSpPr>
                  <a:spLocks noChangeAspect="1"/>
                </p:cNvSpPr>
                <p:nvPr/>
              </p:nvSpPr>
              <p:spPr>
                <a:xfrm>
                  <a:off x="6385750" y="333173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07" name="Oval 4606">
                  <a:extLst>
                    <a:ext uri="{FF2B5EF4-FFF2-40B4-BE49-F238E27FC236}">
                      <a16:creationId xmlns:a16="http://schemas.microsoft.com/office/drawing/2014/main" id="{D5FCCD92-9883-32B3-1B83-501909B267C1}"/>
                    </a:ext>
                  </a:extLst>
                </p:cNvPr>
                <p:cNvSpPr>
                  <a:spLocks noChangeAspect="1"/>
                </p:cNvSpPr>
                <p:nvPr/>
              </p:nvSpPr>
              <p:spPr>
                <a:xfrm>
                  <a:off x="6234601" y="332475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08" name="Oval 4607">
                  <a:extLst>
                    <a:ext uri="{FF2B5EF4-FFF2-40B4-BE49-F238E27FC236}">
                      <a16:creationId xmlns:a16="http://schemas.microsoft.com/office/drawing/2014/main" id="{823B7760-3B55-D41A-0F12-30D8C8B4529F}"/>
                    </a:ext>
                  </a:extLst>
                </p:cNvPr>
                <p:cNvSpPr>
                  <a:spLocks noChangeAspect="1"/>
                </p:cNvSpPr>
                <p:nvPr/>
              </p:nvSpPr>
              <p:spPr>
                <a:xfrm>
                  <a:off x="6089344" y="332475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09" name="Oval 4608">
                  <a:extLst>
                    <a:ext uri="{FF2B5EF4-FFF2-40B4-BE49-F238E27FC236}">
                      <a16:creationId xmlns:a16="http://schemas.microsoft.com/office/drawing/2014/main" id="{6018CC48-59ED-603E-2D92-8653889B3F41}"/>
                    </a:ext>
                  </a:extLst>
                </p:cNvPr>
                <p:cNvSpPr>
                  <a:spLocks noChangeAspect="1"/>
                </p:cNvSpPr>
                <p:nvPr/>
              </p:nvSpPr>
              <p:spPr>
                <a:xfrm>
                  <a:off x="5932113" y="333173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10" name="Oval 4609">
                  <a:extLst>
                    <a:ext uri="{FF2B5EF4-FFF2-40B4-BE49-F238E27FC236}">
                      <a16:creationId xmlns:a16="http://schemas.microsoft.com/office/drawing/2014/main" id="{6EE77866-3F9C-E964-54AB-E67FB49CB410}"/>
                    </a:ext>
                  </a:extLst>
                </p:cNvPr>
                <p:cNvSpPr>
                  <a:spLocks noChangeAspect="1"/>
                </p:cNvSpPr>
                <p:nvPr/>
              </p:nvSpPr>
              <p:spPr>
                <a:xfrm>
                  <a:off x="5774880" y="333173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11" name="Oval 4610">
                  <a:extLst>
                    <a:ext uri="{FF2B5EF4-FFF2-40B4-BE49-F238E27FC236}">
                      <a16:creationId xmlns:a16="http://schemas.microsoft.com/office/drawing/2014/main" id="{10B05939-C1BA-E014-F28C-DC3A563F828C}"/>
                    </a:ext>
                  </a:extLst>
                </p:cNvPr>
                <p:cNvSpPr>
                  <a:spLocks noChangeAspect="1"/>
                </p:cNvSpPr>
                <p:nvPr/>
              </p:nvSpPr>
              <p:spPr>
                <a:xfrm>
                  <a:off x="5622884" y="332928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12" name="Oval 4611">
                  <a:extLst>
                    <a:ext uri="{FF2B5EF4-FFF2-40B4-BE49-F238E27FC236}">
                      <a16:creationId xmlns:a16="http://schemas.microsoft.com/office/drawing/2014/main" id="{DB55FA12-D248-45B1-1C83-167C413ED03B}"/>
                    </a:ext>
                  </a:extLst>
                </p:cNvPr>
                <p:cNvSpPr>
                  <a:spLocks noChangeAspect="1"/>
                </p:cNvSpPr>
                <p:nvPr/>
              </p:nvSpPr>
              <p:spPr>
                <a:xfrm>
                  <a:off x="5478453" y="332475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13" name="Oval 4612">
                  <a:extLst>
                    <a:ext uri="{FF2B5EF4-FFF2-40B4-BE49-F238E27FC236}">
                      <a16:creationId xmlns:a16="http://schemas.microsoft.com/office/drawing/2014/main" id="{9A3565CB-35FA-5EBF-4597-4CCB435D29D0}"/>
                    </a:ext>
                  </a:extLst>
                </p:cNvPr>
                <p:cNvSpPr>
                  <a:spLocks noChangeAspect="1"/>
                </p:cNvSpPr>
                <p:nvPr/>
              </p:nvSpPr>
              <p:spPr>
                <a:xfrm>
                  <a:off x="5333021" y="333060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14" name="Oval 4613">
                  <a:extLst>
                    <a:ext uri="{FF2B5EF4-FFF2-40B4-BE49-F238E27FC236}">
                      <a16:creationId xmlns:a16="http://schemas.microsoft.com/office/drawing/2014/main" id="{CFC43DAD-8272-D246-A155-DB328F9538AD}"/>
                    </a:ext>
                  </a:extLst>
                </p:cNvPr>
                <p:cNvSpPr>
                  <a:spLocks noChangeAspect="1"/>
                </p:cNvSpPr>
                <p:nvPr/>
              </p:nvSpPr>
              <p:spPr>
                <a:xfrm>
                  <a:off x="5164001" y="333173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15" name="Oval 4614">
                  <a:extLst>
                    <a:ext uri="{FF2B5EF4-FFF2-40B4-BE49-F238E27FC236}">
                      <a16:creationId xmlns:a16="http://schemas.microsoft.com/office/drawing/2014/main" id="{71F13BD6-5E90-E1D0-4C1E-8FE9DA207473}"/>
                    </a:ext>
                  </a:extLst>
                </p:cNvPr>
                <p:cNvSpPr>
                  <a:spLocks noChangeAspect="1"/>
                </p:cNvSpPr>
                <p:nvPr/>
              </p:nvSpPr>
              <p:spPr>
                <a:xfrm>
                  <a:off x="5018557" y="333173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16" name="Oval 4615">
                  <a:extLst>
                    <a:ext uri="{FF2B5EF4-FFF2-40B4-BE49-F238E27FC236}">
                      <a16:creationId xmlns:a16="http://schemas.microsoft.com/office/drawing/2014/main" id="{4AB2E563-44B1-630B-582E-1CA892EE063C}"/>
                    </a:ext>
                  </a:extLst>
                </p:cNvPr>
                <p:cNvSpPr>
                  <a:spLocks noChangeAspect="1"/>
                </p:cNvSpPr>
                <p:nvPr/>
              </p:nvSpPr>
              <p:spPr>
                <a:xfrm>
                  <a:off x="4867401" y="332475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17" name="Oval 4616">
                  <a:extLst>
                    <a:ext uri="{FF2B5EF4-FFF2-40B4-BE49-F238E27FC236}">
                      <a16:creationId xmlns:a16="http://schemas.microsoft.com/office/drawing/2014/main" id="{6CA92CC2-6B3C-D6C2-F5C2-062F75356BCA}"/>
                    </a:ext>
                  </a:extLst>
                </p:cNvPr>
                <p:cNvSpPr>
                  <a:spLocks noChangeAspect="1"/>
                </p:cNvSpPr>
                <p:nvPr/>
              </p:nvSpPr>
              <p:spPr>
                <a:xfrm>
                  <a:off x="4722130" y="332475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18" name="Oval 4617">
                  <a:extLst>
                    <a:ext uri="{FF2B5EF4-FFF2-40B4-BE49-F238E27FC236}">
                      <a16:creationId xmlns:a16="http://schemas.microsoft.com/office/drawing/2014/main" id="{2365F38A-E5D4-4DF1-3C52-9AD90722C820}"/>
                    </a:ext>
                  </a:extLst>
                </p:cNvPr>
                <p:cNvSpPr>
                  <a:spLocks noChangeAspect="1"/>
                </p:cNvSpPr>
                <p:nvPr/>
              </p:nvSpPr>
              <p:spPr>
                <a:xfrm>
                  <a:off x="4553118" y="333173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19" name="Oval 4618">
                  <a:extLst>
                    <a:ext uri="{FF2B5EF4-FFF2-40B4-BE49-F238E27FC236}">
                      <a16:creationId xmlns:a16="http://schemas.microsoft.com/office/drawing/2014/main" id="{9E0BDD70-EFA3-1344-6CB3-6131BC96D287}"/>
                    </a:ext>
                  </a:extLst>
                </p:cNvPr>
                <p:cNvSpPr>
                  <a:spLocks noChangeAspect="1"/>
                </p:cNvSpPr>
                <p:nvPr/>
              </p:nvSpPr>
              <p:spPr>
                <a:xfrm>
                  <a:off x="4407672" y="333173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20" name="Oval 4619">
                  <a:extLst>
                    <a:ext uri="{FF2B5EF4-FFF2-40B4-BE49-F238E27FC236}">
                      <a16:creationId xmlns:a16="http://schemas.microsoft.com/office/drawing/2014/main" id="{1D9236B5-41F3-587F-E7FC-C324A6DADF15}"/>
                    </a:ext>
                  </a:extLst>
                </p:cNvPr>
                <p:cNvSpPr>
                  <a:spLocks noChangeAspect="1"/>
                </p:cNvSpPr>
                <p:nvPr/>
              </p:nvSpPr>
              <p:spPr>
                <a:xfrm>
                  <a:off x="4263884" y="332475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21" name="Oval 4620">
                  <a:extLst>
                    <a:ext uri="{FF2B5EF4-FFF2-40B4-BE49-F238E27FC236}">
                      <a16:creationId xmlns:a16="http://schemas.microsoft.com/office/drawing/2014/main" id="{6A197D32-0D5A-311E-63BB-094E6532D52F}"/>
                    </a:ext>
                  </a:extLst>
                </p:cNvPr>
                <p:cNvSpPr>
                  <a:spLocks noChangeAspect="1"/>
                </p:cNvSpPr>
                <p:nvPr/>
              </p:nvSpPr>
              <p:spPr>
                <a:xfrm>
                  <a:off x="4111259" y="332475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22" name="Oval 4621">
                  <a:extLst>
                    <a:ext uri="{FF2B5EF4-FFF2-40B4-BE49-F238E27FC236}">
                      <a16:creationId xmlns:a16="http://schemas.microsoft.com/office/drawing/2014/main" id="{36D93CC4-1CA7-1666-4A8E-8161831C6C35}"/>
                    </a:ext>
                  </a:extLst>
                </p:cNvPr>
                <p:cNvSpPr>
                  <a:spLocks noChangeAspect="1"/>
                </p:cNvSpPr>
                <p:nvPr/>
              </p:nvSpPr>
              <p:spPr>
                <a:xfrm>
                  <a:off x="3796796" y="333173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23" name="Oval 4622">
                  <a:extLst>
                    <a:ext uri="{FF2B5EF4-FFF2-40B4-BE49-F238E27FC236}">
                      <a16:creationId xmlns:a16="http://schemas.microsoft.com/office/drawing/2014/main" id="{F9B9AC35-CDA4-F3F3-4075-C792CB1737EB}"/>
                    </a:ext>
                  </a:extLst>
                </p:cNvPr>
                <p:cNvSpPr>
                  <a:spLocks noChangeAspect="1"/>
                </p:cNvSpPr>
                <p:nvPr/>
              </p:nvSpPr>
              <p:spPr>
                <a:xfrm>
                  <a:off x="3651349" y="333173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24" name="Oval 4623">
                  <a:extLst>
                    <a:ext uri="{FF2B5EF4-FFF2-40B4-BE49-F238E27FC236}">
                      <a16:creationId xmlns:a16="http://schemas.microsoft.com/office/drawing/2014/main" id="{B5A0C5C4-273F-2F5F-1F9C-A169FF015724}"/>
                    </a:ext>
                  </a:extLst>
                </p:cNvPr>
                <p:cNvSpPr>
                  <a:spLocks noChangeAspect="1"/>
                </p:cNvSpPr>
                <p:nvPr/>
              </p:nvSpPr>
              <p:spPr>
                <a:xfrm>
                  <a:off x="3500382" y="332475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25" name="Oval 4624">
                  <a:extLst>
                    <a:ext uri="{FF2B5EF4-FFF2-40B4-BE49-F238E27FC236}">
                      <a16:creationId xmlns:a16="http://schemas.microsoft.com/office/drawing/2014/main" id="{C39BC477-16C1-DBBF-DFAC-51CF730BB261}"/>
                    </a:ext>
                  </a:extLst>
                </p:cNvPr>
                <p:cNvSpPr>
                  <a:spLocks noChangeAspect="1"/>
                </p:cNvSpPr>
                <p:nvPr/>
              </p:nvSpPr>
              <p:spPr>
                <a:xfrm>
                  <a:off x="3354936" y="332475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26" name="Oval 4625">
                  <a:extLst>
                    <a:ext uri="{FF2B5EF4-FFF2-40B4-BE49-F238E27FC236}">
                      <a16:creationId xmlns:a16="http://schemas.microsoft.com/office/drawing/2014/main" id="{36FC46BC-C516-B8B8-2C4A-CCF686B9C7C8}"/>
                    </a:ext>
                  </a:extLst>
                </p:cNvPr>
                <p:cNvSpPr>
                  <a:spLocks noChangeAspect="1"/>
                </p:cNvSpPr>
                <p:nvPr/>
              </p:nvSpPr>
              <p:spPr>
                <a:xfrm>
                  <a:off x="3185918" y="333173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27" name="Oval 4626">
                  <a:extLst>
                    <a:ext uri="{FF2B5EF4-FFF2-40B4-BE49-F238E27FC236}">
                      <a16:creationId xmlns:a16="http://schemas.microsoft.com/office/drawing/2014/main" id="{AB06922A-03D0-C674-51C4-40A5DABDEFC7}"/>
                    </a:ext>
                  </a:extLst>
                </p:cNvPr>
                <p:cNvSpPr>
                  <a:spLocks noChangeAspect="1"/>
                </p:cNvSpPr>
                <p:nvPr/>
              </p:nvSpPr>
              <p:spPr>
                <a:xfrm>
                  <a:off x="7460602" y="349177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28" name="Oval 4627">
                  <a:extLst>
                    <a:ext uri="{FF2B5EF4-FFF2-40B4-BE49-F238E27FC236}">
                      <a16:creationId xmlns:a16="http://schemas.microsoft.com/office/drawing/2014/main" id="{01E1B4F5-5371-097F-EC40-5EB4EA29E9A2}"/>
                    </a:ext>
                  </a:extLst>
                </p:cNvPr>
                <p:cNvSpPr>
                  <a:spLocks noChangeAspect="1"/>
                </p:cNvSpPr>
                <p:nvPr/>
              </p:nvSpPr>
              <p:spPr>
                <a:xfrm>
                  <a:off x="7295277" y="348374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29" name="Oval 4628">
                  <a:extLst>
                    <a:ext uri="{FF2B5EF4-FFF2-40B4-BE49-F238E27FC236}">
                      <a16:creationId xmlns:a16="http://schemas.microsoft.com/office/drawing/2014/main" id="{3113BA87-D40F-AC64-5163-6E8192DCAD4B}"/>
                    </a:ext>
                  </a:extLst>
                </p:cNvPr>
                <p:cNvSpPr>
                  <a:spLocks noChangeAspect="1"/>
                </p:cNvSpPr>
                <p:nvPr/>
              </p:nvSpPr>
              <p:spPr>
                <a:xfrm>
                  <a:off x="7144093" y="34864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30" name="Oval 4629">
                  <a:extLst>
                    <a:ext uri="{FF2B5EF4-FFF2-40B4-BE49-F238E27FC236}">
                      <a16:creationId xmlns:a16="http://schemas.microsoft.com/office/drawing/2014/main" id="{93755C7B-A9BF-D24B-2CD4-DB248ACAEF4B}"/>
                    </a:ext>
                  </a:extLst>
                </p:cNvPr>
                <p:cNvSpPr>
                  <a:spLocks noChangeAspect="1"/>
                </p:cNvSpPr>
                <p:nvPr/>
              </p:nvSpPr>
              <p:spPr>
                <a:xfrm>
                  <a:off x="6991100" y="348347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31" name="Oval 4630">
                  <a:extLst>
                    <a:ext uri="{FF2B5EF4-FFF2-40B4-BE49-F238E27FC236}">
                      <a16:creationId xmlns:a16="http://schemas.microsoft.com/office/drawing/2014/main" id="{2DB19F4E-EAC9-0431-D1D3-E8DE5D2AC829}"/>
                    </a:ext>
                  </a:extLst>
                </p:cNvPr>
                <p:cNvSpPr>
                  <a:spLocks noChangeAspect="1"/>
                </p:cNvSpPr>
                <p:nvPr/>
              </p:nvSpPr>
              <p:spPr>
                <a:xfrm>
                  <a:off x="6849733" y="349177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32" name="Oval 4631">
                  <a:extLst>
                    <a:ext uri="{FF2B5EF4-FFF2-40B4-BE49-F238E27FC236}">
                      <a16:creationId xmlns:a16="http://schemas.microsoft.com/office/drawing/2014/main" id="{939E47DD-792C-E8A8-4DD0-0EDDD4FB5947}"/>
                    </a:ext>
                  </a:extLst>
                </p:cNvPr>
                <p:cNvSpPr>
                  <a:spLocks noChangeAspect="1"/>
                </p:cNvSpPr>
                <p:nvPr/>
              </p:nvSpPr>
              <p:spPr>
                <a:xfrm>
                  <a:off x="6704278" y="349177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33" name="Oval 4632">
                  <a:extLst>
                    <a:ext uri="{FF2B5EF4-FFF2-40B4-BE49-F238E27FC236}">
                      <a16:creationId xmlns:a16="http://schemas.microsoft.com/office/drawing/2014/main" id="{D68F0718-293A-7979-6D44-314E8DC8DF26}"/>
                    </a:ext>
                  </a:extLst>
                </p:cNvPr>
                <p:cNvSpPr>
                  <a:spLocks noChangeAspect="1"/>
                </p:cNvSpPr>
                <p:nvPr/>
              </p:nvSpPr>
              <p:spPr>
                <a:xfrm>
                  <a:off x="6533811" y="348280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34" name="Oval 4633">
                  <a:extLst>
                    <a:ext uri="{FF2B5EF4-FFF2-40B4-BE49-F238E27FC236}">
                      <a16:creationId xmlns:a16="http://schemas.microsoft.com/office/drawing/2014/main" id="{A93E7678-0AD7-FA46-5A16-E58A5D03E4B1}"/>
                    </a:ext>
                  </a:extLst>
                </p:cNvPr>
                <p:cNvSpPr>
                  <a:spLocks noChangeAspect="1"/>
                </p:cNvSpPr>
                <p:nvPr/>
              </p:nvSpPr>
              <p:spPr>
                <a:xfrm>
                  <a:off x="6380243" y="348280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35" name="Oval 4634">
                  <a:extLst>
                    <a:ext uri="{FF2B5EF4-FFF2-40B4-BE49-F238E27FC236}">
                      <a16:creationId xmlns:a16="http://schemas.microsoft.com/office/drawing/2014/main" id="{4E581196-CE29-A681-F8E9-5932A058541C}"/>
                    </a:ext>
                  </a:extLst>
                </p:cNvPr>
                <p:cNvSpPr>
                  <a:spLocks noChangeAspect="1"/>
                </p:cNvSpPr>
                <p:nvPr/>
              </p:nvSpPr>
              <p:spPr>
                <a:xfrm>
                  <a:off x="6238854" y="349177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36" name="Oval 4635">
                  <a:extLst>
                    <a:ext uri="{FF2B5EF4-FFF2-40B4-BE49-F238E27FC236}">
                      <a16:creationId xmlns:a16="http://schemas.microsoft.com/office/drawing/2014/main" id="{F099A4D7-AC70-1620-2A09-A257B810EB04}"/>
                    </a:ext>
                  </a:extLst>
                </p:cNvPr>
                <p:cNvSpPr>
                  <a:spLocks noChangeAspect="1"/>
                </p:cNvSpPr>
                <p:nvPr/>
              </p:nvSpPr>
              <p:spPr>
                <a:xfrm>
                  <a:off x="6093409" y="349177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37" name="Oval 4636">
                  <a:extLst>
                    <a:ext uri="{FF2B5EF4-FFF2-40B4-BE49-F238E27FC236}">
                      <a16:creationId xmlns:a16="http://schemas.microsoft.com/office/drawing/2014/main" id="{A1B80276-15DA-218A-3F05-C85D5D91FB5E}"/>
                    </a:ext>
                  </a:extLst>
                </p:cNvPr>
                <p:cNvSpPr>
                  <a:spLocks noChangeAspect="1"/>
                </p:cNvSpPr>
                <p:nvPr/>
              </p:nvSpPr>
              <p:spPr>
                <a:xfrm>
                  <a:off x="5932113" y="348374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38" name="Oval 4637">
                  <a:extLst>
                    <a:ext uri="{FF2B5EF4-FFF2-40B4-BE49-F238E27FC236}">
                      <a16:creationId xmlns:a16="http://schemas.microsoft.com/office/drawing/2014/main" id="{7AFD5635-1425-11D3-795A-F2353C6627FE}"/>
                    </a:ext>
                  </a:extLst>
                </p:cNvPr>
                <p:cNvSpPr>
                  <a:spLocks noChangeAspect="1"/>
                </p:cNvSpPr>
                <p:nvPr/>
              </p:nvSpPr>
              <p:spPr>
                <a:xfrm>
                  <a:off x="5774880" y="347717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39" name="Oval 4638">
                  <a:extLst>
                    <a:ext uri="{FF2B5EF4-FFF2-40B4-BE49-F238E27FC236}">
                      <a16:creationId xmlns:a16="http://schemas.microsoft.com/office/drawing/2014/main" id="{9DAE8E0D-F703-F6DC-558D-8312E44044F1}"/>
                    </a:ext>
                  </a:extLst>
                </p:cNvPr>
                <p:cNvSpPr>
                  <a:spLocks noChangeAspect="1"/>
                </p:cNvSpPr>
                <p:nvPr/>
              </p:nvSpPr>
              <p:spPr>
                <a:xfrm>
                  <a:off x="5623919" y="348347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40" name="Oval 4639">
                  <a:extLst>
                    <a:ext uri="{FF2B5EF4-FFF2-40B4-BE49-F238E27FC236}">
                      <a16:creationId xmlns:a16="http://schemas.microsoft.com/office/drawing/2014/main" id="{402D90F3-76FF-322D-1FA0-AF08EB864061}"/>
                    </a:ext>
                  </a:extLst>
                </p:cNvPr>
                <p:cNvSpPr>
                  <a:spLocks noChangeAspect="1"/>
                </p:cNvSpPr>
                <p:nvPr/>
              </p:nvSpPr>
              <p:spPr>
                <a:xfrm>
                  <a:off x="5482530" y="349177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41" name="Oval 4640">
                  <a:extLst>
                    <a:ext uri="{FF2B5EF4-FFF2-40B4-BE49-F238E27FC236}">
                      <a16:creationId xmlns:a16="http://schemas.microsoft.com/office/drawing/2014/main" id="{3033005C-0A1C-5A4D-3098-0BF3BAC125A1}"/>
                    </a:ext>
                  </a:extLst>
                </p:cNvPr>
                <p:cNvSpPr>
                  <a:spLocks noChangeAspect="1"/>
                </p:cNvSpPr>
                <p:nvPr/>
              </p:nvSpPr>
              <p:spPr>
                <a:xfrm>
                  <a:off x="5337086" y="349177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42" name="Oval 4641">
                  <a:extLst>
                    <a:ext uri="{FF2B5EF4-FFF2-40B4-BE49-F238E27FC236}">
                      <a16:creationId xmlns:a16="http://schemas.microsoft.com/office/drawing/2014/main" id="{CEB69C52-E24A-1F29-2787-D3D01161FEF9}"/>
                    </a:ext>
                  </a:extLst>
                </p:cNvPr>
                <p:cNvSpPr>
                  <a:spLocks noChangeAspect="1"/>
                </p:cNvSpPr>
                <p:nvPr/>
              </p:nvSpPr>
              <p:spPr>
                <a:xfrm>
                  <a:off x="5166618" y="348280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43" name="Oval 4642">
                  <a:extLst>
                    <a:ext uri="{FF2B5EF4-FFF2-40B4-BE49-F238E27FC236}">
                      <a16:creationId xmlns:a16="http://schemas.microsoft.com/office/drawing/2014/main" id="{94BC6A41-2944-9A6C-0137-45C4CCAC8F80}"/>
                    </a:ext>
                  </a:extLst>
                </p:cNvPr>
                <p:cNvSpPr>
                  <a:spLocks noChangeAspect="1"/>
                </p:cNvSpPr>
                <p:nvPr/>
              </p:nvSpPr>
              <p:spPr>
                <a:xfrm>
                  <a:off x="5013029" y="348280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44" name="Oval 4643">
                  <a:extLst>
                    <a:ext uri="{FF2B5EF4-FFF2-40B4-BE49-F238E27FC236}">
                      <a16:creationId xmlns:a16="http://schemas.microsoft.com/office/drawing/2014/main" id="{69D7FA07-14CD-6082-4C06-0217AD46E174}"/>
                    </a:ext>
                  </a:extLst>
                </p:cNvPr>
                <p:cNvSpPr>
                  <a:spLocks noChangeAspect="1"/>
                </p:cNvSpPr>
                <p:nvPr/>
              </p:nvSpPr>
              <p:spPr>
                <a:xfrm>
                  <a:off x="4871661" y="349177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45" name="Oval 4644">
                  <a:extLst>
                    <a:ext uri="{FF2B5EF4-FFF2-40B4-BE49-F238E27FC236}">
                      <a16:creationId xmlns:a16="http://schemas.microsoft.com/office/drawing/2014/main" id="{8D3DDB88-DA00-8972-22E5-B988C214FB67}"/>
                    </a:ext>
                  </a:extLst>
                </p:cNvPr>
                <p:cNvSpPr>
                  <a:spLocks noChangeAspect="1"/>
                </p:cNvSpPr>
                <p:nvPr/>
              </p:nvSpPr>
              <p:spPr>
                <a:xfrm>
                  <a:off x="4726207" y="349177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46" name="Oval 4645">
                  <a:extLst>
                    <a:ext uri="{FF2B5EF4-FFF2-40B4-BE49-F238E27FC236}">
                      <a16:creationId xmlns:a16="http://schemas.microsoft.com/office/drawing/2014/main" id="{C23DF34B-ECA8-DFB9-FDD7-9EF849E7C990}"/>
                    </a:ext>
                  </a:extLst>
                </p:cNvPr>
                <p:cNvSpPr>
                  <a:spLocks noChangeAspect="1"/>
                </p:cNvSpPr>
                <p:nvPr/>
              </p:nvSpPr>
              <p:spPr>
                <a:xfrm>
                  <a:off x="4560862" y="348374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47" name="Oval 4646">
                  <a:extLst>
                    <a:ext uri="{FF2B5EF4-FFF2-40B4-BE49-F238E27FC236}">
                      <a16:creationId xmlns:a16="http://schemas.microsoft.com/office/drawing/2014/main" id="{FE1B6792-BA46-04D6-47D7-47326038C460}"/>
                    </a:ext>
                  </a:extLst>
                </p:cNvPr>
                <p:cNvSpPr>
                  <a:spLocks noChangeAspect="1"/>
                </p:cNvSpPr>
                <p:nvPr/>
              </p:nvSpPr>
              <p:spPr>
                <a:xfrm>
                  <a:off x="4402155" y="348280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48" name="Oval 4647">
                  <a:extLst>
                    <a:ext uri="{FF2B5EF4-FFF2-40B4-BE49-F238E27FC236}">
                      <a16:creationId xmlns:a16="http://schemas.microsoft.com/office/drawing/2014/main" id="{36B8F31A-1B84-D122-0C25-7F65E5674307}"/>
                    </a:ext>
                  </a:extLst>
                </p:cNvPr>
                <p:cNvSpPr>
                  <a:spLocks noChangeAspect="1"/>
                </p:cNvSpPr>
                <p:nvPr/>
              </p:nvSpPr>
              <p:spPr>
                <a:xfrm>
                  <a:off x="4256705" y="348347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49" name="Oval 4648">
                  <a:extLst>
                    <a:ext uri="{FF2B5EF4-FFF2-40B4-BE49-F238E27FC236}">
                      <a16:creationId xmlns:a16="http://schemas.microsoft.com/office/drawing/2014/main" id="{3453436B-EC5A-4741-E6EF-611908BA6181}"/>
                    </a:ext>
                  </a:extLst>
                </p:cNvPr>
                <p:cNvSpPr>
                  <a:spLocks noChangeAspect="1"/>
                </p:cNvSpPr>
                <p:nvPr/>
              </p:nvSpPr>
              <p:spPr>
                <a:xfrm>
                  <a:off x="4115329" y="349177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50" name="Oval 4649">
                  <a:extLst>
                    <a:ext uri="{FF2B5EF4-FFF2-40B4-BE49-F238E27FC236}">
                      <a16:creationId xmlns:a16="http://schemas.microsoft.com/office/drawing/2014/main" id="{7E619F81-E5E4-17A1-9B61-40E145A89656}"/>
                    </a:ext>
                  </a:extLst>
                </p:cNvPr>
                <p:cNvSpPr>
                  <a:spLocks noChangeAspect="1"/>
                </p:cNvSpPr>
                <p:nvPr/>
              </p:nvSpPr>
              <p:spPr>
                <a:xfrm>
                  <a:off x="3796796" y="347717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51" name="Oval 4650">
                  <a:extLst>
                    <a:ext uri="{FF2B5EF4-FFF2-40B4-BE49-F238E27FC236}">
                      <a16:creationId xmlns:a16="http://schemas.microsoft.com/office/drawing/2014/main" id="{CC08B61E-4B11-8F95-657B-2C67265803B5}"/>
                    </a:ext>
                  </a:extLst>
                </p:cNvPr>
                <p:cNvSpPr>
                  <a:spLocks noChangeAspect="1"/>
                </p:cNvSpPr>
                <p:nvPr/>
              </p:nvSpPr>
              <p:spPr>
                <a:xfrm>
                  <a:off x="3645831" y="348280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52" name="Oval 4651">
                  <a:extLst>
                    <a:ext uri="{FF2B5EF4-FFF2-40B4-BE49-F238E27FC236}">
                      <a16:creationId xmlns:a16="http://schemas.microsoft.com/office/drawing/2014/main" id="{0CFBD004-9BF7-D56C-9FF5-670CB332E346}"/>
                    </a:ext>
                  </a:extLst>
                </p:cNvPr>
                <p:cNvSpPr>
                  <a:spLocks noChangeAspect="1"/>
                </p:cNvSpPr>
                <p:nvPr/>
              </p:nvSpPr>
              <p:spPr>
                <a:xfrm>
                  <a:off x="3504452" y="349177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53" name="Oval 4652">
                  <a:extLst>
                    <a:ext uri="{FF2B5EF4-FFF2-40B4-BE49-F238E27FC236}">
                      <a16:creationId xmlns:a16="http://schemas.microsoft.com/office/drawing/2014/main" id="{A6978F61-ECD2-C5CF-F0E7-A2BA2680163E}"/>
                    </a:ext>
                  </a:extLst>
                </p:cNvPr>
                <p:cNvSpPr>
                  <a:spLocks noChangeAspect="1"/>
                </p:cNvSpPr>
                <p:nvPr/>
              </p:nvSpPr>
              <p:spPr>
                <a:xfrm>
                  <a:off x="3359006" y="349177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54" name="Oval 4653">
                  <a:extLst>
                    <a:ext uri="{FF2B5EF4-FFF2-40B4-BE49-F238E27FC236}">
                      <a16:creationId xmlns:a16="http://schemas.microsoft.com/office/drawing/2014/main" id="{790B778C-0D0B-9C00-9207-00CF5C8395FE}"/>
                    </a:ext>
                  </a:extLst>
                </p:cNvPr>
                <p:cNvSpPr>
                  <a:spLocks noChangeAspect="1"/>
                </p:cNvSpPr>
                <p:nvPr/>
              </p:nvSpPr>
              <p:spPr>
                <a:xfrm>
                  <a:off x="3188538" y="348280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55" name="Oval 4654">
                  <a:extLst>
                    <a:ext uri="{FF2B5EF4-FFF2-40B4-BE49-F238E27FC236}">
                      <a16:creationId xmlns:a16="http://schemas.microsoft.com/office/drawing/2014/main" id="{56F7D0DC-AD9D-F069-7F30-8F4CF971E315}"/>
                    </a:ext>
                  </a:extLst>
                </p:cNvPr>
                <p:cNvSpPr>
                  <a:spLocks noChangeAspect="1"/>
                </p:cNvSpPr>
                <p:nvPr/>
              </p:nvSpPr>
              <p:spPr>
                <a:xfrm>
                  <a:off x="6991100" y="364888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56" name="Oval 4655">
                  <a:extLst>
                    <a:ext uri="{FF2B5EF4-FFF2-40B4-BE49-F238E27FC236}">
                      <a16:creationId xmlns:a16="http://schemas.microsoft.com/office/drawing/2014/main" id="{1A932B46-1ABB-D177-76C2-D8AE640E0FE6}"/>
                    </a:ext>
                  </a:extLst>
                </p:cNvPr>
                <p:cNvSpPr>
                  <a:spLocks noChangeAspect="1"/>
                </p:cNvSpPr>
                <p:nvPr/>
              </p:nvSpPr>
              <p:spPr>
                <a:xfrm>
                  <a:off x="6845668" y="364474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57" name="Oval 4656">
                  <a:extLst>
                    <a:ext uri="{FF2B5EF4-FFF2-40B4-BE49-F238E27FC236}">
                      <a16:creationId xmlns:a16="http://schemas.microsoft.com/office/drawing/2014/main" id="{66513B44-3CFA-0175-F5D9-5C1DE5C2B5F6}"/>
                    </a:ext>
                  </a:extLst>
                </p:cNvPr>
                <p:cNvSpPr>
                  <a:spLocks noChangeAspect="1"/>
                </p:cNvSpPr>
                <p:nvPr/>
              </p:nvSpPr>
              <p:spPr>
                <a:xfrm>
                  <a:off x="6700201" y="364474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58" name="Oval 4657">
                  <a:extLst>
                    <a:ext uri="{FF2B5EF4-FFF2-40B4-BE49-F238E27FC236}">
                      <a16:creationId xmlns:a16="http://schemas.microsoft.com/office/drawing/2014/main" id="{8BD16371-7D93-AEC9-C342-3736525EF6E6}"/>
                    </a:ext>
                  </a:extLst>
                </p:cNvPr>
                <p:cNvSpPr>
                  <a:spLocks noChangeAspect="1"/>
                </p:cNvSpPr>
                <p:nvPr/>
              </p:nvSpPr>
              <p:spPr>
                <a:xfrm>
                  <a:off x="6536054" y="364474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59" name="Oval 4658">
                  <a:extLst>
                    <a:ext uri="{FF2B5EF4-FFF2-40B4-BE49-F238E27FC236}">
                      <a16:creationId xmlns:a16="http://schemas.microsoft.com/office/drawing/2014/main" id="{BD45DEDB-4763-266C-85C6-2990ED3FD4E1}"/>
                    </a:ext>
                  </a:extLst>
                </p:cNvPr>
                <p:cNvSpPr>
                  <a:spLocks noChangeAspect="1"/>
                </p:cNvSpPr>
                <p:nvPr/>
              </p:nvSpPr>
              <p:spPr>
                <a:xfrm>
                  <a:off x="6380243" y="364872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60" name="Oval 4659">
                  <a:extLst>
                    <a:ext uri="{FF2B5EF4-FFF2-40B4-BE49-F238E27FC236}">
                      <a16:creationId xmlns:a16="http://schemas.microsoft.com/office/drawing/2014/main" id="{E85694DF-0897-C17D-D066-11E5BB9A3D51}"/>
                    </a:ext>
                  </a:extLst>
                </p:cNvPr>
                <p:cNvSpPr>
                  <a:spLocks noChangeAspect="1"/>
                </p:cNvSpPr>
                <p:nvPr/>
              </p:nvSpPr>
              <p:spPr>
                <a:xfrm>
                  <a:off x="6234777" y="364474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61" name="Oval 4660">
                  <a:extLst>
                    <a:ext uri="{FF2B5EF4-FFF2-40B4-BE49-F238E27FC236}">
                      <a16:creationId xmlns:a16="http://schemas.microsoft.com/office/drawing/2014/main" id="{FAC1A0C5-05D4-17F7-53AA-88CA803D948B}"/>
                    </a:ext>
                  </a:extLst>
                </p:cNvPr>
                <p:cNvSpPr>
                  <a:spLocks noChangeAspect="1"/>
                </p:cNvSpPr>
                <p:nvPr/>
              </p:nvSpPr>
              <p:spPr>
                <a:xfrm>
                  <a:off x="6089344" y="364474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62" name="Oval 4661">
                  <a:extLst>
                    <a:ext uri="{FF2B5EF4-FFF2-40B4-BE49-F238E27FC236}">
                      <a16:creationId xmlns:a16="http://schemas.microsoft.com/office/drawing/2014/main" id="{54BD7A83-3DF5-5D89-5D48-5471BFDE11FB}"/>
                    </a:ext>
                  </a:extLst>
                </p:cNvPr>
                <p:cNvSpPr>
                  <a:spLocks noChangeAspect="1"/>
                </p:cNvSpPr>
                <p:nvPr/>
              </p:nvSpPr>
              <p:spPr>
                <a:xfrm>
                  <a:off x="5929348" y="364474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63" name="Oval 4662">
                  <a:extLst>
                    <a:ext uri="{FF2B5EF4-FFF2-40B4-BE49-F238E27FC236}">
                      <a16:creationId xmlns:a16="http://schemas.microsoft.com/office/drawing/2014/main" id="{1F045FBA-3F72-94B8-F530-581F1076A214}"/>
                    </a:ext>
                  </a:extLst>
                </p:cNvPr>
                <p:cNvSpPr>
                  <a:spLocks noChangeAspect="1"/>
                </p:cNvSpPr>
                <p:nvPr/>
              </p:nvSpPr>
              <p:spPr>
                <a:xfrm>
                  <a:off x="5769352" y="364474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64" name="Oval 4663">
                  <a:extLst>
                    <a:ext uri="{FF2B5EF4-FFF2-40B4-BE49-F238E27FC236}">
                      <a16:creationId xmlns:a16="http://schemas.microsoft.com/office/drawing/2014/main" id="{18961FB6-316E-E63A-9DBC-EC5312873A7F}"/>
                    </a:ext>
                  </a:extLst>
                </p:cNvPr>
                <p:cNvSpPr>
                  <a:spLocks noChangeAspect="1"/>
                </p:cNvSpPr>
                <p:nvPr/>
              </p:nvSpPr>
              <p:spPr>
                <a:xfrm>
                  <a:off x="5623919" y="364888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65" name="Oval 4664">
                  <a:extLst>
                    <a:ext uri="{FF2B5EF4-FFF2-40B4-BE49-F238E27FC236}">
                      <a16:creationId xmlns:a16="http://schemas.microsoft.com/office/drawing/2014/main" id="{90D644B4-50C8-E5E4-206C-94099E70FFE2}"/>
                    </a:ext>
                  </a:extLst>
                </p:cNvPr>
                <p:cNvSpPr>
                  <a:spLocks noChangeAspect="1"/>
                </p:cNvSpPr>
                <p:nvPr/>
              </p:nvSpPr>
              <p:spPr>
                <a:xfrm>
                  <a:off x="5478453" y="364474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66" name="Oval 4665">
                  <a:extLst>
                    <a:ext uri="{FF2B5EF4-FFF2-40B4-BE49-F238E27FC236}">
                      <a16:creationId xmlns:a16="http://schemas.microsoft.com/office/drawing/2014/main" id="{1C158FF3-AF63-58A1-6523-F0E4A383EBFD}"/>
                    </a:ext>
                  </a:extLst>
                </p:cNvPr>
                <p:cNvSpPr>
                  <a:spLocks noChangeAspect="1"/>
                </p:cNvSpPr>
                <p:nvPr/>
              </p:nvSpPr>
              <p:spPr>
                <a:xfrm>
                  <a:off x="5333021" y="364474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67" name="Oval 4666">
                  <a:extLst>
                    <a:ext uri="{FF2B5EF4-FFF2-40B4-BE49-F238E27FC236}">
                      <a16:creationId xmlns:a16="http://schemas.microsoft.com/office/drawing/2014/main" id="{02CC11B2-2E54-D082-E2A7-C0889DD0B255}"/>
                    </a:ext>
                  </a:extLst>
                </p:cNvPr>
                <p:cNvSpPr>
                  <a:spLocks noChangeAspect="1"/>
                </p:cNvSpPr>
                <p:nvPr/>
              </p:nvSpPr>
              <p:spPr>
                <a:xfrm>
                  <a:off x="5164318" y="365000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68" name="Oval 4667">
                  <a:extLst>
                    <a:ext uri="{FF2B5EF4-FFF2-40B4-BE49-F238E27FC236}">
                      <a16:creationId xmlns:a16="http://schemas.microsoft.com/office/drawing/2014/main" id="{00C8DF58-BDA5-34AD-76A0-97A2D59E19B3}"/>
                    </a:ext>
                  </a:extLst>
                </p:cNvPr>
                <p:cNvSpPr>
                  <a:spLocks noChangeAspect="1"/>
                </p:cNvSpPr>
                <p:nvPr/>
              </p:nvSpPr>
              <p:spPr>
                <a:xfrm>
                  <a:off x="5013029" y="364888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69" name="Oval 4668">
                  <a:extLst>
                    <a:ext uri="{FF2B5EF4-FFF2-40B4-BE49-F238E27FC236}">
                      <a16:creationId xmlns:a16="http://schemas.microsoft.com/office/drawing/2014/main" id="{E8C703ED-94F8-23ED-E17F-C870C697DA37}"/>
                    </a:ext>
                  </a:extLst>
                </p:cNvPr>
                <p:cNvSpPr>
                  <a:spLocks noChangeAspect="1"/>
                </p:cNvSpPr>
                <p:nvPr/>
              </p:nvSpPr>
              <p:spPr>
                <a:xfrm>
                  <a:off x="4867596" y="364474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70" name="Oval 4669">
                  <a:extLst>
                    <a:ext uri="{FF2B5EF4-FFF2-40B4-BE49-F238E27FC236}">
                      <a16:creationId xmlns:a16="http://schemas.microsoft.com/office/drawing/2014/main" id="{E5B1DFC7-6DF3-C5D6-BFE0-E34B64CDF931}"/>
                    </a:ext>
                  </a:extLst>
                </p:cNvPr>
                <p:cNvSpPr>
                  <a:spLocks noChangeAspect="1"/>
                </p:cNvSpPr>
                <p:nvPr/>
              </p:nvSpPr>
              <p:spPr>
                <a:xfrm>
                  <a:off x="4722130" y="364474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71" name="Oval 4670">
                  <a:extLst>
                    <a:ext uri="{FF2B5EF4-FFF2-40B4-BE49-F238E27FC236}">
                      <a16:creationId xmlns:a16="http://schemas.microsoft.com/office/drawing/2014/main" id="{CA3DB59F-CC6D-00B4-DB23-8C1A1F00CF37}"/>
                    </a:ext>
                  </a:extLst>
                </p:cNvPr>
                <p:cNvSpPr>
                  <a:spLocks noChangeAspect="1"/>
                </p:cNvSpPr>
                <p:nvPr/>
              </p:nvSpPr>
              <p:spPr>
                <a:xfrm>
                  <a:off x="4557975" y="364474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72" name="Oval 4671">
                  <a:extLst>
                    <a:ext uri="{FF2B5EF4-FFF2-40B4-BE49-F238E27FC236}">
                      <a16:creationId xmlns:a16="http://schemas.microsoft.com/office/drawing/2014/main" id="{3F038F1F-CE3C-0341-8302-16E010F1E24C}"/>
                    </a:ext>
                  </a:extLst>
                </p:cNvPr>
                <p:cNvSpPr>
                  <a:spLocks noChangeAspect="1"/>
                </p:cNvSpPr>
                <p:nvPr/>
              </p:nvSpPr>
              <p:spPr>
                <a:xfrm>
                  <a:off x="4402155" y="364474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73" name="Oval 4672">
                  <a:extLst>
                    <a:ext uri="{FF2B5EF4-FFF2-40B4-BE49-F238E27FC236}">
                      <a16:creationId xmlns:a16="http://schemas.microsoft.com/office/drawing/2014/main" id="{2293596E-E344-22E7-B364-AD8466436567}"/>
                    </a:ext>
                  </a:extLst>
                </p:cNvPr>
                <p:cNvSpPr>
                  <a:spLocks noChangeAspect="1"/>
                </p:cNvSpPr>
                <p:nvPr/>
              </p:nvSpPr>
              <p:spPr>
                <a:xfrm>
                  <a:off x="4256705" y="364888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74" name="Oval 4673">
                  <a:extLst>
                    <a:ext uri="{FF2B5EF4-FFF2-40B4-BE49-F238E27FC236}">
                      <a16:creationId xmlns:a16="http://schemas.microsoft.com/office/drawing/2014/main" id="{F415AB50-59B8-EE17-5034-958AA10302FB}"/>
                    </a:ext>
                  </a:extLst>
                </p:cNvPr>
                <p:cNvSpPr>
                  <a:spLocks noChangeAspect="1"/>
                </p:cNvSpPr>
                <p:nvPr/>
              </p:nvSpPr>
              <p:spPr>
                <a:xfrm>
                  <a:off x="4111259" y="364474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75" name="Oval 4674">
                  <a:extLst>
                    <a:ext uri="{FF2B5EF4-FFF2-40B4-BE49-F238E27FC236}">
                      <a16:creationId xmlns:a16="http://schemas.microsoft.com/office/drawing/2014/main" id="{B7C18C42-430F-BD60-E8CD-DE3C90998D7E}"/>
                    </a:ext>
                  </a:extLst>
                </p:cNvPr>
                <p:cNvSpPr>
                  <a:spLocks noChangeAspect="1"/>
                </p:cNvSpPr>
                <p:nvPr/>
              </p:nvSpPr>
              <p:spPr>
                <a:xfrm>
                  <a:off x="3791277" y="364474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76" name="Oval 4675">
                  <a:extLst>
                    <a:ext uri="{FF2B5EF4-FFF2-40B4-BE49-F238E27FC236}">
                      <a16:creationId xmlns:a16="http://schemas.microsoft.com/office/drawing/2014/main" id="{CAA23897-319C-4FE7-6AFD-F894FD761A7F}"/>
                    </a:ext>
                  </a:extLst>
                </p:cNvPr>
                <p:cNvSpPr>
                  <a:spLocks noChangeAspect="1"/>
                </p:cNvSpPr>
                <p:nvPr/>
              </p:nvSpPr>
              <p:spPr>
                <a:xfrm>
                  <a:off x="3645831" y="364888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77" name="Oval 4676">
                  <a:extLst>
                    <a:ext uri="{FF2B5EF4-FFF2-40B4-BE49-F238E27FC236}">
                      <a16:creationId xmlns:a16="http://schemas.microsoft.com/office/drawing/2014/main" id="{2002C252-D884-652E-98B1-3463435F5706}"/>
                    </a:ext>
                  </a:extLst>
                </p:cNvPr>
                <p:cNvSpPr>
                  <a:spLocks noChangeAspect="1"/>
                </p:cNvSpPr>
                <p:nvPr/>
              </p:nvSpPr>
              <p:spPr>
                <a:xfrm>
                  <a:off x="3500382" y="364474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78" name="Oval 4677">
                  <a:extLst>
                    <a:ext uri="{FF2B5EF4-FFF2-40B4-BE49-F238E27FC236}">
                      <a16:creationId xmlns:a16="http://schemas.microsoft.com/office/drawing/2014/main" id="{E16F696B-4BBB-532F-147C-50F357601B5F}"/>
                    </a:ext>
                  </a:extLst>
                </p:cNvPr>
                <p:cNvSpPr>
                  <a:spLocks noChangeAspect="1"/>
                </p:cNvSpPr>
                <p:nvPr/>
              </p:nvSpPr>
              <p:spPr>
                <a:xfrm>
                  <a:off x="3336220" y="364474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79" name="Oval 4678">
                  <a:extLst>
                    <a:ext uri="{FF2B5EF4-FFF2-40B4-BE49-F238E27FC236}">
                      <a16:creationId xmlns:a16="http://schemas.microsoft.com/office/drawing/2014/main" id="{1B81CF01-9F2F-E8CA-E150-2F6AB81DDDA3}"/>
                    </a:ext>
                  </a:extLst>
                </p:cNvPr>
                <p:cNvSpPr>
                  <a:spLocks noChangeAspect="1"/>
                </p:cNvSpPr>
                <p:nvPr/>
              </p:nvSpPr>
              <p:spPr>
                <a:xfrm>
                  <a:off x="6990088" y="379471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80" name="Oval 4679">
                  <a:extLst>
                    <a:ext uri="{FF2B5EF4-FFF2-40B4-BE49-F238E27FC236}">
                      <a16:creationId xmlns:a16="http://schemas.microsoft.com/office/drawing/2014/main" id="{D4976B6C-470B-C4AE-7896-5648AFF15883}"/>
                    </a:ext>
                  </a:extLst>
                </p:cNvPr>
                <p:cNvSpPr>
                  <a:spLocks noChangeAspect="1"/>
                </p:cNvSpPr>
                <p:nvPr/>
              </p:nvSpPr>
              <p:spPr>
                <a:xfrm>
                  <a:off x="6845353" y="379017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81" name="Oval 4680">
                  <a:extLst>
                    <a:ext uri="{FF2B5EF4-FFF2-40B4-BE49-F238E27FC236}">
                      <a16:creationId xmlns:a16="http://schemas.microsoft.com/office/drawing/2014/main" id="{01B1DA28-F15A-DE5A-02DC-2A6654494424}"/>
                    </a:ext>
                  </a:extLst>
                </p:cNvPr>
                <p:cNvSpPr>
                  <a:spLocks noChangeAspect="1"/>
                </p:cNvSpPr>
                <p:nvPr/>
              </p:nvSpPr>
              <p:spPr>
                <a:xfrm>
                  <a:off x="6699897" y="379017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82" name="Oval 4681">
                  <a:extLst>
                    <a:ext uri="{FF2B5EF4-FFF2-40B4-BE49-F238E27FC236}">
                      <a16:creationId xmlns:a16="http://schemas.microsoft.com/office/drawing/2014/main" id="{7169C8B9-92DF-9FA0-D8F0-1A386D9B0370}"/>
                    </a:ext>
                  </a:extLst>
                </p:cNvPr>
                <p:cNvSpPr>
                  <a:spLocks noChangeAspect="1"/>
                </p:cNvSpPr>
                <p:nvPr/>
              </p:nvSpPr>
              <p:spPr>
                <a:xfrm>
                  <a:off x="6532303" y="379017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83" name="Oval 4682">
                  <a:extLst>
                    <a:ext uri="{FF2B5EF4-FFF2-40B4-BE49-F238E27FC236}">
                      <a16:creationId xmlns:a16="http://schemas.microsoft.com/office/drawing/2014/main" id="{9D805A88-BA4E-21AB-B6DF-80D060CBB80E}"/>
                    </a:ext>
                  </a:extLst>
                </p:cNvPr>
                <p:cNvSpPr>
                  <a:spLocks noChangeAspect="1"/>
                </p:cNvSpPr>
                <p:nvPr/>
              </p:nvSpPr>
              <p:spPr>
                <a:xfrm>
                  <a:off x="6379207" y="379471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84" name="Oval 4683">
                  <a:extLst>
                    <a:ext uri="{FF2B5EF4-FFF2-40B4-BE49-F238E27FC236}">
                      <a16:creationId xmlns:a16="http://schemas.microsoft.com/office/drawing/2014/main" id="{402815F5-A534-BAFE-332A-35F27D69663A}"/>
                    </a:ext>
                  </a:extLst>
                </p:cNvPr>
                <p:cNvSpPr>
                  <a:spLocks noChangeAspect="1"/>
                </p:cNvSpPr>
                <p:nvPr/>
              </p:nvSpPr>
              <p:spPr>
                <a:xfrm>
                  <a:off x="6234472" y="379017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85" name="Oval 4684">
                  <a:extLst>
                    <a:ext uri="{FF2B5EF4-FFF2-40B4-BE49-F238E27FC236}">
                      <a16:creationId xmlns:a16="http://schemas.microsoft.com/office/drawing/2014/main" id="{BE4FDCAA-FA08-BFCD-BA27-4E855FC5BED3}"/>
                    </a:ext>
                  </a:extLst>
                </p:cNvPr>
                <p:cNvSpPr>
                  <a:spLocks noChangeAspect="1"/>
                </p:cNvSpPr>
                <p:nvPr/>
              </p:nvSpPr>
              <p:spPr>
                <a:xfrm>
                  <a:off x="6089029" y="379017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86" name="Oval 4685">
                  <a:extLst>
                    <a:ext uri="{FF2B5EF4-FFF2-40B4-BE49-F238E27FC236}">
                      <a16:creationId xmlns:a16="http://schemas.microsoft.com/office/drawing/2014/main" id="{E88D7337-852A-F4B4-9292-B6F94D556858}"/>
                    </a:ext>
                  </a:extLst>
                </p:cNvPr>
                <p:cNvSpPr>
                  <a:spLocks noChangeAspect="1"/>
                </p:cNvSpPr>
                <p:nvPr/>
              </p:nvSpPr>
              <p:spPr>
                <a:xfrm>
                  <a:off x="5929348" y="379017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87" name="Oval 4686">
                  <a:extLst>
                    <a:ext uri="{FF2B5EF4-FFF2-40B4-BE49-F238E27FC236}">
                      <a16:creationId xmlns:a16="http://schemas.microsoft.com/office/drawing/2014/main" id="{3429F2AC-F1DD-A66D-CAF7-36E2BC2D1BCE}"/>
                    </a:ext>
                  </a:extLst>
                </p:cNvPr>
                <p:cNvSpPr>
                  <a:spLocks noChangeAspect="1"/>
                </p:cNvSpPr>
                <p:nvPr/>
              </p:nvSpPr>
              <p:spPr>
                <a:xfrm>
                  <a:off x="5774880" y="379715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88" name="Oval 4687">
                  <a:extLst>
                    <a:ext uri="{FF2B5EF4-FFF2-40B4-BE49-F238E27FC236}">
                      <a16:creationId xmlns:a16="http://schemas.microsoft.com/office/drawing/2014/main" id="{8C0C1418-E529-86F2-47D3-C75B060CCFCA}"/>
                    </a:ext>
                  </a:extLst>
                </p:cNvPr>
                <p:cNvSpPr>
                  <a:spLocks noChangeAspect="1"/>
                </p:cNvSpPr>
                <p:nvPr/>
              </p:nvSpPr>
              <p:spPr>
                <a:xfrm>
                  <a:off x="5626187" y="379237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89" name="Oval 4688">
                  <a:extLst>
                    <a:ext uri="{FF2B5EF4-FFF2-40B4-BE49-F238E27FC236}">
                      <a16:creationId xmlns:a16="http://schemas.microsoft.com/office/drawing/2014/main" id="{EB4DD4D6-4496-550B-833D-6F0EF09584B7}"/>
                    </a:ext>
                  </a:extLst>
                </p:cNvPr>
                <p:cNvSpPr>
                  <a:spLocks noChangeAspect="1"/>
                </p:cNvSpPr>
                <p:nvPr/>
              </p:nvSpPr>
              <p:spPr>
                <a:xfrm>
                  <a:off x="5478149" y="379017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90" name="Oval 4689">
                  <a:extLst>
                    <a:ext uri="{FF2B5EF4-FFF2-40B4-BE49-F238E27FC236}">
                      <a16:creationId xmlns:a16="http://schemas.microsoft.com/office/drawing/2014/main" id="{E01CFC7A-E21D-E86A-8FEF-CB2A879323E8}"/>
                    </a:ext>
                  </a:extLst>
                </p:cNvPr>
                <p:cNvSpPr>
                  <a:spLocks noChangeAspect="1"/>
                </p:cNvSpPr>
                <p:nvPr/>
              </p:nvSpPr>
              <p:spPr>
                <a:xfrm>
                  <a:off x="5332706" y="379017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91" name="Oval 4690">
                  <a:extLst>
                    <a:ext uri="{FF2B5EF4-FFF2-40B4-BE49-F238E27FC236}">
                      <a16:creationId xmlns:a16="http://schemas.microsoft.com/office/drawing/2014/main" id="{E31370E3-EE79-6BF3-6C9C-FDBCE6961A32}"/>
                    </a:ext>
                  </a:extLst>
                </p:cNvPr>
                <p:cNvSpPr>
                  <a:spLocks noChangeAspect="1"/>
                </p:cNvSpPr>
                <p:nvPr/>
              </p:nvSpPr>
              <p:spPr>
                <a:xfrm>
                  <a:off x="5165102" y="379017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92" name="Oval 4691">
                  <a:extLst>
                    <a:ext uri="{FF2B5EF4-FFF2-40B4-BE49-F238E27FC236}">
                      <a16:creationId xmlns:a16="http://schemas.microsoft.com/office/drawing/2014/main" id="{87C294D2-C0B7-1449-FDF3-2BA5BC5CEB15}"/>
                    </a:ext>
                  </a:extLst>
                </p:cNvPr>
                <p:cNvSpPr>
                  <a:spLocks noChangeAspect="1"/>
                </p:cNvSpPr>
                <p:nvPr/>
              </p:nvSpPr>
              <p:spPr>
                <a:xfrm>
                  <a:off x="5012002" y="379471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93" name="Oval 4692">
                  <a:extLst>
                    <a:ext uri="{FF2B5EF4-FFF2-40B4-BE49-F238E27FC236}">
                      <a16:creationId xmlns:a16="http://schemas.microsoft.com/office/drawing/2014/main" id="{77D4319E-4BF7-518D-3B44-10561D255E61}"/>
                    </a:ext>
                  </a:extLst>
                </p:cNvPr>
                <p:cNvSpPr>
                  <a:spLocks noChangeAspect="1"/>
                </p:cNvSpPr>
                <p:nvPr/>
              </p:nvSpPr>
              <p:spPr>
                <a:xfrm>
                  <a:off x="4867281" y="379017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94" name="Oval 4693">
                  <a:extLst>
                    <a:ext uri="{FF2B5EF4-FFF2-40B4-BE49-F238E27FC236}">
                      <a16:creationId xmlns:a16="http://schemas.microsoft.com/office/drawing/2014/main" id="{49B15FCF-E1E6-8D67-9933-EE8FD200B32D}"/>
                    </a:ext>
                  </a:extLst>
                </p:cNvPr>
                <p:cNvSpPr>
                  <a:spLocks noChangeAspect="1"/>
                </p:cNvSpPr>
                <p:nvPr/>
              </p:nvSpPr>
              <p:spPr>
                <a:xfrm>
                  <a:off x="4721826" y="379017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95" name="Oval 4694">
                  <a:extLst>
                    <a:ext uri="{FF2B5EF4-FFF2-40B4-BE49-F238E27FC236}">
                      <a16:creationId xmlns:a16="http://schemas.microsoft.com/office/drawing/2014/main" id="{ABF7C341-75C3-79F4-9CDE-648E689D252B}"/>
                    </a:ext>
                  </a:extLst>
                </p:cNvPr>
                <p:cNvSpPr>
                  <a:spLocks noChangeAspect="1"/>
                </p:cNvSpPr>
                <p:nvPr/>
              </p:nvSpPr>
              <p:spPr>
                <a:xfrm>
                  <a:off x="4554224" y="379017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96" name="Oval 4695">
                  <a:extLst>
                    <a:ext uri="{FF2B5EF4-FFF2-40B4-BE49-F238E27FC236}">
                      <a16:creationId xmlns:a16="http://schemas.microsoft.com/office/drawing/2014/main" id="{2B9114E2-2429-8D89-EEFC-4B5C946DAFDF}"/>
                    </a:ext>
                  </a:extLst>
                </p:cNvPr>
                <p:cNvSpPr>
                  <a:spLocks noChangeAspect="1"/>
                </p:cNvSpPr>
                <p:nvPr/>
              </p:nvSpPr>
              <p:spPr>
                <a:xfrm>
                  <a:off x="4407672" y="379715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97" name="Oval 4696">
                  <a:extLst>
                    <a:ext uri="{FF2B5EF4-FFF2-40B4-BE49-F238E27FC236}">
                      <a16:creationId xmlns:a16="http://schemas.microsoft.com/office/drawing/2014/main" id="{1C753232-0C50-9B4C-C2DA-D0F5662EE30E}"/>
                    </a:ext>
                  </a:extLst>
                </p:cNvPr>
                <p:cNvSpPr>
                  <a:spLocks noChangeAspect="1"/>
                </p:cNvSpPr>
                <p:nvPr/>
              </p:nvSpPr>
              <p:spPr>
                <a:xfrm>
                  <a:off x="4258989" y="379239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98" name="Oval 4697">
                  <a:extLst>
                    <a:ext uri="{FF2B5EF4-FFF2-40B4-BE49-F238E27FC236}">
                      <a16:creationId xmlns:a16="http://schemas.microsoft.com/office/drawing/2014/main" id="{E4DF3D2A-BD3C-11C6-61C8-8AC7A024148F}"/>
                    </a:ext>
                  </a:extLst>
                </p:cNvPr>
                <p:cNvSpPr>
                  <a:spLocks noChangeAspect="1"/>
                </p:cNvSpPr>
                <p:nvPr/>
              </p:nvSpPr>
              <p:spPr>
                <a:xfrm>
                  <a:off x="4110951" y="379017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99" name="Oval 4698">
                  <a:extLst>
                    <a:ext uri="{FF2B5EF4-FFF2-40B4-BE49-F238E27FC236}">
                      <a16:creationId xmlns:a16="http://schemas.microsoft.com/office/drawing/2014/main" id="{D1940491-C6F7-CD44-6AA3-20FCD53AB780}"/>
                    </a:ext>
                  </a:extLst>
                </p:cNvPr>
                <p:cNvSpPr>
                  <a:spLocks noChangeAspect="1"/>
                </p:cNvSpPr>
                <p:nvPr/>
              </p:nvSpPr>
              <p:spPr>
                <a:xfrm>
                  <a:off x="3644803" y="379471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00" name="Oval 4699">
                  <a:extLst>
                    <a:ext uri="{FF2B5EF4-FFF2-40B4-BE49-F238E27FC236}">
                      <a16:creationId xmlns:a16="http://schemas.microsoft.com/office/drawing/2014/main" id="{831239A0-2AC6-D784-70A0-90C6569301AF}"/>
                    </a:ext>
                  </a:extLst>
                </p:cNvPr>
                <p:cNvSpPr>
                  <a:spLocks noChangeAspect="1"/>
                </p:cNvSpPr>
                <p:nvPr/>
              </p:nvSpPr>
              <p:spPr>
                <a:xfrm>
                  <a:off x="3500074" y="379017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01" name="Oval 4700">
                  <a:extLst>
                    <a:ext uri="{FF2B5EF4-FFF2-40B4-BE49-F238E27FC236}">
                      <a16:creationId xmlns:a16="http://schemas.microsoft.com/office/drawing/2014/main" id="{659379C8-F50E-F23A-87F0-14F3334430CD}"/>
                    </a:ext>
                  </a:extLst>
                </p:cNvPr>
                <p:cNvSpPr>
                  <a:spLocks noChangeAspect="1"/>
                </p:cNvSpPr>
                <p:nvPr/>
              </p:nvSpPr>
              <p:spPr>
                <a:xfrm>
                  <a:off x="6996628" y="394260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02" name="Oval 4701">
                  <a:extLst>
                    <a:ext uri="{FF2B5EF4-FFF2-40B4-BE49-F238E27FC236}">
                      <a16:creationId xmlns:a16="http://schemas.microsoft.com/office/drawing/2014/main" id="{5A8435D9-9104-D2CB-F52F-E0FC3A50048D}"/>
                    </a:ext>
                  </a:extLst>
                </p:cNvPr>
                <p:cNvSpPr>
                  <a:spLocks noChangeAspect="1"/>
                </p:cNvSpPr>
                <p:nvPr/>
              </p:nvSpPr>
              <p:spPr>
                <a:xfrm>
                  <a:off x="6845668" y="393564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03" name="Oval 4702">
                  <a:extLst>
                    <a:ext uri="{FF2B5EF4-FFF2-40B4-BE49-F238E27FC236}">
                      <a16:creationId xmlns:a16="http://schemas.microsoft.com/office/drawing/2014/main" id="{EAFF6B12-7001-E9A0-674D-5D1A18110B43}"/>
                    </a:ext>
                  </a:extLst>
                </p:cNvPr>
                <p:cNvSpPr>
                  <a:spLocks noChangeAspect="1"/>
                </p:cNvSpPr>
                <p:nvPr/>
              </p:nvSpPr>
              <p:spPr>
                <a:xfrm>
                  <a:off x="6700201" y="394318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04" name="Oval 4703">
                  <a:extLst>
                    <a:ext uri="{FF2B5EF4-FFF2-40B4-BE49-F238E27FC236}">
                      <a16:creationId xmlns:a16="http://schemas.microsoft.com/office/drawing/2014/main" id="{B55840D8-A320-F7EB-4FD5-BDC358FC3E2C}"/>
                    </a:ext>
                  </a:extLst>
                </p:cNvPr>
                <p:cNvSpPr>
                  <a:spLocks noChangeAspect="1"/>
                </p:cNvSpPr>
                <p:nvPr/>
              </p:nvSpPr>
              <p:spPr>
                <a:xfrm>
                  <a:off x="6531204" y="394260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05" name="Oval 4704">
                  <a:extLst>
                    <a:ext uri="{FF2B5EF4-FFF2-40B4-BE49-F238E27FC236}">
                      <a16:creationId xmlns:a16="http://schemas.microsoft.com/office/drawing/2014/main" id="{1184E120-0634-E58A-A1F5-FA50DC379B22}"/>
                    </a:ext>
                  </a:extLst>
                </p:cNvPr>
                <p:cNvSpPr>
                  <a:spLocks noChangeAspect="1"/>
                </p:cNvSpPr>
                <p:nvPr/>
              </p:nvSpPr>
              <p:spPr>
                <a:xfrm>
                  <a:off x="6385750" y="394260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06" name="Oval 4705">
                  <a:extLst>
                    <a:ext uri="{FF2B5EF4-FFF2-40B4-BE49-F238E27FC236}">
                      <a16:creationId xmlns:a16="http://schemas.microsoft.com/office/drawing/2014/main" id="{0696C353-1E28-234D-A9C2-21481F9B6AB1}"/>
                    </a:ext>
                  </a:extLst>
                </p:cNvPr>
                <p:cNvSpPr>
                  <a:spLocks noChangeAspect="1"/>
                </p:cNvSpPr>
                <p:nvPr/>
              </p:nvSpPr>
              <p:spPr>
                <a:xfrm>
                  <a:off x="6238757" y="394318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07" name="Oval 4706">
                  <a:extLst>
                    <a:ext uri="{FF2B5EF4-FFF2-40B4-BE49-F238E27FC236}">
                      <a16:creationId xmlns:a16="http://schemas.microsoft.com/office/drawing/2014/main" id="{8EDEC992-23B1-B050-FFA8-FA5FDF06CE10}"/>
                    </a:ext>
                  </a:extLst>
                </p:cNvPr>
                <p:cNvSpPr>
                  <a:spLocks noChangeAspect="1"/>
                </p:cNvSpPr>
                <p:nvPr/>
              </p:nvSpPr>
              <p:spPr>
                <a:xfrm>
                  <a:off x="6089344" y="393564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08" name="Oval 4707">
                  <a:extLst>
                    <a:ext uri="{FF2B5EF4-FFF2-40B4-BE49-F238E27FC236}">
                      <a16:creationId xmlns:a16="http://schemas.microsoft.com/office/drawing/2014/main" id="{C072B0E9-677C-BF6F-F95D-EBEE2B5C2163}"/>
                    </a:ext>
                  </a:extLst>
                </p:cNvPr>
                <p:cNvSpPr>
                  <a:spLocks noChangeAspect="1"/>
                </p:cNvSpPr>
                <p:nvPr/>
              </p:nvSpPr>
              <p:spPr>
                <a:xfrm>
                  <a:off x="5929348" y="394260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09" name="Oval 4708">
                  <a:extLst>
                    <a:ext uri="{FF2B5EF4-FFF2-40B4-BE49-F238E27FC236}">
                      <a16:creationId xmlns:a16="http://schemas.microsoft.com/office/drawing/2014/main" id="{1B32CC42-ABFA-5656-B8C8-674CD7316C7F}"/>
                    </a:ext>
                  </a:extLst>
                </p:cNvPr>
                <p:cNvSpPr>
                  <a:spLocks noChangeAspect="1"/>
                </p:cNvSpPr>
                <p:nvPr/>
              </p:nvSpPr>
              <p:spPr>
                <a:xfrm>
                  <a:off x="5774880" y="394260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10" name="Oval 4709">
                  <a:extLst>
                    <a:ext uri="{FF2B5EF4-FFF2-40B4-BE49-F238E27FC236}">
                      <a16:creationId xmlns:a16="http://schemas.microsoft.com/office/drawing/2014/main" id="{A55F8501-52BE-A2C4-BBC3-7CD3A89B15E5}"/>
                    </a:ext>
                  </a:extLst>
                </p:cNvPr>
                <p:cNvSpPr>
                  <a:spLocks noChangeAspect="1"/>
                </p:cNvSpPr>
                <p:nvPr/>
              </p:nvSpPr>
              <p:spPr>
                <a:xfrm>
                  <a:off x="5629426" y="394260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11" name="Oval 4710">
                  <a:extLst>
                    <a:ext uri="{FF2B5EF4-FFF2-40B4-BE49-F238E27FC236}">
                      <a16:creationId xmlns:a16="http://schemas.microsoft.com/office/drawing/2014/main" id="{8727A923-E989-EB38-7949-2004CCDE8DF0}"/>
                    </a:ext>
                  </a:extLst>
                </p:cNvPr>
                <p:cNvSpPr>
                  <a:spLocks noChangeAspect="1"/>
                </p:cNvSpPr>
                <p:nvPr/>
              </p:nvSpPr>
              <p:spPr>
                <a:xfrm>
                  <a:off x="5478453" y="393564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12" name="Oval 4711">
                  <a:extLst>
                    <a:ext uri="{FF2B5EF4-FFF2-40B4-BE49-F238E27FC236}">
                      <a16:creationId xmlns:a16="http://schemas.microsoft.com/office/drawing/2014/main" id="{85BD8462-B4BF-F340-D241-9FD8B0C09113}"/>
                    </a:ext>
                  </a:extLst>
                </p:cNvPr>
                <p:cNvSpPr>
                  <a:spLocks noChangeAspect="1"/>
                </p:cNvSpPr>
                <p:nvPr/>
              </p:nvSpPr>
              <p:spPr>
                <a:xfrm>
                  <a:off x="5333021" y="394318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13" name="Oval 4712">
                  <a:extLst>
                    <a:ext uri="{FF2B5EF4-FFF2-40B4-BE49-F238E27FC236}">
                      <a16:creationId xmlns:a16="http://schemas.microsoft.com/office/drawing/2014/main" id="{1F2A3B6D-0721-D492-6305-34B72277C831}"/>
                    </a:ext>
                  </a:extLst>
                </p:cNvPr>
                <p:cNvSpPr>
                  <a:spLocks noChangeAspect="1"/>
                </p:cNvSpPr>
                <p:nvPr/>
              </p:nvSpPr>
              <p:spPr>
                <a:xfrm>
                  <a:off x="5164001" y="394260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14" name="Oval 4713">
                  <a:extLst>
                    <a:ext uri="{FF2B5EF4-FFF2-40B4-BE49-F238E27FC236}">
                      <a16:creationId xmlns:a16="http://schemas.microsoft.com/office/drawing/2014/main" id="{FDB20C38-9998-A9E7-5D8C-FF66ECD9D1BD}"/>
                    </a:ext>
                  </a:extLst>
                </p:cNvPr>
                <p:cNvSpPr>
                  <a:spLocks noChangeAspect="1"/>
                </p:cNvSpPr>
                <p:nvPr/>
              </p:nvSpPr>
              <p:spPr>
                <a:xfrm>
                  <a:off x="5018557" y="394260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15" name="Oval 4714">
                  <a:extLst>
                    <a:ext uri="{FF2B5EF4-FFF2-40B4-BE49-F238E27FC236}">
                      <a16:creationId xmlns:a16="http://schemas.microsoft.com/office/drawing/2014/main" id="{9E3F9602-0947-0A3E-643C-76A47D82AB82}"/>
                    </a:ext>
                  </a:extLst>
                </p:cNvPr>
                <p:cNvSpPr>
                  <a:spLocks noChangeAspect="1"/>
                </p:cNvSpPr>
                <p:nvPr/>
              </p:nvSpPr>
              <p:spPr>
                <a:xfrm>
                  <a:off x="4871575" y="394318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16" name="Oval 4715">
                  <a:extLst>
                    <a:ext uri="{FF2B5EF4-FFF2-40B4-BE49-F238E27FC236}">
                      <a16:creationId xmlns:a16="http://schemas.microsoft.com/office/drawing/2014/main" id="{A56CEAE0-6902-472B-B191-9692089B9303}"/>
                    </a:ext>
                  </a:extLst>
                </p:cNvPr>
                <p:cNvSpPr>
                  <a:spLocks noChangeAspect="1"/>
                </p:cNvSpPr>
                <p:nvPr/>
              </p:nvSpPr>
              <p:spPr>
                <a:xfrm>
                  <a:off x="4722130" y="394318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17" name="Oval 4716">
                  <a:extLst>
                    <a:ext uri="{FF2B5EF4-FFF2-40B4-BE49-F238E27FC236}">
                      <a16:creationId xmlns:a16="http://schemas.microsoft.com/office/drawing/2014/main" id="{CFCC2F56-A59A-940B-2B65-36F1343FF701}"/>
                    </a:ext>
                  </a:extLst>
                </p:cNvPr>
                <p:cNvSpPr>
                  <a:spLocks noChangeAspect="1"/>
                </p:cNvSpPr>
                <p:nvPr/>
              </p:nvSpPr>
              <p:spPr>
                <a:xfrm>
                  <a:off x="4553118" y="394260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18" name="Oval 4717">
                  <a:extLst>
                    <a:ext uri="{FF2B5EF4-FFF2-40B4-BE49-F238E27FC236}">
                      <a16:creationId xmlns:a16="http://schemas.microsoft.com/office/drawing/2014/main" id="{55C76E44-F82A-37AE-11C8-E9D1118AC055}"/>
                    </a:ext>
                  </a:extLst>
                </p:cNvPr>
                <p:cNvSpPr>
                  <a:spLocks noChangeAspect="1"/>
                </p:cNvSpPr>
                <p:nvPr/>
              </p:nvSpPr>
              <p:spPr>
                <a:xfrm>
                  <a:off x="4407672" y="394260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19" name="Oval 4718">
                  <a:extLst>
                    <a:ext uri="{FF2B5EF4-FFF2-40B4-BE49-F238E27FC236}">
                      <a16:creationId xmlns:a16="http://schemas.microsoft.com/office/drawing/2014/main" id="{580B8440-5D50-2D13-E8B9-8030FDAC2DE1}"/>
                    </a:ext>
                  </a:extLst>
                </p:cNvPr>
                <p:cNvSpPr>
                  <a:spLocks noChangeAspect="1"/>
                </p:cNvSpPr>
                <p:nvPr/>
              </p:nvSpPr>
              <p:spPr>
                <a:xfrm>
                  <a:off x="4263445" y="39417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20" name="Oval 4719">
                  <a:extLst>
                    <a:ext uri="{FF2B5EF4-FFF2-40B4-BE49-F238E27FC236}">
                      <a16:creationId xmlns:a16="http://schemas.microsoft.com/office/drawing/2014/main" id="{3FC63815-5458-47B8-DA8D-CAE7B350BCA4}"/>
                    </a:ext>
                  </a:extLst>
                </p:cNvPr>
                <p:cNvSpPr>
                  <a:spLocks noChangeAspect="1"/>
                </p:cNvSpPr>
                <p:nvPr/>
              </p:nvSpPr>
              <p:spPr>
                <a:xfrm>
                  <a:off x="4111259" y="393564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21" name="Oval 4720">
                  <a:extLst>
                    <a:ext uri="{FF2B5EF4-FFF2-40B4-BE49-F238E27FC236}">
                      <a16:creationId xmlns:a16="http://schemas.microsoft.com/office/drawing/2014/main" id="{57E2DA3B-F0C8-97C9-0CF6-B29394AACAF5}"/>
                    </a:ext>
                  </a:extLst>
                </p:cNvPr>
                <p:cNvSpPr>
                  <a:spLocks noChangeAspect="1"/>
                </p:cNvSpPr>
                <p:nvPr/>
              </p:nvSpPr>
              <p:spPr>
                <a:xfrm>
                  <a:off x="3942242" y="394260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22" name="Oval 4721">
                  <a:extLst>
                    <a:ext uri="{FF2B5EF4-FFF2-40B4-BE49-F238E27FC236}">
                      <a16:creationId xmlns:a16="http://schemas.microsoft.com/office/drawing/2014/main" id="{BCD9E379-BF38-7704-5581-109A9497CE80}"/>
                    </a:ext>
                  </a:extLst>
                </p:cNvPr>
                <p:cNvSpPr>
                  <a:spLocks noChangeAspect="1"/>
                </p:cNvSpPr>
                <p:nvPr/>
              </p:nvSpPr>
              <p:spPr>
                <a:xfrm>
                  <a:off x="6704278" y="410264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23" name="Oval 4722">
                  <a:extLst>
                    <a:ext uri="{FF2B5EF4-FFF2-40B4-BE49-F238E27FC236}">
                      <a16:creationId xmlns:a16="http://schemas.microsoft.com/office/drawing/2014/main" id="{46E4FF22-1114-3999-9C94-32DF127E8076}"/>
                    </a:ext>
                  </a:extLst>
                </p:cNvPr>
                <p:cNvSpPr>
                  <a:spLocks noChangeAspect="1"/>
                </p:cNvSpPr>
                <p:nvPr/>
              </p:nvSpPr>
              <p:spPr>
                <a:xfrm>
                  <a:off x="6525803" y="411016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24" name="Oval 4723">
                  <a:extLst>
                    <a:ext uri="{FF2B5EF4-FFF2-40B4-BE49-F238E27FC236}">
                      <a16:creationId xmlns:a16="http://schemas.microsoft.com/office/drawing/2014/main" id="{C4D0E6AD-39BB-912C-44D8-B4848056E6C3}"/>
                    </a:ext>
                  </a:extLst>
                </p:cNvPr>
                <p:cNvSpPr>
                  <a:spLocks noChangeAspect="1"/>
                </p:cNvSpPr>
                <p:nvPr/>
              </p:nvSpPr>
              <p:spPr>
                <a:xfrm>
                  <a:off x="6380243" y="409369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25" name="Oval 4724">
                  <a:extLst>
                    <a:ext uri="{FF2B5EF4-FFF2-40B4-BE49-F238E27FC236}">
                      <a16:creationId xmlns:a16="http://schemas.microsoft.com/office/drawing/2014/main" id="{81A2F280-C94C-DFF6-BC43-F0E922417692}"/>
                    </a:ext>
                  </a:extLst>
                </p:cNvPr>
                <p:cNvSpPr>
                  <a:spLocks noChangeAspect="1"/>
                </p:cNvSpPr>
                <p:nvPr/>
              </p:nvSpPr>
              <p:spPr>
                <a:xfrm>
                  <a:off x="6238854" y="410264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26" name="Oval 4725">
                  <a:extLst>
                    <a:ext uri="{FF2B5EF4-FFF2-40B4-BE49-F238E27FC236}">
                      <a16:creationId xmlns:a16="http://schemas.microsoft.com/office/drawing/2014/main" id="{C27547B5-CB71-4A70-1520-9226F69055DF}"/>
                    </a:ext>
                  </a:extLst>
                </p:cNvPr>
                <p:cNvSpPr>
                  <a:spLocks noChangeAspect="1"/>
                </p:cNvSpPr>
                <p:nvPr/>
              </p:nvSpPr>
              <p:spPr>
                <a:xfrm>
                  <a:off x="6093409" y="410264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27" name="Oval 4726">
                  <a:extLst>
                    <a:ext uri="{FF2B5EF4-FFF2-40B4-BE49-F238E27FC236}">
                      <a16:creationId xmlns:a16="http://schemas.microsoft.com/office/drawing/2014/main" id="{87BC5D8E-27B8-4785-EF8A-291FDC78F764}"/>
                    </a:ext>
                  </a:extLst>
                </p:cNvPr>
                <p:cNvSpPr>
                  <a:spLocks noChangeAspect="1"/>
                </p:cNvSpPr>
                <p:nvPr/>
              </p:nvSpPr>
              <p:spPr>
                <a:xfrm>
                  <a:off x="5929348" y="411016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28" name="Oval 4727">
                  <a:extLst>
                    <a:ext uri="{FF2B5EF4-FFF2-40B4-BE49-F238E27FC236}">
                      <a16:creationId xmlns:a16="http://schemas.microsoft.com/office/drawing/2014/main" id="{546EC92A-637D-018F-A1F6-4BBA3E9DA50B}"/>
                    </a:ext>
                  </a:extLst>
                </p:cNvPr>
                <p:cNvSpPr>
                  <a:spLocks noChangeAspect="1"/>
                </p:cNvSpPr>
                <p:nvPr/>
              </p:nvSpPr>
              <p:spPr>
                <a:xfrm>
                  <a:off x="5769525" y="411016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29" name="Oval 4728">
                  <a:extLst>
                    <a:ext uri="{FF2B5EF4-FFF2-40B4-BE49-F238E27FC236}">
                      <a16:creationId xmlns:a16="http://schemas.microsoft.com/office/drawing/2014/main" id="{1DF10646-536B-E5B9-DFA5-C592BF759557}"/>
                    </a:ext>
                  </a:extLst>
                </p:cNvPr>
                <p:cNvSpPr>
                  <a:spLocks noChangeAspect="1"/>
                </p:cNvSpPr>
                <p:nvPr/>
              </p:nvSpPr>
              <p:spPr>
                <a:xfrm>
                  <a:off x="5623919" y="409435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30" name="Oval 4729">
                  <a:extLst>
                    <a:ext uri="{FF2B5EF4-FFF2-40B4-BE49-F238E27FC236}">
                      <a16:creationId xmlns:a16="http://schemas.microsoft.com/office/drawing/2014/main" id="{7DCA1D6D-0776-C2BE-E11F-215E25A72B28}"/>
                    </a:ext>
                  </a:extLst>
                </p:cNvPr>
                <p:cNvSpPr>
                  <a:spLocks noChangeAspect="1"/>
                </p:cNvSpPr>
                <p:nvPr/>
              </p:nvSpPr>
              <p:spPr>
                <a:xfrm>
                  <a:off x="5482530" y="410264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31" name="Oval 4730">
                  <a:extLst>
                    <a:ext uri="{FF2B5EF4-FFF2-40B4-BE49-F238E27FC236}">
                      <a16:creationId xmlns:a16="http://schemas.microsoft.com/office/drawing/2014/main" id="{22621A0C-8C0C-A3E0-3221-C0C03E30F7CF}"/>
                    </a:ext>
                  </a:extLst>
                </p:cNvPr>
                <p:cNvSpPr>
                  <a:spLocks noChangeAspect="1"/>
                </p:cNvSpPr>
                <p:nvPr/>
              </p:nvSpPr>
              <p:spPr>
                <a:xfrm>
                  <a:off x="5333021" y="411016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32" name="Oval 4731">
                  <a:extLst>
                    <a:ext uri="{FF2B5EF4-FFF2-40B4-BE49-F238E27FC236}">
                      <a16:creationId xmlns:a16="http://schemas.microsoft.com/office/drawing/2014/main" id="{BE202318-03A6-803F-6172-968385B244BD}"/>
                    </a:ext>
                  </a:extLst>
                </p:cNvPr>
                <p:cNvSpPr>
                  <a:spLocks noChangeAspect="1"/>
                </p:cNvSpPr>
                <p:nvPr/>
              </p:nvSpPr>
              <p:spPr>
                <a:xfrm>
                  <a:off x="5158589" y="411016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33" name="Oval 4732">
                  <a:extLst>
                    <a:ext uri="{FF2B5EF4-FFF2-40B4-BE49-F238E27FC236}">
                      <a16:creationId xmlns:a16="http://schemas.microsoft.com/office/drawing/2014/main" id="{01F9F70E-0B8C-72AE-A529-03545957780F}"/>
                    </a:ext>
                  </a:extLst>
                </p:cNvPr>
                <p:cNvSpPr>
                  <a:spLocks noChangeAspect="1"/>
                </p:cNvSpPr>
                <p:nvPr/>
              </p:nvSpPr>
              <p:spPr>
                <a:xfrm>
                  <a:off x="5013029" y="411016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34" name="Oval 4733">
                  <a:extLst>
                    <a:ext uri="{FF2B5EF4-FFF2-40B4-BE49-F238E27FC236}">
                      <a16:creationId xmlns:a16="http://schemas.microsoft.com/office/drawing/2014/main" id="{8E7F133D-C9A3-D9A3-667E-26E57C97FBF0}"/>
                    </a:ext>
                  </a:extLst>
                </p:cNvPr>
                <p:cNvSpPr>
                  <a:spLocks noChangeAspect="1"/>
                </p:cNvSpPr>
                <p:nvPr/>
              </p:nvSpPr>
              <p:spPr>
                <a:xfrm>
                  <a:off x="4867596" y="411016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35" name="Oval 4734">
                  <a:extLst>
                    <a:ext uri="{FF2B5EF4-FFF2-40B4-BE49-F238E27FC236}">
                      <a16:creationId xmlns:a16="http://schemas.microsoft.com/office/drawing/2014/main" id="{F4DDDE11-31FB-938D-4C2E-A4BF30B97322}"/>
                    </a:ext>
                  </a:extLst>
                </p:cNvPr>
                <p:cNvSpPr>
                  <a:spLocks noChangeAspect="1"/>
                </p:cNvSpPr>
                <p:nvPr/>
              </p:nvSpPr>
              <p:spPr>
                <a:xfrm>
                  <a:off x="4722130" y="411016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36" name="Oval 4735">
                  <a:extLst>
                    <a:ext uri="{FF2B5EF4-FFF2-40B4-BE49-F238E27FC236}">
                      <a16:creationId xmlns:a16="http://schemas.microsoft.com/office/drawing/2014/main" id="{F5625ADA-9090-FC51-EC12-C534245FE316}"/>
                    </a:ext>
                  </a:extLst>
                </p:cNvPr>
                <p:cNvSpPr>
                  <a:spLocks noChangeAspect="1"/>
                </p:cNvSpPr>
                <p:nvPr/>
              </p:nvSpPr>
              <p:spPr>
                <a:xfrm>
                  <a:off x="4557975" y="411016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37" name="Oval 4736">
                  <a:extLst>
                    <a:ext uri="{FF2B5EF4-FFF2-40B4-BE49-F238E27FC236}">
                      <a16:creationId xmlns:a16="http://schemas.microsoft.com/office/drawing/2014/main" id="{E8A6A305-CB67-898C-FD0E-956DD1A6A450}"/>
                    </a:ext>
                  </a:extLst>
                </p:cNvPr>
                <p:cNvSpPr>
                  <a:spLocks noChangeAspect="1"/>
                </p:cNvSpPr>
                <p:nvPr/>
              </p:nvSpPr>
              <p:spPr>
                <a:xfrm>
                  <a:off x="4402155" y="411016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38" name="Oval 4737">
                  <a:extLst>
                    <a:ext uri="{FF2B5EF4-FFF2-40B4-BE49-F238E27FC236}">
                      <a16:creationId xmlns:a16="http://schemas.microsoft.com/office/drawing/2014/main" id="{731EBCA9-BB84-5C34-6D52-BC8655575A58}"/>
                    </a:ext>
                  </a:extLst>
                </p:cNvPr>
                <p:cNvSpPr>
                  <a:spLocks noChangeAspect="1"/>
                </p:cNvSpPr>
                <p:nvPr/>
              </p:nvSpPr>
              <p:spPr>
                <a:xfrm>
                  <a:off x="4256705" y="411432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39" name="Oval 4738">
                  <a:extLst>
                    <a:ext uri="{FF2B5EF4-FFF2-40B4-BE49-F238E27FC236}">
                      <a16:creationId xmlns:a16="http://schemas.microsoft.com/office/drawing/2014/main" id="{1CC1909A-E4B0-CE44-4939-01131A1852C4}"/>
                    </a:ext>
                  </a:extLst>
                </p:cNvPr>
                <p:cNvSpPr>
                  <a:spLocks noChangeAspect="1"/>
                </p:cNvSpPr>
                <p:nvPr/>
              </p:nvSpPr>
              <p:spPr>
                <a:xfrm>
                  <a:off x="4111259" y="411016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40" name="Oval 4739">
                  <a:extLst>
                    <a:ext uri="{FF2B5EF4-FFF2-40B4-BE49-F238E27FC236}">
                      <a16:creationId xmlns:a16="http://schemas.microsoft.com/office/drawing/2014/main" id="{7E60E130-619F-ED7D-829D-4A3C6DE16630}"/>
                    </a:ext>
                  </a:extLst>
                </p:cNvPr>
                <p:cNvSpPr>
                  <a:spLocks noChangeAspect="1"/>
                </p:cNvSpPr>
                <p:nvPr/>
              </p:nvSpPr>
              <p:spPr>
                <a:xfrm>
                  <a:off x="3947098" y="411016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41" name="Oval 4740">
                  <a:extLst>
                    <a:ext uri="{FF2B5EF4-FFF2-40B4-BE49-F238E27FC236}">
                      <a16:creationId xmlns:a16="http://schemas.microsoft.com/office/drawing/2014/main" id="{C7E9CB50-D80B-4DAD-8E66-5373ED1F5043}"/>
                    </a:ext>
                  </a:extLst>
                </p:cNvPr>
                <p:cNvSpPr>
                  <a:spLocks noChangeAspect="1"/>
                </p:cNvSpPr>
                <p:nvPr/>
              </p:nvSpPr>
              <p:spPr>
                <a:xfrm>
                  <a:off x="6536054" y="425563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42" name="Oval 4741">
                  <a:extLst>
                    <a:ext uri="{FF2B5EF4-FFF2-40B4-BE49-F238E27FC236}">
                      <a16:creationId xmlns:a16="http://schemas.microsoft.com/office/drawing/2014/main" id="{A8A65E3C-7264-BA28-8C63-25FA23B22D12}"/>
                    </a:ext>
                  </a:extLst>
                </p:cNvPr>
                <p:cNvSpPr>
                  <a:spLocks noChangeAspect="1"/>
                </p:cNvSpPr>
                <p:nvPr/>
              </p:nvSpPr>
              <p:spPr>
                <a:xfrm>
                  <a:off x="6380243" y="425977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43" name="Oval 4742">
                  <a:extLst>
                    <a:ext uri="{FF2B5EF4-FFF2-40B4-BE49-F238E27FC236}">
                      <a16:creationId xmlns:a16="http://schemas.microsoft.com/office/drawing/2014/main" id="{64967B8C-3CD1-6DB4-3264-109AFC6B1798}"/>
                    </a:ext>
                  </a:extLst>
                </p:cNvPr>
                <p:cNvSpPr>
                  <a:spLocks noChangeAspect="1"/>
                </p:cNvSpPr>
                <p:nvPr/>
              </p:nvSpPr>
              <p:spPr>
                <a:xfrm>
                  <a:off x="6234777" y="425977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44" name="Oval 4743">
                  <a:extLst>
                    <a:ext uri="{FF2B5EF4-FFF2-40B4-BE49-F238E27FC236}">
                      <a16:creationId xmlns:a16="http://schemas.microsoft.com/office/drawing/2014/main" id="{5BE6D704-1B05-8DD0-818D-E1E96CC29FA1}"/>
                    </a:ext>
                  </a:extLst>
                </p:cNvPr>
                <p:cNvSpPr>
                  <a:spLocks noChangeAspect="1"/>
                </p:cNvSpPr>
                <p:nvPr/>
              </p:nvSpPr>
              <p:spPr>
                <a:xfrm>
                  <a:off x="6089344" y="425563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45" name="Oval 4744">
                  <a:extLst>
                    <a:ext uri="{FF2B5EF4-FFF2-40B4-BE49-F238E27FC236}">
                      <a16:creationId xmlns:a16="http://schemas.microsoft.com/office/drawing/2014/main" id="{F5B835B3-9878-8EB6-F867-CC2872FAF990}"/>
                    </a:ext>
                  </a:extLst>
                </p:cNvPr>
                <p:cNvSpPr>
                  <a:spLocks noChangeAspect="1"/>
                </p:cNvSpPr>
                <p:nvPr/>
              </p:nvSpPr>
              <p:spPr>
                <a:xfrm>
                  <a:off x="5929348" y="425563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46" name="Oval 4745">
                  <a:extLst>
                    <a:ext uri="{FF2B5EF4-FFF2-40B4-BE49-F238E27FC236}">
                      <a16:creationId xmlns:a16="http://schemas.microsoft.com/office/drawing/2014/main" id="{ED66E467-6A8E-0CF9-D86D-74A1254030A4}"/>
                    </a:ext>
                  </a:extLst>
                </p:cNvPr>
                <p:cNvSpPr>
                  <a:spLocks noChangeAspect="1"/>
                </p:cNvSpPr>
                <p:nvPr/>
              </p:nvSpPr>
              <p:spPr>
                <a:xfrm>
                  <a:off x="5769352" y="425563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47" name="Oval 4746">
                  <a:extLst>
                    <a:ext uri="{FF2B5EF4-FFF2-40B4-BE49-F238E27FC236}">
                      <a16:creationId xmlns:a16="http://schemas.microsoft.com/office/drawing/2014/main" id="{D9365A89-DDB0-FBAC-D5E5-B22D9BCC3789}"/>
                    </a:ext>
                  </a:extLst>
                </p:cNvPr>
                <p:cNvSpPr>
                  <a:spLocks noChangeAspect="1"/>
                </p:cNvSpPr>
                <p:nvPr/>
              </p:nvSpPr>
              <p:spPr>
                <a:xfrm>
                  <a:off x="5623919" y="425977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48" name="Oval 4747">
                  <a:extLst>
                    <a:ext uri="{FF2B5EF4-FFF2-40B4-BE49-F238E27FC236}">
                      <a16:creationId xmlns:a16="http://schemas.microsoft.com/office/drawing/2014/main" id="{A2940ADB-C83C-37F0-BF85-318794339F9C}"/>
                    </a:ext>
                  </a:extLst>
                </p:cNvPr>
                <p:cNvSpPr>
                  <a:spLocks noChangeAspect="1"/>
                </p:cNvSpPr>
                <p:nvPr/>
              </p:nvSpPr>
              <p:spPr>
                <a:xfrm>
                  <a:off x="5478453" y="425563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49" name="Oval 4748">
                  <a:extLst>
                    <a:ext uri="{FF2B5EF4-FFF2-40B4-BE49-F238E27FC236}">
                      <a16:creationId xmlns:a16="http://schemas.microsoft.com/office/drawing/2014/main" id="{B79B827E-BA9B-FABB-A807-3D49FD4293E5}"/>
                    </a:ext>
                  </a:extLst>
                </p:cNvPr>
                <p:cNvSpPr>
                  <a:spLocks noChangeAspect="1"/>
                </p:cNvSpPr>
                <p:nvPr/>
              </p:nvSpPr>
              <p:spPr>
                <a:xfrm>
                  <a:off x="5314292" y="425563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50" name="Oval 4749">
                  <a:extLst>
                    <a:ext uri="{FF2B5EF4-FFF2-40B4-BE49-F238E27FC236}">
                      <a16:creationId xmlns:a16="http://schemas.microsoft.com/office/drawing/2014/main" id="{39984C1B-EB35-AC59-AE1C-658C18DEF62C}"/>
                    </a:ext>
                  </a:extLst>
                </p:cNvPr>
                <p:cNvSpPr>
                  <a:spLocks noChangeAspect="1"/>
                </p:cNvSpPr>
                <p:nvPr/>
              </p:nvSpPr>
              <p:spPr>
                <a:xfrm>
                  <a:off x="5168854" y="425563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51" name="Oval 4750">
                  <a:extLst>
                    <a:ext uri="{FF2B5EF4-FFF2-40B4-BE49-F238E27FC236}">
                      <a16:creationId xmlns:a16="http://schemas.microsoft.com/office/drawing/2014/main" id="{D8B8C52A-CC52-BC0C-8CC5-5DE78282AEA2}"/>
                    </a:ext>
                  </a:extLst>
                </p:cNvPr>
                <p:cNvSpPr>
                  <a:spLocks noChangeAspect="1"/>
                </p:cNvSpPr>
                <p:nvPr/>
              </p:nvSpPr>
              <p:spPr>
                <a:xfrm>
                  <a:off x="5013029" y="425977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52" name="Oval 4751">
                  <a:extLst>
                    <a:ext uri="{FF2B5EF4-FFF2-40B4-BE49-F238E27FC236}">
                      <a16:creationId xmlns:a16="http://schemas.microsoft.com/office/drawing/2014/main" id="{C7951C1B-50F2-7F1A-CC8E-DE5E50FB7BF9}"/>
                    </a:ext>
                  </a:extLst>
                </p:cNvPr>
                <p:cNvSpPr>
                  <a:spLocks noChangeAspect="1"/>
                </p:cNvSpPr>
                <p:nvPr/>
              </p:nvSpPr>
              <p:spPr>
                <a:xfrm>
                  <a:off x="4867596" y="425563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53" name="Oval 4752">
                  <a:extLst>
                    <a:ext uri="{FF2B5EF4-FFF2-40B4-BE49-F238E27FC236}">
                      <a16:creationId xmlns:a16="http://schemas.microsoft.com/office/drawing/2014/main" id="{7177F5E3-8276-2E2F-856E-71F636A1DCBE}"/>
                    </a:ext>
                  </a:extLst>
                </p:cNvPr>
                <p:cNvSpPr>
                  <a:spLocks noChangeAspect="1"/>
                </p:cNvSpPr>
                <p:nvPr/>
              </p:nvSpPr>
              <p:spPr>
                <a:xfrm>
                  <a:off x="4722130" y="425563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54" name="Oval 4753">
                  <a:extLst>
                    <a:ext uri="{FF2B5EF4-FFF2-40B4-BE49-F238E27FC236}">
                      <a16:creationId xmlns:a16="http://schemas.microsoft.com/office/drawing/2014/main" id="{C14BD02A-D435-E6E5-C4CC-98E7D0F3ACC1}"/>
                    </a:ext>
                  </a:extLst>
                </p:cNvPr>
                <p:cNvSpPr>
                  <a:spLocks noChangeAspect="1"/>
                </p:cNvSpPr>
                <p:nvPr/>
              </p:nvSpPr>
              <p:spPr>
                <a:xfrm>
                  <a:off x="4557975" y="425563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55" name="Oval 4754">
                  <a:extLst>
                    <a:ext uri="{FF2B5EF4-FFF2-40B4-BE49-F238E27FC236}">
                      <a16:creationId xmlns:a16="http://schemas.microsoft.com/office/drawing/2014/main" id="{CC19BBEA-7BB2-D22D-A393-38CC1FAC1B40}"/>
                    </a:ext>
                  </a:extLst>
                </p:cNvPr>
                <p:cNvSpPr>
                  <a:spLocks noChangeAspect="1"/>
                </p:cNvSpPr>
                <p:nvPr/>
              </p:nvSpPr>
              <p:spPr>
                <a:xfrm>
                  <a:off x="4402155" y="425961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56" name="Oval 4755">
                  <a:extLst>
                    <a:ext uri="{FF2B5EF4-FFF2-40B4-BE49-F238E27FC236}">
                      <a16:creationId xmlns:a16="http://schemas.microsoft.com/office/drawing/2014/main" id="{F4430F36-13CC-4E46-A42F-1ADC83C8FE6A}"/>
                    </a:ext>
                  </a:extLst>
                </p:cNvPr>
                <p:cNvSpPr>
                  <a:spLocks noChangeAspect="1"/>
                </p:cNvSpPr>
                <p:nvPr/>
              </p:nvSpPr>
              <p:spPr>
                <a:xfrm>
                  <a:off x="4256705" y="425975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57" name="Oval 4756">
                  <a:extLst>
                    <a:ext uri="{FF2B5EF4-FFF2-40B4-BE49-F238E27FC236}">
                      <a16:creationId xmlns:a16="http://schemas.microsoft.com/office/drawing/2014/main" id="{8E71FE01-BFDC-5696-39CC-C963170DC391}"/>
                    </a:ext>
                  </a:extLst>
                </p:cNvPr>
                <p:cNvSpPr>
                  <a:spLocks noChangeAspect="1"/>
                </p:cNvSpPr>
                <p:nvPr/>
              </p:nvSpPr>
              <p:spPr>
                <a:xfrm>
                  <a:off x="4111259" y="425563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58" name="Oval 4757">
                  <a:extLst>
                    <a:ext uri="{FF2B5EF4-FFF2-40B4-BE49-F238E27FC236}">
                      <a16:creationId xmlns:a16="http://schemas.microsoft.com/office/drawing/2014/main" id="{9A8872B7-74CA-4C45-F206-EDFACB31C401}"/>
                    </a:ext>
                  </a:extLst>
                </p:cNvPr>
                <p:cNvSpPr>
                  <a:spLocks noChangeAspect="1"/>
                </p:cNvSpPr>
                <p:nvPr/>
              </p:nvSpPr>
              <p:spPr>
                <a:xfrm>
                  <a:off x="6385750" y="440804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59" name="Oval 4758">
                  <a:extLst>
                    <a:ext uri="{FF2B5EF4-FFF2-40B4-BE49-F238E27FC236}">
                      <a16:creationId xmlns:a16="http://schemas.microsoft.com/office/drawing/2014/main" id="{940E66CC-0AF6-9F80-70B6-E77B349A458B}"/>
                    </a:ext>
                  </a:extLst>
                </p:cNvPr>
                <p:cNvSpPr>
                  <a:spLocks noChangeAspect="1"/>
                </p:cNvSpPr>
                <p:nvPr/>
              </p:nvSpPr>
              <p:spPr>
                <a:xfrm>
                  <a:off x="6234601" y="440106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60" name="Oval 4759">
                  <a:extLst>
                    <a:ext uri="{FF2B5EF4-FFF2-40B4-BE49-F238E27FC236}">
                      <a16:creationId xmlns:a16="http://schemas.microsoft.com/office/drawing/2014/main" id="{B930CF59-8066-E8EB-C1C2-33202335C86F}"/>
                    </a:ext>
                  </a:extLst>
                </p:cNvPr>
                <p:cNvSpPr>
                  <a:spLocks noChangeAspect="1"/>
                </p:cNvSpPr>
                <p:nvPr/>
              </p:nvSpPr>
              <p:spPr>
                <a:xfrm>
                  <a:off x="6089029" y="440106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61" name="Oval 4760">
                  <a:extLst>
                    <a:ext uri="{FF2B5EF4-FFF2-40B4-BE49-F238E27FC236}">
                      <a16:creationId xmlns:a16="http://schemas.microsoft.com/office/drawing/2014/main" id="{176288AA-3D3D-A15D-0663-F819E0581047}"/>
                    </a:ext>
                  </a:extLst>
                </p:cNvPr>
                <p:cNvSpPr>
                  <a:spLocks noChangeAspect="1"/>
                </p:cNvSpPr>
                <p:nvPr/>
              </p:nvSpPr>
              <p:spPr>
                <a:xfrm>
                  <a:off x="5929348" y="440106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62" name="Oval 4761">
                  <a:extLst>
                    <a:ext uri="{FF2B5EF4-FFF2-40B4-BE49-F238E27FC236}">
                      <a16:creationId xmlns:a16="http://schemas.microsoft.com/office/drawing/2014/main" id="{943EBA3B-1553-1873-3378-CBD6619AD3AD}"/>
                    </a:ext>
                  </a:extLst>
                </p:cNvPr>
                <p:cNvSpPr>
                  <a:spLocks noChangeAspect="1"/>
                </p:cNvSpPr>
                <p:nvPr/>
              </p:nvSpPr>
              <p:spPr>
                <a:xfrm>
                  <a:off x="5774880" y="440804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63" name="Oval 4762">
                  <a:extLst>
                    <a:ext uri="{FF2B5EF4-FFF2-40B4-BE49-F238E27FC236}">
                      <a16:creationId xmlns:a16="http://schemas.microsoft.com/office/drawing/2014/main" id="{AADD9FB0-AE87-00B6-4BA4-16B1E114742A}"/>
                    </a:ext>
                  </a:extLst>
                </p:cNvPr>
                <p:cNvSpPr>
                  <a:spLocks noChangeAspect="1"/>
                </p:cNvSpPr>
                <p:nvPr/>
              </p:nvSpPr>
              <p:spPr>
                <a:xfrm>
                  <a:off x="5622884" y="440560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64" name="Oval 4763">
                  <a:extLst>
                    <a:ext uri="{FF2B5EF4-FFF2-40B4-BE49-F238E27FC236}">
                      <a16:creationId xmlns:a16="http://schemas.microsoft.com/office/drawing/2014/main" id="{95E013B4-D1DE-4D42-4CBE-CF866B3BC045}"/>
                    </a:ext>
                  </a:extLst>
                </p:cNvPr>
                <p:cNvSpPr>
                  <a:spLocks noChangeAspect="1"/>
                </p:cNvSpPr>
                <p:nvPr/>
              </p:nvSpPr>
              <p:spPr>
                <a:xfrm>
                  <a:off x="5478149" y="440106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65" name="Oval 4764">
                  <a:extLst>
                    <a:ext uri="{FF2B5EF4-FFF2-40B4-BE49-F238E27FC236}">
                      <a16:creationId xmlns:a16="http://schemas.microsoft.com/office/drawing/2014/main" id="{DCA37394-BB51-EE38-AEEC-B92DA2FDC764}"/>
                    </a:ext>
                  </a:extLst>
                </p:cNvPr>
                <p:cNvSpPr>
                  <a:spLocks noChangeAspect="1"/>
                </p:cNvSpPr>
                <p:nvPr/>
              </p:nvSpPr>
              <p:spPr>
                <a:xfrm>
                  <a:off x="5333021" y="440106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66" name="Oval 4765">
                  <a:extLst>
                    <a:ext uri="{FF2B5EF4-FFF2-40B4-BE49-F238E27FC236}">
                      <a16:creationId xmlns:a16="http://schemas.microsoft.com/office/drawing/2014/main" id="{B51F6AC5-E867-6483-7179-4F809A6CBC1E}"/>
                    </a:ext>
                  </a:extLst>
                </p:cNvPr>
                <p:cNvSpPr>
                  <a:spLocks noChangeAspect="1"/>
                </p:cNvSpPr>
                <p:nvPr/>
              </p:nvSpPr>
              <p:spPr>
                <a:xfrm>
                  <a:off x="5164001" y="440804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67" name="Oval 4766">
                  <a:extLst>
                    <a:ext uri="{FF2B5EF4-FFF2-40B4-BE49-F238E27FC236}">
                      <a16:creationId xmlns:a16="http://schemas.microsoft.com/office/drawing/2014/main" id="{F5569D07-8891-784D-DBEA-0C4111CC831E}"/>
                    </a:ext>
                  </a:extLst>
                </p:cNvPr>
                <p:cNvSpPr>
                  <a:spLocks noChangeAspect="1"/>
                </p:cNvSpPr>
                <p:nvPr/>
              </p:nvSpPr>
              <p:spPr>
                <a:xfrm>
                  <a:off x="5018557" y="440804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68" name="Oval 4767">
                  <a:extLst>
                    <a:ext uri="{FF2B5EF4-FFF2-40B4-BE49-F238E27FC236}">
                      <a16:creationId xmlns:a16="http://schemas.microsoft.com/office/drawing/2014/main" id="{74466112-183C-97D3-729C-BCC0F3F9749D}"/>
                    </a:ext>
                  </a:extLst>
                </p:cNvPr>
                <p:cNvSpPr>
                  <a:spLocks noChangeAspect="1"/>
                </p:cNvSpPr>
                <p:nvPr/>
              </p:nvSpPr>
              <p:spPr>
                <a:xfrm>
                  <a:off x="4867401" y="440106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69" name="Oval 4768">
                  <a:extLst>
                    <a:ext uri="{FF2B5EF4-FFF2-40B4-BE49-F238E27FC236}">
                      <a16:creationId xmlns:a16="http://schemas.microsoft.com/office/drawing/2014/main" id="{A51ACC52-9221-48A1-61B7-684D4A24D083}"/>
                    </a:ext>
                  </a:extLst>
                </p:cNvPr>
                <p:cNvSpPr>
                  <a:spLocks noChangeAspect="1"/>
                </p:cNvSpPr>
                <p:nvPr/>
              </p:nvSpPr>
              <p:spPr>
                <a:xfrm>
                  <a:off x="4722130" y="440106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70" name="Oval 4769">
                  <a:extLst>
                    <a:ext uri="{FF2B5EF4-FFF2-40B4-BE49-F238E27FC236}">
                      <a16:creationId xmlns:a16="http://schemas.microsoft.com/office/drawing/2014/main" id="{4A588F85-4A1E-1813-43B4-5C5B444F5C62}"/>
                    </a:ext>
                  </a:extLst>
                </p:cNvPr>
                <p:cNvSpPr>
                  <a:spLocks noChangeAspect="1"/>
                </p:cNvSpPr>
                <p:nvPr/>
              </p:nvSpPr>
              <p:spPr>
                <a:xfrm>
                  <a:off x="4553118" y="440804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71" name="Oval 4770">
                  <a:extLst>
                    <a:ext uri="{FF2B5EF4-FFF2-40B4-BE49-F238E27FC236}">
                      <a16:creationId xmlns:a16="http://schemas.microsoft.com/office/drawing/2014/main" id="{3A169D06-2E81-735A-A985-AB1F7DAC0D10}"/>
                    </a:ext>
                  </a:extLst>
                </p:cNvPr>
                <p:cNvSpPr>
                  <a:spLocks noChangeAspect="1"/>
                </p:cNvSpPr>
                <p:nvPr/>
              </p:nvSpPr>
              <p:spPr>
                <a:xfrm>
                  <a:off x="4407672" y="440804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72" name="Oval 4771">
                  <a:extLst>
                    <a:ext uri="{FF2B5EF4-FFF2-40B4-BE49-F238E27FC236}">
                      <a16:creationId xmlns:a16="http://schemas.microsoft.com/office/drawing/2014/main" id="{971C9DC8-575B-82FD-FC20-35754E32D40C}"/>
                    </a:ext>
                  </a:extLst>
                </p:cNvPr>
                <p:cNvSpPr>
                  <a:spLocks noChangeAspect="1"/>
                </p:cNvSpPr>
                <p:nvPr/>
              </p:nvSpPr>
              <p:spPr>
                <a:xfrm>
                  <a:off x="4110951" y="440106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73" name="Oval 4772">
                  <a:extLst>
                    <a:ext uri="{FF2B5EF4-FFF2-40B4-BE49-F238E27FC236}">
                      <a16:creationId xmlns:a16="http://schemas.microsoft.com/office/drawing/2014/main" id="{2D0CED9A-A42B-E269-885F-9196A1549FEC}"/>
                    </a:ext>
                  </a:extLst>
                </p:cNvPr>
                <p:cNvSpPr>
                  <a:spLocks noChangeAspect="1"/>
                </p:cNvSpPr>
                <p:nvPr/>
              </p:nvSpPr>
              <p:spPr>
                <a:xfrm>
                  <a:off x="6234777" y="455526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74" name="Oval 4773">
                  <a:extLst>
                    <a:ext uri="{FF2B5EF4-FFF2-40B4-BE49-F238E27FC236}">
                      <a16:creationId xmlns:a16="http://schemas.microsoft.com/office/drawing/2014/main" id="{718529D3-9874-2192-F482-9C80BF9BE053}"/>
                    </a:ext>
                  </a:extLst>
                </p:cNvPr>
                <p:cNvSpPr>
                  <a:spLocks noChangeAspect="1"/>
                </p:cNvSpPr>
                <p:nvPr/>
              </p:nvSpPr>
              <p:spPr>
                <a:xfrm>
                  <a:off x="6089344" y="455404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75" name="Oval 4774">
                  <a:extLst>
                    <a:ext uri="{FF2B5EF4-FFF2-40B4-BE49-F238E27FC236}">
                      <a16:creationId xmlns:a16="http://schemas.microsoft.com/office/drawing/2014/main" id="{7B97ACF4-3ED0-1182-CEA6-59E51BF72295}"/>
                    </a:ext>
                  </a:extLst>
                </p:cNvPr>
                <p:cNvSpPr>
                  <a:spLocks noChangeAspect="1"/>
                </p:cNvSpPr>
                <p:nvPr/>
              </p:nvSpPr>
              <p:spPr>
                <a:xfrm>
                  <a:off x="5929348" y="455465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76" name="Oval 4775">
                  <a:extLst>
                    <a:ext uri="{FF2B5EF4-FFF2-40B4-BE49-F238E27FC236}">
                      <a16:creationId xmlns:a16="http://schemas.microsoft.com/office/drawing/2014/main" id="{3C09F353-830E-51C4-9607-4DD1B4D963A1}"/>
                    </a:ext>
                  </a:extLst>
                </p:cNvPr>
                <p:cNvSpPr>
                  <a:spLocks noChangeAspect="1"/>
                </p:cNvSpPr>
                <p:nvPr/>
              </p:nvSpPr>
              <p:spPr>
                <a:xfrm>
                  <a:off x="5774880" y="455347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77" name="Oval 4776">
                  <a:extLst>
                    <a:ext uri="{FF2B5EF4-FFF2-40B4-BE49-F238E27FC236}">
                      <a16:creationId xmlns:a16="http://schemas.microsoft.com/office/drawing/2014/main" id="{411F7F6E-E599-8B46-DCF9-F7F61C00A2C7}"/>
                    </a:ext>
                  </a:extLst>
                </p:cNvPr>
                <p:cNvSpPr>
                  <a:spLocks noChangeAspect="1"/>
                </p:cNvSpPr>
                <p:nvPr/>
              </p:nvSpPr>
              <p:spPr>
                <a:xfrm>
                  <a:off x="5623919" y="455526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78" name="Oval 4777">
                  <a:extLst>
                    <a:ext uri="{FF2B5EF4-FFF2-40B4-BE49-F238E27FC236}">
                      <a16:creationId xmlns:a16="http://schemas.microsoft.com/office/drawing/2014/main" id="{004972C0-8934-22CE-CE88-CEC5FFEC3C30}"/>
                    </a:ext>
                  </a:extLst>
                </p:cNvPr>
                <p:cNvSpPr>
                  <a:spLocks noChangeAspect="1"/>
                </p:cNvSpPr>
                <p:nvPr/>
              </p:nvSpPr>
              <p:spPr>
                <a:xfrm>
                  <a:off x="5482434" y="455404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79" name="Oval 4778">
                  <a:extLst>
                    <a:ext uri="{FF2B5EF4-FFF2-40B4-BE49-F238E27FC236}">
                      <a16:creationId xmlns:a16="http://schemas.microsoft.com/office/drawing/2014/main" id="{171BDE22-C948-2633-87CA-369B6DC3FABE}"/>
                    </a:ext>
                  </a:extLst>
                </p:cNvPr>
                <p:cNvSpPr>
                  <a:spLocks noChangeAspect="1"/>
                </p:cNvSpPr>
                <p:nvPr/>
              </p:nvSpPr>
              <p:spPr>
                <a:xfrm>
                  <a:off x="5333021" y="455404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80" name="Oval 4779">
                  <a:extLst>
                    <a:ext uri="{FF2B5EF4-FFF2-40B4-BE49-F238E27FC236}">
                      <a16:creationId xmlns:a16="http://schemas.microsoft.com/office/drawing/2014/main" id="{E45AF973-4EB8-F329-8489-01F8D6A60FB4}"/>
                    </a:ext>
                  </a:extLst>
                </p:cNvPr>
                <p:cNvSpPr>
                  <a:spLocks noChangeAspect="1"/>
                </p:cNvSpPr>
                <p:nvPr/>
              </p:nvSpPr>
              <p:spPr>
                <a:xfrm>
                  <a:off x="5018557" y="455347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81" name="Oval 4780">
                  <a:extLst>
                    <a:ext uri="{FF2B5EF4-FFF2-40B4-BE49-F238E27FC236}">
                      <a16:creationId xmlns:a16="http://schemas.microsoft.com/office/drawing/2014/main" id="{76730548-4461-F30D-66D2-EC74A74C1B24}"/>
                    </a:ext>
                  </a:extLst>
                </p:cNvPr>
                <p:cNvSpPr>
                  <a:spLocks noChangeAspect="1"/>
                </p:cNvSpPr>
                <p:nvPr/>
              </p:nvSpPr>
              <p:spPr>
                <a:xfrm>
                  <a:off x="4871575" y="455404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82" name="Oval 4781">
                  <a:extLst>
                    <a:ext uri="{FF2B5EF4-FFF2-40B4-BE49-F238E27FC236}">
                      <a16:creationId xmlns:a16="http://schemas.microsoft.com/office/drawing/2014/main" id="{0C923982-7DF8-5890-147E-EE5B5384B3CF}"/>
                    </a:ext>
                  </a:extLst>
                </p:cNvPr>
                <p:cNvSpPr>
                  <a:spLocks noChangeAspect="1"/>
                </p:cNvSpPr>
                <p:nvPr/>
              </p:nvSpPr>
              <p:spPr>
                <a:xfrm>
                  <a:off x="4722130" y="455404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83" name="Oval 4782">
                  <a:extLst>
                    <a:ext uri="{FF2B5EF4-FFF2-40B4-BE49-F238E27FC236}">
                      <a16:creationId xmlns:a16="http://schemas.microsoft.com/office/drawing/2014/main" id="{B88C1567-5F0F-8E3B-D7E7-09BAC8CFD34B}"/>
                    </a:ext>
                  </a:extLst>
                </p:cNvPr>
                <p:cNvSpPr>
                  <a:spLocks noChangeAspect="1"/>
                </p:cNvSpPr>
                <p:nvPr/>
              </p:nvSpPr>
              <p:spPr>
                <a:xfrm>
                  <a:off x="4554780" y="455389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84" name="Oval 4783">
                  <a:extLst>
                    <a:ext uri="{FF2B5EF4-FFF2-40B4-BE49-F238E27FC236}">
                      <a16:creationId xmlns:a16="http://schemas.microsoft.com/office/drawing/2014/main" id="{B16EFCA4-F881-6E95-B6BB-D10F6C6B6C5D}"/>
                    </a:ext>
                  </a:extLst>
                </p:cNvPr>
                <p:cNvSpPr>
                  <a:spLocks noChangeAspect="1"/>
                </p:cNvSpPr>
                <p:nvPr/>
              </p:nvSpPr>
              <p:spPr>
                <a:xfrm>
                  <a:off x="4407672" y="455347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85" name="Oval 4784">
                  <a:extLst>
                    <a:ext uri="{FF2B5EF4-FFF2-40B4-BE49-F238E27FC236}">
                      <a16:creationId xmlns:a16="http://schemas.microsoft.com/office/drawing/2014/main" id="{0CBA4ED0-96CF-DE84-0050-C5C7B0CE4430}"/>
                    </a:ext>
                  </a:extLst>
                </p:cNvPr>
                <p:cNvSpPr>
                  <a:spLocks noChangeAspect="1"/>
                </p:cNvSpPr>
                <p:nvPr/>
              </p:nvSpPr>
              <p:spPr>
                <a:xfrm>
                  <a:off x="4256705" y="455526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86" name="Oval 4785">
                  <a:extLst>
                    <a:ext uri="{FF2B5EF4-FFF2-40B4-BE49-F238E27FC236}">
                      <a16:creationId xmlns:a16="http://schemas.microsoft.com/office/drawing/2014/main" id="{98AB4FF9-E680-09D0-1C77-387D4CE9B461}"/>
                    </a:ext>
                  </a:extLst>
                </p:cNvPr>
                <p:cNvSpPr>
                  <a:spLocks noChangeAspect="1"/>
                </p:cNvSpPr>
                <p:nvPr/>
              </p:nvSpPr>
              <p:spPr>
                <a:xfrm>
                  <a:off x="4115329" y="456807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87" name="Oval 4786">
                  <a:extLst>
                    <a:ext uri="{FF2B5EF4-FFF2-40B4-BE49-F238E27FC236}">
                      <a16:creationId xmlns:a16="http://schemas.microsoft.com/office/drawing/2014/main" id="{72BB1718-7AD5-D049-CABC-17A08B3B1278}"/>
                    </a:ext>
                  </a:extLst>
                </p:cNvPr>
                <p:cNvSpPr>
                  <a:spLocks noChangeAspect="1"/>
                </p:cNvSpPr>
                <p:nvPr/>
              </p:nvSpPr>
              <p:spPr>
                <a:xfrm>
                  <a:off x="6089344" y="472105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88" name="Oval 4787">
                  <a:extLst>
                    <a:ext uri="{FF2B5EF4-FFF2-40B4-BE49-F238E27FC236}">
                      <a16:creationId xmlns:a16="http://schemas.microsoft.com/office/drawing/2014/main" id="{78BD7452-6B86-C7CF-CDF2-DEB2C5E22534}"/>
                    </a:ext>
                  </a:extLst>
                </p:cNvPr>
                <p:cNvSpPr>
                  <a:spLocks noChangeAspect="1"/>
                </p:cNvSpPr>
                <p:nvPr/>
              </p:nvSpPr>
              <p:spPr>
                <a:xfrm>
                  <a:off x="5929348" y="472105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89" name="Oval 4788">
                  <a:extLst>
                    <a:ext uri="{FF2B5EF4-FFF2-40B4-BE49-F238E27FC236}">
                      <a16:creationId xmlns:a16="http://schemas.microsoft.com/office/drawing/2014/main" id="{32255C89-5EDE-138F-BD75-B42DBE073293}"/>
                    </a:ext>
                  </a:extLst>
                </p:cNvPr>
                <p:cNvSpPr>
                  <a:spLocks noChangeAspect="1"/>
                </p:cNvSpPr>
                <p:nvPr/>
              </p:nvSpPr>
              <p:spPr>
                <a:xfrm>
                  <a:off x="5769352" y="472105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90" name="Oval 4789">
                  <a:extLst>
                    <a:ext uri="{FF2B5EF4-FFF2-40B4-BE49-F238E27FC236}">
                      <a16:creationId xmlns:a16="http://schemas.microsoft.com/office/drawing/2014/main" id="{23E03FCB-FCC0-6150-0039-B1251F3E2C5A}"/>
                    </a:ext>
                  </a:extLst>
                </p:cNvPr>
                <p:cNvSpPr>
                  <a:spLocks noChangeAspect="1"/>
                </p:cNvSpPr>
                <p:nvPr/>
              </p:nvSpPr>
              <p:spPr>
                <a:xfrm>
                  <a:off x="5623919" y="472519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91" name="Oval 4790">
                  <a:extLst>
                    <a:ext uri="{FF2B5EF4-FFF2-40B4-BE49-F238E27FC236}">
                      <a16:creationId xmlns:a16="http://schemas.microsoft.com/office/drawing/2014/main" id="{72ECAF75-2DDF-680C-0767-A3042B63DFCF}"/>
                    </a:ext>
                  </a:extLst>
                </p:cNvPr>
                <p:cNvSpPr>
                  <a:spLocks noChangeAspect="1"/>
                </p:cNvSpPr>
                <p:nvPr/>
              </p:nvSpPr>
              <p:spPr>
                <a:xfrm>
                  <a:off x="5478453" y="472105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92" name="Oval 4791">
                  <a:extLst>
                    <a:ext uri="{FF2B5EF4-FFF2-40B4-BE49-F238E27FC236}">
                      <a16:creationId xmlns:a16="http://schemas.microsoft.com/office/drawing/2014/main" id="{ECFB7193-1538-FA97-0720-9BFA5F602833}"/>
                    </a:ext>
                  </a:extLst>
                </p:cNvPr>
                <p:cNvSpPr>
                  <a:spLocks noChangeAspect="1"/>
                </p:cNvSpPr>
                <p:nvPr/>
              </p:nvSpPr>
              <p:spPr>
                <a:xfrm>
                  <a:off x="5333021" y="472105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93" name="Oval 4792">
                  <a:extLst>
                    <a:ext uri="{FF2B5EF4-FFF2-40B4-BE49-F238E27FC236}">
                      <a16:creationId xmlns:a16="http://schemas.microsoft.com/office/drawing/2014/main" id="{8A98C5D3-6C97-7D3A-01B6-EB38A0698478}"/>
                    </a:ext>
                  </a:extLst>
                </p:cNvPr>
                <p:cNvSpPr>
                  <a:spLocks noChangeAspect="1"/>
                </p:cNvSpPr>
                <p:nvPr/>
              </p:nvSpPr>
              <p:spPr>
                <a:xfrm>
                  <a:off x="5158589" y="472105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94" name="Oval 4793">
                  <a:extLst>
                    <a:ext uri="{FF2B5EF4-FFF2-40B4-BE49-F238E27FC236}">
                      <a16:creationId xmlns:a16="http://schemas.microsoft.com/office/drawing/2014/main" id="{3318F1D4-01C1-434A-DEFF-C4CAC778B8C2}"/>
                    </a:ext>
                  </a:extLst>
                </p:cNvPr>
                <p:cNvSpPr>
                  <a:spLocks noChangeAspect="1"/>
                </p:cNvSpPr>
                <p:nvPr/>
              </p:nvSpPr>
              <p:spPr>
                <a:xfrm>
                  <a:off x="5013029" y="472519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95" name="Oval 4794">
                  <a:extLst>
                    <a:ext uri="{FF2B5EF4-FFF2-40B4-BE49-F238E27FC236}">
                      <a16:creationId xmlns:a16="http://schemas.microsoft.com/office/drawing/2014/main" id="{C5B9DBA5-E38C-4570-7229-936904B9F9B3}"/>
                    </a:ext>
                  </a:extLst>
                </p:cNvPr>
                <p:cNvSpPr>
                  <a:spLocks noChangeAspect="1"/>
                </p:cNvSpPr>
                <p:nvPr/>
              </p:nvSpPr>
              <p:spPr>
                <a:xfrm>
                  <a:off x="4867596" y="472105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96" name="Oval 4795">
                  <a:extLst>
                    <a:ext uri="{FF2B5EF4-FFF2-40B4-BE49-F238E27FC236}">
                      <a16:creationId xmlns:a16="http://schemas.microsoft.com/office/drawing/2014/main" id="{C9FE0D51-D076-DFF2-5E42-2DB6C1B3F0B7}"/>
                    </a:ext>
                  </a:extLst>
                </p:cNvPr>
                <p:cNvSpPr>
                  <a:spLocks noChangeAspect="1"/>
                </p:cNvSpPr>
                <p:nvPr/>
              </p:nvSpPr>
              <p:spPr>
                <a:xfrm>
                  <a:off x="4722130" y="472105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97" name="Oval 4796">
                  <a:extLst>
                    <a:ext uri="{FF2B5EF4-FFF2-40B4-BE49-F238E27FC236}">
                      <a16:creationId xmlns:a16="http://schemas.microsoft.com/office/drawing/2014/main" id="{41D48B39-3ECE-7F1A-9014-A938F2AD2759}"/>
                    </a:ext>
                  </a:extLst>
                </p:cNvPr>
                <p:cNvSpPr>
                  <a:spLocks noChangeAspect="1"/>
                </p:cNvSpPr>
                <p:nvPr/>
              </p:nvSpPr>
              <p:spPr>
                <a:xfrm>
                  <a:off x="4557975" y="472105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98" name="Oval 4797">
                  <a:extLst>
                    <a:ext uri="{FF2B5EF4-FFF2-40B4-BE49-F238E27FC236}">
                      <a16:creationId xmlns:a16="http://schemas.microsoft.com/office/drawing/2014/main" id="{BC57A205-122D-A316-28B1-56F8009A866B}"/>
                    </a:ext>
                  </a:extLst>
                </p:cNvPr>
                <p:cNvSpPr>
                  <a:spLocks noChangeAspect="1"/>
                </p:cNvSpPr>
                <p:nvPr/>
              </p:nvSpPr>
              <p:spPr>
                <a:xfrm>
                  <a:off x="4402155" y="472105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99" name="Oval 4798">
                  <a:extLst>
                    <a:ext uri="{FF2B5EF4-FFF2-40B4-BE49-F238E27FC236}">
                      <a16:creationId xmlns:a16="http://schemas.microsoft.com/office/drawing/2014/main" id="{DBD37CBE-4B43-1725-96F9-628B3E164393}"/>
                    </a:ext>
                  </a:extLst>
                </p:cNvPr>
                <p:cNvSpPr>
                  <a:spLocks noChangeAspect="1"/>
                </p:cNvSpPr>
                <p:nvPr/>
              </p:nvSpPr>
              <p:spPr>
                <a:xfrm>
                  <a:off x="4256705" y="472519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00" name="Oval 4799">
                  <a:extLst>
                    <a:ext uri="{FF2B5EF4-FFF2-40B4-BE49-F238E27FC236}">
                      <a16:creationId xmlns:a16="http://schemas.microsoft.com/office/drawing/2014/main" id="{42DB0FC1-F7DB-2E86-B05A-D737F80923A8}"/>
                    </a:ext>
                  </a:extLst>
                </p:cNvPr>
                <p:cNvSpPr>
                  <a:spLocks noChangeAspect="1"/>
                </p:cNvSpPr>
                <p:nvPr/>
              </p:nvSpPr>
              <p:spPr>
                <a:xfrm>
                  <a:off x="4111259" y="472105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01" name="Oval 4800">
                  <a:extLst>
                    <a:ext uri="{FF2B5EF4-FFF2-40B4-BE49-F238E27FC236}">
                      <a16:creationId xmlns:a16="http://schemas.microsoft.com/office/drawing/2014/main" id="{8E4793D9-5706-ED5F-4E91-C5533E81185F}"/>
                    </a:ext>
                  </a:extLst>
                </p:cNvPr>
                <p:cNvSpPr>
                  <a:spLocks noChangeAspect="1"/>
                </p:cNvSpPr>
                <p:nvPr/>
              </p:nvSpPr>
              <p:spPr>
                <a:xfrm>
                  <a:off x="5478453" y="486649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02" name="Oval 4801">
                  <a:extLst>
                    <a:ext uri="{FF2B5EF4-FFF2-40B4-BE49-F238E27FC236}">
                      <a16:creationId xmlns:a16="http://schemas.microsoft.com/office/drawing/2014/main" id="{CD82C1E1-4B6D-8B17-F751-E24A6172F059}"/>
                    </a:ext>
                  </a:extLst>
                </p:cNvPr>
                <p:cNvSpPr>
                  <a:spLocks noChangeAspect="1"/>
                </p:cNvSpPr>
                <p:nvPr/>
              </p:nvSpPr>
              <p:spPr>
                <a:xfrm>
                  <a:off x="5333021" y="486649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03" name="Oval 4802">
                  <a:extLst>
                    <a:ext uri="{FF2B5EF4-FFF2-40B4-BE49-F238E27FC236}">
                      <a16:creationId xmlns:a16="http://schemas.microsoft.com/office/drawing/2014/main" id="{4C0D19F3-90F4-37BF-9468-ACF8F29D0ED6}"/>
                    </a:ext>
                  </a:extLst>
                </p:cNvPr>
                <p:cNvSpPr>
                  <a:spLocks noChangeAspect="1"/>
                </p:cNvSpPr>
                <p:nvPr/>
              </p:nvSpPr>
              <p:spPr>
                <a:xfrm>
                  <a:off x="5164318" y="487175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04" name="Oval 4803">
                  <a:extLst>
                    <a:ext uri="{FF2B5EF4-FFF2-40B4-BE49-F238E27FC236}">
                      <a16:creationId xmlns:a16="http://schemas.microsoft.com/office/drawing/2014/main" id="{CD39C5AA-DB02-2F5E-7189-C1E163A9C089}"/>
                    </a:ext>
                  </a:extLst>
                </p:cNvPr>
                <p:cNvSpPr>
                  <a:spLocks noChangeAspect="1"/>
                </p:cNvSpPr>
                <p:nvPr/>
              </p:nvSpPr>
              <p:spPr>
                <a:xfrm>
                  <a:off x="5013029" y="487063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05" name="Oval 4804">
                  <a:extLst>
                    <a:ext uri="{FF2B5EF4-FFF2-40B4-BE49-F238E27FC236}">
                      <a16:creationId xmlns:a16="http://schemas.microsoft.com/office/drawing/2014/main" id="{CF7030FE-2B50-CA2D-EF3C-55D5C878B214}"/>
                    </a:ext>
                  </a:extLst>
                </p:cNvPr>
                <p:cNvSpPr>
                  <a:spLocks noChangeAspect="1"/>
                </p:cNvSpPr>
                <p:nvPr/>
              </p:nvSpPr>
              <p:spPr>
                <a:xfrm>
                  <a:off x="4867596" y="486649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06" name="Oval 4805">
                  <a:extLst>
                    <a:ext uri="{FF2B5EF4-FFF2-40B4-BE49-F238E27FC236}">
                      <a16:creationId xmlns:a16="http://schemas.microsoft.com/office/drawing/2014/main" id="{0951AF59-20B9-B84F-8F38-A3E2EFCFACF0}"/>
                    </a:ext>
                  </a:extLst>
                </p:cNvPr>
                <p:cNvSpPr>
                  <a:spLocks noChangeAspect="1"/>
                </p:cNvSpPr>
                <p:nvPr/>
              </p:nvSpPr>
              <p:spPr>
                <a:xfrm>
                  <a:off x="4722130" y="486649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07" name="Oval 4806">
                  <a:extLst>
                    <a:ext uri="{FF2B5EF4-FFF2-40B4-BE49-F238E27FC236}">
                      <a16:creationId xmlns:a16="http://schemas.microsoft.com/office/drawing/2014/main" id="{576C7C1A-DDFD-3973-F07F-7E11038DCC15}"/>
                    </a:ext>
                  </a:extLst>
                </p:cNvPr>
                <p:cNvSpPr>
                  <a:spLocks noChangeAspect="1"/>
                </p:cNvSpPr>
                <p:nvPr/>
              </p:nvSpPr>
              <p:spPr>
                <a:xfrm>
                  <a:off x="4557975" y="486649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08" name="Oval 4807">
                  <a:extLst>
                    <a:ext uri="{FF2B5EF4-FFF2-40B4-BE49-F238E27FC236}">
                      <a16:creationId xmlns:a16="http://schemas.microsoft.com/office/drawing/2014/main" id="{4BBAA2F9-00CD-97E4-F1A9-25A7AA80EC71}"/>
                    </a:ext>
                  </a:extLst>
                </p:cNvPr>
                <p:cNvSpPr>
                  <a:spLocks noChangeAspect="1"/>
                </p:cNvSpPr>
                <p:nvPr/>
              </p:nvSpPr>
              <p:spPr>
                <a:xfrm>
                  <a:off x="4402155" y="487047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09" name="Oval 4808">
                  <a:extLst>
                    <a:ext uri="{FF2B5EF4-FFF2-40B4-BE49-F238E27FC236}">
                      <a16:creationId xmlns:a16="http://schemas.microsoft.com/office/drawing/2014/main" id="{AC525ABA-B54F-2844-99D8-FDA51F26AB19}"/>
                    </a:ext>
                  </a:extLst>
                </p:cNvPr>
                <p:cNvSpPr>
                  <a:spLocks noChangeAspect="1"/>
                </p:cNvSpPr>
                <p:nvPr/>
              </p:nvSpPr>
              <p:spPr>
                <a:xfrm>
                  <a:off x="4256705" y="486649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10" name="Oval 4809">
                  <a:extLst>
                    <a:ext uri="{FF2B5EF4-FFF2-40B4-BE49-F238E27FC236}">
                      <a16:creationId xmlns:a16="http://schemas.microsoft.com/office/drawing/2014/main" id="{78BB6277-66D8-397F-0336-C4F0BEC49D1C}"/>
                    </a:ext>
                  </a:extLst>
                </p:cNvPr>
                <p:cNvSpPr>
                  <a:spLocks noChangeAspect="1"/>
                </p:cNvSpPr>
                <p:nvPr/>
              </p:nvSpPr>
              <p:spPr>
                <a:xfrm>
                  <a:off x="5774880" y="487347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11" name="Oval 4810">
                  <a:extLst>
                    <a:ext uri="{FF2B5EF4-FFF2-40B4-BE49-F238E27FC236}">
                      <a16:creationId xmlns:a16="http://schemas.microsoft.com/office/drawing/2014/main" id="{0D555E15-094E-DB0E-29A4-E0C4E160A6B9}"/>
                    </a:ext>
                  </a:extLst>
                </p:cNvPr>
                <p:cNvSpPr>
                  <a:spLocks noChangeAspect="1"/>
                </p:cNvSpPr>
                <p:nvPr/>
              </p:nvSpPr>
              <p:spPr>
                <a:xfrm>
                  <a:off x="5623919" y="486692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12" name="Oval 4811">
                  <a:extLst>
                    <a:ext uri="{FF2B5EF4-FFF2-40B4-BE49-F238E27FC236}">
                      <a16:creationId xmlns:a16="http://schemas.microsoft.com/office/drawing/2014/main" id="{F1AC7D75-3C3D-84C6-CEF3-9D410F3DB544}"/>
                    </a:ext>
                  </a:extLst>
                </p:cNvPr>
                <p:cNvSpPr>
                  <a:spLocks noChangeAspect="1"/>
                </p:cNvSpPr>
                <p:nvPr/>
              </p:nvSpPr>
              <p:spPr>
                <a:xfrm>
                  <a:off x="4110951" y="486649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13" name="Oval 4812">
                  <a:extLst>
                    <a:ext uri="{FF2B5EF4-FFF2-40B4-BE49-F238E27FC236}">
                      <a16:creationId xmlns:a16="http://schemas.microsoft.com/office/drawing/2014/main" id="{1CFFFFB8-7F59-5198-595F-66FF3880A31F}"/>
                    </a:ext>
                  </a:extLst>
                </p:cNvPr>
                <p:cNvSpPr>
                  <a:spLocks noChangeAspect="1"/>
                </p:cNvSpPr>
                <p:nvPr/>
              </p:nvSpPr>
              <p:spPr>
                <a:xfrm>
                  <a:off x="5622884" y="501645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14" name="Oval 4813">
                  <a:extLst>
                    <a:ext uri="{FF2B5EF4-FFF2-40B4-BE49-F238E27FC236}">
                      <a16:creationId xmlns:a16="http://schemas.microsoft.com/office/drawing/2014/main" id="{F8D0127C-AF67-C75C-DD44-51B397EFD09F}"/>
                    </a:ext>
                  </a:extLst>
                </p:cNvPr>
                <p:cNvSpPr>
                  <a:spLocks noChangeAspect="1"/>
                </p:cNvSpPr>
                <p:nvPr/>
              </p:nvSpPr>
              <p:spPr>
                <a:xfrm>
                  <a:off x="5478278" y="501195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15" name="Oval 4814">
                  <a:extLst>
                    <a:ext uri="{FF2B5EF4-FFF2-40B4-BE49-F238E27FC236}">
                      <a16:creationId xmlns:a16="http://schemas.microsoft.com/office/drawing/2014/main" id="{DEBC7F92-4240-D2F3-BAF9-6CD79F0C5040}"/>
                    </a:ext>
                  </a:extLst>
                </p:cNvPr>
                <p:cNvSpPr>
                  <a:spLocks noChangeAspect="1"/>
                </p:cNvSpPr>
                <p:nvPr/>
              </p:nvSpPr>
              <p:spPr>
                <a:xfrm>
                  <a:off x="5333021" y="501195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16" name="Oval 4815">
                  <a:extLst>
                    <a:ext uri="{FF2B5EF4-FFF2-40B4-BE49-F238E27FC236}">
                      <a16:creationId xmlns:a16="http://schemas.microsoft.com/office/drawing/2014/main" id="{BEC8D590-CC92-5357-4E37-3FDB488983B4}"/>
                    </a:ext>
                  </a:extLst>
                </p:cNvPr>
                <p:cNvSpPr>
                  <a:spLocks noChangeAspect="1"/>
                </p:cNvSpPr>
                <p:nvPr/>
              </p:nvSpPr>
              <p:spPr>
                <a:xfrm>
                  <a:off x="5164001" y="501890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17" name="Oval 4816">
                  <a:extLst>
                    <a:ext uri="{FF2B5EF4-FFF2-40B4-BE49-F238E27FC236}">
                      <a16:creationId xmlns:a16="http://schemas.microsoft.com/office/drawing/2014/main" id="{759E9C23-6720-3206-0A1F-D1D99752DD99}"/>
                    </a:ext>
                  </a:extLst>
                </p:cNvPr>
                <p:cNvSpPr>
                  <a:spLocks noChangeAspect="1"/>
                </p:cNvSpPr>
                <p:nvPr/>
              </p:nvSpPr>
              <p:spPr>
                <a:xfrm>
                  <a:off x="5018557" y="501890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18" name="Oval 4817">
                  <a:extLst>
                    <a:ext uri="{FF2B5EF4-FFF2-40B4-BE49-F238E27FC236}">
                      <a16:creationId xmlns:a16="http://schemas.microsoft.com/office/drawing/2014/main" id="{8C914418-BCF0-451F-E5BE-B5C45AA39287}"/>
                    </a:ext>
                  </a:extLst>
                </p:cNvPr>
                <p:cNvSpPr>
                  <a:spLocks noChangeAspect="1"/>
                </p:cNvSpPr>
                <p:nvPr/>
              </p:nvSpPr>
              <p:spPr>
                <a:xfrm>
                  <a:off x="4867401" y="501195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19" name="Oval 4818">
                  <a:extLst>
                    <a:ext uri="{FF2B5EF4-FFF2-40B4-BE49-F238E27FC236}">
                      <a16:creationId xmlns:a16="http://schemas.microsoft.com/office/drawing/2014/main" id="{7A1B9EF9-44A0-6514-36AE-1652077611D4}"/>
                    </a:ext>
                  </a:extLst>
                </p:cNvPr>
                <p:cNvSpPr>
                  <a:spLocks noChangeAspect="1"/>
                </p:cNvSpPr>
                <p:nvPr/>
              </p:nvSpPr>
              <p:spPr>
                <a:xfrm>
                  <a:off x="4722130" y="501195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20" name="Oval 4819">
                  <a:extLst>
                    <a:ext uri="{FF2B5EF4-FFF2-40B4-BE49-F238E27FC236}">
                      <a16:creationId xmlns:a16="http://schemas.microsoft.com/office/drawing/2014/main" id="{3A0A3D58-68E2-30D9-675C-AFF9ED53CCC0}"/>
                    </a:ext>
                  </a:extLst>
                </p:cNvPr>
                <p:cNvSpPr>
                  <a:spLocks noChangeAspect="1"/>
                </p:cNvSpPr>
                <p:nvPr/>
              </p:nvSpPr>
              <p:spPr>
                <a:xfrm>
                  <a:off x="4553118" y="501890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21" name="Oval 4820">
                  <a:extLst>
                    <a:ext uri="{FF2B5EF4-FFF2-40B4-BE49-F238E27FC236}">
                      <a16:creationId xmlns:a16="http://schemas.microsoft.com/office/drawing/2014/main" id="{14846C18-E848-BD1C-33D7-A96D1839626F}"/>
                    </a:ext>
                  </a:extLst>
                </p:cNvPr>
                <p:cNvSpPr>
                  <a:spLocks noChangeAspect="1"/>
                </p:cNvSpPr>
                <p:nvPr/>
              </p:nvSpPr>
              <p:spPr>
                <a:xfrm>
                  <a:off x="4407672" y="501890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22" name="Oval 4821">
                  <a:extLst>
                    <a:ext uri="{FF2B5EF4-FFF2-40B4-BE49-F238E27FC236}">
                      <a16:creationId xmlns:a16="http://schemas.microsoft.com/office/drawing/2014/main" id="{3F35E669-1FBA-9783-7F16-C017AE2B3A30}"/>
                    </a:ext>
                  </a:extLst>
                </p:cNvPr>
                <p:cNvSpPr>
                  <a:spLocks noChangeAspect="1"/>
                </p:cNvSpPr>
                <p:nvPr/>
              </p:nvSpPr>
              <p:spPr>
                <a:xfrm>
                  <a:off x="4258989" y="501415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23" name="Oval 4822">
                  <a:extLst>
                    <a:ext uri="{FF2B5EF4-FFF2-40B4-BE49-F238E27FC236}">
                      <a16:creationId xmlns:a16="http://schemas.microsoft.com/office/drawing/2014/main" id="{8411CCE4-3BFC-4633-6C53-C601E2D74038}"/>
                    </a:ext>
                  </a:extLst>
                </p:cNvPr>
                <p:cNvSpPr>
                  <a:spLocks noChangeAspect="1"/>
                </p:cNvSpPr>
                <p:nvPr/>
              </p:nvSpPr>
              <p:spPr>
                <a:xfrm>
                  <a:off x="5482530" y="517896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24" name="Oval 4823">
                  <a:extLst>
                    <a:ext uri="{FF2B5EF4-FFF2-40B4-BE49-F238E27FC236}">
                      <a16:creationId xmlns:a16="http://schemas.microsoft.com/office/drawing/2014/main" id="{AD3B1C3B-FEFC-D466-B773-96F5025DBFC4}"/>
                    </a:ext>
                  </a:extLst>
                </p:cNvPr>
                <p:cNvSpPr>
                  <a:spLocks noChangeAspect="1"/>
                </p:cNvSpPr>
                <p:nvPr/>
              </p:nvSpPr>
              <p:spPr>
                <a:xfrm>
                  <a:off x="5337086" y="517896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25" name="Oval 4824">
                  <a:extLst>
                    <a:ext uri="{FF2B5EF4-FFF2-40B4-BE49-F238E27FC236}">
                      <a16:creationId xmlns:a16="http://schemas.microsoft.com/office/drawing/2014/main" id="{C66697A2-F005-17D3-8613-33760B70334B}"/>
                    </a:ext>
                  </a:extLst>
                </p:cNvPr>
                <p:cNvSpPr>
                  <a:spLocks noChangeAspect="1"/>
                </p:cNvSpPr>
                <p:nvPr/>
              </p:nvSpPr>
              <p:spPr>
                <a:xfrm>
                  <a:off x="5164001" y="516436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26" name="Oval 4825">
                  <a:extLst>
                    <a:ext uri="{FF2B5EF4-FFF2-40B4-BE49-F238E27FC236}">
                      <a16:creationId xmlns:a16="http://schemas.microsoft.com/office/drawing/2014/main" id="{A6142B0F-3DE8-9CD4-7D85-3BC8306C415F}"/>
                    </a:ext>
                  </a:extLst>
                </p:cNvPr>
                <p:cNvSpPr>
                  <a:spLocks noChangeAspect="1"/>
                </p:cNvSpPr>
                <p:nvPr/>
              </p:nvSpPr>
              <p:spPr>
                <a:xfrm>
                  <a:off x="5018557" y="516436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27" name="Oval 4826">
                  <a:extLst>
                    <a:ext uri="{FF2B5EF4-FFF2-40B4-BE49-F238E27FC236}">
                      <a16:creationId xmlns:a16="http://schemas.microsoft.com/office/drawing/2014/main" id="{2C8D1408-2467-3A31-44E4-4CC89B2C3F0A}"/>
                    </a:ext>
                  </a:extLst>
                </p:cNvPr>
                <p:cNvSpPr>
                  <a:spLocks noChangeAspect="1"/>
                </p:cNvSpPr>
                <p:nvPr/>
              </p:nvSpPr>
              <p:spPr>
                <a:xfrm>
                  <a:off x="4871661" y="517896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28" name="Oval 4827">
                  <a:extLst>
                    <a:ext uri="{FF2B5EF4-FFF2-40B4-BE49-F238E27FC236}">
                      <a16:creationId xmlns:a16="http://schemas.microsoft.com/office/drawing/2014/main" id="{FAA8705D-237C-A688-56EE-D06E3E94B5D2}"/>
                    </a:ext>
                  </a:extLst>
                </p:cNvPr>
                <p:cNvSpPr>
                  <a:spLocks noChangeAspect="1"/>
                </p:cNvSpPr>
                <p:nvPr/>
              </p:nvSpPr>
              <p:spPr>
                <a:xfrm>
                  <a:off x="4726207" y="517896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29" name="Oval 4828">
                  <a:extLst>
                    <a:ext uri="{FF2B5EF4-FFF2-40B4-BE49-F238E27FC236}">
                      <a16:creationId xmlns:a16="http://schemas.microsoft.com/office/drawing/2014/main" id="{0C472D51-6A21-EC43-CE77-FCE72710A964}"/>
                    </a:ext>
                  </a:extLst>
                </p:cNvPr>
                <p:cNvSpPr>
                  <a:spLocks noChangeAspect="1"/>
                </p:cNvSpPr>
                <p:nvPr/>
              </p:nvSpPr>
              <p:spPr>
                <a:xfrm>
                  <a:off x="4554780" y="516478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30" name="Oval 4829">
                  <a:extLst>
                    <a:ext uri="{FF2B5EF4-FFF2-40B4-BE49-F238E27FC236}">
                      <a16:creationId xmlns:a16="http://schemas.microsoft.com/office/drawing/2014/main" id="{89117B15-F889-C65D-3DC4-6030AD3DDD8F}"/>
                    </a:ext>
                  </a:extLst>
                </p:cNvPr>
                <p:cNvSpPr>
                  <a:spLocks noChangeAspect="1"/>
                </p:cNvSpPr>
                <p:nvPr/>
              </p:nvSpPr>
              <p:spPr>
                <a:xfrm>
                  <a:off x="4407672" y="516436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31" name="Oval 4830">
                  <a:extLst>
                    <a:ext uri="{FF2B5EF4-FFF2-40B4-BE49-F238E27FC236}">
                      <a16:creationId xmlns:a16="http://schemas.microsoft.com/office/drawing/2014/main" id="{DB1966C6-00D0-C149-3B55-2752DBA64631}"/>
                    </a:ext>
                  </a:extLst>
                </p:cNvPr>
                <p:cNvSpPr>
                  <a:spLocks noChangeAspect="1"/>
                </p:cNvSpPr>
                <p:nvPr/>
              </p:nvSpPr>
              <p:spPr>
                <a:xfrm>
                  <a:off x="4260775" y="517896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32" name="Oval 4831">
                  <a:extLst>
                    <a:ext uri="{FF2B5EF4-FFF2-40B4-BE49-F238E27FC236}">
                      <a16:creationId xmlns:a16="http://schemas.microsoft.com/office/drawing/2014/main" id="{AC6F033C-B8AA-56BA-4E99-E2A75B513D6E}"/>
                    </a:ext>
                  </a:extLst>
                </p:cNvPr>
                <p:cNvSpPr>
                  <a:spLocks noChangeAspect="1"/>
                </p:cNvSpPr>
                <p:nvPr/>
              </p:nvSpPr>
              <p:spPr>
                <a:xfrm>
                  <a:off x="5623919" y="533606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33" name="Oval 4832">
                  <a:extLst>
                    <a:ext uri="{FF2B5EF4-FFF2-40B4-BE49-F238E27FC236}">
                      <a16:creationId xmlns:a16="http://schemas.microsoft.com/office/drawing/2014/main" id="{51EA31ED-DB69-795E-B4B3-1B14D00C2B89}"/>
                    </a:ext>
                  </a:extLst>
                </p:cNvPr>
                <p:cNvSpPr>
                  <a:spLocks noChangeAspect="1"/>
                </p:cNvSpPr>
                <p:nvPr/>
              </p:nvSpPr>
              <p:spPr>
                <a:xfrm>
                  <a:off x="5478453" y="533191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34" name="Oval 4833">
                  <a:extLst>
                    <a:ext uri="{FF2B5EF4-FFF2-40B4-BE49-F238E27FC236}">
                      <a16:creationId xmlns:a16="http://schemas.microsoft.com/office/drawing/2014/main" id="{1D50C8A6-6BED-576E-03E4-8C927A8C273B}"/>
                    </a:ext>
                  </a:extLst>
                </p:cNvPr>
                <p:cNvSpPr>
                  <a:spLocks noChangeAspect="1"/>
                </p:cNvSpPr>
                <p:nvPr/>
              </p:nvSpPr>
              <p:spPr>
                <a:xfrm>
                  <a:off x="5333021" y="533191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35" name="Oval 4834">
                  <a:extLst>
                    <a:ext uri="{FF2B5EF4-FFF2-40B4-BE49-F238E27FC236}">
                      <a16:creationId xmlns:a16="http://schemas.microsoft.com/office/drawing/2014/main" id="{1F15F19F-E577-64CD-89B6-F9C819A46C12}"/>
                    </a:ext>
                  </a:extLst>
                </p:cNvPr>
                <p:cNvSpPr>
                  <a:spLocks noChangeAspect="1"/>
                </p:cNvSpPr>
                <p:nvPr/>
              </p:nvSpPr>
              <p:spPr>
                <a:xfrm>
                  <a:off x="5168854" y="533191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36" name="Oval 4835">
                  <a:extLst>
                    <a:ext uri="{FF2B5EF4-FFF2-40B4-BE49-F238E27FC236}">
                      <a16:creationId xmlns:a16="http://schemas.microsoft.com/office/drawing/2014/main" id="{55897731-B07D-0B77-B592-228D1920D8D9}"/>
                    </a:ext>
                  </a:extLst>
                </p:cNvPr>
                <p:cNvSpPr>
                  <a:spLocks noChangeAspect="1"/>
                </p:cNvSpPr>
                <p:nvPr/>
              </p:nvSpPr>
              <p:spPr>
                <a:xfrm>
                  <a:off x="5013029" y="533606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37" name="Oval 4836">
                  <a:extLst>
                    <a:ext uri="{FF2B5EF4-FFF2-40B4-BE49-F238E27FC236}">
                      <a16:creationId xmlns:a16="http://schemas.microsoft.com/office/drawing/2014/main" id="{707117C2-8998-FCAC-5E82-F3A397848F5B}"/>
                    </a:ext>
                  </a:extLst>
                </p:cNvPr>
                <p:cNvSpPr>
                  <a:spLocks noChangeAspect="1"/>
                </p:cNvSpPr>
                <p:nvPr/>
              </p:nvSpPr>
              <p:spPr>
                <a:xfrm>
                  <a:off x="4867596" y="533191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38" name="Oval 4837">
                  <a:extLst>
                    <a:ext uri="{FF2B5EF4-FFF2-40B4-BE49-F238E27FC236}">
                      <a16:creationId xmlns:a16="http://schemas.microsoft.com/office/drawing/2014/main" id="{BD204447-B15F-DFE5-50D0-547917B65CAF}"/>
                    </a:ext>
                  </a:extLst>
                </p:cNvPr>
                <p:cNvSpPr>
                  <a:spLocks noChangeAspect="1"/>
                </p:cNvSpPr>
                <p:nvPr/>
              </p:nvSpPr>
              <p:spPr>
                <a:xfrm>
                  <a:off x="4722130" y="533191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39" name="Oval 4838">
                  <a:extLst>
                    <a:ext uri="{FF2B5EF4-FFF2-40B4-BE49-F238E27FC236}">
                      <a16:creationId xmlns:a16="http://schemas.microsoft.com/office/drawing/2014/main" id="{0946E859-B822-386C-6402-E0B93FAB6C95}"/>
                    </a:ext>
                  </a:extLst>
                </p:cNvPr>
                <p:cNvSpPr>
                  <a:spLocks noChangeAspect="1"/>
                </p:cNvSpPr>
                <p:nvPr/>
              </p:nvSpPr>
              <p:spPr>
                <a:xfrm>
                  <a:off x="4557975" y="533191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40" name="Oval 4839">
                  <a:extLst>
                    <a:ext uri="{FF2B5EF4-FFF2-40B4-BE49-F238E27FC236}">
                      <a16:creationId xmlns:a16="http://schemas.microsoft.com/office/drawing/2014/main" id="{801020D0-9DAE-854D-2280-2F6EC070626F}"/>
                    </a:ext>
                  </a:extLst>
                </p:cNvPr>
                <p:cNvSpPr>
                  <a:spLocks noChangeAspect="1"/>
                </p:cNvSpPr>
                <p:nvPr/>
              </p:nvSpPr>
              <p:spPr>
                <a:xfrm>
                  <a:off x="4402155" y="5331915"/>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41" name="Oval 4840">
                  <a:extLst>
                    <a:ext uri="{FF2B5EF4-FFF2-40B4-BE49-F238E27FC236}">
                      <a16:creationId xmlns:a16="http://schemas.microsoft.com/office/drawing/2014/main" id="{18133C16-12AC-4E20-4C8A-76DEADD9A73B}"/>
                    </a:ext>
                  </a:extLst>
                </p:cNvPr>
                <p:cNvSpPr>
                  <a:spLocks noChangeAspect="1"/>
                </p:cNvSpPr>
                <p:nvPr/>
              </p:nvSpPr>
              <p:spPr>
                <a:xfrm>
                  <a:off x="5478453" y="547738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42" name="Oval 4841">
                  <a:extLst>
                    <a:ext uri="{FF2B5EF4-FFF2-40B4-BE49-F238E27FC236}">
                      <a16:creationId xmlns:a16="http://schemas.microsoft.com/office/drawing/2014/main" id="{2DBD960A-0C38-9C6E-7C5F-776CD82CBBBB}"/>
                    </a:ext>
                  </a:extLst>
                </p:cNvPr>
                <p:cNvSpPr>
                  <a:spLocks noChangeAspect="1"/>
                </p:cNvSpPr>
                <p:nvPr/>
              </p:nvSpPr>
              <p:spPr>
                <a:xfrm>
                  <a:off x="4408000" y="549191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43" name="Oval 4842">
                  <a:extLst>
                    <a:ext uri="{FF2B5EF4-FFF2-40B4-BE49-F238E27FC236}">
                      <a16:creationId xmlns:a16="http://schemas.microsoft.com/office/drawing/2014/main" id="{452B01A2-7074-5A02-710D-E370DF71DAE4}"/>
                    </a:ext>
                  </a:extLst>
                </p:cNvPr>
                <p:cNvSpPr>
                  <a:spLocks noChangeAspect="1"/>
                </p:cNvSpPr>
                <p:nvPr/>
              </p:nvSpPr>
              <p:spPr>
                <a:xfrm>
                  <a:off x="5626118" y="547964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44" name="Oval 4843">
                  <a:extLst>
                    <a:ext uri="{FF2B5EF4-FFF2-40B4-BE49-F238E27FC236}">
                      <a16:creationId xmlns:a16="http://schemas.microsoft.com/office/drawing/2014/main" id="{5C9C418B-D804-95B2-8C81-8CE72DF2A911}"/>
                    </a:ext>
                  </a:extLst>
                </p:cNvPr>
                <p:cNvSpPr>
                  <a:spLocks noChangeAspect="1"/>
                </p:cNvSpPr>
                <p:nvPr/>
              </p:nvSpPr>
              <p:spPr>
                <a:xfrm>
                  <a:off x="5332706" y="547738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45" name="Oval 4844">
                  <a:extLst>
                    <a:ext uri="{FF2B5EF4-FFF2-40B4-BE49-F238E27FC236}">
                      <a16:creationId xmlns:a16="http://schemas.microsoft.com/office/drawing/2014/main" id="{9BF1F8BC-AB0D-A564-B3EB-F62669ACC201}"/>
                    </a:ext>
                  </a:extLst>
                </p:cNvPr>
                <p:cNvSpPr>
                  <a:spLocks noChangeAspect="1"/>
                </p:cNvSpPr>
                <p:nvPr/>
              </p:nvSpPr>
              <p:spPr>
                <a:xfrm>
                  <a:off x="5167225" y="547738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46" name="Oval 4845">
                  <a:extLst>
                    <a:ext uri="{FF2B5EF4-FFF2-40B4-BE49-F238E27FC236}">
                      <a16:creationId xmlns:a16="http://schemas.microsoft.com/office/drawing/2014/main" id="{498FBFD0-590A-1763-8470-F478728374AF}"/>
                    </a:ext>
                  </a:extLst>
                </p:cNvPr>
                <p:cNvSpPr>
                  <a:spLocks noChangeAspect="1"/>
                </p:cNvSpPr>
                <p:nvPr/>
              </p:nvSpPr>
              <p:spPr>
                <a:xfrm>
                  <a:off x="5015227" y="5479649"/>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47" name="Oval 4846">
                  <a:extLst>
                    <a:ext uri="{FF2B5EF4-FFF2-40B4-BE49-F238E27FC236}">
                      <a16:creationId xmlns:a16="http://schemas.microsoft.com/office/drawing/2014/main" id="{72C5C3C3-117B-D518-4F45-E214C20CCC36}"/>
                    </a:ext>
                  </a:extLst>
                </p:cNvPr>
                <p:cNvSpPr>
                  <a:spLocks noChangeAspect="1"/>
                </p:cNvSpPr>
                <p:nvPr/>
              </p:nvSpPr>
              <p:spPr>
                <a:xfrm>
                  <a:off x="4867281" y="547738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48" name="Oval 4847">
                  <a:extLst>
                    <a:ext uri="{FF2B5EF4-FFF2-40B4-BE49-F238E27FC236}">
                      <a16:creationId xmlns:a16="http://schemas.microsoft.com/office/drawing/2014/main" id="{77B6164B-A021-B9E7-D901-A8A5FF00A566}"/>
                    </a:ext>
                  </a:extLst>
                </p:cNvPr>
                <p:cNvSpPr>
                  <a:spLocks noChangeAspect="1"/>
                </p:cNvSpPr>
                <p:nvPr/>
              </p:nvSpPr>
              <p:spPr>
                <a:xfrm>
                  <a:off x="4721826" y="547738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49" name="Oval 4848">
                  <a:extLst>
                    <a:ext uri="{FF2B5EF4-FFF2-40B4-BE49-F238E27FC236}">
                      <a16:creationId xmlns:a16="http://schemas.microsoft.com/office/drawing/2014/main" id="{4C854652-7B71-6C50-4699-27A9A47527B0}"/>
                    </a:ext>
                  </a:extLst>
                </p:cNvPr>
                <p:cNvSpPr>
                  <a:spLocks noChangeAspect="1"/>
                </p:cNvSpPr>
                <p:nvPr/>
              </p:nvSpPr>
              <p:spPr>
                <a:xfrm>
                  <a:off x="4562789" y="547738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50" name="Oval 4849">
                  <a:extLst>
                    <a:ext uri="{FF2B5EF4-FFF2-40B4-BE49-F238E27FC236}">
                      <a16:creationId xmlns:a16="http://schemas.microsoft.com/office/drawing/2014/main" id="{E78D4270-B139-DBB3-9398-5A93B24394DD}"/>
                    </a:ext>
                  </a:extLst>
                </p:cNvPr>
                <p:cNvSpPr>
                  <a:spLocks noChangeAspect="1"/>
                </p:cNvSpPr>
                <p:nvPr/>
              </p:nvSpPr>
              <p:spPr>
                <a:xfrm>
                  <a:off x="5478453" y="562281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51" name="Oval 4850">
                  <a:extLst>
                    <a:ext uri="{FF2B5EF4-FFF2-40B4-BE49-F238E27FC236}">
                      <a16:creationId xmlns:a16="http://schemas.microsoft.com/office/drawing/2014/main" id="{0E9012F3-330F-DDC1-62CF-1A086FC751FA}"/>
                    </a:ext>
                  </a:extLst>
                </p:cNvPr>
                <p:cNvSpPr>
                  <a:spLocks noChangeAspect="1"/>
                </p:cNvSpPr>
                <p:nvPr/>
              </p:nvSpPr>
              <p:spPr>
                <a:xfrm>
                  <a:off x="5333021" y="5630357"/>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52" name="Oval 4851">
                  <a:extLst>
                    <a:ext uri="{FF2B5EF4-FFF2-40B4-BE49-F238E27FC236}">
                      <a16:creationId xmlns:a16="http://schemas.microsoft.com/office/drawing/2014/main" id="{45CE588A-CC64-7DAC-D842-1BCAC6BEC299}"/>
                    </a:ext>
                  </a:extLst>
                </p:cNvPr>
                <p:cNvSpPr>
                  <a:spLocks noChangeAspect="1"/>
                </p:cNvSpPr>
                <p:nvPr/>
              </p:nvSpPr>
              <p:spPr>
                <a:xfrm>
                  <a:off x="5164001" y="562979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53" name="Oval 4852">
                  <a:extLst>
                    <a:ext uri="{FF2B5EF4-FFF2-40B4-BE49-F238E27FC236}">
                      <a16:creationId xmlns:a16="http://schemas.microsoft.com/office/drawing/2014/main" id="{0D12B08A-8318-5631-F2D0-2CB0CDD90566}"/>
                    </a:ext>
                  </a:extLst>
                </p:cNvPr>
                <p:cNvSpPr>
                  <a:spLocks noChangeAspect="1"/>
                </p:cNvSpPr>
                <p:nvPr/>
              </p:nvSpPr>
              <p:spPr>
                <a:xfrm>
                  <a:off x="4845482" y="5600702"/>
                  <a:ext cx="146142" cy="146134"/>
                </a:xfrm>
                <a:prstGeom prst="ellipse">
                  <a:avLst/>
                </a:prstGeom>
                <a:solidFill>
                  <a:srgbClr val="385723"/>
                </a:solidFill>
                <a:ln w="10484" cap="flat">
                  <a:solidFill>
                    <a:sysClr val="window" lastClr="FFFFFF"/>
                  </a:solidFill>
                  <a:prstDash val="solid"/>
                  <a:miter/>
                </a:ln>
                <a:effectLst>
                  <a:outerShdw blurRad="38100" algn="c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4854" name="Oval 4853">
                  <a:extLst>
                    <a:ext uri="{FF2B5EF4-FFF2-40B4-BE49-F238E27FC236}">
                      <a16:creationId xmlns:a16="http://schemas.microsoft.com/office/drawing/2014/main" id="{8CE34090-030A-6A13-7550-646F61A4D8B2}"/>
                    </a:ext>
                  </a:extLst>
                </p:cNvPr>
                <p:cNvSpPr>
                  <a:spLocks noChangeAspect="1"/>
                </p:cNvSpPr>
                <p:nvPr/>
              </p:nvSpPr>
              <p:spPr>
                <a:xfrm>
                  <a:off x="4722130" y="562281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55" name="Oval 4854">
                  <a:extLst>
                    <a:ext uri="{FF2B5EF4-FFF2-40B4-BE49-F238E27FC236}">
                      <a16:creationId xmlns:a16="http://schemas.microsoft.com/office/drawing/2014/main" id="{656BB1C9-470F-FAFC-1F6B-8FF77740AA1C}"/>
                    </a:ext>
                  </a:extLst>
                </p:cNvPr>
                <p:cNvSpPr>
                  <a:spLocks noChangeAspect="1"/>
                </p:cNvSpPr>
                <p:nvPr/>
              </p:nvSpPr>
              <p:spPr>
                <a:xfrm>
                  <a:off x="4553118" y="562979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56" name="Oval 4855">
                  <a:extLst>
                    <a:ext uri="{FF2B5EF4-FFF2-40B4-BE49-F238E27FC236}">
                      <a16:creationId xmlns:a16="http://schemas.microsoft.com/office/drawing/2014/main" id="{F8590E9F-A881-34FD-CE3A-84D4C68F61C7}"/>
                    </a:ext>
                  </a:extLst>
                </p:cNvPr>
                <p:cNvSpPr>
                  <a:spLocks noChangeAspect="1"/>
                </p:cNvSpPr>
                <p:nvPr/>
              </p:nvSpPr>
              <p:spPr>
                <a:xfrm>
                  <a:off x="4407672" y="5629793"/>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57" name="Oval 4856">
                  <a:extLst>
                    <a:ext uri="{FF2B5EF4-FFF2-40B4-BE49-F238E27FC236}">
                      <a16:creationId xmlns:a16="http://schemas.microsoft.com/office/drawing/2014/main" id="{E040B6C3-2920-755C-3264-F24D1CDC463D}"/>
                    </a:ext>
                  </a:extLst>
                </p:cNvPr>
                <p:cNvSpPr>
                  <a:spLocks noChangeAspect="1"/>
                </p:cNvSpPr>
                <p:nvPr/>
              </p:nvSpPr>
              <p:spPr>
                <a:xfrm>
                  <a:off x="5482530" y="578982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58" name="Oval 4857">
                  <a:extLst>
                    <a:ext uri="{FF2B5EF4-FFF2-40B4-BE49-F238E27FC236}">
                      <a16:creationId xmlns:a16="http://schemas.microsoft.com/office/drawing/2014/main" id="{74AB3D1B-82A6-8ED1-9EFD-E8E633144981}"/>
                    </a:ext>
                  </a:extLst>
                </p:cNvPr>
                <p:cNvSpPr>
                  <a:spLocks noChangeAspect="1"/>
                </p:cNvSpPr>
                <p:nvPr/>
              </p:nvSpPr>
              <p:spPr>
                <a:xfrm>
                  <a:off x="5337086" y="578982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59" name="Oval 4858">
                  <a:extLst>
                    <a:ext uri="{FF2B5EF4-FFF2-40B4-BE49-F238E27FC236}">
                      <a16:creationId xmlns:a16="http://schemas.microsoft.com/office/drawing/2014/main" id="{EB804C10-0D29-8BE9-F285-4675F024B91E}"/>
                    </a:ext>
                  </a:extLst>
                </p:cNvPr>
                <p:cNvSpPr>
                  <a:spLocks noChangeAspect="1"/>
                </p:cNvSpPr>
                <p:nvPr/>
              </p:nvSpPr>
              <p:spPr>
                <a:xfrm>
                  <a:off x="5166618" y="578087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60" name="Oval 4859">
                  <a:extLst>
                    <a:ext uri="{FF2B5EF4-FFF2-40B4-BE49-F238E27FC236}">
                      <a16:creationId xmlns:a16="http://schemas.microsoft.com/office/drawing/2014/main" id="{A5210E9C-5A51-541A-E974-1B911A4433E5}"/>
                    </a:ext>
                  </a:extLst>
                </p:cNvPr>
                <p:cNvSpPr>
                  <a:spLocks noChangeAspect="1"/>
                </p:cNvSpPr>
                <p:nvPr/>
              </p:nvSpPr>
              <p:spPr>
                <a:xfrm>
                  <a:off x="5013029" y="578087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61" name="Oval 4860">
                  <a:extLst>
                    <a:ext uri="{FF2B5EF4-FFF2-40B4-BE49-F238E27FC236}">
                      <a16:creationId xmlns:a16="http://schemas.microsoft.com/office/drawing/2014/main" id="{1266E521-0095-A1D1-8C83-94D408D1C3DE}"/>
                    </a:ext>
                  </a:extLst>
                </p:cNvPr>
                <p:cNvSpPr>
                  <a:spLocks noChangeAspect="1"/>
                </p:cNvSpPr>
                <p:nvPr/>
              </p:nvSpPr>
              <p:spPr>
                <a:xfrm>
                  <a:off x="4871661" y="578982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62" name="Oval 4861">
                  <a:extLst>
                    <a:ext uri="{FF2B5EF4-FFF2-40B4-BE49-F238E27FC236}">
                      <a16:creationId xmlns:a16="http://schemas.microsoft.com/office/drawing/2014/main" id="{AD332220-AD74-AEB9-245E-BE999010458B}"/>
                    </a:ext>
                  </a:extLst>
                </p:cNvPr>
                <p:cNvSpPr>
                  <a:spLocks noChangeAspect="1"/>
                </p:cNvSpPr>
                <p:nvPr/>
              </p:nvSpPr>
              <p:spPr>
                <a:xfrm>
                  <a:off x="4726207" y="5789821"/>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63" name="Oval 4862">
                  <a:extLst>
                    <a:ext uri="{FF2B5EF4-FFF2-40B4-BE49-F238E27FC236}">
                      <a16:creationId xmlns:a16="http://schemas.microsoft.com/office/drawing/2014/main" id="{A35DD179-5F80-670E-25C3-00C7B968701B}"/>
                    </a:ext>
                  </a:extLst>
                </p:cNvPr>
                <p:cNvSpPr>
                  <a:spLocks noChangeAspect="1"/>
                </p:cNvSpPr>
                <p:nvPr/>
              </p:nvSpPr>
              <p:spPr>
                <a:xfrm>
                  <a:off x="4555740" y="5780872"/>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64" name="Oval 4863">
                  <a:extLst>
                    <a:ext uri="{FF2B5EF4-FFF2-40B4-BE49-F238E27FC236}">
                      <a16:creationId xmlns:a16="http://schemas.microsoft.com/office/drawing/2014/main" id="{62D73E0D-F24E-5D99-379F-A9588F96CA79}"/>
                    </a:ext>
                  </a:extLst>
                </p:cNvPr>
                <p:cNvSpPr>
                  <a:spLocks noChangeAspect="1"/>
                </p:cNvSpPr>
                <p:nvPr/>
              </p:nvSpPr>
              <p:spPr>
                <a:xfrm>
                  <a:off x="5478453" y="594280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65" name="Oval 4864">
                  <a:extLst>
                    <a:ext uri="{FF2B5EF4-FFF2-40B4-BE49-F238E27FC236}">
                      <a16:creationId xmlns:a16="http://schemas.microsoft.com/office/drawing/2014/main" id="{C210FAE1-2D27-06DC-F25B-04CF80240D13}"/>
                    </a:ext>
                  </a:extLst>
                </p:cNvPr>
                <p:cNvSpPr>
                  <a:spLocks noChangeAspect="1"/>
                </p:cNvSpPr>
                <p:nvPr/>
              </p:nvSpPr>
              <p:spPr>
                <a:xfrm>
                  <a:off x="5333021" y="594280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66" name="Oval 4865">
                  <a:extLst>
                    <a:ext uri="{FF2B5EF4-FFF2-40B4-BE49-F238E27FC236}">
                      <a16:creationId xmlns:a16="http://schemas.microsoft.com/office/drawing/2014/main" id="{3F77D618-4DA6-FC76-1155-095AD40390F2}"/>
                    </a:ext>
                  </a:extLst>
                </p:cNvPr>
                <p:cNvSpPr>
                  <a:spLocks noChangeAspect="1"/>
                </p:cNvSpPr>
                <p:nvPr/>
              </p:nvSpPr>
              <p:spPr>
                <a:xfrm>
                  <a:off x="5158461" y="594280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67" name="Oval 4866">
                  <a:extLst>
                    <a:ext uri="{FF2B5EF4-FFF2-40B4-BE49-F238E27FC236}">
                      <a16:creationId xmlns:a16="http://schemas.microsoft.com/office/drawing/2014/main" id="{5996B9FC-0A73-C2F0-1F33-16F22E9CB209}"/>
                    </a:ext>
                  </a:extLst>
                </p:cNvPr>
                <p:cNvSpPr>
                  <a:spLocks noChangeAspect="1"/>
                </p:cNvSpPr>
                <p:nvPr/>
              </p:nvSpPr>
              <p:spPr>
                <a:xfrm>
                  <a:off x="5013029" y="594694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68" name="Oval 4867">
                  <a:extLst>
                    <a:ext uri="{FF2B5EF4-FFF2-40B4-BE49-F238E27FC236}">
                      <a16:creationId xmlns:a16="http://schemas.microsoft.com/office/drawing/2014/main" id="{BA308EDB-39BB-AADF-FD32-5337FA723383}"/>
                    </a:ext>
                  </a:extLst>
                </p:cNvPr>
                <p:cNvSpPr>
                  <a:spLocks noChangeAspect="1"/>
                </p:cNvSpPr>
                <p:nvPr/>
              </p:nvSpPr>
              <p:spPr>
                <a:xfrm>
                  <a:off x="4867596" y="594280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69" name="Oval 4868">
                  <a:extLst>
                    <a:ext uri="{FF2B5EF4-FFF2-40B4-BE49-F238E27FC236}">
                      <a16:creationId xmlns:a16="http://schemas.microsoft.com/office/drawing/2014/main" id="{8DF4131B-3DFF-F0A6-8D8D-FBDC5928BCCB}"/>
                    </a:ext>
                  </a:extLst>
                </p:cNvPr>
                <p:cNvSpPr>
                  <a:spLocks noChangeAspect="1"/>
                </p:cNvSpPr>
                <p:nvPr/>
              </p:nvSpPr>
              <p:spPr>
                <a:xfrm>
                  <a:off x="4722130" y="594280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70" name="Oval 4869">
                  <a:extLst>
                    <a:ext uri="{FF2B5EF4-FFF2-40B4-BE49-F238E27FC236}">
                      <a16:creationId xmlns:a16="http://schemas.microsoft.com/office/drawing/2014/main" id="{4CD30B15-B54B-3FAD-30F0-C42FCE53F197}"/>
                    </a:ext>
                  </a:extLst>
                </p:cNvPr>
                <p:cNvSpPr>
                  <a:spLocks noChangeAspect="1"/>
                </p:cNvSpPr>
                <p:nvPr/>
              </p:nvSpPr>
              <p:spPr>
                <a:xfrm>
                  <a:off x="5478149" y="608823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71" name="Oval 4870">
                  <a:extLst>
                    <a:ext uri="{FF2B5EF4-FFF2-40B4-BE49-F238E27FC236}">
                      <a16:creationId xmlns:a16="http://schemas.microsoft.com/office/drawing/2014/main" id="{49D8E80B-41A7-6032-F744-19EF917A7E0B}"/>
                    </a:ext>
                  </a:extLst>
                </p:cNvPr>
                <p:cNvSpPr>
                  <a:spLocks noChangeAspect="1"/>
                </p:cNvSpPr>
                <p:nvPr/>
              </p:nvSpPr>
              <p:spPr>
                <a:xfrm>
                  <a:off x="5332706" y="608823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72" name="Oval 4871">
                  <a:extLst>
                    <a:ext uri="{FF2B5EF4-FFF2-40B4-BE49-F238E27FC236}">
                      <a16:creationId xmlns:a16="http://schemas.microsoft.com/office/drawing/2014/main" id="{30A7A215-EB5A-9A75-7F7B-EE54DB692D3E}"/>
                    </a:ext>
                  </a:extLst>
                </p:cNvPr>
                <p:cNvSpPr>
                  <a:spLocks noChangeAspect="1"/>
                </p:cNvSpPr>
                <p:nvPr/>
              </p:nvSpPr>
              <p:spPr>
                <a:xfrm>
                  <a:off x="5164001" y="609521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73" name="Oval 4872">
                  <a:extLst>
                    <a:ext uri="{FF2B5EF4-FFF2-40B4-BE49-F238E27FC236}">
                      <a16:creationId xmlns:a16="http://schemas.microsoft.com/office/drawing/2014/main" id="{F45C6B69-FE7D-B754-1D1B-57B4C8E79D92}"/>
                    </a:ext>
                  </a:extLst>
                </p:cNvPr>
                <p:cNvSpPr>
                  <a:spLocks noChangeAspect="1"/>
                </p:cNvSpPr>
                <p:nvPr/>
              </p:nvSpPr>
              <p:spPr>
                <a:xfrm>
                  <a:off x="4996633" y="6072448"/>
                  <a:ext cx="140205" cy="140195"/>
                </a:xfrm>
                <a:prstGeom prst="ellipse">
                  <a:avLst/>
                </a:prstGeom>
                <a:solidFill>
                  <a:srgbClr val="385723"/>
                </a:solidFill>
                <a:ln w="10484" cap="flat">
                  <a:solidFill>
                    <a:sysClr val="window" lastClr="FFFFFF"/>
                  </a:solidFill>
                  <a:prstDash val="solid"/>
                  <a:miter/>
                </a:ln>
                <a:effectLst>
                  <a:outerShdw blurRad="38100" algn="c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74" name="Oval 4873">
                  <a:extLst>
                    <a:ext uri="{FF2B5EF4-FFF2-40B4-BE49-F238E27FC236}">
                      <a16:creationId xmlns:a16="http://schemas.microsoft.com/office/drawing/2014/main" id="{72CA00E3-8B8C-3A69-F5C2-5F0690F8F170}"/>
                    </a:ext>
                  </a:extLst>
                </p:cNvPr>
                <p:cNvSpPr>
                  <a:spLocks noChangeAspect="1"/>
                </p:cNvSpPr>
                <p:nvPr/>
              </p:nvSpPr>
              <p:spPr>
                <a:xfrm>
                  <a:off x="4867281" y="608823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75" name="Oval 4874">
                  <a:extLst>
                    <a:ext uri="{FF2B5EF4-FFF2-40B4-BE49-F238E27FC236}">
                      <a16:creationId xmlns:a16="http://schemas.microsoft.com/office/drawing/2014/main" id="{CC8558DE-9019-88D0-A116-3BA2FA528846}"/>
                    </a:ext>
                  </a:extLst>
                </p:cNvPr>
                <p:cNvSpPr>
                  <a:spLocks noChangeAspect="1"/>
                </p:cNvSpPr>
                <p:nvPr/>
              </p:nvSpPr>
              <p:spPr>
                <a:xfrm>
                  <a:off x="5333021" y="624124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76" name="Oval 4875">
                  <a:extLst>
                    <a:ext uri="{FF2B5EF4-FFF2-40B4-BE49-F238E27FC236}">
                      <a16:creationId xmlns:a16="http://schemas.microsoft.com/office/drawing/2014/main" id="{EF58563E-9529-923A-F6A5-6AA26911CE8B}"/>
                    </a:ext>
                  </a:extLst>
                </p:cNvPr>
                <p:cNvSpPr>
                  <a:spLocks noChangeAspect="1"/>
                </p:cNvSpPr>
                <p:nvPr/>
              </p:nvSpPr>
              <p:spPr>
                <a:xfrm>
                  <a:off x="5164001" y="624066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77" name="Oval 4876">
                  <a:extLst>
                    <a:ext uri="{FF2B5EF4-FFF2-40B4-BE49-F238E27FC236}">
                      <a16:creationId xmlns:a16="http://schemas.microsoft.com/office/drawing/2014/main" id="{C0A81DA4-9A4E-36E4-4130-37DDD5A770A4}"/>
                    </a:ext>
                  </a:extLst>
                </p:cNvPr>
                <p:cNvSpPr>
                  <a:spLocks noChangeAspect="1"/>
                </p:cNvSpPr>
                <p:nvPr/>
              </p:nvSpPr>
              <p:spPr>
                <a:xfrm>
                  <a:off x="5018557" y="624066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78" name="Oval 4877">
                  <a:extLst>
                    <a:ext uri="{FF2B5EF4-FFF2-40B4-BE49-F238E27FC236}">
                      <a16:creationId xmlns:a16="http://schemas.microsoft.com/office/drawing/2014/main" id="{8B3F3F24-B2C4-AA16-79BB-DAE121A46690}"/>
                    </a:ext>
                  </a:extLst>
                </p:cNvPr>
                <p:cNvSpPr>
                  <a:spLocks noChangeAspect="1"/>
                </p:cNvSpPr>
                <p:nvPr/>
              </p:nvSpPr>
              <p:spPr>
                <a:xfrm>
                  <a:off x="4871575" y="624124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79" name="Oval 4878">
                  <a:extLst>
                    <a:ext uri="{FF2B5EF4-FFF2-40B4-BE49-F238E27FC236}">
                      <a16:creationId xmlns:a16="http://schemas.microsoft.com/office/drawing/2014/main" id="{8F2796FC-30E5-8F70-1FBC-13D25D00EC69}"/>
                    </a:ext>
                  </a:extLst>
                </p:cNvPr>
                <p:cNvSpPr>
                  <a:spLocks noChangeAspect="1"/>
                </p:cNvSpPr>
                <p:nvPr/>
              </p:nvSpPr>
              <p:spPr>
                <a:xfrm>
                  <a:off x="5333021" y="640823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80" name="Oval 4879">
                  <a:extLst>
                    <a:ext uri="{FF2B5EF4-FFF2-40B4-BE49-F238E27FC236}">
                      <a16:creationId xmlns:a16="http://schemas.microsoft.com/office/drawing/2014/main" id="{8BB07058-7E33-7BE7-340F-A9F4338D5969}"/>
                    </a:ext>
                  </a:extLst>
                </p:cNvPr>
                <p:cNvSpPr>
                  <a:spLocks noChangeAspect="1"/>
                </p:cNvSpPr>
                <p:nvPr/>
              </p:nvSpPr>
              <p:spPr>
                <a:xfrm>
                  <a:off x="5158589" y="640823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81" name="Oval 4880">
                  <a:extLst>
                    <a:ext uri="{FF2B5EF4-FFF2-40B4-BE49-F238E27FC236}">
                      <a16:creationId xmlns:a16="http://schemas.microsoft.com/office/drawing/2014/main" id="{3E342FC1-14AD-23C2-CAA4-A97DC0D0702C}"/>
                    </a:ext>
                  </a:extLst>
                </p:cNvPr>
                <p:cNvSpPr>
                  <a:spLocks noChangeAspect="1"/>
                </p:cNvSpPr>
                <p:nvPr/>
              </p:nvSpPr>
              <p:spPr>
                <a:xfrm>
                  <a:off x="5013029" y="640823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82" name="Oval 4881">
                  <a:extLst>
                    <a:ext uri="{FF2B5EF4-FFF2-40B4-BE49-F238E27FC236}">
                      <a16:creationId xmlns:a16="http://schemas.microsoft.com/office/drawing/2014/main" id="{657D14EA-B93A-4F25-8080-80807F234972}"/>
                    </a:ext>
                  </a:extLst>
                </p:cNvPr>
                <p:cNvSpPr>
                  <a:spLocks noChangeAspect="1"/>
                </p:cNvSpPr>
                <p:nvPr/>
              </p:nvSpPr>
              <p:spPr>
                <a:xfrm>
                  <a:off x="4867596" y="6408230"/>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83" name="Oval 4882">
                  <a:extLst>
                    <a:ext uri="{FF2B5EF4-FFF2-40B4-BE49-F238E27FC236}">
                      <a16:creationId xmlns:a16="http://schemas.microsoft.com/office/drawing/2014/main" id="{B62FC102-7A7A-0608-D214-3440BDB14B27}"/>
                    </a:ext>
                  </a:extLst>
                </p:cNvPr>
                <p:cNvSpPr>
                  <a:spLocks noChangeAspect="1"/>
                </p:cNvSpPr>
                <p:nvPr/>
              </p:nvSpPr>
              <p:spPr>
                <a:xfrm>
                  <a:off x="5164318" y="6558938"/>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84" name="Oval 4883">
                  <a:extLst>
                    <a:ext uri="{FF2B5EF4-FFF2-40B4-BE49-F238E27FC236}">
                      <a16:creationId xmlns:a16="http://schemas.microsoft.com/office/drawing/2014/main" id="{BA6DBE8A-74CD-0DA2-C78D-CD526DE90F05}"/>
                    </a:ext>
                  </a:extLst>
                </p:cNvPr>
                <p:cNvSpPr>
                  <a:spLocks noChangeAspect="1"/>
                </p:cNvSpPr>
                <p:nvPr/>
              </p:nvSpPr>
              <p:spPr>
                <a:xfrm>
                  <a:off x="5013029" y="6557816"/>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85" name="Oval 4884">
                  <a:extLst>
                    <a:ext uri="{FF2B5EF4-FFF2-40B4-BE49-F238E27FC236}">
                      <a16:creationId xmlns:a16="http://schemas.microsoft.com/office/drawing/2014/main" id="{C735EFF2-AD3B-6927-1E7D-0453C89D99EF}"/>
                    </a:ext>
                  </a:extLst>
                </p:cNvPr>
                <p:cNvSpPr>
                  <a:spLocks noChangeAspect="1"/>
                </p:cNvSpPr>
                <p:nvPr/>
              </p:nvSpPr>
              <p:spPr>
                <a:xfrm>
                  <a:off x="5018557" y="670609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86" name="Oval 4885">
                  <a:extLst>
                    <a:ext uri="{FF2B5EF4-FFF2-40B4-BE49-F238E27FC236}">
                      <a16:creationId xmlns:a16="http://schemas.microsoft.com/office/drawing/2014/main" id="{9BEEE4E7-7B12-626D-6747-7B78DE83F52A}"/>
                    </a:ext>
                  </a:extLst>
                </p:cNvPr>
                <p:cNvSpPr>
                  <a:spLocks noChangeAspect="1"/>
                </p:cNvSpPr>
                <p:nvPr userDrawn="1"/>
              </p:nvSpPr>
              <p:spPr>
                <a:xfrm>
                  <a:off x="5021961" y="5622814"/>
                  <a:ext cx="95107" cy="95103"/>
                </a:xfrm>
                <a:prstGeom prst="ellipse">
                  <a:avLst/>
                </a:prstGeom>
                <a:grpFill/>
                <a:ln w="290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4223" name="Oval 4222">
                <a:extLst>
                  <a:ext uri="{FF2B5EF4-FFF2-40B4-BE49-F238E27FC236}">
                    <a16:creationId xmlns:a16="http://schemas.microsoft.com/office/drawing/2014/main" id="{74E4BB0B-65CE-EC37-7A38-504AF0167BA9}"/>
                  </a:ext>
                </a:extLst>
              </p:cNvPr>
              <p:cNvSpPr>
                <a:spLocks noChangeAspect="1"/>
              </p:cNvSpPr>
              <p:nvPr/>
            </p:nvSpPr>
            <p:spPr>
              <a:xfrm>
                <a:off x="6693061" y="2271361"/>
                <a:ext cx="117511" cy="112034"/>
              </a:xfrm>
              <a:prstGeom prst="ellipse">
                <a:avLst/>
              </a:prstGeom>
              <a:solidFill>
                <a:srgbClr val="385723"/>
              </a:solidFill>
              <a:ln w="10484" cap="flat">
                <a:solidFill>
                  <a:sysClr val="window" lastClr="FFFFFF"/>
                </a:solidFill>
                <a:prstDash val="solid"/>
                <a:miter/>
              </a:ln>
              <a:effectLst>
                <a:outerShdw blurRad="38100" algn="c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4224" name="Oval 4223">
                <a:extLst>
                  <a:ext uri="{FF2B5EF4-FFF2-40B4-BE49-F238E27FC236}">
                    <a16:creationId xmlns:a16="http://schemas.microsoft.com/office/drawing/2014/main" id="{1FF63DBD-78B8-9F16-C721-2FFC07717D7C}"/>
                  </a:ext>
                </a:extLst>
              </p:cNvPr>
              <p:cNvSpPr>
                <a:spLocks noChangeAspect="1"/>
              </p:cNvSpPr>
              <p:nvPr/>
            </p:nvSpPr>
            <p:spPr>
              <a:xfrm>
                <a:off x="8657851" y="3367514"/>
                <a:ext cx="117511" cy="112034"/>
              </a:xfrm>
              <a:prstGeom prst="ellipse">
                <a:avLst/>
              </a:prstGeom>
              <a:solidFill>
                <a:srgbClr val="385723"/>
              </a:solidFill>
              <a:ln w="10484" cap="flat">
                <a:solidFill>
                  <a:sysClr val="window" lastClr="FFFFFF"/>
                </a:solidFill>
                <a:prstDash val="solid"/>
                <a:miter/>
              </a:ln>
              <a:effectLst>
                <a:outerShdw blurRad="38100" algn="c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4225" name="Oval 4224">
                <a:extLst>
                  <a:ext uri="{FF2B5EF4-FFF2-40B4-BE49-F238E27FC236}">
                    <a16:creationId xmlns:a16="http://schemas.microsoft.com/office/drawing/2014/main" id="{34796879-3509-4944-971E-AD7E4A7E29A1}"/>
                  </a:ext>
                </a:extLst>
              </p:cNvPr>
              <p:cNvSpPr>
                <a:spLocks noChangeAspect="1"/>
              </p:cNvSpPr>
              <p:nvPr/>
            </p:nvSpPr>
            <p:spPr>
              <a:xfrm>
                <a:off x="5837128" y="3367514"/>
                <a:ext cx="117511" cy="112034"/>
              </a:xfrm>
              <a:prstGeom prst="ellipse">
                <a:avLst/>
              </a:prstGeom>
              <a:solidFill>
                <a:srgbClr val="385723"/>
              </a:solidFill>
              <a:ln w="10484" cap="flat">
                <a:solidFill>
                  <a:sysClr val="window" lastClr="FFFFFF"/>
                </a:solidFill>
                <a:prstDash val="solid"/>
                <a:miter/>
              </a:ln>
              <a:effectLst>
                <a:outerShdw blurRad="38100" algn="c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4226" name="Oval 4225">
                <a:extLst>
                  <a:ext uri="{FF2B5EF4-FFF2-40B4-BE49-F238E27FC236}">
                    <a16:creationId xmlns:a16="http://schemas.microsoft.com/office/drawing/2014/main" id="{401DF1CF-1E8B-17FE-CC43-0D59F99FAA39}"/>
                  </a:ext>
                </a:extLst>
              </p:cNvPr>
              <p:cNvSpPr>
                <a:spLocks noChangeAspect="1"/>
              </p:cNvSpPr>
              <p:nvPr/>
            </p:nvSpPr>
            <p:spPr>
              <a:xfrm>
                <a:off x="5839827" y="4116027"/>
                <a:ext cx="117511" cy="112034"/>
              </a:xfrm>
              <a:prstGeom prst="ellipse">
                <a:avLst/>
              </a:prstGeom>
              <a:solidFill>
                <a:srgbClr val="385723"/>
              </a:solidFill>
              <a:ln w="10484" cap="flat">
                <a:solidFill>
                  <a:sysClr val="window" lastClr="FFFFFF"/>
                </a:solidFill>
                <a:prstDash val="solid"/>
                <a:miter/>
              </a:ln>
              <a:effectLst>
                <a:outerShdw blurRad="38100" algn="c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4227" name="Oval 4226">
                <a:extLst>
                  <a:ext uri="{FF2B5EF4-FFF2-40B4-BE49-F238E27FC236}">
                    <a16:creationId xmlns:a16="http://schemas.microsoft.com/office/drawing/2014/main" id="{D666AB10-F3D7-2CF0-B335-34B19C639E47}"/>
                  </a:ext>
                </a:extLst>
              </p:cNvPr>
              <p:cNvSpPr>
                <a:spLocks noChangeAspect="1"/>
              </p:cNvSpPr>
              <p:nvPr/>
            </p:nvSpPr>
            <p:spPr>
              <a:xfrm>
                <a:off x="6086744" y="4234736"/>
                <a:ext cx="117511" cy="112034"/>
              </a:xfrm>
              <a:prstGeom prst="ellipse">
                <a:avLst/>
              </a:prstGeom>
              <a:solidFill>
                <a:srgbClr val="385723"/>
              </a:solidFill>
              <a:ln w="10484" cap="flat">
                <a:solidFill>
                  <a:sysClr val="window" lastClr="FFFFFF"/>
                </a:solidFill>
                <a:prstDash val="solid"/>
                <a:miter/>
              </a:ln>
              <a:effectLst>
                <a:outerShdw blurRad="38100" algn="c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4228" name="Oval 4227">
                <a:extLst>
                  <a:ext uri="{FF2B5EF4-FFF2-40B4-BE49-F238E27FC236}">
                    <a16:creationId xmlns:a16="http://schemas.microsoft.com/office/drawing/2014/main" id="{5DC6E0A6-2604-9070-7EF2-DE12E23C9220}"/>
                  </a:ext>
                </a:extLst>
              </p:cNvPr>
              <p:cNvSpPr>
                <a:spLocks noChangeAspect="1"/>
              </p:cNvSpPr>
              <p:nvPr/>
            </p:nvSpPr>
            <p:spPr>
              <a:xfrm>
                <a:off x="6814456" y="4355521"/>
                <a:ext cx="117511" cy="112034"/>
              </a:xfrm>
              <a:prstGeom prst="ellipse">
                <a:avLst/>
              </a:prstGeom>
              <a:solidFill>
                <a:srgbClr val="385723"/>
              </a:solidFill>
              <a:ln w="10484" cap="flat">
                <a:solidFill>
                  <a:sysClr val="window" lastClr="FFFFFF"/>
                </a:solidFill>
                <a:prstDash val="solid"/>
                <a:miter/>
              </a:ln>
              <a:effectLst>
                <a:outerShdw blurRad="38100" algn="c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4229" name="Oval 4228">
                <a:extLst>
                  <a:ext uri="{FF2B5EF4-FFF2-40B4-BE49-F238E27FC236}">
                    <a16:creationId xmlns:a16="http://schemas.microsoft.com/office/drawing/2014/main" id="{D6A68F93-8BC8-4493-78B5-F64B6D9E40C6}"/>
                  </a:ext>
                </a:extLst>
              </p:cNvPr>
              <p:cNvSpPr>
                <a:spLocks noChangeAspect="1"/>
              </p:cNvSpPr>
              <p:nvPr/>
            </p:nvSpPr>
            <p:spPr>
              <a:xfrm>
                <a:off x="7188699" y="5220975"/>
                <a:ext cx="117511" cy="112034"/>
              </a:xfrm>
              <a:prstGeom prst="ellipse">
                <a:avLst/>
              </a:prstGeom>
              <a:solidFill>
                <a:srgbClr val="385723"/>
              </a:solidFill>
              <a:ln w="10484" cap="flat">
                <a:solidFill>
                  <a:sysClr val="window" lastClr="FFFFFF"/>
                </a:solidFill>
                <a:prstDash val="solid"/>
                <a:miter/>
              </a:ln>
              <a:effectLst>
                <a:outerShdw blurRad="38100" algn="c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4230" name="Oval 4229">
                <a:extLst>
                  <a:ext uri="{FF2B5EF4-FFF2-40B4-BE49-F238E27FC236}">
                    <a16:creationId xmlns:a16="http://schemas.microsoft.com/office/drawing/2014/main" id="{7302B21C-A38B-F9E5-342F-78532DB85A6E}"/>
                  </a:ext>
                </a:extLst>
              </p:cNvPr>
              <p:cNvSpPr>
                <a:spLocks noChangeAspect="1"/>
              </p:cNvSpPr>
              <p:nvPr/>
            </p:nvSpPr>
            <p:spPr>
              <a:xfrm>
                <a:off x="6327156" y="5472666"/>
                <a:ext cx="117511" cy="112034"/>
              </a:xfrm>
              <a:prstGeom prst="ellipse">
                <a:avLst/>
              </a:prstGeom>
              <a:solidFill>
                <a:srgbClr val="385723"/>
              </a:solidFill>
              <a:ln w="10484" cap="flat">
                <a:solidFill>
                  <a:sysClr val="window" lastClr="FFFFFF"/>
                </a:solidFill>
                <a:prstDash val="solid"/>
                <a:miter/>
              </a:ln>
              <a:effectLst>
                <a:outerShdw blurRad="38100" algn="c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4231" name="Oval 4230">
                <a:extLst>
                  <a:ext uri="{FF2B5EF4-FFF2-40B4-BE49-F238E27FC236}">
                    <a16:creationId xmlns:a16="http://schemas.microsoft.com/office/drawing/2014/main" id="{02D83133-AF2D-A372-FA0D-F9D54BA711A7}"/>
                  </a:ext>
                </a:extLst>
              </p:cNvPr>
              <p:cNvSpPr>
                <a:spLocks noChangeAspect="1"/>
              </p:cNvSpPr>
              <p:nvPr/>
            </p:nvSpPr>
            <p:spPr>
              <a:xfrm>
                <a:off x="6458906" y="5589606"/>
                <a:ext cx="117511" cy="112034"/>
              </a:xfrm>
              <a:prstGeom prst="ellipse">
                <a:avLst/>
              </a:prstGeom>
              <a:solidFill>
                <a:srgbClr val="385723"/>
              </a:solidFill>
              <a:ln w="10484" cap="flat">
                <a:solidFill>
                  <a:sysClr val="window" lastClr="FFFFFF"/>
                </a:solidFill>
                <a:prstDash val="solid"/>
                <a:miter/>
              </a:ln>
              <a:effectLst>
                <a:outerShdw blurRad="38100" algn="c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4232" name="Oval 4231">
                <a:extLst>
                  <a:ext uri="{FF2B5EF4-FFF2-40B4-BE49-F238E27FC236}">
                    <a16:creationId xmlns:a16="http://schemas.microsoft.com/office/drawing/2014/main" id="{21986BCE-6448-A332-B792-2BD402706E28}"/>
                  </a:ext>
                </a:extLst>
              </p:cNvPr>
              <p:cNvSpPr>
                <a:spLocks noChangeAspect="1"/>
              </p:cNvSpPr>
              <p:nvPr/>
            </p:nvSpPr>
            <p:spPr>
              <a:xfrm>
                <a:off x="6459152" y="5712637"/>
                <a:ext cx="117511" cy="112034"/>
              </a:xfrm>
              <a:prstGeom prst="ellipse">
                <a:avLst/>
              </a:prstGeom>
              <a:solidFill>
                <a:srgbClr val="385723"/>
              </a:solidFill>
              <a:ln w="10484" cap="flat">
                <a:solidFill>
                  <a:sysClr val="window" lastClr="FFFFFF"/>
                </a:solidFill>
                <a:prstDash val="solid"/>
                <a:miter/>
              </a:ln>
              <a:effectLst>
                <a:outerShdw blurRad="38100" algn="c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4233" name="Oval 4232">
                <a:extLst>
                  <a:ext uri="{FF2B5EF4-FFF2-40B4-BE49-F238E27FC236}">
                    <a16:creationId xmlns:a16="http://schemas.microsoft.com/office/drawing/2014/main" id="{25512A40-BE4A-3030-73D1-0BFD338F209D}"/>
                  </a:ext>
                </a:extLst>
              </p:cNvPr>
              <p:cNvSpPr>
                <a:spLocks noChangeAspect="1"/>
              </p:cNvSpPr>
              <p:nvPr/>
            </p:nvSpPr>
            <p:spPr>
              <a:xfrm>
                <a:off x="6459152" y="5846908"/>
                <a:ext cx="117511" cy="112034"/>
              </a:xfrm>
              <a:prstGeom prst="ellipse">
                <a:avLst/>
              </a:prstGeom>
              <a:solidFill>
                <a:srgbClr val="385723"/>
              </a:solidFill>
              <a:ln w="10484" cap="flat">
                <a:solidFill>
                  <a:sysClr val="window" lastClr="FFFFFF"/>
                </a:solidFill>
                <a:prstDash val="solid"/>
                <a:miter/>
              </a:ln>
              <a:effectLst>
                <a:outerShdw blurRad="38100" algn="c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4234" name="Oval 4233">
                <a:extLst>
                  <a:ext uri="{FF2B5EF4-FFF2-40B4-BE49-F238E27FC236}">
                    <a16:creationId xmlns:a16="http://schemas.microsoft.com/office/drawing/2014/main" id="{F7AF6B82-66D2-C6C2-FC6D-B3EB2251D8FE}"/>
                  </a:ext>
                </a:extLst>
              </p:cNvPr>
              <p:cNvSpPr>
                <a:spLocks noChangeAspect="1"/>
              </p:cNvSpPr>
              <p:nvPr/>
            </p:nvSpPr>
            <p:spPr>
              <a:xfrm>
                <a:off x="6576120" y="5963876"/>
                <a:ext cx="117511" cy="112034"/>
              </a:xfrm>
              <a:prstGeom prst="ellipse">
                <a:avLst/>
              </a:prstGeom>
              <a:solidFill>
                <a:srgbClr val="385723"/>
              </a:solidFill>
              <a:ln w="10484" cap="flat">
                <a:solidFill>
                  <a:sysClr val="window" lastClr="FFFFFF"/>
                </a:solidFill>
                <a:prstDash val="solid"/>
                <a:miter/>
              </a:ln>
              <a:effectLst>
                <a:outerShdw blurRad="38100" algn="c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4235" name="Oval 4234">
                <a:extLst>
                  <a:ext uri="{FF2B5EF4-FFF2-40B4-BE49-F238E27FC236}">
                    <a16:creationId xmlns:a16="http://schemas.microsoft.com/office/drawing/2014/main" id="{8AD026AC-A4A0-EFAD-783F-CBD544566879}"/>
                  </a:ext>
                </a:extLst>
              </p:cNvPr>
              <p:cNvSpPr>
                <a:spLocks noChangeAspect="1"/>
              </p:cNvSpPr>
              <p:nvPr/>
            </p:nvSpPr>
            <p:spPr>
              <a:xfrm>
                <a:off x="6607078" y="6049071"/>
                <a:ext cx="117511" cy="112034"/>
              </a:xfrm>
              <a:prstGeom prst="ellipse">
                <a:avLst/>
              </a:prstGeom>
              <a:solidFill>
                <a:srgbClr val="385723"/>
              </a:solidFill>
              <a:ln w="10484" cap="flat">
                <a:solidFill>
                  <a:sysClr val="window" lastClr="FFFFFF"/>
                </a:solidFill>
                <a:prstDash val="solid"/>
                <a:miter/>
              </a:ln>
              <a:effectLst>
                <a:outerShdw blurRad="38100" algn="c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4236" name="Oval 4235">
                <a:extLst>
                  <a:ext uri="{FF2B5EF4-FFF2-40B4-BE49-F238E27FC236}">
                    <a16:creationId xmlns:a16="http://schemas.microsoft.com/office/drawing/2014/main" id="{AA784F04-81B7-7113-B865-8EF1E6D47E7F}"/>
                  </a:ext>
                </a:extLst>
              </p:cNvPr>
              <p:cNvSpPr>
                <a:spLocks noChangeAspect="1"/>
              </p:cNvSpPr>
              <p:nvPr userDrawn="1"/>
            </p:nvSpPr>
            <p:spPr>
              <a:xfrm>
                <a:off x="6355208" y="5526741"/>
                <a:ext cx="117511" cy="112034"/>
              </a:xfrm>
              <a:prstGeom prst="ellipse">
                <a:avLst/>
              </a:prstGeom>
              <a:solidFill>
                <a:srgbClr val="385723"/>
              </a:solidFill>
              <a:ln w="10484" cap="flat">
                <a:solidFill>
                  <a:sysClr val="window" lastClr="FFFFFF"/>
                </a:solidFill>
                <a:prstDash val="solid"/>
                <a:miter/>
              </a:ln>
              <a:effectLst>
                <a:outerShdw blurRad="38100" algn="c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grpSp>
        <p:sp>
          <p:nvSpPr>
            <p:cNvPr id="4205" name="TextBox 4204">
              <a:extLst>
                <a:ext uri="{FF2B5EF4-FFF2-40B4-BE49-F238E27FC236}">
                  <a16:creationId xmlns:a16="http://schemas.microsoft.com/office/drawing/2014/main" id="{5A42270C-F754-806C-D93F-F38D7DB0AD39}"/>
                </a:ext>
              </a:extLst>
            </p:cNvPr>
            <p:cNvSpPr txBox="1"/>
            <p:nvPr userDrawn="1"/>
          </p:nvSpPr>
          <p:spPr>
            <a:xfrm>
              <a:off x="7491663" y="2645537"/>
              <a:ext cx="777369" cy="153888"/>
            </a:xfrm>
            <a:prstGeom prst="rect">
              <a:avLst/>
            </a:prstGeom>
            <a:noFill/>
          </p:spPr>
          <p:txBody>
            <a:bodyPr wrap="square" lIns="0" tIns="0" rIns="0" bIns="0" anchor="ctr">
              <a:spAutoFit/>
            </a:bodyPr>
            <a:lstStyle>
              <a:defPPr>
                <a:defRPr lang="en-US"/>
              </a:defPPr>
              <a:lvl1pPr>
                <a:spcBef>
                  <a:spcPts val="200"/>
                </a:spcBef>
                <a:spcAft>
                  <a:spcPts val="200"/>
                </a:spcAft>
                <a:defRPr sz="1200" b="1">
                  <a:latin typeface="+mj-lt"/>
                </a:defRPr>
              </a:lvl1pPr>
            </a:lstStyle>
            <a:p>
              <a:pPr marL="0" marR="0" lvl="0" indent="0" algn="r" defTabSz="914400" eaLnBrk="1" fontAlgn="auto" latinLnBrk="0" hangingPunct="1">
                <a:lnSpc>
                  <a:spcPct val="100000"/>
                </a:lnSpc>
                <a:spcBef>
                  <a:spcPts val="200"/>
                </a:spcBef>
                <a:spcAft>
                  <a:spcPts val="20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rPr>
                <a:t>Ahmedabad</a:t>
              </a:r>
            </a:p>
          </p:txBody>
        </p:sp>
        <p:sp>
          <p:nvSpPr>
            <p:cNvPr id="4206" name="TextBox 4205">
              <a:extLst>
                <a:ext uri="{FF2B5EF4-FFF2-40B4-BE49-F238E27FC236}">
                  <a16:creationId xmlns:a16="http://schemas.microsoft.com/office/drawing/2014/main" id="{D23C6DCE-8326-45FC-0447-83712F1E7F46}"/>
                </a:ext>
              </a:extLst>
            </p:cNvPr>
            <p:cNvSpPr txBox="1"/>
            <p:nvPr userDrawn="1"/>
          </p:nvSpPr>
          <p:spPr>
            <a:xfrm>
              <a:off x="6934032" y="3480277"/>
              <a:ext cx="842882" cy="153888"/>
            </a:xfrm>
            <a:prstGeom prst="rect">
              <a:avLst/>
            </a:prstGeom>
            <a:noFill/>
          </p:spPr>
          <p:txBody>
            <a:bodyPr wrap="square" lIns="0" tIns="0" rIns="0" bIns="0" anchor="ctr">
              <a:spAutoFit/>
            </a:bodyPr>
            <a:lstStyle>
              <a:defPPr>
                <a:defRPr lang="en-US"/>
              </a:defPPr>
              <a:lvl1pPr>
                <a:spcBef>
                  <a:spcPts val="200"/>
                </a:spcBef>
                <a:spcAft>
                  <a:spcPts val="200"/>
                </a:spcAft>
                <a:defRPr sz="1200" b="1">
                  <a:latin typeface="+mj-lt"/>
                </a:defRPr>
              </a:lvl1pPr>
            </a:lstStyle>
            <a:p>
              <a:pPr marL="0" marR="0" lvl="0" indent="0" algn="r" defTabSz="914400" eaLnBrk="1" fontAlgn="auto" latinLnBrk="0" hangingPunct="1">
                <a:lnSpc>
                  <a:spcPct val="100000"/>
                </a:lnSpc>
                <a:spcBef>
                  <a:spcPts val="200"/>
                </a:spcBef>
                <a:spcAft>
                  <a:spcPts val="20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rPr>
                <a:t>Mumbai</a:t>
              </a:r>
            </a:p>
          </p:txBody>
        </p:sp>
        <p:sp>
          <p:nvSpPr>
            <p:cNvPr id="4207" name="TextBox 4206">
              <a:extLst>
                <a:ext uri="{FF2B5EF4-FFF2-40B4-BE49-F238E27FC236}">
                  <a16:creationId xmlns:a16="http://schemas.microsoft.com/office/drawing/2014/main" id="{74889D6E-8BAC-057A-E8B6-7E622AF42E0D}"/>
                </a:ext>
              </a:extLst>
            </p:cNvPr>
            <p:cNvSpPr txBox="1"/>
            <p:nvPr userDrawn="1"/>
          </p:nvSpPr>
          <p:spPr>
            <a:xfrm>
              <a:off x="7308845" y="3640142"/>
              <a:ext cx="623864" cy="153888"/>
            </a:xfrm>
            <a:prstGeom prst="rect">
              <a:avLst/>
            </a:prstGeom>
            <a:noFill/>
          </p:spPr>
          <p:txBody>
            <a:bodyPr wrap="square" lIns="0" tIns="0" rIns="0" bIns="0" anchor="ctr">
              <a:spAutoFit/>
            </a:bodyPr>
            <a:lstStyle>
              <a:defPPr>
                <a:defRPr lang="en-US"/>
              </a:defPPr>
              <a:lvl1pPr>
                <a:spcBef>
                  <a:spcPts val="200"/>
                </a:spcBef>
                <a:spcAft>
                  <a:spcPts val="200"/>
                </a:spcAft>
                <a:defRPr sz="1200" b="1">
                  <a:latin typeface="+mj-lt"/>
                </a:defRPr>
              </a:lvl1pPr>
            </a:lstStyle>
            <a:p>
              <a:pPr marL="0" marR="0" lvl="0" indent="0" algn="r" defTabSz="914400" eaLnBrk="1" fontAlgn="auto" latinLnBrk="0" hangingPunct="1">
                <a:lnSpc>
                  <a:spcPct val="100000"/>
                </a:lnSpc>
                <a:spcBef>
                  <a:spcPts val="200"/>
                </a:spcBef>
                <a:spcAft>
                  <a:spcPts val="20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rPr>
                <a:t>Pune</a:t>
              </a:r>
            </a:p>
          </p:txBody>
        </p:sp>
        <p:sp>
          <p:nvSpPr>
            <p:cNvPr id="4208" name="TextBox 4207">
              <a:extLst>
                <a:ext uri="{FF2B5EF4-FFF2-40B4-BE49-F238E27FC236}">
                  <a16:creationId xmlns:a16="http://schemas.microsoft.com/office/drawing/2014/main" id="{B5B11B7D-E4F0-7F91-8EF2-4F00FC7E450B}"/>
                </a:ext>
              </a:extLst>
            </p:cNvPr>
            <p:cNvSpPr txBox="1"/>
            <p:nvPr userDrawn="1"/>
          </p:nvSpPr>
          <p:spPr>
            <a:xfrm>
              <a:off x="7306005" y="4848210"/>
              <a:ext cx="975707" cy="153888"/>
            </a:xfrm>
            <a:prstGeom prst="rect">
              <a:avLst/>
            </a:prstGeom>
            <a:noFill/>
          </p:spPr>
          <p:txBody>
            <a:bodyPr wrap="square" lIns="0" tIns="0" rIns="0" bIns="0" anchor="ctr">
              <a:spAutoFit/>
            </a:bodyPr>
            <a:lstStyle>
              <a:defPPr>
                <a:defRPr lang="en-US"/>
              </a:defPPr>
              <a:lvl1pPr>
                <a:spcBef>
                  <a:spcPts val="200"/>
                </a:spcBef>
                <a:spcAft>
                  <a:spcPts val="200"/>
                </a:spcAft>
                <a:defRPr sz="1200" b="1">
                  <a:latin typeface="+mj-lt"/>
                </a:defRPr>
              </a:lvl1pPr>
            </a:lstStyle>
            <a:p>
              <a:pPr marL="0" marR="0" lvl="0" indent="0" algn="r" defTabSz="914400" eaLnBrk="1" fontAlgn="auto" latinLnBrk="0" hangingPunct="1">
                <a:lnSpc>
                  <a:spcPct val="100000"/>
                </a:lnSpc>
                <a:spcBef>
                  <a:spcPts val="200"/>
                </a:spcBef>
                <a:spcAft>
                  <a:spcPts val="20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rPr>
                <a:t>Kozhikode</a:t>
              </a:r>
            </a:p>
          </p:txBody>
        </p:sp>
        <p:sp>
          <p:nvSpPr>
            <p:cNvPr id="4209" name="TextBox 4208">
              <a:extLst>
                <a:ext uri="{FF2B5EF4-FFF2-40B4-BE49-F238E27FC236}">
                  <a16:creationId xmlns:a16="http://schemas.microsoft.com/office/drawing/2014/main" id="{1348629D-E4D0-9246-3196-E2BE4385CAFF}"/>
                </a:ext>
              </a:extLst>
            </p:cNvPr>
            <p:cNvSpPr txBox="1"/>
            <p:nvPr userDrawn="1"/>
          </p:nvSpPr>
          <p:spPr>
            <a:xfrm>
              <a:off x="7891486" y="4975893"/>
              <a:ext cx="464576" cy="153888"/>
            </a:xfrm>
            <a:prstGeom prst="rect">
              <a:avLst/>
            </a:prstGeom>
            <a:noFill/>
          </p:spPr>
          <p:txBody>
            <a:bodyPr wrap="square" lIns="0" tIns="0" rIns="0" bIns="0" anchor="ctr">
              <a:spAutoFit/>
            </a:bodyPr>
            <a:lstStyle>
              <a:defPPr>
                <a:defRPr lang="en-US"/>
              </a:defPPr>
              <a:lvl1pPr>
                <a:spcBef>
                  <a:spcPts val="200"/>
                </a:spcBef>
                <a:spcAft>
                  <a:spcPts val="200"/>
                </a:spcAft>
                <a:defRPr sz="1200" b="1">
                  <a:latin typeface="+mj-lt"/>
                </a:defRPr>
              </a:lvl1pPr>
            </a:lstStyle>
            <a:p>
              <a:pPr marL="0" marR="0" lvl="0" indent="0" algn="r" defTabSz="914400" eaLnBrk="1" fontAlgn="auto" latinLnBrk="0" hangingPunct="1">
                <a:lnSpc>
                  <a:spcPct val="100000"/>
                </a:lnSpc>
                <a:spcBef>
                  <a:spcPts val="200"/>
                </a:spcBef>
                <a:spcAft>
                  <a:spcPts val="20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rPr>
                <a:t>Cochin</a:t>
              </a:r>
            </a:p>
          </p:txBody>
        </p:sp>
        <p:sp>
          <p:nvSpPr>
            <p:cNvPr id="4210" name="TextBox 4209">
              <a:extLst>
                <a:ext uri="{FF2B5EF4-FFF2-40B4-BE49-F238E27FC236}">
                  <a16:creationId xmlns:a16="http://schemas.microsoft.com/office/drawing/2014/main" id="{73885710-780B-5A67-D672-492C91844BC9}"/>
                </a:ext>
              </a:extLst>
            </p:cNvPr>
            <p:cNvSpPr txBox="1"/>
            <p:nvPr userDrawn="1"/>
          </p:nvSpPr>
          <p:spPr>
            <a:xfrm>
              <a:off x="7471816" y="5112061"/>
              <a:ext cx="904588" cy="153888"/>
            </a:xfrm>
            <a:prstGeom prst="rect">
              <a:avLst/>
            </a:prstGeom>
            <a:noFill/>
          </p:spPr>
          <p:txBody>
            <a:bodyPr wrap="square" lIns="0" tIns="0" rIns="0" bIns="0" anchor="ctr">
              <a:spAutoFit/>
            </a:bodyPr>
            <a:lstStyle>
              <a:defPPr>
                <a:defRPr lang="en-US"/>
              </a:defPPr>
              <a:lvl1pPr>
                <a:spcBef>
                  <a:spcPts val="200"/>
                </a:spcBef>
                <a:spcAft>
                  <a:spcPts val="200"/>
                </a:spcAft>
                <a:defRPr sz="1200" b="1">
                  <a:latin typeface="+mj-lt"/>
                </a:defRPr>
              </a:lvl1pPr>
            </a:lstStyle>
            <a:p>
              <a:pPr marL="0" marR="0" lvl="0" indent="0" algn="r" defTabSz="914400" eaLnBrk="1" fontAlgn="auto" latinLnBrk="0" hangingPunct="1">
                <a:lnSpc>
                  <a:spcPct val="100000"/>
                </a:lnSpc>
                <a:spcBef>
                  <a:spcPts val="200"/>
                </a:spcBef>
                <a:spcAft>
                  <a:spcPts val="20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rPr>
                <a:t>Kottayam</a:t>
              </a:r>
            </a:p>
          </p:txBody>
        </p:sp>
        <p:sp>
          <p:nvSpPr>
            <p:cNvPr id="4211" name="TextBox 4210">
              <a:extLst>
                <a:ext uri="{FF2B5EF4-FFF2-40B4-BE49-F238E27FC236}">
                  <a16:creationId xmlns:a16="http://schemas.microsoft.com/office/drawing/2014/main" id="{2B1CD53F-69A2-1B90-DD49-AAE9F7053331}"/>
                </a:ext>
              </a:extLst>
            </p:cNvPr>
            <p:cNvSpPr txBox="1"/>
            <p:nvPr userDrawn="1"/>
          </p:nvSpPr>
          <p:spPr>
            <a:xfrm>
              <a:off x="6678382" y="5384397"/>
              <a:ext cx="1822523" cy="153888"/>
            </a:xfrm>
            <a:prstGeom prst="rect">
              <a:avLst/>
            </a:prstGeom>
            <a:noFill/>
          </p:spPr>
          <p:txBody>
            <a:bodyPr wrap="square" lIns="0" tIns="0" rIns="0" bIns="0" anchor="ctr">
              <a:spAutoFit/>
            </a:bodyPr>
            <a:lstStyle>
              <a:defPPr>
                <a:defRPr lang="en-US"/>
              </a:defPPr>
              <a:lvl1pPr>
                <a:spcBef>
                  <a:spcPts val="200"/>
                </a:spcBef>
                <a:spcAft>
                  <a:spcPts val="200"/>
                </a:spcAft>
                <a:defRPr sz="1200" b="1">
                  <a:latin typeface="+mj-lt"/>
                </a:defRPr>
              </a:lvl1pPr>
            </a:lstStyle>
            <a:p>
              <a:pPr marL="0" marR="0" lvl="0" indent="0" algn="r" defTabSz="914400" eaLnBrk="1" fontAlgn="auto" latinLnBrk="0" hangingPunct="1">
                <a:lnSpc>
                  <a:spcPct val="100000"/>
                </a:lnSpc>
                <a:spcBef>
                  <a:spcPts val="200"/>
                </a:spcBef>
                <a:spcAft>
                  <a:spcPts val="200"/>
                </a:spcAft>
                <a:buClrTx/>
                <a:buSzTx/>
                <a:buFontTx/>
                <a:buNone/>
                <a:tabLst/>
                <a:defRPr/>
              </a:pPr>
              <a:r>
                <a:rPr kumimoji="0" lang="en-IN" sz="1000" b="0" i="0" u="none" strike="noStrike" kern="0" cap="none" spc="0" normalizeH="0" baseline="0" noProof="0">
                  <a:ln>
                    <a:noFill/>
                  </a:ln>
                  <a:solidFill>
                    <a:prstClr val="black"/>
                  </a:solidFill>
                  <a:effectLst/>
                  <a:uLnTx/>
                  <a:uFillTx/>
                  <a:latin typeface="Segoe UI"/>
                </a:rPr>
                <a:t>Trivandrum</a:t>
              </a:r>
              <a:endParaRPr kumimoji="0" lang="en-US" sz="1000" b="0" i="0" u="none" strike="noStrike" kern="0" cap="none" spc="0" normalizeH="0" baseline="0" noProof="0">
                <a:ln>
                  <a:noFill/>
                </a:ln>
                <a:solidFill>
                  <a:prstClr val="black"/>
                </a:solidFill>
                <a:effectLst/>
                <a:uLnTx/>
                <a:uFillTx/>
                <a:latin typeface="Segoe UI"/>
              </a:endParaRPr>
            </a:p>
          </p:txBody>
        </p:sp>
        <p:sp>
          <p:nvSpPr>
            <p:cNvPr id="4212" name="TextBox 4211">
              <a:extLst>
                <a:ext uri="{FF2B5EF4-FFF2-40B4-BE49-F238E27FC236}">
                  <a16:creationId xmlns:a16="http://schemas.microsoft.com/office/drawing/2014/main" id="{50507234-A4FC-ADA5-2596-4630D9984742}"/>
                </a:ext>
              </a:extLst>
            </p:cNvPr>
            <p:cNvSpPr txBox="1"/>
            <p:nvPr userDrawn="1"/>
          </p:nvSpPr>
          <p:spPr>
            <a:xfrm>
              <a:off x="7571829" y="5248229"/>
              <a:ext cx="904588" cy="153888"/>
            </a:xfrm>
            <a:prstGeom prst="rect">
              <a:avLst/>
            </a:prstGeom>
            <a:noFill/>
          </p:spPr>
          <p:txBody>
            <a:bodyPr wrap="square" lIns="0" tIns="0" rIns="0" bIns="0" anchor="ctr">
              <a:spAutoFit/>
            </a:bodyPr>
            <a:lstStyle>
              <a:defPPr>
                <a:defRPr lang="en-US"/>
              </a:defPPr>
              <a:lvl1pPr>
                <a:spcBef>
                  <a:spcPts val="200"/>
                </a:spcBef>
                <a:spcAft>
                  <a:spcPts val="200"/>
                </a:spcAft>
                <a:defRPr sz="1200" b="1">
                  <a:latin typeface="+mj-lt"/>
                </a:defRPr>
              </a:lvl1pPr>
            </a:lstStyle>
            <a:p>
              <a:pPr marL="0" marR="0" lvl="0" indent="0" algn="r" defTabSz="914400" eaLnBrk="1" fontAlgn="auto" latinLnBrk="0" hangingPunct="1">
                <a:lnSpc>
                  <a:spcPct val="100000"/>
                </a:lnSpc>
                <a:spcBef>
                  <a:spcPts val="200"/>
                </a:spcBef>
                <a:spcAft>
                  <a:spcPts val="20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rPr>
                <a:t>Alleppey</a:t>
              </a:r>
            </a:p>
          </p:txBody>
        </p:sp>
        <p:sp>
          <p:nvSpPr>
            <p:cNvPr id="4213" name="TextBox 4212">
              <a:extLst>
                <a:ext uri="{FF2B5EF4-FFF2-40B4-BE49-F238E27FC236}">
                  <a16:creationId xmlns:a16="http://schemas.microsoft.com/office/drawing/2014/main" id="{9E3E5351-6062-74BA-255F-D4894119EC8B}"/>
                </a:ext>
              </a:extLst>
            </p:cNvPr>
            <p:cNvSpPr txBox="1"/>
            <p:nvPr userDrawn="1"/>
          </p:nvSpPr>
          <p:spPr>
            <a:xfrm>
              <a:off x="8439825" y="4741556"/>
              <a:ext cx="768107" cy="153888"/>
            </a:xfrm>
            <a:prstGeom prst="rect">
              <a:avLst/>
            </a:prstGeom>
            <a:noFill/>
          </p:spPr>
          <p:txBody>
            <a:bodyPr wrap="square" lIns="0" tIns="0" rIns="0" bIns="0" anchor="ctr">
              <a:spAutoFit/>
            </a:bodyPr>
            <a:lstStyle>
              <a:defPPr>
                <a:defRPr lang="en-US"/>
              </a:defPPr>
              <a:lvl1pPr>
                <a:spcBef>
                  <a:spcPts val="200"/>
                </a:spcBef>
                <a:spcAft>
                  <a:spcPts val="200"/>
                </a:spcAft>
                <a:defRPr sz="1200" b="1">
                  <a:latin typeface="+mj-lt"/>
                </a:defRPr>
              </a:lvl1pPr>
            </a:lstStyle>
            <a:p>
              <a:pPr marL="0" marR="0" lvl="0" indent="0" defTabSz="914400" eaLnBrk="1" fontAlgn="auto" latinLnBrk="0" hangingPunct="1">
                <a:lnSpc>
                  <a:spcPct val="100000"/>
                </a:lnSpc>
                <a:spcBef>
                  <a:spcPts val="200"/>
                </a:spcBef>
                <a:spcAft>
                  <a:spcPts val="20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rPr>
                <a:t>Malappuram</a:t>
              </a:r>
            </a:p>
          </p:txBody>
        </p:sp>
        <p:sp>
          <p:nvSpPr>
            <p:cNvPr id="4214" name="TextBox 4213">
              <a:extLst>
                <a:ext uri="{FF2B5EF4-FFF2-40B4-BE49-F238E27FC236}">
                  <a16:creationId xmlns:a16="http://schemas.microsoft.com/office/drawing/2014/main" id="{2444A542-4977-50C0-E81D-E4428E2304FF}"/>
                </a:ext>
              </a:extLst>
            </p:cNvPr>
            <p:cNvSpPr txBox="1"/>
            <p:nvPr userDrawn="1"/>
          </p:nvSpPr>
          <p:spPr>
            <a:xfrm>
              <a:off x="8419848" y="4371134"/>
              <a:ext cx="609851" cy="153888"/>
            </a:xfrm>
            <a:prstGeom prst="rect">
              <a:avLst/>
            </a:prstGeom>
            <a:noFill/>
          </p:spPr>
          <p:txBody>
            <a:bodyPr wrap="square" lIns="0" tIns="0" rIns="0" bIns="0" anchor="ctr">
              <a:spAutoFit/>
            </a:bodyPr>
            <a:lstStyle>
              <a:defPPr>
                <a:defRPr lang="en-US"/>
              </a:defPPr>
              <a:lvl1pPr>
                <a:spcBef>
                  <a:spcPts val="200"/>
                </a:spcBef>
                <a:spcAft>
                  <a:spcPts val="200"/>
                </a:spcAft>
                <a:defRPr sz="1200" b="1">
                  <a:latin typeface="+mj-lt"/>
                </a:defRPr>
              </a:lvl1pPr>
            </a:lstStyle>
            <a:p>
              <a:pPr marL="0" marR="0" lvl="0" indent="0" defTabSz="914400" eaLnBrk="1" fontAlgn="auto" latinLnBrk="0" hangingPunct="1">
                <a:lnSpc>
                  <a:spcPct val="100000"/>
                </a:lnSpc>
                <a:spcBef>
                  <a:spcPts val="200"/>
                </a:spcBef>
                <a:spcAft>
                  <a:spcPts val="20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rPr>
                <a:t>Bangalore</a:t>
              </a:r>
            </a:p>
          </p:txBody>
        </p:sp>
        <p:sp>
          <p:nvSpPr>
            <p:cNvPr id="4215" name="TextBox 4214">
              <a:extLst>
                <a:ext uri="{FF2B5EF4-FFF2-40B4-BE49-F238E27FC236}">
                  <a16:creationId xmlns:a16="http://schemas.microsoft.com/office/drawing/2014/main" id="{A3937451-C82B-5379-C328-E6E6C2796D49}"/>
                </a:ext>
              </a:extLst>
            </p:cNvPr>
            <p:cNvSpPr txBox="1"/>
            <p:nvPr userDrawn="1"/>
          </p:nvSpPr>
          <p:spPr>
            <a:xfrm>
              <a:off x="9216194" y="4516468"/>
              <a:ext cx="1423910" cy="153888"/>
            </a:xfrm>
            <a:prstGeom prst="rect">
              <a:avLst/>
            </a:prstGeom>
            <a:noFill/>
          </p:spPr>
          <p:txBody>
            <a:bodyPr wrap="square" lIns="0" tIns="0" rIns="0" bIns="0" anchor="ctr">
              <a:spAutoFit/>
            </a:bodyPr>
            <a:lstStyle>
              <a:defPPr>
                <a:defRPr lang="en-US"/>
              </a:defPPr>
              <a:lvl1pPr>
                <a:spcBef>
                  <a:spcPts val="200"/>
                </a:spcBef>
                <a:spcAft>
                  <a:spcPts val="200"/>
                </a:spcAft>
                <a:defRPr sz="1200" b="1">
                  <a:latin typeface="+mj-lt"/>
                </a:defRPr>
              </a:lvl1pPr>
            </a:lstStyle>
            <a:p>
              <a:pPr marL="0" marR="0" lvl="0" indent="0" defTabSz="914400" eaLnBrk="1" fontAlgn="auto" latinLnBrk="0" hangingPunct="1">
                <a:lnSpc>
                  <a:spcPct val="100000"/>
                </a:lnSpc>
                <a:spcBef>
                  <a:spcPts val="200"/>
                </a:spcBef>
                <a:spcAft>
                  <a:spcPts val="20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rPr>
                <a:t>Chennai</a:t>
              </a:r>
            </a:p>
          </p:txBody>
        </p:sp>
        <p:sp>
          <p:nvSpPr>
            <p:cNvPr id="4216" name="TextBox 4215">
              <a:extLst>
                <a:ext uri="{FF2B5EF4-FFF2-40B4-BE49-F238E27FC236}">
                  <a16:creationId xmlns:a16="http://schemas.microsoft.com/office/drawing/2014/main" id="{9A6B7BB0-8F67-BBE8-6A08-FDBCDF602E50}"/>
                </a:ext>
              </a:extLst>
            </p:cNvPr>
            <p:cNvSpPr txBox="1"/>
            <p:nvPr userDrawn="1"/>
          </p:nvSpPr>
          <p:spPr>
            <a:xfrm>
              <a:off x="8685077" y="1594726"/>
              <a:ext cx="1350654" cy="153888"/>
            </a:xfrm>
            <a:prstGeom prst="rect">
              <a:avLst/>
            </a:prstGeom>
            <a:noFill/>
          </p:spPr>
          <p:txBody>
            <a:bodyPr wrap="square" lIns="0" tIns="0" rIns="0" bIns="0" anchor="ctr">
              <a:spAutoFit/>
            </a:bodyPr>
            <a:lstStyle/>
            <a:p>
              <a:pPr marL="0" marR="0" lvl="0" indent="0" defTabSz="914400" eaLnBrk="1" fontAlgn="auto" latinLnBrk="0" hangingPunct="1">
                <a:lnSpc>
                  <a:spcPct val="100000"/>
                </a:lnSpc>
                <a:spcBef>
                  <a:spcPts val="200"/>
                </a:spcBef>
                <a:spcAft>
                  <a:spcPts val="200"/>
                </a:spcAft>
                <a:buClrTx/>
                <a:buSzTx/>
                <a:buFontTx/>
                <a:buNone/>
                <a:tabLst/>
                <a:defRPr/>
              </a:pPr>
              <a:r>
                <a:rPr kumimoji="0" lang="en-US" sz="1000" b="0" i="0" u="none" strike="noStrike" kern="0" cap="none" spc="0" normalizeH="0" baseline="0" noProof="0">
                  <a:ln>
                    <a:noFill/>
                  </a:ln>
                  <a:solidFill>
                    <a:prstClr val="black"/>
                  </a:solidFill>
                  <a:effectLst/>
                  <a:uLnTx/>
                  <a:uFillTx/>
                </a:rPr>
                <a:t>New Delhi</a:t>
              </a:r>
            </a:p>
          </p:txBody>
        </p:sp>
        <p:sp>
          <p:nvSpPr>
            <p:cNvPr id="4217" name="TextBox 4216">
              <a:extLst>
                <a:ext uri="{FF2B5EF4-FFF2-40B4-BE49-F238E27FC236}">
                  <a16:creationId xmlns:a16="http://schemas.microsoft.com/office/drawing/2014/main" id="{39EABCB4-BDF4-3A94-2246-5F9874609991}"/>
                </a:ext>
              </a:extLst>
            </p:cNvPr>
            <p:cNvSpPr txBox="1"/>
            <p:nvPr userDrawn="1"/>
          </p:nvSpPr>
          <p:spPr>
            <a:xfrm>
              <a:off x="10609560" y="2786056"/>
              <a:ext cx="1021002" cy="153888"/>
            </a:xfrm>
            <a:prstGeom prst="rect">
              <a:avLst/>
            </a:prstGeom>
            <a:noFill/>
          </p:spPr>
          <p:txBody>
            <a:bodyPr wrap="square" lIns="0" tIns="0" rIns="0" bIns="0" anchor="ctr">
              <a:spAutoFit/>
            </a:bodyPr>
            <a:lstStyle>
              <a:defPPr>
                <a:defRPr lang="en-US"/>
              </a:defPPr>
              <a:lvl1pPr>
                <a:spcBef>
                  <a:spcPts val="200"/>
                </a:spcBef>
                <a:spcAft>
                  <a:spcPts val="200"/>
                </a:spcAft>
                <a:defRPr sz="1200" b="1">
                  <a:latin typeface="+mj-lt"/>
                </a:defRPr>
              </a:lvl1pPr>
            </a:lstStyle>
            <a:p>
              <a:pPr marL="0" marR="0" lvl="0" indent="0" defTabSz="914400" eaLnBrk="1" fontAlgn="auto" latinLnBrk="0" hangingPunct="1">
                <a:lnSpc>
                  <a:spcPct val="100000"/>
                </a:lnSpc>
                <a:spcBef>
                  <a:spcPts val="200"/>
                </a:spcBef>
                <a:spcAft>
                  <a:spcPts val="20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rPr>
                <a:t>Kolkata</a:t>
              </a:r>
            </a:p>
          </p:txBody>
        </p:sp>
        <p:sp>
          <p:nvSpPr>
            <p:cNvPr id="4218" name="TextBox 4217">
              <a:extLst>
                <a:ext uri="{FF2B5EF4-FFF2-40B4-BE49-F238E27FC236}">
                  <a16:creationId xmlns:a16="http://schemas.microsoft.com/office/drawing/2014/main" id="{13816D84-0BBF-2278-C35C-91E385AE0300}"/>
                </a:ext>
              </a:extLst>
            </p:cNvPr>
            <p:cNvSpPr txBox="1"/>
            <p:nvPr userDrawn="1"/>
          </p:nvSpPr>
          <p:spPr>
            <a:xfrm>
              <a:off x="8854966" y="3607448"/>
              <a:ext cx="1332339" cy="153888"/>
            </a:xfrm>
            <a:prstGeom prst="rect">
              <a:avLst/>
            </a:prstGeom>
            <a:noFill/>
          </p:spPr>
          <p:txBody>
            <a:bodyPr wrap="square" lIns="0" tIns="0" rIns="0" bIns="0" anchor="ctr">
              <a:spAutoFit/>
            </a:bodyPr>
            <a:lstStyle>
              <a:defPPr>
                <a:defRPr lang="en-US"/>
              </a:defPPr>
              <a:lvl1pPr>
                <a:spcBef>
                  <a:spcPts val="200"/>
                </a:spcBef>
                <a:spcAft>
                  <a:spcPts val="200"/>
                </a:spcAft>
                <a:defRPr sz="1200" b="1">
                  <a:latin typeface="+mj-lt"/>
                </a:defRPr>
              </a:lvl1pPr>
            </a:lstStyle>
            <a:p>
              <a:pPr marL="0" marR="0" lvl="0" indent="0" defTabSz="914400" eaLnBrk="1" fontAlgn="auto" latinLnBrk="0" hangingPunct="1">
                <a:lnSpc>
                  <a:spcPct val="100000"/>
                </a:lnSpc>
                <a:spcBef>
                  <a:spcPts val="200"/>
                </a:spcBef>
                <a:spcAft>
                  <a:spcPts val="20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rPr>
                <a:t>Hyderabad</a:t>
              </a:r>
            </a:p>
          </p:txBody>
        </p:sp>
        <p:sp>
          <p:nvSpPr>
            <p:cNvPr id="4219" name="TextBox 4218">
              <a:extLst>
                <a:ext uri="{FF2B5EF4-FFF2-40B4-BE49-F238E27FC236}">
                  <a16:creationId xmlns:a16="http://schemas.microsoft.com/office/drawing/2014/main" id="{0E38C277-58F0-2E26-C5CC-295EA82300A8}"/>
                </a:ext>
              </a:extLst>
            </p:cNvPr>
            <p:cNvSpPr txBox="1"/>
            <p:nvPr userDrawn="1"/>
          </p:nvSpPr>
          <p:spPr>
            <a:xfrm>
              <a:off x="11097240" y="2138201"/>
              <a:ext cx="1021002" cy="153888"/>
            </a:xfrm>
            <a:prstGeom prst="rect">
              <a:avLst/>
            </a:prstGeom>
            <a:noFill/>
          </p:spPr>
          <p:txBody>
            <a:bodyPr wrap="square" lIns="0" tIns="0" rIns="0" bIns="0" anchor="ctr">
              <a:spAutoFit/>
            </a:bodyPr>
            <a:lstStyle>
              <a:defPPr>
                <a:defRPr lang="en-US"/>
              </a:defPPr>
              <a:lvl1pPr>
                <a:spcBef>
                  <a:spcPts val="200"/>
                </a:spcBef>
                <a:spcAft>
                  <a:spcPts val="200"/>
                </a:spcAft>
                <a:defRPr sz="1200" b="1">
                  <a:latin typeface="+mj-lt"/>
                </a:defRPr>
              </a:lvl1pPr>
            </a:lstStyle>
            <a:p>
              <a:pPr marL="0" marR="0" lvl="0" indent="0" defTabSz="914400" eaLnBrk="1" fontAlgn="auto" latinLnBrk="0" hangingPunct="1">
                <a:lnSpc>
                  <a:spcPct val="100000"/>
                </a:lnSpc>
                <a:spcBef>
                  <a:spcPts val="200"/>
                </a:spcBef>
                <a:spcAft>
                  <a:spcPts val="20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rPr>
                <a:t>Guwahati</a:t>
              </a:r>
            </a:p>
          </p:txBody>
        </p:sp>
        <p:sp>
          <p:nvSpPr>
            <p:cNvPr id="4220" name="TextBox 4219">
              <a:extLst>
                <a:ext uri="{FF2B5EF4-FFF2-40B4-BE49-F238E27FC236}">
                  <a16:creationId xmlns:a16="http://schemas.microsoft.com/office/drawing/2014/main" id="{4D66D487-AB97-731C-07B1-2F6985D2313A}"/>
                </a:ext>
              </a:extLst>
            </p:cNvPr>
            <p:cNvSpPr txBox="1"/>
            <p:nvPr userDrawn="1"/>
          </p:nvSpPr>
          <p:spPr>
            <a:xfrm>
              <a:off x="7296480" y="4712089"/>
              <a:ext cx="975707" cy="153888"/>
            </a:xfrm>
            <a:prstGeom prst="rect">
              <a:avLst/>
            </a:prstGeom>
            <a:noFill/>
          </p:spPr>
          <p:txBody>
            <a:bodyPr wrap="square" lIns="0" tIns="0" rIns="0" bIns="0" anchor="ctr">
              <a:spAutoFit/>
            </a:bodyPr>
            <a:lstStyle>
              <a:defPPr>
                <a:defRPr lang="en-US"/>
              </a:defPPr>
              <a:lvl1pPr>
                <a:spcBef>
                  <a:spcPts val="200"/>
                </a:spcBef>
                <a:spcAft>
                  <a:spcPts val="200"/>
                </a:spcAft>
                <a:defRPr sz="1200" b="1">
                  <a:latin typeface="+mj-lt"/>
                </a:defRPr>
              </a:lvl1pPr>
            </a:lstStyle>
            <a:p>
              <a:pPr marL="0" marR="0" lvl="0" indent="0" algn="r" defTabSz="914400" eaLnBrk="1" fontAlgn="auto" latinLnBrk="0" hangingPunct="1">
                <a:lnSpc>
                  <a:spcPct val="100000"/>
                </a:lnSpc>
                <a:spcBef>
                  <a:spcPts val="200"/>
                </a:spcBef>
                <a:spcAft>
                  <a:spcPts val="20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rPr>
                <a:t>Kannur </a:t>
              </a:r>
            </a:p>
          </p:txBody>
        </p:sp>
        <p:sp>
          <p:nvSpPr>
            <p:cNvPr id="4221" name="TextBox 4220">
              <a:extLst>
                <a:ext uri="{FF2B5EF4-FFF2-40B4-BE49-F238E27FC236}">
                  <a16:creationId xmlns:a16="http://schemas.microsoft.com/office/drawing/2014/main" id="{9A64C830-58EA-6208-D867-ADB180CB297D}"/>
                </a:ext>
              </a:extLst>
            </p:cNvPr>
            <p:cNvSpPr txBox="1"/>
            <p:nvPr userDrawn="1"/>
          </p:nvSpPr>
          <p:spPr>
            <a:xfrm>
              <a:off x="8723193" y="4940768"/>
              <a:ext cx="768107" cy="153888"/>
            </a:xfrm>
            <a:prstGeom prst="rect">
              <a:avLst/>
            </a:prstGeom>
            <a:noFill/>
          </p:spPr>
          <p:txBody>
            <a:bodyPr wrap="square" lIns="0" tIns="0" rIns="0" bIns="0" anchor="ctr">
              <a:spAutoFit/>
            </a:bodyPr>
            <a:lstStyle>
              <a:defPPr>
                <a:defRPr lang="en-US"/>
              </a:defPPr>
              <a:lvl1pPr>
                <a:spcBef>
                  <a:spcPts val="200"/>
                </a:spcBef>
                <a:spcAft>
                  <a:spcPts val="200"/>
                </a:spcAft>
                <a:defRPr sz="1200" b="1">
                  <a:latin typeface="+mj-lt"/>
                </a:defRPr>
              </a:lvl1pPr>
            </a:lstStyle>
            <a:p>
              <a:pPr marL="0" marR="0" lvl="0" indent="0" defTabSz="914400" eaLnBrk="1" fontAlgn="auto" latinLnBrk="0" hangingPunct="1">
                <a:lnSpc>
                  <a:spcPct val="100000"/>
                </a:lnSpc>
                <a:spcBef>
                  <a:spcPts val="200"/>
                </a:spcBef>
                <a:spcAft>
                  <a:spcPts val="20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rPr>
                <a:t>Coimbatore</a:t>
              </a:r>
            </a:p>
          </p:txBody>
        </p:sp>
      </p:grpSp>
      <p:pic>
        <p:nvPicPr>
          <p:cNvPr id="3" name="Picture 2" descr="Logo&#10;&#10;Description automatically generated">
            <a:extLst>
              <a:ext uri="{FF2B5EF4-FFF2-40B4-BE49-F238E27FC236}">
                <a16:creationId xmlns:a16="http://schemas.microsoft.com/office/drawing/2014/main" id="{CF5A0F92-3E77-CFC3-E15E-E3B0FAFBB5C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2379" y="429765"/>
            <a:ext cx="2505346" cy="630070"/>
          </a:xfrm>
          <a:prstGeom prst="rect">
            <a:avLst/>
          </a:prstGeom>
        </p:spPr>
      </p:pic>
      <p:sp>
        <p:nvSpPr>
          <p:cNvPr id="4" name="Rectangle 3">
            <a:extLst>
              <a:ext uri="{FF2B5EF4-FFF2-40B4-BE49-F238E27FC236}">
                <a16:creationId xmlns:a16="http://schemas.microsoft.com/office/drawing/2014/main" id="{BB19BAF5-DB0D-C726-8868-3871295E84C7}"/>
              </a:ext>
            </a:extLst>
          </p:cNvPr>
          <p:cNvSpPr/>
          <p:nvPr userDrawn="1"/>
        </p:nvSpPr>
        <p:spPr>
          <a:xfrm>
            <a:off x="1" y="1083195"/>
            <a:ext cx="4991011" cy="446670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solidFill>
            </a:endParaRPr>
          </a:p>
        </p:txBody>
      </p:sp>
      <p:sp>
        <p:nvSpPr>
          <p:cNvPr id="5" name="Rectangle 4">
            <a:extLst>
              <a:ext uri="{FF2B5EF4-FFF2-40B4-BE49-F238E27FC236}">
                <a16:creationId xmlns:a16="http://schemas.microsoft.com/office/drawing/2014/main" id="{EBC9A70D-E1EB-3C87-251B-DECF52BA772B}"/>
              </a:ext>
            </a:extLst>
          </p:cNvPr>
          <p:cNvSpPr/>
          <p:nvPr userDrawn="1"/>
        </p:nvSpPr>
        <p:spPr>
          <a:xfrm>
            <a:off x="270079" y="1155253"/>
            <a:ext cx="3234854" cy="179088"/>
          </a:xfrm>
          <a:prstGeom prst="rect">
            <a:avLst/>
          </a:prstGeom>
          <a:noFill/>
        </p:spPr>
        <p:txBody>
          <a:bodyPr wrap="square" lIns="0" tIns="0" rIns="0" bIns="0">
            <a:spAutoFit/>
          </a:bodyPr>
          <a:lstStyle/>
          <a:p>
            <a:pPr defTabSz="1007521">
              <a:lnSpc>
                <a:spcPts val="1500"/>
              </a:lnSpc>
              <a:defRPr/>
            </a:pPr>
            <a:r>
              <a:rPr lang="en-US" sz="1100" b="1">
                <a:solidFill>
                  <a:schemeClr val="bg1"/>
                </a:solidFill>
                <a:latin typeface="+mj-lt"/>
                <a:cs typeface="Arial" pitchFamily="34" charset="0"/>
              </a:rPr>
              <a:t>Corporate Office : </a:t>
            </a:r>
            <a:endParaRPr lang="en-US" sz="1100">
              <a:solidFill>
                <a:schemeClr val="bg1"/>
              </a:solidFill>
              <a:latin typeface="+mj-lt"/>
              <a:cs typeface="Arial" pitchFamily="34" charset="0"/>
            </a:endParaRPr>
          </a:p>
        </p:txBody>
      </p:sp>
      <p:sp>
        <p:nvSpPr>
          <p:cNvPr id="6" name="Rounded Rectangle 32">
            <a:extLst>
              <a:ext uri="{FF2B5EF4-FFF2-40B4-BE49-F238E27FC236}">
                <a16:creationId xmlns:a16="http://schemas.microsoft.com/office/drawing/2014/main" id="{F373364C-7261-7A06-8674-4B8FBC290059}"/>
              </a:ext>
            </a:extLst>
          </p:cNvPr>
          <p:cNvSpPr/>
          <p:nvPr userDrawn="1"/>
        </p:nvSpPr>
        <p:spPr>
          <a:xfrm>
            <a:off x="270079" y="4421206"/>
            <a:ext cx="3636603" cy="101566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ct val="100000"/>
              </a:lnSpc>
              <a:spcBef>
                <a:spcPts val="200"/>
              </a:spcBef>
              <a:spcAft>
                <a:spcPts val="200"/>
              </a:spcAft>
            </a:pPr>
            <a:r>
              <a:rPr lang="en-US" sz="1100" b="1">
                <a:solidFill>
                  <a:schemeClr val="bg1"/>
                </a:solidFill>
                <a:latin typeface="+mj-lt"/>
                <a:cs typeface="Arial" pitchFamily="34" charset="0"/>
              </a:rPr>
              <a:t>Equirus Insurance Broking Private  Limited</a:t>
            </a:r>
          </a:p>
          <a:p>
            <a:pPr>
              <a:lnSpc>
                <a:spcPct val="100000"/>
              </a:lnSpc>
              <a:spcBef>
                <a:spcPts val="200"/>
              </a:spcBef>
              <a:spcAft>
                <a:spcPts val="200"/>
              </a:spcAft>
            </a:pPr>
            <a:r>
              <a:rPr lang="en-US" sz="900" b="0" i="0">
                <a:solidFill>
                  <a:srgbClr val="FFFFFF"/>
                </a:solidFill>
                <a:effectLst/>
                <a:latin typeface="+mj-lt"/>
              </a:rPr>
              <a:t>A – 2102, </a:t>
            </a:r>
            <a:r>
              <a:rPr lang="en-US" sz="900">
                <a:solidFill>
                  <a:schemeClr val="bg1"/>
                </a:solidFill>
                <a:latin typeface="+mj-lt"/>
                <a:cs typeface="Arial" pitchFamily="34" charset="0"/>
              </a:rPr>
              <a:t>21</a:t>
            </a:r>
            <a:r>
              <a:rPr lang="en-US" sz="900" baseline="30000">
                <a:solidFill>
                  <a:schemeClr val="bg1"/>
                </a:solidFill>
                <a:latin typeface="+mj-lt"/>
                <a:cs typeface="Arial" pitchFamily="34" charset="0"/>
              </a:rPr>
              <a:t>st</a:t>
            </a:r>
            <a:r>
              <a:rPr lang="en-US" sz="900">
                <a:solidFill>
                  <a:schemeClr val="bg1"/>
                </a:solidFill>
                <a:latin typeface="+mj-lt"/>
                <a:cs typeface="Arial" pitchFamily="34" charset="0"/>
              </a:rPr>
              <a:t> Floor, A Wing</a:t>
            </a:r>
            <a:r>
              <a:rPr lang="en-US" sz="900" b="0" i="0">
                <a:solidFill>
                  <a:srgbClr val="FFFFFF"/>
                </a:solidFill>
                <a:effectLst/>
                <a:latin typeface="+mj-lt"/>
              </a:rPr>
              <a:t>, </a:t>
            </a:r>
            <a:r>
              <a:rPr lang="en-US" sz="900">
                <a:solidFill>
                  <a:schemeClr val="bg1"/>
                </a:solidFill>
                <a:latin typeface="+mj-lt"/>
                <a:cs typeface="Arial" pitchFamily="34" charset="0"/>
              </a:rPr>
              <a:t>Marathon </a:t>
            </a:r>
            <a:r>
              <a:rPr lang="en-US" sz="900" err="1">
                <a:solidFill>
                  <a:schemeClr val="bg1"/>
                </a:solidFill>
                <a:latin typeface="+mj-lt"/>
                <a:cs typeface="Arial" pitchFamily="34" charset="0"/>
              </a:rPr>
              <a:t>Futurex</a:t>
            </a:r>
            <a:r>
              <a:rPr lang="en-US" sz="900">
                <a:solidFill>
                  <a:schemeClr val="bg1"/>
                </a:solidFill>
                <a:latin typeface="+mj-lt"/>
                <a:cs typeface="Arial" pitchFamily="34" charset="0"/>
              </a:rPr>
              <a:t>, N M Joshi Marg, Lower Parel, Mumbai - 400013</a:t>
            </a:r>
            <a:endParaRPr lang="en-US" sz="900" b="1">
              <a:solidFill>
                <a:schemeClr val="bg1"/>
              </a:solidFill>
              <a:latin typeface="+mj-lt"/>
              <a:cs typeface="Arial" pitchFamily="34" charset="0"/>
            </a:endParaRPr>
          </a:p>
          <a:p>
            <a:pPr>
              <a:lnSpc>
                <a:spcPct val="100000"/>
              </a:lnSpc>
              <a:spcBef>
                <a:spcPts val="200"/>
              </a:spcBef>
              <a:spcAft>
                <a:spcPts val="200"/>
              </a:spcAft>
            </a:pPr>
            <a:r>
              <a:rPr lang="en-US" sz="900">
                <a:solidFill>
                  <a:schemeClr val="bg1"/>
                </a:solidFill>
                <a:latin typeface="+mj-lt"/>
                <a:cs typeface="Arial" pitchFamily="34" charset="0"/>
              </a:rPr>
              <a:t>IRDA Licensed Direct Insurance Broker ( Life &amp; General) | License # 763 License Validity: 1</a:t>
            </a:r>
            <a:r>
              <a:rPr lang="en-US" sz="900" baseline="30000">
                <a:solidFill>
                  <a:schemeClr val="bg1"/>
                </a:solidFill>
                <a:latin typeface="+mj-lt"/>
                <a:cs typeface="Arial" pitchFamily="34" charset="0"/>
              </a:rPr>
              <a:t>st</a:t>
            </a:r>
            <a:r>
              <a:rPr lang="en-US" sz="900">
                <a:solidFill>
                  <a:schemeClr val="bg1"/>
                </a:solidFill>
                <a:latin typeface="+mj-lt"/>
                <a:cs typeface="Arial" pitchFamily="34" charset="0"/>
              </a:rPr>
              <a:t> August 2021 to 31</a:t>
            </a:r>
            <a:r>
              <a:rPr lang="en-US" sz="900" baseline="30000">
                <a:solidFill>
                  <a:schemeClr val="bg1"/>
                </a:solidFill>
                <a:latin typeface="+mj-lt"/>
                <a:cs typeface="Arial" pitchFamily="34" charset="0"/>
              </a:rPr>
              <a:t>st</a:t>
            </a:r>
            <a:r>
              <a:rPr lang="en-US" sz="900">
                <a:solidFill>
                  <a:schemeClr val="bg1"/>
                </a:solidFill>
                <a:latin typeface="+mj-lt"/>
                <a:cs typeface="Arial" pitchFamily="34" charset="0"/>
              </a:rPr>
              <a:t> July 2024</a:t>
            </a:r>
          </a:p>
          <a:p>
            <a:pPr>
              <a:lnSpc>
                <a:spcPct val="100000"/>
              </a:lnSpc>
              <a:spcBef>
                <a:spcPts val="200"/>
              </a:spcBef>
              <a:spcAft>
                <a:spcPts val="200"/>
              </a:spcAft>
            </a:pPr>
            <a:r>
              <a:rPr lang="en-US" sz="900">
                <a:solidFill>
                  <a:schemeClr val="bg1"/>
                </a:solidFill>
                <a:latin typeface="+mj-lt"/>
                <a:cs typeface="Arial" pitchFamily="34" charset="0"/>
              </a:rPr>
              <a:t>CIN: U67100MH2008PTC185564</a:t>
            </a:r>
          </a:p>
        </p:txBody>
      </p:sp>
      <p:sp>
        <p:nvSpPr>
          <p:cNvPr id="8" name="Rounded Rectangle 32">
            <a:extLst>
              <a:ext uri="{FF2B5EF4-FFF2-40B4-BE49-F238E27FC236}">
                <a16:creationId xmlns:a16="http://schemas.microsoft.com/office/drawing/2014/main" id="{8D246BFC-CD5D-A579-5094-C1C6BD0A63E4}"/>
              </a:ext>
            </a:extLst>
          </p:cNvPr>
          <p:cNvSpPr/>
          <p:nvPr userDrawn="1"/>
        </p:nvSpPr>
        <p:spPr>
          <a:xfrm>
            <a:off x="270079" y="1434890"/>
            <a:ext cx="3636603" cy="49757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ct val="100000"/>
              </a:lnSpc>
              <a:spcBef>
                <a:spcPts val="200"/>
              </a:spcBef>
              <a:spcAft>
                <a:spcPts val="200"/>
              </a:spcAft>
            </a:pPr>
            <a:r>
              <a:rPr lang="en-US" sz="1100" b="1">
                <a:solidFill>
                  <a:schemeClr val="bg1"/>
                </a:solidFill>
                <a:latin typeface="+mj-lt"/>
                <a:cs typeface="Arial" pitchFamily="34" charset="0"/>
              </a:rPr>
              <a:t>Equirus Capital Private Limited</a:t>
            </a:r>
          </a:p>
          <a:p>
            <a:pPr>
              <a:lnSpc>
                <a:spcPct val="100000"/>
              </a:lnSpc>
              <a:spcBef>
                <a:spcPts val="200"/>
              </a:spcBef>
              <a:spcAft>
                <a:spcPts val="200"/>
              </a:spcAft>
            </a:pPr>
            <a:r>
              <a:rPr lang="en-US" sz="900">
                <a:solidFill>
                  <a:schemeClr val="bg1"/>
                </a:solidFill>
                <a:latin typeface="+mj-lt"/>
                <a:cs typeface="Arial" pitchFamily="34" charset="0"/>
              </a:rPr>
              <a:t>12</a:t>
            </a:r>
            <a:r>
              <a:rPr lang="en-US" sz="900" baseline="30000">
                <a:solidFill>
                  <a:schemeClr val="bg1"/>
                </a:solidFill>
                <a:latin typeface="+mj-lt"/>
                <a:cs typeface="Arial" pitchFamily="34" charset="0"/>
              </a:rPr>
              <a:t>th</a:t>
            </a:r>
            <a:r>
              <a:rPr lang="en-US" sz="900">
                <a:solidFill>
                  <a:schemeClr val="bg1"/>
                </a:solidFill>
                <a:latin typeface="+mj-lt"/>
                <a:cs typeface="Arial" pitchFamily="34" charset="0"/>
              </a:rPr>
              <a:t> Floor, C Wing, Marathon </a:t>
            </a:r>
            <a:r>
              <a:rPr lang="en-US" sz="900" err="1">
                <a:solidFill>
                  <a:schemeClr val="bg1"/>
                </a:solidFill>
                <a:latin typeface="+mj-lt"/>
                <a:cs typeface="Arial" pitchFamily="34" charset="0"/>
              </a:rPr>
              <a:t>Futurex</a:t>
            </a:r>
            <a:r>
              <a:rPr lang="en-US" sz="900">
                <a:solidFill>
                  <a:schemeClr val="bg1"/>
                </a:solidFill>
                <a:latin typeface="+mj-lt"/>
                <a:cs typeface="Arial" pitchFamily="34" charset="0"/>
              </a:rPr>
              <a:t>, N M Joshi Marg, Lower Parel, Mumbai - 400013</a:t>
            </a:r>
          </a:p>
        </p:txBody>
      </p:sp>
      <p:sp>
        <p:nvSpPr>
          <p:cNvPr id="9" name="Rounded Rectangle 32">
            <a:extLst>
              <a:ext uri="{FF2B5EF4-FFF2-40B4-BE49-F238E27FC236}">
                <a16:creationId xmlns:a16="http://schemas.microsoft.com/office/drawing/2014/main" id="{2EF64048-7879-CBC5-2298-8E22B05F2443}"/>
              </a:ext>
            </a:extLst>
          </p:cNvPr>
          <p:cNvSpPr/>
          <p:nvPr userDrawn="1"/>
        </p:nvSpPr>
        <p:spPr>
          <a:xfrm>
            <a:off x="270079" y="2137941"/>
            <a:ext cx="3636603" cy="825867"/>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ct val="100000"/>
              </a:lnSpc>
              <a:spcBef>
                <a:spcPts val="200"/>
              </a:spcBef>
              <a:spcAft>
                <a:spcPts val="200"/>
              </a:spcAft>
            </a:pPr>
            <a:r>
              <a:rPr lang="en-US" sz="1100" b="1">
                <a:solidFill>
                  <a:schemeClr val="bg1"/>
                </a:solidFill>
                <a:latin typeface="+mj-lt"/>
                <a:cs typeface="Arial" pitchFamily="34" charset="0"/>
              </a:rPr>
              <a:t>Equirus Securities Private Limited </a:t>
            </a:r>
          </a:p>
          <a:p>
            <a:pPr>
              <a:lnSpc>
                <a:spcPct val="100000"/>
              </a:lnSpc>
              <a:spcBef>
                <a:spcPts val="200"/>
              </a:spcBef>
              <a:spcAft>
                <a:spcPts val="200"/>
              </a:spcAft>
            </a:pPr>
            <a:r>
              <a:rPr lang="en-US" sz="900" b="0" i="0">
                <a:solidFill>
                  <a:srgbClr val="FFFFFF"/>
                </a:solidFill>
                <a:effectLst/>
                <a:latin typeface="+mj-lt"/>
              </a:rPr>
              <a:t>A – 2102, </a:t>
            </a:r>
            <a:r>
              <a:rPr lang="en-US" sz="900">
                <a:solidFill>
                  <a:schemeClr val="bg1"/>
                </a:solidFill>
                <a:latin typeface="+mj-lt"/>
                <a:cs typeface="Arial" pitchFamily="34" charset="0"/>
              </a:rPr>
              <a:t>21</a:t>
            </a:r>
            <a:r>
              <a:rPr lang="en-US" sz="900" baseline="30000">
                <a:solidFill>
                  <a:schemeClr val="bg1"/>
                </a:solidFill>
                <a:latin typeface="+mj-lt"/>
                <a:cs typeface="Arial" pitchFamily="34" charset="0"/>
              </a:rPr>
              <a:t>st</a:t>
            </a:r>
            <a:r>
              <a:rPr lang="en-US" sz="900">
                <a:solidFill>
                  <a:schemeClr val="bg1"/>
                </a:solidFill>
                <a:latin typeface="+mj-lt"/>
                <a:cs typeface="Arial" pitchFamily="34" charset="0"/>
              </a:rPr>
              <a:t> Floor, A Wing</a:t>
            </a:r>
            <a:r>
              <a:rPr lang="en-US" sz="900" b="0" i="0">
                <a:solidFill>
                  <a:srgbClr val="FFFFFF"/>
                </a:solidFill>
                <a:effectLst/>
                <a:latin typeface="+mj-lt"/>
              </a:rPr>
              <a:t>, </a:t>
            </a:r>
            <a:r>
              <a:rPr lang="en-US" sz="900">
                <a:solidFill>
                  <a:schemeClr val="bg1"/>
                </a:solidFill>
                <a:latin typeface="+mj-lt"/>
                <a:cs typeface="Arial" pitchFamily="34" charset="0"/>
              </a:rPr>
              <a:t>Marathon </a:t>
            </a:r>
            <a:r>
              <a:rPr lang="en-US" sz="900" err="1">
                <a:solidFill>
                  <a:schemeClr val="bg1"/>
                </a:solidFill>
                <a:latin typeface="+mj-lt"/>
                <a:cs typeface="Arial" pitchFamily="34" charset="0"/>
              </a:rPr>
              <a:t>Futurex</a:t>
            </a:r>
            <a:r>
              <a:rPr lang="en-US" sz="900">
                <a:solidFill>
                  <a:schemeClr val="bg1"/>
                </a:solidFill>
                <a:latin typeface="+mj-lt"/>
                <a:cs typeface="Arial" pitchFamily="34" charset="0"/>
              </a:rPr>
              <a:t>, N M Joshi Marg, Lower Parel, Mumbai - 400013</a:t>
            </a:r>
            <a:endParaRPr lang="en-US" sz="900" b="1">
              <a:solidFill>
                <a:schemeClr val="bg1"/>
              </a:solidFill>
              <a:latin typeface="+mj-lt"/>
              <a:cs typeface="Arial" pitchFamily="34" charset="0"/>
            </a:endParaRPr>
          </a:p>
          <a:p>
            <a:pPr>
              <a:lnSpc>
                <a:spcPct val="100000"/>
              </a:lnSpc>
              <a:spcBef>
                <a:spcPts val="200"/>
              </a:spcBef>
              <a:spcAft>
                <a:spcPts val="200"/>
              </a:spcAft>
            </a:pPr>
            <a:r>
              <a:rPr lang="en-US" sz="900">
                <a:solidFill>
                  <a:schemeClr val="bg1"/>
                </a:solidFill>
                <a:latin typeface="+mj-lt"/>
                <a:cs typeface="Arial" pitchFamily="34" charset="0"/>
              </a:rPr>
              <a:t>1205 &amp; 1206, 12</a:t>
            </a:r>
            <a:r>
              <a:rPr lang="en-US" sz="900" baseline="30000">
                <a:solidFill>
                  <a:schemeClr val="bg1"/>
                </a:solidFill>
                <a:latin typeface="+mj-lt"/>
                <a:cs typeface="Arial" pitchFamily="34" charset="0"/>
              </a:rPr>
              <a:t>th</a:t>
            </a:r>
            <a:r>
              <a:rPr lang="en-US" sz="900">
                <a:solidFill>
                  <a:schemeClr val="bg1"/>
                </a:solidFill>
                <a:latin typeface="+mj-lt"/>
                <a:cs typeface="Arial" pitchFamily="34" charset="0"/>
              </a:rPr>
              <a:t> Floor, A Block, </a:t>
            </a:r>
            <a:r>
              <a:rPr lang="en-US" sz="900" err="1">
                <a:solidFill>
                  <a:schemeClr val="bg1"/>
                </a:solidFill>
                <a:latin typeface="+mj-lt"/>
                <a:cs typeface="Arial" pitchFamily="34" charset="0"/>
              </a:rPr>
              <a:t>Navratna</a:t>
            </a:r>
            <a:r>
              <a:rPr lang="en-US" sz="900">
                <a:solidFill>
                  <a:schemeClr val="bg1"/>
                </a:solidFill>
                <a:latin typeface="+mj-lt"/>
                <a:cs typeface="Arial" pitchFamily="34" charset="0"/>
              </a:rPr>
              <a:t> Corporate Park, </a:t>
            </a:r>
            <a:r>
              <a:rPr lang="en-US" sz="900" err="1">
                <a:solidFill>
                  <a:schemeClr val="bg1"/>
                </a:solidFill>
                <a:latin typeface="+mj-lt"/>
                <a:cs typeface="Arial" pitchFamily="34" charset="0"/>
              </a:rPr>
              <a:t>Bopal</a:t>
            </a:r>
            <a:r>
              <a:rPr lang="en-US" sz="900">
                <a:solidFill>
                  <a:schemeClr val="bg1"/>
                </a:solidFill>
                <a:latin typeface="+mj-lt"/>
                <a:cs typeface="Arial" pitchFamily="34" charset="0"/>
              </a:rPr>
              <a:t> - </a:t>
            </a:r>
            <a:r>
              <a:rPr lang="en-US" sz="900" err="1">
                <a:solidFill>
                  <a:schemeClr val="bg1"/>
                </a:solidFill>
                <a:latin typeface="+mj-lt"/>
                <a:cs typeface="Arial" pitchFamily="34" charset="0"/>
              </a:rPr>
              <a:t>Ambli</a:t>
            </a:r>
            <a:r>
              <a:rPr lang="en-US" sz="900">
                <a:solidFill>
                  <a:schemeClr val="bg1"/>
                </a:solidFill>
                <a:latin typeface="+mj-lt"/>
                <a:cs typeface="Arial" pitchFamily="34" charset="0"/>
              </a:rPr>
              <a:t> Road, Ahmedabad - 380058</a:t>
            </a:r>
          </a:p>
        </p:txBody>
      </p:sp>
      <p:cxnSp>
        <p:nvCxnSpPr>
          <p:cNvPr id="10" name="Straight Connector 9">
            <a:extLst>
              <a:ext uri="{FF2B5EF4-FFF2-40B4-BE49-F238E27FC236}">
                <a16:creationId xmlns:a16="http://schemas.microsoft.com/office/drawing/2014/main" id="{31661B58-EFC0-9EC4-053C-A3B311F5D7C9}"/>
              </a:ext>
            </a:extLst>
          </p:cNvPr>
          <p:cNvCxnSpPr>
            <a:cxnSpLocks/>
          </p:cNvCxnSpPr>
          <p:nvPr userDrawn="1"/>
        </p:nvCxnSpPr>
        <p:spPr>
          <a:xfrm>
            <a:off x="270079" y="2035201"/>
            <a:ext cx="3636603" cy="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61DB1F3-AB8A-5AE1-BE8C-A37F9604CFA5}"/>
              </a:ext>
            </a:extLst>
          </p:cNvPr>
          <p:cNvCxnSpPr>
            <a:cxnSpLocks/>
          </p:cNvCxnSpPr>
          <p:nvPr userDrawn="1"/>
        </p:nvCxnSpPr>
        <p:spPr>
          <a:xfrm>
            <a:off x="270079" y="3066548"/>
            <a:ext cx="3636603" cy="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12" name="Rounded Rectangle 32">
            <a:extLst>
              <a:ext uri="{FF2B5EF4-FFF2-40B4-BE49-F238E27FC236}">
                <a16:creationId xmlns:a16="http://schemas.microsoft.com/office/drawing/2014/main" id="{C171EAA5-668D-1719-A3D9-FA65AC2CACB1}"/>
              </a:ext>
            </a:extLst>
          </p:cNvPr>
          <p:cNvSpPr/>
          <p:nvPr userDrawn="1"/>
        </p:nvSpPr>
        <p:spPr>
          <a:xfrm>
            <a:off x="270079" y="3169288"/>
            <a:ext cx="3636603" cy="104644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ct val="100000"/>
              </a:lnSpc>
              <a:spcBef>
                <a:spcPts val="200"/>
              </a:spcBef>
              <a:spcAft>
                <a:spcPts val="200"/>
              </a:spcAft>
            </a:pPr>
            <a:r>
              <a:rPr lang="en-US" sz="1100" b="1">
                <a:solidFill>
                  <a:schemeClr val="bg1"/>
                </a:solidFill>
                <a:latin typeface="+mj-lt"/>
                <a:cs typeface="Arial" pitchFamily="34" charset="0"/>
              </a:rPr>
              <a:t>Equirus Wealth Private Limited</a:t>
            </a:r>
          </a:p>
          <a:p>
            <a:pPr>
              <a:lnSpc>
                <a:spcPct val="100000"/>
              </a:lnSpc>
              <a:spcBef>
                <a:spcPts val="200"/>
              </a:spcBef>
              <a:spcAft>
                <a:spcPts val="200"/>
              </a:spcAft>
            </a:pPr>
            <a:r>
              <a:rPr lang="en-US" sz="1100" b="1">
                <a:solidFill>
                  <a:schemeClr val="bg1"/>
                </a:solidFill>
                <a:latin typeface="Segoe UI Semibold" panose="020B0702040204020203" pitchFamily="34" charset="0"/>
                <a:cs typeface="Segoe UI Semibold" panose="020B0702040204020203" pitchFamily="34" charset="0"/>
              </a:rPr>
              <a:t>AMFI-registered Mutual Fund Distributor</a:t>
            </a:r>
          </a:p>
          <a:p>
            <a:pPr>
              <a:lnSpc>
                <a:spcPct val="100000"/>
              </a:lnSpc>
              <a:spcBef>
                <a:spcPts val="200"/>
              </a:spcBef>
              <a:spcAft>
                <a:spcPts val="200"/>
              </a:spcAft>
            </a:pPr>
            <a:r>
              <a:rPr lang="en-US" sz="900">
                <a:solidFill>
                  <a:schemeClr val="bg1"/>
                </a:solidFill>
                <a:latin typeface="+mj-lt"/>
                <a:cs typeface="Arial" pitchFamily="34" charset="0"/>
              </a:rPr>
              <a:t>529, 5</a:t>
            </a:r>
            <a:r>
              <a:rPr lang="en-US" sz="900" baseline="30000">
                <a:solidFill>
                  <a:schemeClr val="bg1"/>
                </a:solidFill>
                <a:latin typeface="+mj-lt"/>
                <a:cs typeface="Arial" pitchFamily="34" charset="0"/>
              </a:rPr>
              <a:t>th</a:t>
            </a:r>
            <a:r>
              <a:rPr lang="en-US" sz="900">
                <a:solidFill>
                  <a:schemeClr val="bg1"/>
                </a:solidFill>
                <a:latin typeface="+mj-lt"/>
                <a:cs typeface="Arial" pitchFamily="34" charset="0"/>
              </a:rPr>
              <a:t> Floor, G Wing, </a:t>
            </a:r>
            <a:r>
              <a:rPr lang="en-US" sz="900" err="1">
                <a:solidFill>
                  <a:schemeClr val="bg1"/>
                </a:solidFill>
                <a:latin typeface="+mj-lt"/>
                <a:cs typeface="Arial" pitchFamily="34" charset="0"/>
              </a:rPr>
              <a:t>Kanakia</a:t>
            </a:r>
            <a:r>
              <a:rPr lang="en-US" sz="900">
                <a:solidFill>
                  <a:schemeClr val="bg1"/>
                </a:solidFill>
                <a:latin typeface="+mj-lt"/>
                <a:cs typeface="Arial" pitchFamily="34" charset="0"/>
              </a:rPr>
              <a:t> Zillion, LBS Marg, BKC Annexure, Kurla West, Mumbai – 400070</a:t>
            </a:r>
          </a:p>
          <a:p>
            <a:pPr>
              <a:lnSpc>
                <a:spcPct val="100000"/>
              </a:lnSpc>
              <a:spcBef>
                <a:spcPts val="200"/>
              </a:spcBef>
              <a:spcAft>
                <a:spcPts val="0"/>
              </a:spcAft>
            </a:pPr>
            <a:r>
              <a:rPr lang="en-US" sz="900">
                <a:solidFill>
                  <a:schemeClr val="bg1"/>
                </a:solidFill>
                <a:latin typeface="+mj-lt"/>
                <a:cs typeface="Arial" pitchFamily="34" charset="0"/>
              </a:rPr>
              <a:t>Unit No 403, 4</a:t>
            </a:r>
            <a:r>
              <a:rPr lang="en-US" sz="900" baseline="30000">
                <a:solidFill>
                  <a:schemeClr val="bg1"/>
                </a:solidFill>
                <a:latin typeface="+mj-lt"/>
                <a:cs typeface="Arial" pitchFamily="34" charset="0"/>
              </a:rPr>
              <a:t>th</a:t>
            </a:r>
            <a:r>
              <a:rPr lang="en-US" sz="900">
                <a:solidFill>
                  <a:schemeClr val="bg1"/>
                </a:solidFill>
                <a:latin typeface="+mj-lt"/>
                <a:cs typeface="Arial" pitchFamily="34" charset="0"/>
              </a:rPr>
              <a:t> floor, A - 13A, Graphix Tower, Sector 62, Noida, </a:t>
            </a:r>
          </a:p>
          <a:p>
            <a:pPr>
              <a:lnSpc>
                <a:spcPct val="100000"/>
              </a:lnSpc>
              <a:spcBef>
                <a:spcPts val="0"/>
              </a:spcBef>
              <a:spcAft>
                <a:spcPts val="0"/>
              </a:spcAft>
            </a:pPr>
            <a:r>
              <a:rPr lang="en-US" sz="900">
                <a:solidFill>
                  <a:schemeClr val="bg1"/>
                </a:solidFill>
                <a:latin typeface="+mj-lt"/>
                <a:cs typeface="Arial" pitchFamily="34" charset="0"/>
              </a:rPr>
              <a:t>UP - 201309</a:t>
            </a:r>
            <a:endParaRPr lang="en-US" sz="900" b="1">
              <a:solidFill>
                <a:schemeClr val="bg1"/>
              </a:solidFill>
              <a:latin typeface="+mj-lt"/>
              <a:cs typeface="Arial" pitchFamily="34" charset="0"/>
            </a:endParaRPr>
          </a:p>
        </p:txBody>
      </p:sp>
      <p:cxnSp>
        <p:nvCxnSpPr>
          <p:cNvPr id="13" name="Straight Connector 12">
            <a:extLst>
              <a:ext uri="{FF2B5EF4-FFF2-40B4-BE49-F238E27FC236}">
                <a16:creationId xmlns:a16="http://schemas.microsoft.com/office/drawing/2014/main" id="{BB3A299F-A199-DD83-AB4A-9EF4B36ABA40}"/>
              </a:ext>
            </a:extLst>
          </p:cNvPr>
          <p:cNvCxnSpPr>
            <a:cxnSpLocks/>
          </p:cNvCxnSpPr>
          <p:nvPr userDrawn="1"/>
        </p:nvCxnSpPr>
        <p:spPr>
          <a:xfrm>
            <a:off x="270079" y="4318468"/>
            <a:ext cx="3636603" cy="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18771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5F49EB3B-88E1-5A45-DCF1-881116008FE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l="10443" r="10443"/>
          <a:stretch/>
        </p:blipFill>
        <p:spPr bwMode="auto">
          <a:xfrm>
            <a:off x="4053635" y="-18738"/>
            <a:ext cx="8138365"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7F2B18F4-94E7-B218-C7DC-EEB8F8D8AB6C}"/>
              </a:ext>
            </a:extLst>
          </p:cNvPr>
          <p:cNvSpPr/>
          <p:nvPr userDrawn="1"/>
        </p:nvSpPr>
        <p:spPr>
          <a:xfrm rot="16200000">
            <a:off x="4629150" y="-704850"/>
            <a:ext cx="6857999" cy="8267700"/>
          </a:xfrm>
          <a:prstGeom prst="rect">
            <a:avLst/>
          </a:prstGeom>
          <a:gradFill flip="none" rotWithShape="1">
            <a:gsLst>
              <a:gs pos="48000">
                <a:srgbClr val="FFFFFF">
                  <a:alpha val="0"/>
                </a:srgbClr>
              </a:gs>
              <a:gs pos="32000">
                <a:srgbClr val="FFFFFF">
                  <a:alpha val="54000"/>
                </a:srgbClr>
              </a:gs>
              <a:gs pos="14000">
                <a:srgbClr val="FFFFFF">
                  <a:alpha val="95000"/>
                </a:srgbClr>
              </a:gs>
              <a:gs pos="100000">
                <a:schemeClr val="bg1">
                  <a:alpha val="0"/>
                </a:schemeClr>
              </a:gs>
              <a:gs pos="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 name="Rectangle 7">
            <a:extLst>
              <a:ext uri="{FF2B5EF4-FFF2-40B4-BE49-F238E27FC236}">
                <a16:creationId xmlns:a16="http://schemas.microsoft.com/office/drawing/2014/main" id="{B1C47F6A-82C0-C447-51C2-44EFA266EF75}"/>
              </a:ext>
            </a:extLst>
          </p:cNvPr>
          <p:cNvSpPr/>
          <p:nvPr userDrawn="1"/>
        </p:nvSpPr>
        <p:spPr>
          <a:xfrm>
            <a:off x="2301994" y="0"/>
            <a:ext cx="9947157" cy="6858000"/>
          </a:xfrm>
          <a:prstGeom prst="rect">
            <a:avLst/>
          </a:prstGeom>
          <a:gradFill flip="none" rotWithShape="1">
            <a:gsLst>
              <a:gs pos="39000">
                <a:srgbClr val="FFFFFF">
                  <a:alpha val="79000"/>
                </a:srgbClr>
              </a:gs>
              <a:gs pos="49000">
                <a:srgbClr val="FFFFFF">
                  <a:alpha val="54000"/>
                </a:srgbClr>
              </a:gs>
              <a:gs pos="20000">
                <a:srgbClr val="FFFFFF"/>
              </a:gs>
              <a:gs pos="69000">
                <a:schemeClr val="bg1">
                  <a:alpha val="0"/>
                </a:schemeClr>
              </a:gs>
              <a:gs pos="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 name="Title 1">
            <a:extLst>
              <a:ext uri="{FF2B5EF4-FFF2-40B4-BE49-F238E27FC236}">
                <a16:creationId xmlns:a16="http://schemas.microsoft.com/office/drawing/2014/main" id="{7E25DBC3-3A26-A12A-26D7-F7527D68CAF3}"/>
              </a:ext>
            </a:extLst>
          </p:cNvPr>
          <p:cNvSpPr>
            <a:spLocks noGrp="1"/>
          </p:cNvSpPr>
          <p:nvPr>
            <p:ph type="ctrTitle" hasCustomPrompt="1"/>
          </p:nvPr>
        </p:nvSpPr>
        <p:spPr>
          <a:xfrm>
            <a:off x="424895" y="5000165"/>
            <a:ext cx="7322105" cy="410273"/>
          </a:xfrm>
          <a:prstGeom prst="rect">
            <a:avLst/>
          </a:prstGeom>
        </p:spPr>
        <p:txBody>
          <a:bodyPr vert="horz" lIns="36000" tIns="36000" rIns="36000" bIns="36000" anchor="ctr" anchorCtr="0">
            <a:noAutofit/>
          </a:bodyPr>
          <a:lstStyle>
            <a:lvl1pPr algn="l">
              <a:defRPr sz="2800">
                <a:solidFill>
                  <a:schemeClr val="bg2"/>
                </a:solidFill>
              </a:defRPr>
            </a:lvl1pPr>
          </a:lstStyle>
          <a:p>
            <a:r>
              <a:rPr lang="en-US"/>
              <a:t>Master title</a:t>
            </a:r>
          </a:p>
        </p:txBody>
      </p:sp>
      <p:sp>
        <p:nvSpPr>
          <p:cNvPr id="9" name="Subtitle 2">
            <a:extLst>
              <a:ext uri="{FF2B5EF4-FFF2-40B4-BE49-F238E27FC236}">
                <a16:creationId xmlns:a16="http://schemas.microsoft.com/office/drawing/2014/main" id="{AE520E1F-5F91-3342-7F05-F6A37B0756E3}"/>
              </a:ext>
            </a:extLst>
          </p:cNvPr>
          <p:cNvSpPr>
            <a:spLocks noGrp="1"/>
          </p:cNvSpPr>
          <p:nvPr>
            <p:ph type="subTitle" idx="1" hasCustomPrompt="1"/>
          </p:nvPr>
        </p:nvSpPr>
        <p:spPr>
          <a:xfrm>
            <a:off x="424896" y="5542980"/>
            <a:ext cx="7322104" cy="303692"/>
          </a:xfrm>
        </p:spPr>
        <p:txBody>
          <a:bodyPr lIns="36000" tIns="36000" rIns="36000" bIns="36000" anchor="ctr"/>
          <a:lstStyle>
            <a:lvl1pPr marL="0" indent="0" algn="l">
              <a:buNone/>
              <a:defRPr sz="1400" b="1">
                <a:solidFill>
                  <a:schemeClr val="tx1"/>
                </a:solidFill>
                <a:latin typeface="Segoe UI Semibold" panose="020B0702040204020203" pitchFamily="34" charset="0"/>
                <a:cs typeface="Segoe UI Semibold" panose="020B0702040204020203"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Master subtitle</a:t>
            </a:r>
          </a:p>
        </p:txBody>
      </p:sp>
      <p:pic>
        <p:nvPicPr>
          <p:cNvPr id="7" name="Graphic 6">
            <a:extLst>
              <a:ext uri="{FF2B5EF4-FFF2-40B4-BE49-F238E27FC236}">
                <a16:creationId xmlns:a16="http://schemas.microsoft.com/office/drawing/2014/main" id="{A7546B44-A4DB-A559-3AFA-D65E306EAA66}"/>
              </a:ext>
            </a:extLst>
          </p:cNvPr>
          <p:cNvPicPr>
            <a:picLocks noChangeAspect="1"/>
          </p:cNvPicPr>
          <p:nvPr userDrawn="1"/>
        </p:nvPicPr>
        <p:blipFill rotWithShape="1">
          <a:blip r:embed="rId3">
            <a:clrChange>
              <a:clrFrom>
                <a:srgbClr val="000000">
                  <a:alpha val="0"/>
                </a:srgbClr>
              </a:clrFrom>
              <a:clrTo>
                <a:srgbClr val="000000">
                  <a:alpha val="0"/>
                </a:srgbClr>
              </a:clrTo>
            </a:clrChange>
            <a:alphaModFix amt="20000"/>
            <a:extLst>
              <a:ext uri="{28A0092B-C50C-407E-A947-70E740481C1C}">
                <a14:useLocalDpi xmlns:a14="http://schemas.microsoft.com/office/drawing/2010/main" val="0"/>
              </a:ext>
              <a:ext uri="{96DAC541-7B7A-43D3-8B79-37D633B846F1}">
                <asvg:svgBlip xmlns:asvg="http://schemas.microsoft.com/office/drawing/2016/SVG/main" r:embed="rId4"/>
              </a:ext>
            </a:extLst>
          </a:blip>
          <a:srcRect l="16571" t="20619" r="69795" b="11829"/>
          <a:stretch/>
        </p:blipFill>
        <p:spPr>
          <a:xfrm>
            <a:off x="-9625" y="0"/>
            <a:ext cx="3996370" cy="4973177"/>
          </a:xfrm>
          <a:prstGeom prst="rect">
            <a:avLst/>
          </a:prstGeom>
        </p:spPr>
      </p:pic>
    </p:spTree>
    <p:extLst>
      <p:ext uri="{BB962C8B-B14F-4D97-AF65-F5344CB8AC3E}">
        <p14:creationId xmlns:p14="http://schemas.microsoft.com/office/powerpoint/2010/main" val="35624902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wo Header - Vertical">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50D20B1-6B26-45B9-ACA1-0D8BC03871D8}"/>
              </a:ext>
            </a:extLst>
          </p:cNvPr>
          <p:cNvSpPr>
            <a:spLocks noGrp="1"/>
          </p:cNvSpPr>
          <p:nvPr>
            <p:ph type="title"/>
          </p:nvPr>
        </p:nvSpPr>
        <p:spPr>
          <a:xfrm>
            <a:off x="344487" y="88836"/>
            <a:ext cx="11504613" cy="408795"/>
          </a:xfrm>
        </p:spPr>
        <p:txBody>
          <a:bodyPr/>
          <a:lstStyle/>
          <a:p>
            <a:r>
              <a:rPr lang="en-US"/>
              <a:t>Click to edit Master title style</a:t>
            </a:r>
          </a:p>
        </p:txBody>
      </p:sp>
      <p:sp>
        <p:nvSpPr>
          <p:cNvPr id="6" name="Text Placeholder 7">
            <a:extLst>
              <a:ext uri="{FF2B5EF4-FFF2-40B4-BE49-F238E27FC236}">
                <a16:creationId xmlns:a16="http://schemas.microsoft.com/office/drawing/2014/main" id="{9B6ACBC5-8B35-4F11-B076-8EC2B9686C41}"/>
              </a:ext>
            </a:extLst>
          </p:cNvPr>
          <p:cNvSpPr>
            <a:spLocks noGrp="1"/>
          </p:cNvSpPr>
          <p:nvPr>
            <p:ph type="body" sz="quarter" idx="10"/>
          </p:nvPr>
        </p:nvSpPr>
        <p:spPr>
          <a:xfrm>
            <a:off x="344488" y="487848"/>
            <a:ext cx="11504612" cy="281861"/>
          </a:xfrm>
        </p:spPr>
        <p:txBody>
          <a:bodyPr anchor="ctr"/>
          <a:lstStyle>
            <a:lvl1pPr marL="0" indent="0" algn="l" defTabSz="914400" rtl="0" eaLnBrk="1" latinLnBrk="0" hangingPunct="1">
              <a:lnSpc>
                <a:spcPct val="90000"/>
              </a:lnSpc>
              <a:spcBef>
                <a:spcPct val="0"/>
              </a:spcBef>
              <a:buNone/>
              <a:defRPr lang="en-US" sz="1400" b="1" i="0" kern="1200" dirty="0" smtClean="0">
                <a:solidFill>
                  <a:srgbClr val="595959"/>
                </a:solidFill>
                <a:latin typeface="Segoe UI Semibold" panose="020B0702040204020203" pitchFamily="34" charset="0"/>
                <a:ea typeface="+mj-ea"/>
                <a:cs typeface="Segoe UI Semibold" panose="020B0702040204020203" pitchFamily="34" charset="0"/>
              </a:defRPr>
            </a:lvl1pPr>
            <a:lvl2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2pPr>
            <a:lvl3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3pPr>
            <a:lvl4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4pPr>
            <a:lvl5pPr marL="0" indent="0" algn="l" defTabSz="914400" rtl="0" eaLnBrk="1" latinLnBrk="0" hangingPunct="1">
              <a:lnSpc>
                <a:spcPct val="90000"/>
              </a:lnSpc>
              <a:spcBef>
                <a:spcPct val="0"/>
              </a:spcBef>
              <a:buNone/>
              <a:defRPr lang="en-IN" sz="1400" b="1" i="1" kern="1200" dirty="0">
                <a:solidFill>
                  <a:schemeClr val="bg1">
                    <a:lumMod val="50000"/>
                  </a:schemeClr>
                </a:solidFill>
                <a:latin typeface="+mj-lt"/>
                <a:ea typeface="+mj-ea"/>
                <a:cs typeface="+mj-cs"/>
              </a:defRPr>
            </a:lvl5pPr>
          </a:lstStyle>
          <a:p>
            <a:pPr lvl="0"/>
            <a:r>
              <a:rPr lang="en-US"/>
              <a:t>Click to edit Master text styles</a:t>
            </a:r>
          </a:p>
        </p:txBody>
      </p:sp>
      <p:sp>
        <p:nvSpPr>
          <p:cNvPr id="2" name="Text Placeholder 5">
            <a:extLst>
              <a:ext uri="{FF2B5EF4-FFF2-40B4-BE49-F238E27FC236}">
                <a16:creationId xmlns:a16="http://schemas.microsoft.com/office/drawing/2014/main" id="{1AAF154C-D019-928E-124D-92A3C02B9976}"/>
              </a:ext>
            </a:extLst>
          </p:cNvPr>
          <p:cNvSpPr>
            <a:spLocks noGrp="1"/>
          </p:cNvSpPr>
          <p:nvPr>
            <p:ph type="body" sz="quarter" idx="11" hasCustomPrompt="1"/>
          </p:nvPr>
        </p:nvSpPr>
        <p:spPr>
          <a:xfrm>
            <a:off x="3319462" y="6637956"/>
            <a:ext cx="7318058" cy="157512"/>
          </a:xfrm>
        </p:spPr>
        <p:txBody>
          <a:bodyPr lIns="36000" anchor="ctr"/>
          <a:lstStyle>
            <a:lvl1pPr marL="0" indent="0">
              <a:buNone/>
              <a:defRPr sz="800">
                <a:solidFill>
                  <a:schemeClr val="bg1"/>
                </a:solidFill>
              </a:defRPr>
            </a:lvl1pPr>
          </a:lstStyle>
          <a:p>
            <a:pPr lvl="0"/>
            <a:r>
              <a:rPr lang="en-US"/>
              <a:t>Footnotes</a:t>
            </a:r>
            <a:endParaRPr lang="en-IN"/>
          </a:p>
        </p:txBody>
      </p:sp>
      <p:sp>
        <p:nvSpPr>
          <p:cNvPr id="17" name="Text Placeholder 2">
            <a:extLst>
              <a:ext uri="{FF2B5EF4-FFF2-40B4-BE49-F238E27FC236}">
                <a16:creationId xmlns:a16="http://schemas.microsoft.com/office/drawing/2014/main" id="{DE9CA1BB-81C1-3DDE-F8A7-05DEAC433832}"/>
              </a:ext>
            </a:extLst>
          </p:cNvPr>
          <p:cNvSpPr>
            <a:spLocks noGrp="1"/>
          </p:cNvSpPr>
          <p:nvPr>
            <p:ph type="body" idx="1"/>
          </p:nvPr>
        </p:nvSpPr>
        <p:spPr>
          <a:xfrm>
            <a:off x="344487" y="896797"/>
            <a:ext cx="5157787"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grpSp>
        <p:nvGrpSpPr>
          <p:cNvPr id="19" name="Group 18">
            <a:extLst>
              <a:ext uri="{FF2B5EF4-FFF2-40B4-BE49-F238E27FC236}">
                <a16:creationId xmlns:a16="http://schemas.microsoft.com/office/drawing/2014/main" id="{1C437E69-259A-4D93-85B7-739A88FCFC39}"/>
              </a:ext>
            </a:extLst>
          </p:cNvPr>
          <p:cNvGrpSpPr/>
          <p:nvPr userDrawn="1"/>
        </p:nvGrpSpPr>
        <p:grpSpPr>
          <a:xfrm>
            <a:off x="344487" y="1214416"/>
            <a:ext cx="5561013" cy="55768"/>
            <a:chOff x="344487" y="1214416"/>
            <a:chExt cx="5561013" cy="55768"/>
          </a:xfrm>
        </p:grpSpPr>
        <p:cxnSp>
          <p:nvCxnSpPr>
            <p:cNvPr id="8" name="Straight Connector 7">
              <a:extLst>
                <a:ext uri="{FF2B5EF4-FFF2-40B4-BE49-F238E27FC236}">
                  <a16:creationId xmlns:a16="http://schemas.microsoft.com/office/drawing/2014/main" id="{CBC944B2-5B81-4284-24E4-CF9E3058C579}"/>
                </a:ext>
              </a:extLst>
            </p:cNvPr>
            <p:cNvCxnSpPr>
              <a:cxnSpLocks/>
            </p:cNvCxnSpPr>
            <p:nvPr/>
          </p:nvCxnSpPr>
          <p:spPr>
            <a:xfrm>
              <a:off x="398568" y="1242300"/>
              <a:ext cx="5506932"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CA5B0CB2-7B37-3A9F-911D-9B5245C564E4}"/>
                </a:ext>
              </a:extLst>
            </p:cNvPr>
            <p:cNvSpPr/>
            <p:nvPr/>
          </p:nvSpPr>
          <p:spPr>
            <a:xfrm>
              <a:off x="344487" y="1214416"/>
              <a:ext cx="545724" cy="55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prstClr val="white"/>
                </a:solidFill>
                <a:effectLst/>
                <a:uLnTx/>
                <a:uFillTx/>
                <a:latin typeface="Segoe UI"/>
                <a:ea typeface="+mn-ea"/>
                <a:cs typeface="+mn-cs"/>
              </a:endParaRPr>
            </a:p>
          </p:txBody>
        </p:sp>
      </p:grpSp>
      <p:sp>
        <p:nvSpPr>
          <p:cNvPr id="18" name="Text Placeholder 2">
            <a:extLst>
              <a:ext uri="{FF2B5EF4-FFF2-40B4-BE49-F238E27FC236}">
                <a16:creationId xmlns:a16="http://schemas.microsoft.com/office/drawing/2014/main" id="{CE4CC8C8-0E01-4E7E-59CB-54EBC3FCD14F}"/>
              </a:ext>
            </a:extLst>
          </p:cNvPr>
          <p:cNvSpPr>
            <a:spLocks noGrp="1"/>
          </p:cNvSpPr>
          <p:nvPr>
            <p:ph type="body" idx="12"/>
          </p:nvPr>
        </p:nvSpPr>
        <p:spPr>
          <a:xfrm>
            <a:off x="6288087" y="896797"/>
            <a:ext cx="5157787" cy="338400"/>
          </a:xfrm>
        </p:spPr>
        <p:txBody>
          <a:bodyPr anchor="ctr"/>
          <a:lstStyle>
            <a:lvl1pPr marL="0" indent="0">
              <a:buNone/>
              <a:defRPr sz="11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grpSp>
        <p:nvGrpSpPr>
          <p:cNvPr id="11" name="Group 10">
            <a:extLst>
              <a:ext uri="{FF2B5EF4-FFF2-40B4-BE49-F238E27FC236}">
                <a16:creationId xmlns:a16="http://schemas.microsoft.com/office/drawing/2014/main" id="{E12FE721-4FA0-4493-AE93-A96BE344DB84}"/>
              </a:ext>
            </a:extLst>
          </p:cNvPr>
          <p:cNvGrpSpPr/>
          <p:nvPr/>
        </p:nvGrpSpPr>
        <p:grpSpPr>
          <a:xfrm>
            <a:off x="6288087" y="1214416"/>
            <a:ext cx="5561013" cy="55768"/>
            <a:chOff x="671913" y="1348872"/>
            <a:chExt cx="4897195" cy="89815"/>
          </a:xfrm>
        </p:grpSpPr>
        <p:cxnSp>
          <p:nvCxnSpPr>
            <p:cNvPr id="13" name="Straight Connector 12">
              <a:extLst>
                <a:ext uri="{FF2B5EF4-FFF2-40B4-BE49-F238E27FC236}">
                  <a16:creationId xmlns:a16="http://schemas.microsoft.com/office/drawing/2014/main" id="{BE5167E5-F310-164C-669A-06765F060FF5}"/>
                </a:ext>
              </a:extLst>
            </p:cNvPr>
            <p:cNvCxnSpPr>
              <a:cxnSpLocks/>
            </p:cNvCxnSpPr>
            <p:nvPr/>
          </p:nvCxnSpPr>
          <p:spPr>
            <a:xfrm>
              <a:off x="719538" y="1393780"/>
              <a:ext cx="4849570"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DF8EAF54-BCC1-349D-7040-16DAD0F1F9BD}"/>
                </a:ext>
              </a:extLst>
            </p:cNvPr>
            <p:cNvSpPr/>
            <p:nvPr/>
          </p:nvSpPr>
          <p:spPr>
            <a:xfrm>
              <a:off x="671913" y="1348872"/>
              <a:ext cx="480581" cy="898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5" name="Text Placeholder 2">
            <a:extLst>
              <a:ext uri="{FF2B5EF4-FFF2-40B4-BE49-F238E27FC236}">
                <a16:creationId xmlns:a16="http://schemas.microsoft.com/office/drawing/2014/main" id="{B649D142-DF3F-46EA-7F65-9AB5205769D7}"/>
              </a:ext>
            </a:extLst>
          </p:cNvPr>
          <p:cNvSpPr>
            <a:spLocks noGrp="1"/>
          </p:cNvSpPr>
          <p:nvPr>
            <p:ph idx="15"/>
          </p:nvPr>
        </p:nvSpPr>
        <p:spPr>
          <a:xfrm>
            <a:off x="343500" y="1325880"/>
            <a:ext cx="5562000" cy="4997918"/>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3764688D-FB67-7AFC-446D-F869973432AB}"/>
              </a:ext>
            </a:extLst>
          </p:cNvPr>
          <p:cNvSpPr>
            <a:spLocks noGrp="1"/>
          </p:cNvSpPr>
          <p:nvPr>
            <p:ph idx="16"/>
          </p:nvPr>
        </p:nvSpPr>
        <p:spPr>
          <a:xfrm>
            <a:off x="6287100" y="1325880"/>
            <a:ext cx="5562000" cy="4997918"/>
          </a:xfrm>
          <a:prstGeom prst="rect">
            <a:avLst/>
          </a:prstGeom>
        </p:spPr>
        <p:txBody>
          <a:bodyPr vert="horz" lIns="0" tIns="0" rIns="0" bIns="0" rtlCol="0">
            <a:noAutofit/>
          </a:bodyPr>
          <a:lstStyle>
            <a:lvl1pPr>
              <a:defRPr sz="1000"/>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28075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pic>
        <p:nvPicPr>
          <p:cNvPr id="1026" name="Picture 2" descr="What is Finance and Its Features?">
            <a:extLst>
              <a:ext uri="{FF2B5EF4-FFF2-40B4-BE49-F238E27FC236}">
                <a16:creationId xmlns:a16="http://schemas.microsoft.com/office/drawing/2014/main" id="{C85962E2-F60C-FA67-EE7C-B2A7E374C76E}"/>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32700"/>
          <a:stretch>
            <a:fillRect/>
          </a:stretch>
        </p:blipFill>
        <p:spPr bwMode="auto">
          <a:xfrm>
            <a:off x="3986744" y="0"/>
            <a:ext cx="8205255" cy="6858000"/>
          </a:xfrm>
          <a:prstGeom prst="rect">
            <a:avLst/>
          </a:prstGeom>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B1C47F6A-82C0-C447-51C2-44EFA266EF75}"/>
              </a:ext>
            </a:extLst>
          </p:cNvPr>
          <p:cNvSpPr/>
          <p:nvPr userDrawn="1"/>
        </p:nvSpPr>
        <p:spPr>
          <a:xfrm>
            <a:off x="3924299" y="0"/>
            <a:ext cx="8267701" cy="6858000"/>
          </a:xfrm>
          <a:prstGeom prst="rect">
            <a:avLst/>
          </a:prstGeom>
          <a:gradFill flip="none" rotWithShape="1">
            <a:gsLst>
              <a:gs pos="39000">
                <a:srgbClr val="FFFFFF">
                  <a:alpha val="79000"/>
                </a:srgbClr>
              </a:gs>
              <a:gs pos="49000">
                <a:srgbClr val="FFFFFF">
                  <a:alpha val="54000"/>
                </a:srgbClr>
              </a:gs>
              <a:gs pos="20000">
                <a:srgbClr val="FFFFFF"/>
              </a:gs>
              <a:gs pos="69000">
                <a:schemeClr val="bg1">
                  <a:alpha val="0"/>
                </a:schemeClr>
              </a:gs>
              <a:gs pos="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Rectangle 2">
            <a:extLst>
              <a:ext uri="{FF2B5EF4-FFF2-40B4-BE49-F238E27FC236}">
                <a16:creationId xmlns:a16="http://schemas.microsoft.com/office/drawing/2014/main" id="{7F2B18F4-94E7-B218-C7DC-EEB8F8D8AB6C}"/>
              </a:ext>
            </a:extLst>
          </p:cNvPr>
          <p:cNvSpPr/>
          <p:nvPr userDrawn="1"/>
        </p:nvSpPr>
        <p:spPr>
          <a:xfrm rot="16200000">
            <a:off x="4629150" y="-704850"/>
            <a:ext cx="6857999" cy="8267700"/>
          </a:xfrm>
          <a:prstGeom prst="rect">
            <a:avLst/>
          </a:prstGeom>
          <a:gradFill flip="none" rotWithShape="1">
            <a:gsLst>
              <a:gs pos="48000">
                <a:srgbClr val="FFFFFF">
                  <a:alpha val="0"/>
                </a:srgbClr>
              </a:gs>
              <a:gs pos="32000">
                <a:srgbClr val="FFFFFF">
                  <a:alpha val="54000"/>
                </a:srgbClr>
              </a:gs>
              <a:gs pos="14000">
                <a:srgbClr val="FFFFFF">
                  <a:alpha val="95000"/>
                </a:srgbClr>
              </a:gs>
              <a:gs pos="100000">
                <a:schemeClr val="bg1">
                  <a:alpha val="0"/>
                </a:schemeClr>
              </a:gs>
              <a:gs pos="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7" name="Graphic 6">
            <a:extLst>
              <a:ext uri="{FF2B5EF4-FFF2-40B4-BE49-F238E27FC236}">
                <a16:creationId xmlns:a16="http://schemas.microsoft.com/office/drawing/2014/main" id="{A7546B44-A4DB-A559-3AFA-D65E306EAA66}"/>
              </a:ext>
            </a:extLst>
          </p:cNvPr>
          <p:cNvPicPr>
            <a:picLocks noChangeAspect="1"/>
          </p:cNvPicPr>
          <p:nvPr userDrawn="1"/>
        </p:nvPicPr>
        <p:blipFill rotWithShape="1">
          <a:blip r:embed="rId3">
            <a:clrChange>
              <a:clrFrom>
                <a:srgbClr val="000000">
                  <a:alpha val="0"/>
                </a:srgbClr>
              </a:clrFrom>
              <a:clrTo>
                <a:srgbClr val="000000">
                  <a:alpha val="0"/>
                </a:srgbClr>
              </a:clrTo>
            </a:clrChange>
            <a:alphaModFix amt="20000"/>
            <a:extLst>
              <a:ext uri="{28A0092B-C50C-407E-A947-70E740481C1C}">
                <a14:useLocalDpi xmlns:a14="http://schemas.microsoft.com/office/drawing/2010/main" val="0"/>
              </a:ext>
              <a:ext uri="{96DAC541-7B7A-43D3-8B79-37D633B846F1}">
                <asvg:svgBlip xmlns:asvg="http://schemas.microsoft.com/office/drawing/2016/SVG/main" r:embed="rId4"/>
              </a:ext>
            </a:extLst>
          </a:blip>
          <a:srcRect l="16571" t="20619" r="69795" b="11829"/>
          <a:stretch/>
        </p:blipFill>
        <p:spPr>
          <a:xfrm>
            <a:off x="-9625" y="0"/>
            <a:ext cx="3996370" cy="4973177"/>
          </a:xfrm>
          <a:prstGeom prst="rect">
            <a:avLst/>
          </a:prstGeom>
        </p:spPr>
      </p:pic>
      <p:sp>
        <p:nvSpPr>
          <p:cNvPr id="6" name="Title 1">
            <a:extLst>
              <a:ext uri="{FF2B5EF4-FFF2-40B4-BE49-F238E27FC236}">
                <a16:creationId xmlns:a16="http://schemas.microsoft.com/office/drawing/2014/main" id="{7E25DBC3-3A26-A12A-26D7-F7527D68CAF3}"/>
              </a:ext>
            </a:extLst>
          </p:cNvPr>
          <p:cNvSpPr>
            <a:spLocks noGrp="1"/>
          </p:cNvSpPr>
          <p:nvPr>
            <p:ph type="ctrTitle" hasCustomPrompt="1"/>
          </p:nvPr>
        </p:nvSpPr>
        <p:spPr>
          <a:xfrm>
            <a:off x="424895" y="5197106"/>
            <a:ext cx="7322105" cy="410273"/>
          </a:xfrm>
          <a:prstGeom prst="rect">
            <a:avLst/>
          </a:prstGeom>
        </p:spPr>
        <p:txBody>
          <a:bodyPr vert="horz" lIns="36000" tIns="36000" rIns="36000" bIns="36000" anchor="ctr" anchorCtr="0">
            <a:noAutofit/>
          </a:bodyPr>
          <a:lstStyle>
            <a:lvl1pPr algn="l">
              <a:defRPr sz="2800">
                <a:solidFill>
                  <a:schemeClr val="bg2"/>
                </a:solidFill>
              </a:defRPr>
            </a:lvl1pPr>
          </a:lstStyle>
          <a:p>
            <a:r>
              <a:rPr lang="en-US" dirty="0"/>
              <a:t>Master title</a:t>
            </a:r>
          </a:p>
        </p:txBody>
      </p:sp>
      <p:sp>
        <p:nvSpPr>
          <p:cNvPr id="9" name="Subtitle 2">
            <a:extLst>
              <a:ext uri="{FF2B5EF4-FFF2-40B4-BE49-F238E27FC236}">
                <a16:creationId xmlns:a16="http://schemas.microsoft.com/office/drawing/2014/main" id="{AE520E1F-5F91-3342-7F05-F6A37B0756E3}"/>
              </a:ext>
            </a:extLst>
          </p:cNvPr>
          <p:cNvSpPr>
            <a:spLocks noGrp="1"/>
          </p:cNvSpPr>
          <p:nvPr>
            <p:ph type="subTitle" idx="1" hasCustomPrompt="1"/>
          </p:nvPr>
        </p:nvSpPr>
        <p:spPr>
          <a:xfrm>
            <a:off x="424896" y="5634890"/>
            <a:ext cx="7322104" cy="303692"/>
          </a:xfrm>
        </p:spPr>
        <p:txBody>
          <a:bodyPr lIns="36000" tIns="36000" rIns="36000" bIns="36000" anchor="ctr"/>
          <a:lstStyle>
            <a:lvl1pPr marL="0" indent="0" algn="l">
              <a:buNone/>
              <a:defRPr sz="1400" b="1">
                <a:solidFill>
                  <a:schemeClr val="tx2"/>
                </a:solidFill>
                <a:latin typeface="Segoe UI Semibold" panose="020B0702040204020203" pitchFamily="34" charset="0"/>
                <a:cs typeface="Segoe UI Semibold" panose="020B0702040204020203"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Master subtitle</a:t>
            </a:r>
          </a:p>
        </p:txBody>
      </p:sp>
      <p:sp>
        <p:nvSpPr>
          <p:cNvPr id="10" name="Content Placeholder 4">
            <a:extLst>
              <a:ext uri="{FF2B5EF4-FFF2-40B4-BE49-F238E27FC236}">
                <a16:creationId xmlns:a16="http://schemas.microsoft.com/office/drawing/2014/main" id="{7E0347D4-172F-8DFD-91F6-8BAA0836A630}"/>
              </a:ext>
            </a:extLst>
          </p:cNvPr>
          <p:cNvSpPr>
            <a:spLocks noGrp="1"/>
          </p:cNvSpPr>
          <p:nvPr>
            <p:ph sz="quarter" idx="10" hasCustomPrompt="1"/>
          </p:nvPr>
        </p:nvSpPr>
        <p:spPr>
          <a:xfrm>
            <a:off x="424895" y="5955480"/>
            <a:ext cx="7320358" cy="269899"/>
          </a:xfrm>
        </p:spPr>
        <p:txBody>
          <a:bodyPr lIns="36000" tIns="36000" rIns="36000" bIns="36000" anchor="ctr"/>
          <a:lstStyle>
            <a:lvl1pPr marL="0" indent="0" algn="l">
              <a:buNone/>
              <a:defRPr sz="1200" b="0" i="1">
                <a:solidFill>
                  <a:schemeClr val="tx2"/>
                </a:solidFill>
              </a:defRPr>
            </a:lvl1pPr>
          </a:lstStyle>
          <a:p>
            <a:pPr lvl="0"/>
            <a:r>
              <a:rPr lang="en-US"/>
              <a:t>Date</a:t>
            </a:r>
          </a:p>
        </p:txBody>
      </p:sp>
    </p:spTree>
    <p:extLst>
      <p:ext uri="{BB962C8B-B14F-4D97-AF65-F5344CB8AC3E}">
        <p14:creationId xmlns:p14="http://schemas.microsoft.com/office/powerpoint/2010/main" val="42637398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eneral Sl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50D20B1-6B26-45B9-ACA1-0D8BC03871D8}"/>
              </a:ext>
            </a:extLst>
          </p:cNvPr>
          <p:cNvSpPr>
            <a:spLocks noGrp="1"/>
          </p:cNvSpPr>
          <p:nvPr>
            <p:ph type="title"/>
          </p:nvPr>
        </p:nvSpPr>
        <p:spPr>
          <a:xfrm>
            <a:off x="344487" y="88836"/>
            <a:ext cx="11504613" cy="408795"/>
          </a:xfrm>
        </p:spPr>
        <p:txBody>
          <a:bodyPr/>
          <a:lstStyle/>
          <a:p>
            <a:r>
              <a:rPr lang="en-US"/>
              <a:t>Click to edit Master title style</a:t>
            </a:r>
          </a:p>
        </p:txBody>
      </p:sp>
      <p:sp>
        <p:nvSpPr>
          <p:cNvPr id="6" name="Text Placeholder 7">
            <a:extLst>
              <a:ext uri="{FF2B5EF4-FFF2-40B4-BE49-F238E27FC236}">
                <a16:creationId xmlns:a16="http://schemas.microsoft.com/office/drawing/2014/main" id="{9B6ACBC5-8B35-4F11-B076-8EC2B9686C41}"/>
              </a:ext>
            </a:extLst>
          </p:cNvPr>
          <p:cNvSpPr>
            <a:spLocks noGrp="1"/>
          </p:cNvSpPr>
          <p:nvPr>
            <p:ph type="body" sz="quarter" idx="10"/>
          </p:nvPr>
        </p:nvSpPr>
        <p:spPr>
          <a:xfrm>
            <a:off x="344488" y="487848"/>
            <a:ext cx="11504612" cy="281861"/>
          </a:xfrm>
        </p:spPr>
        <p:txBody>
          <a:bodyPr anchor="ctr"/>
          <a:lstStyle>
            <a:lvl1pPr marL="0" indent="0" algn="l" defTabSz="914400" rtl="0" eaLnBrk="1" latinLnBrk="0" hangingPunct="1">
              <a:lnSpc>
                <a:spcPct val="90000"/>
              </a:lnSpc>
              <a:spcBef>
                <a:spcPct val="0"/>
              </a:spcBef>
              <a:buNone/>
              <a:defRPr lang="en-US" sz="1400" b="1" i="0" kern="1200" dirty="0" smtClean="0">
                <a:solidFill>
                  <a:srgbClr val="595959"/>
                </a:solidFill>
                <a:latin typeface="Segoe UI Semibold" panose="020B0702040204020203" pitchFamily="34" charset="0"/>
                <a:ea typeface="+mj-ea"/>
                <a:cs typeface="Segoe UI Semibold" panose="020B0702040204020203" pitchFamily="34" charset="0"/>
              </a:defRPr>
            </a:lvl1pPr>
            <a:lvl2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2pPr>
            <a:lvl3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3pPr>
            <a:lvl4pPr marL="0" indent="0" algn="l" defTabSz="914400" rtl="0" eaLnBrk="1" latinLnBrk="0" hangingPunct="1">
              <a:lnSpc>
                <a:spcPct val="90000"/>
              </a:lnSpc>
              <a:spcBef>
                <a:spcPct val="0"/>
              </a:spcBef>
              <a:buNone/>
              <a:defRPr lang="en-US" sz="1400" b="1" i="1" kern="1200" dirty="0" smtClean="0">
                <a:solidFill>
                  <a:schemeClr val="bg1">
                    <a:lumMod val="50000"/>
                  </a:schemeClr>
                </a:solidFill>
                <a:latin typeface="+mj-lt"/>
                <a:ea typeface="+mj-ea"/>
                <a:cs typeface="+mj-cs"/>
              </a:defRPr>
            </a:lvl4pPr>
            <a:lvl5pPr marL="0" indent="0" algn="l" defTabSz="914400" rtl="0" eaLnBrk="1" latinLnBrk="0" hangingPunct="1">
              <a:lnSpc>
                <a:spcPct val="90000"/>
              </a:lnSpc>
              <a:spcBef>
                <a:spcPct val="0"/>
              </a:spcBef>
              <a:buNone/>
              <a:defRPr lang="en-IN" sz="1400" b="1" i="1" kern="1200" dirty="0">
                <a:solidFill>
                  <a:schemeClr val="bg1">
                    <a:lumMod val="50000"/>
                  </a:schemeClr>
                </a:solidFill>
                <a:latin typeface="+mj-lt"/>
                <a:ea typeface="+mj-ea"/>
                <a:cs typeface="+mj-cs"/>
              </a:defRPr>
            </a:lvl5pPr>
          </a:lstStyle>
          <a:p>
            <a:pPr lvl="0"/>
            <a:r>
              <a:rPr lang="en-US"/>
              <a:t>Click to edit Master text styles</a:t>
            </a:r>
          </a:p>
        </p:txBody>
      </p:sp>
      <p:sp>
        <p:nvSpPr>
          <p:cNvPr id="2" name="Text Placeholder 5">
            <a:extLst>
              <a:ext uri="{FF2B5EF4-FFF2-40B4-BE49-F238E27FC236}">
                <a16:creationId xmlns:a16="http://schemas.microsoft.com/office/drawing/2014/main" id="{1AAF154C-D019-928E-124D-92A3C02B9976}"/>
              </a:ext>
            </a:extLst>
          </p:cNvPr>
          <p:cNvSpPr>
            <a:spLocks noGrp="1"/>
          </p:cNvSpPr>
          <p:nvPr>
            <p:ph type="body" sz="quarter" idx="11" hasCustomPrompt="1"/>
          </p:nvPr>
        </p:nvSpPr>
        <p:spPr>
          <a:xfrm>
            <a:off x="3319462" y="6637956"/>
            <a:ext cx="7318058" cy="157512"/>
          </a:xfrm>
        </p:spPr>
        <p:txBody>
          <a:bodyPr lIns="36000" anchor="ctr"/>
          <a:lstStyle>
            <a:lvl1pPr marL="0" indent="0">
              <a:buNone/>
              <a:defRPr sz="800">
                <a:solidFill>
                  <a:schemeClr val="bg1"/>
                </a:solidFill>
              </a:defRPr>
            </a:lvl1pPr>
          </a:lstStyle>
          <a:p>
            <a:pPr lvl="0"/>
            <a:r>
              <a:rPr lang="en-US"/>
              <a:t>Footnotes</a:t>
            </a:r>
            <a:endParaRPr lang="en-IN"/>
          </a:p>
        </p:txBody>
      </p:sp>
    </p:spTree>
    <p:extLst>
      <p:ext uri="{BB962C8B-B14F-4D97-AF65-F5344CB8AC3E}">
        <p14:creationId xmlns:p14="http://schemas.microsoft.com/office/powerpoint/2010/main" val="17606678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image" Target="../media/image1.png"/><Relationship Id="rId2" Type="http://schemas.openxmlformats.org/officeDocument/2006/relationships/slideLayout" Target="../slideLayouts/slideLayout9.xml"/><Relationship Id="rId16" Type="http://schemas.openxmlformats.org/officeDocument/2006/relationships/theme" Target="../theme/theme2.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image" Target="../media/image1.png"/><Relationship Id="rId2" Type="http://schemas.openxmlformats.org/officeDocument/2006/relationships/slideLayout" Target="../slideLayouts/slideLayout24.xml"/><Relationship Id="rId16" Type="http://schemas.openxmlformats.org/officeDocument/2006/relationships/theme" Target="../theme/theme3.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974C1E-7DE3-47DE-A4E7-CA22B0C940BB}"/>
              </a:ext>
            </a:extLst>
          </p:cNvPr>
          <p:cNvSpPr/>
          <p:nvPr userDrawn="1"/>
        </p:nvSpPr>
        <p:spPr>
          <a:xfrm>
            <a:off x="0" y="6583680"/>
            <a:ext cx="10946605" cy="274320"/>
          </a:xfrm>
          <a:prstGeom prst="rect">
            <a:avLst/>
          </a:prstGeom>
          <a:solidFill>
            <a:srgbClr val="3857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 name="Title Placeholder 1">
            <a:extLst>
              <a:ext uri="{FF2B5EF4-FFF2-40B4-BE49-F238E27FC236}">
                <a16:creationId xmlns:a16="http://schemas.microsoft.com/office/drawing/2014/main" id="{2A2A39FA-4188-44DE-99A8-643D22D36E10}"/>
              </a:ext>
            </a:extLst>
          </p:cNvPr>
          <p:cNvSpPr>
            <a:spLocks noGrp="1"/>
          </p:cNvSpPr>
          <p:nvPr>
            <p:ph type="title"/>
          </p:nvPr>
        </p:nvSpPr>
        <p:spPr>
          <a:xfrm>
            <a:off x="344487" y="82296"/>
            <a:ext cx="11504613" cy="658368"/>
          </a:xfrm>
          <a:prstGeom prst="rect">
            <a:avLst/>
          </a:prstGeom>
        </p:spPr>
        <p:txBody>
          <a:bodyPr vert="horz" lIns="0" tIns="0" rIns="0" bIns="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72DD9C2A-AC32-4695-BE98-B8A4494758C0}"/>
              </a:ext>
            </a:extLst>
          </p:cNvPr>
          <p:cNvSpPr>
            <a:spLocks noGrp="1"/>
          </p:cNvSpPr>
          <p:nvPr>
            <p:ph type="body" idx="1"/>
          </p:nvPr>
        </p:nvSpPr>
        <p:spPr>
          <a:xfrm>
            <a:off x="344486" y="987552"/>
            <a:ext cx="11504614" cy="536752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Box 14">
            <a:extLst>
              <a:ext uri="{FF2B5EF4-FFF2-40B4-BE49-F238E27FC236}">
                <a16:creationId xmlns:a16="http://schemas.microsoft.com/office/drawing/2014/main" id="{5EC993D2-BAC9-445A-854C-913B1B038D02}"/>
              </a:ext>
            </a:extLst>
          </p:cNvPr>
          <p:cNvSpPr txBox="1">
            <a:spLocks noChangeAspect="1"/>
          </p:cNvSpPr>
          <p:nvPr userDrawn="1"/>
        </p:nvSpPr>
        <p:spPr>
          <a:xfrm>
            <a:off x="0" y="6602802"/>
            <a:ext cx="427429" cy="236076"/>
          </a:xfrm>
          <a:prstGeom prst="rect">
            <a:avLst/>
          </a:prstGeom>
          <a:noFill/>
          <a:effectLst/>
        </p:spPr>
        <p:txBody>
          <a:bodyPr wrap="none" lIns="0" tIns="0" rIns="0" bIns="0" rtlCol="0" anchor="ctr">
            <a:noAutofit/>
          </a:bodyPr>
          <a:lstStyle/>
          <a:p>
            <a:pPr algn="ctr"/>
            <a:fld id="{2A105E95-9E33-4F07-92BC-ACBD8BF27BCD}" type="slidenum">
              <a:rPr lang="en-US" sz="800" b="1" kern="1200" smtClean="0">
                <a:solidFill>
                  <a:schemeClr val="bg1"/>
                </a:solidFill>
                <a:latin typeface="+mn-lt"/>
                <a:ea typeface="+mn-ea"/>
                <a:cs typeface="+mn-cs"/>
              </a:rPr>
              <a:t>‹#›</a:t>
            </a:fld>
            <a:endParaRPr lang="en-US" sz="800" b="1" kern="1200">
              <a:solidFill>
                <a:schemeClr val="bg1"/>
              </a:solidFill>
              <a:latin typeface="+mn-lt"/>
              <a:ea typeface="+mn-ea"/>
              <a:cs typeface="+mn-cs"/>
            </a:endParaRPr>
          </a:p>
        </p:txBody>
      </p:sp>
      <p:cxnSp>
        <p:nvCxnSpPr>
          <p:cNvPr id="16" name="Straight Connector 15">
            <a:extLst>
              <a:ext uri="{FF2B5EF4-FFF2-40B4-BE49-F238E27FC236}">
                <a16:creationId xmlns:a16="http://schemas.microsoft.com/office/drawing/2014/main" id="{935213CB-0C04-4AB8-8B5E-D66CBAA183B2}"/>
              </a:ext>
            </a:extLst>
          </p:cNvPr>
          <p:cNvCxnSpPr>
            <a:cxnSpLocks/>
          </p:cNvCxnSpPr>
          <p:nvPr userDrawn="1"/>
        </p:nvCxnSpPr>
        <p:spPr>
          <a:xfrm>
            <a:off x="427429" y="6633284"/>
            <a:ext cx="0" cy="17511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FA81E035-43B7-4A62-BFCF-6C0BFF570CB6}"/>
              </a:ext>
            </a:extLst>
          </p:cNvPr>
          <p:cNvSpPr txBox="1"/>
          <p:nvPr userDrawn="1"/>
        </p:nvSpPr>
        <p:spPr>
          <a:xfrm>
            <a:off x="558185" y="6659285"/>
            <a:ext cx="3034908" cy="123111"/>
          </a:xfrm>
          <a:prstGeom prst="rect">
            <a:avLst/>
          </a:prstGeom>
          <a:noFill/>
        </p:spPr>
        <p:txBody>
          <a:bodyPr wrap="square" lIns="0" tIns="0" rIns="0" bIns="0" rtlCol="0" anchor="ctr">
            <a:spAutoFit/>
          </a:bodyPr>
          <a:lstStyle/>
          <a:p>
            <a:pPr algn="l"/>
            <a:r>
              <a:rPr lang="en-US" sz="800" kern="1200">
                <a:solidFill>
                  <a:schemeClr val="bg1"/>
                </a:solidFill>
                <a:latin typeface="+mn-lt"/>
                <a:ea typeface="+mn-ea"/>
                <a:cs typeface="+mn-cs"/>
              </a:rPr>
              <a:t>Privileged &amp; Confidential, © 2025, All Rights Reserved. </a:t>
            </a:r>
          </a:p>
        </p:txBody>
      </p:sp>
      <p:sp>
        <p:nvSpPr>
          <p:cNvPr id="11" name="Rectangle 10">
            <a:extLst>
              <a:ext uri="{FF2B5EF4-FFF2-40B4-BE49-F238E27FC236}">
                <a16:creationId xmlns:a16="http://schemas.microsoft.com/office/drawing/2014/main" id="{32E196DD-0DC2-4CE9-BC6C-72F1B9FF8904}"/>
              </a:ext>
            </a:extLst>
          </p:cNvPr>
          <p:cNvSpPr/>
          <p:nvPr userDrawn="1"/>
        </p:nvSpPr>
        <p:spPr>
          <a:xfrm rot="16200000">
            <a:off x="-252981" y="335283"/>
            <a:ext cx="658370" cy="152397"/>
          </a:xfrm>
          <a:prstGeom prst="rect">
            <a:avLst/>
          </a:prstGeom>
          <a:solidFill>
            <a:srgbClr val="3857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385723"/>
              </a:solidFill>
            </a:endParaRPr>
          </a:p>
        </p:txBody>
      </p:sp>
      <p:pic>
        <p:nvPicPr>
          <p:cNvPr id="4" name="Picture 3" descr="Logo, icon&#10;&#10;Description automatically generated">
            <a:extLst>
              <a:ext uri="{FF2B5EF4-FFF2-40B4-BE49-F238E27FC236}">
                <a16:creationId xmlns:a16="http://schemas.microsoft.com/office/drawing/2014/main" id="{B95F5CAF-150F-54A3-1BEC-C3ACF2DD5E80}"/>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955953" y="6567801"/>
            <a:ext cx="1105418" cy="277999"/>
          </a:xfrm>
          <a:prstGeom prst="rect">
            <a:avLst/>
          </a:prstGeom>
        </p:spPr>
      </p:pic>
    </p:spTree>
    <p:extLst>
      <p:ext uri="{BB962C8B-B14F-4D97-AF65-F5344CB8AC3E}">
        <p14:creationId xmlns:p14="http://schemas.microsoft.com/office/powerpoint/2010/main" val="668956257"/>
      </p:ext>
    </p:extLst>
  </p:cSld>
  <p:clrMap bg1="lt1" tx1="dk1" bg2="lt2" tx2="dk2" accent1="accent1" accent2="accent2" accent3="accent3" accent4="accent4" accent5="accent5" accent6="accent6" hlink="hlink" folHlink="folHlink"/>
  <p:sldLayoutIdLst>
    <p:sldLayoutId id="2147483680" r:id="rId1"/>
    <p:sldLayoutId id="2147483683" r:id="rId2"/>
    <p:sldLayoutId id="2147483684" r:id="rId3"/>
    <p:sldLayoutId id="2147483685" r:id="rId4"/>
    <p:sldLayoutId id="2147483665" r:id="rId5"/>
    <p:sldLayoutId id="2147483686" r:id="rId6"/>
    <p:sldLayoutId id="2147483687" r:id="rId7"/>
  </p:sldLayoutIdLst>
  <p:txStyles>
    <p:titleStyle>
      <a:lvl1pPr algn="l" defTabSz="914400" rtl="0" eaLnBrk="1" latinLnBrk="0" hangingPunct="1">
        <a:lnSpc>
          <a:spcPct val="90000"/>
        </a:lnSpc>
        <a:spcBef>
          <a:spcPct val="0"/>
        </a:spcBef>
        <a:buNone/>
        <a:defRPr sz="2000" b="1" kern="1200">
          <a:solidFill>
            <a:srgbClr val="385723"/>
          </a:solidFill>
          <a:latin typeface="+mj-lt"/>
          <a:ea typeface="+mj-ea"/>
          <a:cs typeface="+mj-cs"/>
        </a:defRPr>
      </a:lvl1pPr>
    </p:titleStyle>
    <p:bodyStyle>
      <a:lvl1pPr marL="228600" indent="-228600" algn="l" defTabSz="914400" rtl="0" eaLnBrk="1" latinLnBrk="0" hangingPunct="1">
        <a:lnSpc>
          <a:spcPct val="120000"/>
        </a:lnSpc>
        <a:spcBef>
          <a:spcPts val="200"/>
        </a:spcBef>
        <a:spcAft>
          <a:spcPts val="200"/>
        </a:spcAft>
        <a:buClr>
          <a:schemeClr val="bg2"/>
        </a:buClr>
        <a:buFont typeface="Segoe UI" panose="020B0502040204020203" pitchFamily="34" charset="0"/>
        <a:buChar char="●"/>
        <a:defRPr sz="1400" kern="1200">
          <a:solidFill>
            <a:schemeClr val="tx2"/>
          </a:solidFill>
          <a:latin typeface="+mn-lt"/>
          <a:ea typeface="+mn-ea"/>
          <a:cs typeface="+mn-cs"/>
        </a:defRPr>
      </a:lvl1pPr>
      <a:lvl2pPr marL="457200" indent="-228600" algn="l" defTabSz="914400" rtl="0" eaLnBrk="1" latinLnBrk="0" hangingPunct="1">
        <a:lnSpc>
          <a:spcPct val="120000"/>
        </a:lnSpc>
        <a:spcBef>
          <a:spcPts val="200"/>
        </a:spcBef>
        <a:spcAft>
          <a:spcPts val="200"/>
        </a:spcAft>
        <a:buClr>
          <a:schemeClr val="bg2"/>
        </a:buClr>
        <a:buFont typeface="Segoe UI" panose="020B0502040204020203" pitchFamily="34" charset="0"/>
        <a:buChar char="–"/>
        <a:defRPr sz="1400" kern="1200">
          <a:solidFill>
            <a:schemeClr val="tx2"/>
          </a:solidFill>
          <a:latin typeface="+mn-lt"/>
          <a:ea typeface="+mn-ea"/>
          <a:cs typeface="+mn-cs"/>
        </a:defRPr>
      </a:lvl2pPr>
      <a:lvl3pPr marL="685800" indent="-228600" algn="l" defTabSz="914400" rtl="0" eaLnBrk="1" latinLnBrk="0" hangingPunct="1">
        <a:lnSpc>
          <a:spcPct val="120000"/>
        </a:lnSpc>
        <a:spcBef>
          <a:spcPts val="200"/>
        </a:spcBef>
        <a:spcAft>
          <a:spcPts val="200"/>
        </a:spcAft>
        <a:buClr>
          <a:schemeClr val="bg2"/>
        </a:buClr>
        <a:buFont typeface="Wingdings" panose="05000000000000000000" pitchFamily="2" charset="2"/>
        <a:buChar char="§"/>
        <a:defRPr sz="1400" kern="1200">
          <a:solidFill>
            <a:schemeClr val="tx2"/>
          </a:solidFill>
          <a:latin typeface="+mn-lt"/>
          <a:ea typeface="+mn-ea"/>
          <a:cs typeface="+mn-cs"/>
        </a:defRPr>
      </a:lvl3pPr>
      <a:lvl4pPr marL="914400" indent="-228600" algn="l" defTabSz="914400" rtl="0" eaLnBrk="1" latinLnBrk="0" hangingPunct="1">
        <a:lnSpc>
          <a:spcPct val="120000"/>
        </a:lnSpc>
        <a:spcBef>
          <a:spcPts val="200"/>
        </a:spcBef>
        <a:spcAft>
          <a:spcPts val="200"/>
        </a:spcAft>
        <a:buClr>
          <a:schemeClr val="bg2"/>
        </a:buClr>
        <a:buFont typeface="Arial" panose="020B0604020202020204" pitchFamily="34" charset="0"/>
        <a:buChar char="•"/>
        <a:defRPr sz="1400" kern="1200">
          <a:solidFill>
            <a:schemeClr val="tx2"/>
          </a:solidFill>
          <a:latin typeface="+mn-lt"/>
          <a:ea typeface="+mn-ea"/>
          <a:cs typeface="+mn-cs"/>
        </a:defRPr>
      </a:lvl4pPr>
      <a:lvl5pPr marL="1143000" indent="-228600" algn="l" defTabSz="914400" rtl="0" eaLnBrk="1" latinLnBrk="0" hangingPunct="1">
        <a:lnSpc>
          <a:spcPct val="120000"/>
        </a:lnSpc>
        <a:spcBef>
          <a:spcPts val="200"/>
        </a:spcBef>
        <a:spcAft>
          <a:spcPts val="200"/>
        </a:spcAft>
        <a:buClr>
          <a:schemeClr val="bg2"/>
        </a:buClr>
        <a:buFont typeface="Segoe UI" panose="020B0502040204020203" pitchFamily="34" charset="0"/>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20">
          <p15:clr>
            <a:srgbClr val="F26B43"/>
          </p15:clr>
        </p15:guide>
        <p15:guide id="2" pos="96">
          <p15:clr>
            <a:srgbClr val="F26B43"/>
          </p15:clr>
        </p15:guide>
        <p15:guide id="3" pos="7464">
          <p15:clr>
            <a:srgbClr val="F26B43"/>
          </p15:clr>
        </p15:guide>
        <p15:guide id="5" orient="horz" pos="661">
          <p15:clr>
            <a:srgbClr val="F26B43"/>
          </p15:clr>
        </p15:guide>
        <p15:guide id="6" orient="horz" pos="482">
          <p15:clr>
            <a:srgbClr val="F26B43"/>
          </p15:clr>
        </p15:guide>
        <p15:guide id="7" orient="horz" pos="4136">
          <p15:clr>
            <a:srgbClr val="F26B43"/>
          </p15:clr>
        </p15:guide>
        <p15:guide id="8" pos="7582">
          <p15:clr>
            <a:srgbClr val="F26B43"/>
          </p15:clr>
        </p15:guide>
        <p15:guide id="9" pos="217">
          <p15:clr>
            <a:srgbClr val="F26B43"/>
          </p15:clr>
        </p15:guide>
        <p15:guide id="10" pos="3960">
          <p15:clr>
            <a:srgbClr val="F26B43"/>
          </p15:clr>
        </p15:guide>
        <p15:guide id="11" pos="3840">
          <p15:clr>
            <a:srgbClr val="F26B43"/>
          </p15:clr>
        </p15:guide>
        <p15:guide id="12" pos="372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974C1E-7DE3-47DE-A4E7-CA22B0C940BB}"/>
              </a:ext>
            </a:extLst>
          </p:cNvPr>
          <p:cNvSpPr/>
          <p:nvPr userDrawn="1"/>
        </p:nvSpPr>
        <p:spPr>
          <a:xfrm>
            <a:off x="0" y="6583680"/>
            <a:ext cx="10946605" cy="274320"/>
          </a:xfrm>
          <a:prstGeom prst="rect">
            <a:avLst/>
          </a:prstGeom>
          <a:solidFill>
            <a:srgbClr val="3857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 name="Title Placeholder 1">
            <a:extLst>
              <a:ext uri="{FF2B5EF4-FFF2-40B4-BE49-F238E27FC236}">
                <a16:creationId xmlns:a16="http://schemas.microsoft.com/office/drawing/2014/main" id="{2A2A39FA-4188-44DE-99A8-643D22D36E10}"/>
              </a:ext>
            </a:extLst>
          </p:cNvPr>
          <p:cNvSpPr>
            <a:spLocks noGrp="1"/>
          </p:cNvSpPr>
          <p:nvPr>
            <p:ph type="title"/>
          </p:nvPr>
        </p:nvSpPr>
        <p:spPr>
          <a:xfrm>
            <a:off x="344487" y="82296"/>
            <a:ext cx="11504613" cy="658368"/>
          </a:xfrm>
          <a:prstGeom prst="rect">
            <a:avLst/>
          </a:prstGeom>
        </p:spPr>
        <p:txBody>
          <a:bodyPr vert="horz" lIns="0" tIns="0" rIns="0" bIns="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72DD9C2A-AC32-4695-BE98-B8A4494758C0}"/>
              </a:ext>
            </a:extLst>
          </p:cNvPr>
          <p:cNvSpPr>
            <a:spLocks noGrp="1"/>
          </p:cNvSpPr>
          <p:nvPr>
            <p:ph type="body" idx="1"/>
          </p:nvPr>
        </p:nvSpPr>
        <p:spPr>
          <a:xfrm>
            <a:off x="344486" y="987552"/>
            <a:ext cx="11504614" cy="536752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Box 14">
            <a:extLst>
              <a:ext uri="{FF2B5EF4-FFF2-40B4-BE49-F238E27FC236}">
                <a16:creationId xmlns:a16="http://schemas.microsoft.com/office/drawing/2014/main" id="{5EC993D2-BAC9-445A-854C-913B1B038D02}"/>
              </a:ext>
            </a:extLst>
          </p:cNvPr>
          <p:cNvSpPr txBox="1">
            <a:spLocks noChangeAspect="1"/>
          </p:cNvSpPr>
          <p:nvPr userDrawn="1"/>
        </p:nvSpPr>
        <p:spPr>
          <a:xfrm>
            <a:off x="0" y="6602802"/>
            <a:ext cx="427429" cy="236076"/>
          </a:xfrm>
          <a:prstGeom prst="rect">
            <a:avLst/>
          </a:prstGeom>
          <a:noFill/>
          <a:effectLst/>
        </p:spPr>
        <p:txBody>
          <a:bodyPr wrap="none" lIns="0" tIns="0" rIns="0" bIns="0" rtlCol="0" anchor="ctr">
            <a:noAutofit/>
          </a:bodyPr>
          <a:lstStyle/>
          <a:p>
            <a:pPr algn="ctr"/>
            <a:fld id="{2A105E95-9E33-4F07-92BC-ACBD8BF27BCD}" type="slidenum">
              <a:rPr lang="en-US" sz="800" b="1" kern="1200" smtClean="0">
                <a:solidFill>
                  <a:schemeClr val="bg1"/>
                </a:solidFill>
                <a:latin typeface="+mn-lt"/>
                <a:ea typeface="+mn-ea"/>
                <a:cs typeface="+mn-cs"/>
              </a:rPr>
              <a:t>‹#›</a:t>
            </a:fld>
            <a:endParaRPr lang="en-US" sz="800" b="1" kern="1200">
              <a:solidFill>
                <a:schemeClr val="bg1"/>
              </a:solidFill>
              <a:latin typeface="+mn-lt"/>
              <a:ea typeface="+mn-ea"/>
              <a:cs typeface="+mn-cs"/>
            </a:endParaRPr>
          </a:p>
        </p:txBody>
      </p:sp>
      <p:cxnSp>
        <p:nvCxnSpPr>
          <p:cNvPr id="16" name="Straight Connector 15">
            <a:extLst>
              <a:ext uri="{FF2B5EF4-FFF2-40B4-BE49-F238E27FC236}">
                <a16:creationId xmlns:a16="http://schemas.microsoft.com/office/drawing/2014/main" id="{935213CB-0C04-4AB8-8B5E-D66CBAA183B2}"/>
              </a:ext>
            </a:extLst>
          </p:cNvPr>
          <p:cNvCxnSpPr>
            <a:cxnSpLocks/>
          </p:cNvCxnSpPr>
          <p:nvPr userDrawn="1"/>
        </p:nvCxnSpPr>
        <p:spPr>
          <a:xfrm>
            <a:off x="427429" y="6633284"/>
            <a:ext cx="0" cy="17511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FA81E035-43B7-4A62-BFCF-6C0BFF570CB6}"/>
              </a:ext>
            </a:extLst>
          </p:cNvPr>
          <p:cNvSpPr txBox="1"/>
          <p:nvPr userDrawn="1"/>
        </p:nvSpPr>
        <p:spPr>
          <a:xfrm>
            <a:off x="558185" y="6659285"/>
            <a:ext cx="3034908" cy="123111"/>
          </a:xfrm>
          <a:prstGeom prst="rect">
            <a:avLst/>
          </a:prstGeom>
          <a:noFill/>
        </p:spPr>
        <p:txBody>
          <a:bodyPr wrap="square" lIns="0" tIns="0" rIns="0" bIns="0" rtlCol="0" anchor="ctr">
            <a:spAutoFit/>
          </a:bodyPr>
          <a:lstStyle/>
          <a:p>
            <a:pPr algn="l"/>
            <a:r>
              <a:rPr lang="en-US" sz="800" kern="1200" dirty="0">
                <a:solidFill>
                  <a:schemeClr val="bg1"/>
                </a:solidFill>
                <a:latin typeface="+mn-lt"/>
                <a:ea typeface="+mn-ea"/>
                <a:cs typeface="+mn-cs"/>
              </a:rPr>
              <a:t>Privileged &amp; Confidential, © 2025, All Rights Reserved. </a:t>
            </a:r>
          </a:p>
        </p:txBody>
      </p:sp>
      <p:sp>
        <p:nvSpPr>
          <p:cNvPr id="11" name="Rectangle 10">
            <a:extLst>
              <a:ext uri="{FF2B5EF4-FFF2-40B4-BE49-F238E27FC236}">
                <a16:creationId xmlns:a16="http://schemas.microsoft.com/office/drawing/2014/main" id="{32E196DD-0DC2-4CE9-BC6C-72F1B9FF8904}"/>
              </a:ext>
            </a:extLst>
          </p:cNvPr>
          <p:cNvSpPr/>
          <p:nvPr userDrawn="1"/>
        </p:nvSpPr>
        <p:spPr>
          <a:xfrm rot="16200000">
            <a:off x="-252981" y="335283"/>
            <a:ext cx="658370" cy="152397"/>
          </a:xfrm>
          <a:prstGeom prst="rect">
            <a:avLst/>
          </a:prstGeom>
          <a:solidFill>
            <a:srgbClr val="3857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385723"/>
              </a:solidFill>
            </a:endParaRPr>
          </a:p>
        </p:txBody>
      </p:sp>
      <p:pic>
        <p:nvPicPr>
          <p:cNvPr id="4" name="Picture 3" descr="Logo, icon&#10;&#10;Description automatically generated">
            <a:extLst>
              <a:ext uri="{FF2B5EF4-FFF2-40B4-BE49-F238E27FC236}">
                <a16:creationId xmlns:a16="http://schemas.microsoft.com/office/drawing/2014/main" id="{B95F5CAF-150F-54A3-1BEC-C3ACF2DD5E80}"/>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10955953" y="6567801"/>
            <a:ext cx="1105418" cy="277999"/>
          </a:xfrm>
          <a:prstGeom prst="rect">
            <a:avLst/>
          </a:prstGeom>
        </p:spPr>
      </p:pic>
    </p:spTree>
    <p:extLst>
      <p:ext uri="{BB962C8B-B14F-4D97-AF65-F5344CB8AC3E}">
        <p14:creationId xmlns:p14="http://schemas.microsoft.com/office/powerpoint/2010/main" val="1772112512"/>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 id="2147483704" r:id="rId15"/>
  </p:sldLayoutIdLst>
  <p:txStyles>
    <p:titleStyle>
      <a:lvl1pPr algn="l" defTabSz="914400" rtl="0" eaLnBrk="1" latinLnBrk="0" hangingPunct="1">
        <a:lnSpc>
          <a:spcPct val="90000"/>
        </a:lnSpc>
        <a:spcBef>
          <a:spcPct val="0"/>
        </a:spcBef>
        <a:buNone/>
        <a:defRPr sz="2000" b="1" kern="1200">
          <a:solidFill>
            <a:srgbClr val="385723"/>
          </a:solidFill>
          <a:latin typeface="+mj-lt"/>
          <a:ea typeface="+mj-ea"/>
          <a:cs typeface="+mj-cs"/>
        </a:defRPr>
      </a:lvl1pPr>
    </p:titleStyle>
    <p:bodyStyle>
      <a:lvl1pPr marL="228600" indent="-228600" algn="l" defTabSz="914400" rtl="0" eaLnBrk="1" latinLnBrk="0" hangingPunct="1">
        <a:lnSpc>
          <a:spcPct val="120000"/>
        </a:lnSpc>
        <a:spcBef>
          <a:spcPts val="200"/>
        </a:spcBef>
        <a:spcAft>
          <a:spcPts val="200"/>
        </a:spcAft>
        <a:buClr>
          <a:schemeClr val="bg2"/>
        </a:buClr>
        <a:buFont typeface="Segoe UI" panose="020B0502040204020203" pitchFamily="34" charset="0"/>
        <a:buChar char="●"/>
        <a:defRPr sz="1400" kern="1200">
          <a:solidFill>
            <a:schemeClr val="tx2"/>
          </a:solidFill>
          <a:latin typeface="+mn-lt"/>
          <a:ea typeface="+mn-ea"/>
          <a:cs typeface="+mn-cs"/>
        </a:defRPr>
      </a:lvl1pPr>
      <a:lvl2pPr marL="457200" indent="-228600" algn="l" defTabSz="914400" rtl="0" eaLnBrk="1" latinLnBrk="0" hangingPunct="1">
        <a:lnSpc>
          <a:spcPct val="120000"/>
        </a:lnSpc>
        <a:spcBef>
          <a:spcPts val="200"/>
        </a:spcBef>
        <a:spcAft>
          <a:spcPts val="200"/>
        </a:spcAft>
        <a:buClr>
          <a:schemeClr val="bg2"/>
        </a:buClr>
        <a:buFont typeface="Segoe UI" panose="020B0502040204020203" pitchFamily="34" charset="0"/>
        <a:buChar char="–"/>
        <a:defRPr sz="1400" kern="1200">
          <a:solidFill>
            <a:schemeClr val="tx2"/>
          </a:solidFill>
          <a:latin typeface="+mn-lt"/>
          <a:ea typeface="+mn-ea"/>
          <a:cs typeface="+mn-cs"/>
        </a:defRPr>
      </a:lvl2pPr>
      <a:lvl3pPr marL="685800" indent="-228600" algn="l" defTabSz="914400" rtl="0" eaLnBrk="1" latinLnBrk="0" hangingPunct="1">
        <a:lnSpc>
          <a:spcPct val="120000"/>
        </a:lnSpc>
        <a:spcBef>
          <a:spcPts val="200"/>
        </a:spcBef>
        <a:spcAft>
          <a:spcPts val="200"/>
        </a:spcAft>
        <a:buClr>
          <a:schemeClr val="bg2"/>
        </a:buClr>
        <a:buFont typeface="Wingdings" panose="05000000000000000000" pitchFamily="2" charset="2"/>
        <a:buChar char="§"/>
        <a:defRPr sz="1400" kern="1200">
          <a:solidFill>
            <a:schemeClr val="tx2"/>
          </a:solidFill>
          <a:latin typeface="+mn-lt"/>
          <a:ea typeface="+mn-ea"/>
          <a:cs typeface="+mn-cs"/>
        </a:defRPr>
      </a:lvl3pPr>
      <a:lvl4pPr marL="914400" indent="-228600" algn="l" defTabSz="914400" rtl="0" eaLnBrk="1" latinLnBrk="0" hangingPunct="1">
        <a:lnSpc>
          <a:spcPct val="120000"/>
        </a:lnSpc>
        <a:spcBef>
          <a:spcPts val="200"/>
        </a:spcBef>
        <a:spcAft>
          <a:spcPts val="200"/>
        </a:spcAft>
        <a:buClr>
          <a:schemeClr val="bg2"/>
        </a:buClr>
        <a:buFont typeface="Arial" panose="020B0604020202020204" pitchFamily="34" charset="0"/>
        <a:buChar char="•"/>
        <a:defRPr sz="1400" kern="1200">
          <a:solidFill>
            <a:schemeClr val="tx2"/>
          </a:solidFill>
          <a:latin typeface="+mn-lt"/>
          <a:ea typeface="+mn-ea"/>
          <a:cs typeface="+mn-cs"/>
        </a:defRPr>
      </a:lvl4pPr>
      <a:lvl5pPr marL="1143000" indent="-228600" algn="l" defTabSz="914400" rtl="0" eaLnBrk="1" latinLnBrk="0" hangingPunct="1">
        <a:lnSpc>
          <a:spcPct val="120000"/>
        </a:lnSpc>
        <a:spcBef>
          <a:spcPts val="200"/>
        </a:spcBef>
        <a:spcAft>
          <a:spcPts val="200"/>
        </a:spcAft>
        <a:buClr>
          <a:schemeClr val="bg2"/>
        </a:buClr>
        <a:buFont typeface="Segoe UI" panose="020B0502040204020203" pitchFamily="34" charset="0"/>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20">
          <p15:clr>
            <a:srgbClr val="F26B43"/>
          </p15:clr>
        </p15:guide>
        <p15:guide id="2" pos="96">
          <p15:clr>
            <a:srgbClr val="F26B43"/>
          </p15:clr>
        </p15:guide>
        <p15:guide id="3" pos="7464">
          <p15:clr>
            <a:srgbClr val="F26B43"/>
          </p15:clr>
        </p15:guide>
        <p15:guide id="5" orient="horz" pos="661">
          <p15:clr>
            <a:srgbClr val="F26B43"/>
          </p15:clr>
        </p15:guide>
        <p15:guide id="6" orient="horz" pos="482">
          <p15:clr>
            <a:srgbClr val="F26B43"/>
          </p15:clr>
        </p15:guide>
        <p15:guide id="7" orient="horz" pos="4136">
          <p15:clr>
            <a:srgbClr val="F26B43"/>
          </p15:clr>
        </p15:guide>
        <p15:guide id="8" pos="7582">
          <p15:clr>
            <a:srgbClr val="F26B43"/>
          </p15:clr>
        </p15:guide>
        <p15:guide id="9" pos="217">
          <p15:clr>
            <a:srgbClr val="F26B43"/>
          </p15:clr>
        </p15:guide>
        <p15:guide id="10" pos="3960">
          <p15:clr>
            <a:srgbClr val="F26B43"/>
          </p15:clr>
        </p15:guide>
        <p15:guide id="11" pos="3840">
          <p15:clr>
            <a:srgbClr val="F26B43"/>
          </p15:clr>
        </p15:guide>
        <p15:guide id="12" pos="372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974C1E-7DE3-47DE-A4E7-CA22B0C940BB}"/>
              </a:ext>
            </a:extLst>
          </p:cNvPr>
          <p:cNvSpPr/>
          <p:nvPr userDrawn="1"/>
        </p:nvSpPr>
        <p:spPr>
          <a:xfrm>
            <a:off x="0" y="6583680"/>
            <a:ext cx="10946605" cy="274320"/>
          </a:xfrm>
          <a:prstGeom prst="rect">
            <a:avLst/>
          </a:prstGeom>
          <a:solidFill>
            <a:srgbClr val="3857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 name="Title Placeholder 1">
            <a:extLst>
              <a:ext uri="{FF2B5EF4-FFF2-40B4-BE49-F238E27FC236}">
                <a16:creationId xmlns:a16="http://schemas.microsoft.com/office/drawing/2014/main" id="{2A2A39FA-4188-44DE-99A8-643D22D36E10}"/>
              </a:ext>
            </a:extLst>
          </p:cNvPr>
          <p:cNvSpPr>
            <a:spLocks noGrp="1"/>
          </p:cNvSpPr>
          <p:nvPr>
            <p:ph type="title"/>
          </p:nvPr>
        </p:nvSpPr>
        <p:spPr>
          <a:xfrm>
            <a:off x="344487" y="82296"/>
            <a:ext cx="11504613" cy="658368"/>
          </a:xfrm>
          <a:prstGeom prst="rect">
            <a:avLst/>
          </a:prstGeom>
        </p:spPr>
        <p:txBody>
          <a:bodyPr vert="horz" lIns="0" tIns="0" rIns="0" bIns="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72DD9C2A-AC32-4695-BE98-B8A4494758C0}"/>
              </a:ext>
            </a:extLst>
          </p:cNvPr>
          <p:cNvSpPr>
            <a:spLocks noGrp="1"/>
          </p:cNvSpPr>
          <p:nvPr>
            <p:ph type="body" idx="1"/>
          </p:nvPr>
        </p:nvSpPr>
        <p:spPr>
          <a:xfrm>
            <a:off x="344486" y="987552"/>
            <a:ext cx="11504614" cy="536752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Box 14">
            <a:extLst>
              <a:ext uri="{FF2B5EF4-FFF2-40B4-BE49-F238E27FC236}">
                <a16:creationId xmlns:a16="http://schemas.microsoft.com/office/drawing/2014/main" id="{5EC993D2-BAC9-445A-854C-913B1B038D02}"/>
              </a:ext>
            </a:extLst>
          </p:cNvPr>
          <p:cNvSpPr txBox="1">
            <a:spLocks noChangeAspect="1"/>
          </p:cNvSpPr>
          <p:nvPr userDrawn="1"/>
        </p:nvSpPr>
        <p:spPr>
          <a:xfrm>
            <a:off x="0" y="6602802"/>
            <a:ext cx="427429" cy="236076"/>
          </a:xfrm>
          <a:prstGeom prst="rect">
            <a:avLst/>
          </a:prstGeom>
          <a:noFill/>
          <a:effectLst/>
        </p:spPr>
        <p:txBody>
          <a:bodyPr wrap="none" lIns="0" tIns="0" rIns="0" bIns="0" rtlCol="0" anchor="ctr">
            <a:noAutofit/>
          </a:bodyPr>
          <a:lstStyle/>
          <a:p>
            <a:pPr algn="ctr"/>
            <a:fld id="{2A105E95-9E33-4F07-92BC-ACBD8BF27BCD}" type="slidenum">
              <a:rPr lang="en-US" sz="800" b="1" kern="1200" smtClean="0">
                <a:solidFill>
                  <a:schemeClr val="bg1"/>
                </a:solidFill>
                <a:latin typeface="+mn-lt"/>
                <a:ea typeface="+mn-ea"/>
                <a:cs typeface="+mn-cs"/>
              </a:rPr>
              <a:t>‹#›</a:t>
            </a:fld>
            <a:endParaRPr lang="en-US" sz="800" b="1" kern="1200">
              <a:solidFill>
                <a:schemeClr val="bg1"/>
              </a:solidFill>
              <a:latin typeface="+mn-lt"/>
              <a:ea typeface="+mn-ea"/>
              <a:cs typeface="+mn-cs"/>
            </a:endParaRPr>
          </a:p>
        </p:txBody>
      </p:sp>
      <p:cxnSp>
        <p:nvCxnSpPr>
          <p:cNvPr id="16" name="Straight Connector 15">
            <a:extLst>
              <a:ext uri="{FF2B5EF4-FFF2-40B4-BE49-F238E27FC236}">
                <a16:creationId xmlns:a16="http://schemas.microsoft.com/office/drawing/2014/main" id="{935213CB-0C04-4AB8-8B5E-D66CBAA183B2}"/>
              </a:ext>
            </a:extLst>
          </p:cNvPr>
          <p:cNvCxnSpPr>
            <a:cxnSpLocks/>
          </p:cNvCxnSpPr>
          <p:nvPr userDrawn="1"/>
        </p:nvCxnSpPr>
        <p:spPr>
          <a:xfrm>
            <a:off x="427429" y="6633284"/>
            <a:ext cx="0" cy="17511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FA81E035-43B7-4A62-BFCF-6C0BFF570CB6}"/>
              </a:ext>
            </a:extLst>
          </p:cNvPr>
          <p:cNvSpPr txBox="1"/>
          <p:nvPr userDrawn="1"/>
        </p:nvSpPr>
        <p:spPr>
          <a:xfrm>
            <a:off x="558185" y="6659285"/>
            <a:ext cx="3034908" cy="123111"/>
          </a:xfrm>
          <a:prstGeom prst="rect">
            <a:avLst/>
          </a:prstGeom>
          <a:noFill/>
        </p:spPr>
        <p:txBody>
          <a:bodyPr wrap="square" lIns="0" tIns="0" rIns="0" bIns="0" rtlCol="0" anchor="ctr">
            <a:spAutoFit/>
          </a:bodyPr>
          <a:lstStyle/>
          <a:p>
            <a:pPr algn="l"/>
            <a:r>
              <a:rPr lang="en-US" sz="800" kern="1200" dirty="0">
                <a:solidFill>
                  <a:schemeClr val="bg1"/>
                </a:solidFill>
                <a:latin typeface="+mn-lt"/>
                <a:ea typeface="+mn-ea"/>
                <a:cs typeface="+mn-cs"/>
              </a:rPr>
              <a:t>Privileged &amp; Confidential, © 2025, All Rights Reserved. </a:t>
            </a:r>
          </a:p>
        </p:txBody>
      </p:sp>
      <p:sp>
        <p:nvSpPr>
          <p:cNvPr id="11" name="Rectangle 10">
            <a:extLst>
              <a:ext uri="{FF2B5EF4-FFF2-40B4-BE49-F238E27FC236}">
                <a16:creationId xmlns:a16="http://schemas.microsoft.com/office/drawing/2014/main" id="{32E196DD-0DC2-4CE9-BC6C-72F1B9FF8904}"/>
              </a:ext>
            </a:extLst>
          </p:cNvPr>
          <p:cNvSpPr/>
          <p:nvPr userDrawn="1"/>
        </p:nvSpPr>
        <p:spPr>
          <a:xfrm rot="16200000">
            <a:off x="-252981" y="335283"/>
            <a:ext cx="658370" cy="152397"/>
          </a:xfrm>
          <a:prstGeom prst="rect">
            <a:avLst/>
          </a:prstGeom>
          <a:solidFill>
            <a:srgbClr val="3857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385723"/>
              </a:solidFill>
            </a:endParaRPr>
          </a:p>
        </p:txBody>
      </p:sp>
      <p:pic>
        <p:nvPicPr>
          <p:cNvPr id="4" name="Picture 3" descr="Logo, icon&#10;&#10;Description automatically generated">
            <a:extLst>
              <a:ext uri="{FF2B5EF4-FFF2-40B4-BE49-F238E27FC236}">
                <a16:creationId xmlns:a16="http://schemas.microsoft.com/office/drawing/2014/main" id="{B95F5CAF-150F-54A3-1BEC-C3ACF2DD5E80}"/>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10955953" y="6567801"/>
            <a:ext cx="1105418" cy="277999"/>
          </a:xfrm>
          <a:prstGeom prst="rect">
            <a:avLst/>
          </a:prstGeom>
        </p:spPr>
      </p:pic>
    </p:spTree>
    <p:extLst>
      <p:ext uri="{BB962C8B-B14F-4D97-AF65-F5344CB8AC3E}">
        <p14:creationId xmlns:p14="http://schemas.microsoft.com/office/powerpoint/2010/main" val="844387112"/>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Lst>
  <p:txStyles>
    <p:titleStyle>
      <a:lvl1pPr algn="l" defTabSz="914400" rtl="0" eaLnBrk="1" latinLnBrk="0" hangingPunct="1">
        <a:lnSpc>
          <a:spcPct val="90000"/>
        </a:lnSpc>
        <a:spcBef>
          <a:spcPct val="0"/>
        </a:spcBef>
        <a:buNone/>
        <a:defRPr sz="2000" b="1" kern="1200">
          <a:solidFill>
            <a:srgbClr val="385723"/>
          </a:solidFill>
          <a:latin typeface="+mj-lt"/>
          <a:ea typeface="+mj-ea"/>
          <a:cs typeface="+mj-cs"/>
        </a:defRPr>
      </a:lvl1pPr>
    </p:titleStyle>
    <p:bodyStyle>
      <a:lvl1pPr marL="228600" indent="-228600" algn="l" defTabSz="914400" rtl="0" eaLnBrk="1" latinLnBrk="0" hangingPunct="1">
        <a:lnSpc>
          <a:spcPct val="120000"/>
        </a:lnSpc>
        <a:spcBef>
          <a:spcPts val="200"/>
        </a:spcBef>
        <a:spcAft>
          <a:spcPts val="200"/>
        </a:spcAft>
        <a:buClr>
          <a:schemeClr val="bg2"/>
        </a:buClr>
        <a:buFont typeface="Segoe UI" panose="020B0502040204020203" pitchFamily="34" charset="0"/>
        <a:buChar char="●"/>
        <a:defRPr sz="1400" kern="1200">
          <a:solidFill>
            <a:schemeClr val="tx2"/>
          </a:solidFill>
          <a:latin typeface="+mn-lt"/>
          <a:ea typeface="+mn-ea"/>
          <a:cs typeface="+mn-cs"/>
        </a:defRPr>
      </a:lvl1pPr>
      <a:lvl2pPr marL="457200" indent="-228600" algn="l" defTabSz="914400" rtl="0" eaLnBrk="1" latinLnBrk="0" hangingPunct="1">
        <a:lnSpc>
          <a:spcPct val="120000"/>
        </a:lnSpc>
        <a:spcBef>
          <a:spcPts val="200"/>
        </a:spcBef>
        <a:spcAft>
          <a:spcPts val="200"/>
        </a:spcAft>
        <a:buClr>
          <a:schemeClr val="bg2"/>
        </a:buClr>
        <a:buFont typeface="Segoe UI" panose="020B0502040204020203" pitchFamily="34" charset="0"/>
        <a:buChar char="–"/>
        <a:defRPr sz="1400" kern="1200">
          <a:solidFill>
            <a:schemeClr val="tx2"/>
          </a:solidFill>
          <a:latin typeface="+mn-lt"/>
          <a:ea typeface="+mn-ea"/>
          <a:cs typeface="+mn-cs"/>
        </a:defRPr>
      </a:lvl2pPr>
      <a:lvl3pPr marL="685800" indent="-228600" algn="l" defTabSz="914400" rtl="0" eaLnBrk="1" latinLnBrk="0" hangingPunct="1">
        <a:lnSpc>
          <a:spcPct val="120000"/>
        </a:lnSpc>
        <a:spcBef>
          <a:spcPts val="200"/>
        </a:spcBef>
        <a:spcAft>
          <a:spcPts val="200"/>
        </a:spcAft>
        <a:buClr>
          <a:schemeClr val="bg2"/>
        </a:buClr>
        <a:buFont typeface="Wingdings" panose="05000000000000000000" pitchFamily="2" charset="2"/>
        <a:buChar char="§"/>
        <a:defRPr sz="1400" kern="1200">
          <a:solidFill>
            <a:schemeClr val="tx2"/>
          </a:solidFill>
          <a:latin typeface="+mn-lt"/>
          <a:ea typeface="+mn-ea"/>
          <a:cs typeface="+mn-cs"/>
        </a:defRPr>
      </a:lvl3pPr>
      <a:lvl4pPr marL="914400" indent="-228600" algn="l" defTabSz="914400" rtl="0" eaLnBrk="1" latinLnBrk="0" hangingPunct="1">
        <a:lnSpc>
          <a:spcPct val="120000"/>
        </a:lnSpc>
        <a:spcBef>
          <a:spcPts val="200"/>
        </a:spcBef>
        <a:spcAft>
          <a:spcPts val="200"/>
        </a:spcAft>
        <a:buClr>
          <a:schemeClr val="bg2"/>
        </a:buClr>
        <a:buFont typeface="Arial" panose="020B0604020202020204" pitchFamily="34" charset="0"/>
        <a:buChar char="•"/>
        <a:defRPr sz="1400" kern="1200">
          <a:solidFill>
            <a:schemeClr val="tx2"/>
          </a:solidFill>
          <a:latin typeface="+mn-lt"/>
          <a:ea typeface="+mn-ea"/>
          <a:cs typeface="+mn-cs"/>
        </a:defRPr>
      </a:lvl4pPr>
      <a:lvl5pPr marL="1143000" indent="-228600" algn="l" defTabSz="914400" rtl="0" eaLnBrk="1" latinLnBrk="0" hangingPunct="1">
        <a:lnSpc>
          <a:spcPct val="120000"/>
        </a:lnSpc>
        <a:spcBef>
          <a:spcPts val="200"/>
        </a:spcBef>
        <a:spcAft>
          <a:spcPts val="200"/>
        </a:spcAft>
        <a:buClr>
          <a:schemeClr val="bg2"/>
        </a:buClr>
        <a:buFont typeface="Segoe UI" panose="020B0502040204020203" pitchFamily="34" charset="0"/>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20">
          <p15:clr>
            <a:srgbClr val="F26B43"/>
          </p15:clr>
        </p15:guide>
        <p15:guide id="2" pos="96">
          <p15:clr>
            <a:srgbClr val="F26B43"/>
          </p15:clr>
        </p15:guide>
        <p15:guide id="3" pos="7464">
          <p15:clr>
            <a:srgbClr val="F26B43"/>
          </p15:clr>
        </p15:guide>
        <p15:guide id="5" orient="horz" pos="661">
          <p15:clr>
            <a:srgbClr val="F26B43"/>
          </p15:clr>
        </p15:guide>
        <p15:guide id="6" orient="horz" pos="482">
          <p15:clr>
            <a:srgbClr val="F26B43"/>
          </p15:clr>
        </p15:guide>
        <p15:guide id="7" orient="horz" pos="4136">
          <p15:clr>
            <a:srgbClr val="F26B43"/>
          </p15:clr>
        </p15:guide>
        <p15:guide id="8" pos="7582">
          <p15:clr>
            <a:srgbClr val="F26B43"/>
          </p15:clr>
        </p15:guide>
        <p15:guide id="9" pos="217">
          <p15:clr>
            <a:srgbClr val="F26B43"/>
          </p15:clr>
        </p15:guide>
        <p15:guide id="10" pos="3960">
          <p15:clr>
            <a:srgbClr val="F26B43"/>
          </p15:clr>
        </p15:guide>
        <p15:guide id="11" pos="3840">
          <p15:clr>
            <a:srgbClr val="F26B43"/>
          </p15:clr>
        </p15:guide>
        <p15:guide id="12" pos="372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1.xml"/><Relationship Id="rId6" Type="http://schemas.openxmlformats.org/officeDocument/2006/relationships/image" Target="../media/image8.jpeg"/><Relationship Id="rId5" Type="http://schemas.openxmlformats.org/officeDocument/2006/relationships/image" Target="../media/image7.emf"/><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8" Type="http://schemas.openxmlformats.org/officeDocument/2006/relationships/chart" Target="../charts/chart37.xml"/><Relationship Id="rId3" Type="http://schemas.openxmlformats.org/officeDocument/2006/relationships/chart" Target="../charts/chart32.xml"/><Relationship Id="rId7" Type="http://schemas.openxmlformats.org/officeDocument/2006/relationships/chart" Target="../charts/chart36.xml"/><Relationship Id="rId2" Type="http://schemas.openxmlformats.org/officeDocument/2006/relationships/chart" Target="../charts/chart31.xml"/><Relationship Id="rId1" Type="http://schemas.openxmlformats.org/officeDocument/2006/relationships/slideLayout" Target="../slideLayouts/slideLayout32.xml"/><Relationship Id="rId6" Type="http://schemas.openxmlformats.org/officeDocument/2006/relationships/chart" Target="../charts/chart35.xml"/><Relationship Id="rId5" Type="http://schemas.openxmlformats.org/officeDocument/2006/relationships/chart" Target="../charts/chart34.xml"/><Relationship Id="rId4" Type="http://schemas.openxmlformats.org/officeDocument/2006/relationships/chart" Target="../charts/chart3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7.xml"/><Relationship Id="rId5" Type="http://schemas.openxmlformats.org/officeDocument/2006/relationships/chart" Target="../charts/chart4.xml"/><Relationship Id="rId4" Type="http://schemas.openxmlformats.org/officeDocument/2006/relationships/chart" Target="../charts/chart3.xml"/></Relationships>
</file>

<file path=ppt/slides/_rels/slide3.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8" Type="http://schemas.openxmlformats.org/officeDocument/2006/relationships/image" Target="../media/image15.jpeg"/><Relationship Id="rId13" Type="http://schemas.openxmlformats.org/officeDocument/2006/relationships/image" Target="../media/image20.png"/><Relationship Id="rId18" Type="http://schemas.openxmlformats.org/officeDocument/2006/relationships/image" Target="../media/image25.jpeg"/><Relationship Id="rId26" Type="http://schemas.openxmlformats.org/officeDocument/2006/relationships/image" Target="../media/image33.jpeg"/><Relationship Id="rId3" Type="http://schemas.openxmlformats.org/officeDocument/2006/relationships/image" Target="../media/image10.png"/><Relationship Id="rId21" Type="http://schemas.openxmlformats.org/officeDocument/2006/relationships/image" Target="../media/image28.png"/><Relationship Id="rId7" Type="http://schemas.openxmlformats.org/officeDocument/2006/relationships/image" Target="../media/image14.jpeg"/><Relationship Id="rId12" Type="http://schemas.openxmlformats.org/officeDocument/2006/relationships/image" Target="../media/image19.png"/><Relationship Id="rId17" Type="http://schemas.openxmlformats.org/officeDocument/2006/relationships/image" Target="../media/image24.jpeg"/><Relationship Id="rId25" Type="http://schemas.openxmlformats.org/officeDocument/2006/relationships/image" Target="../media/image32.jpeg"/><Relationship Id="rId2" Type="http://schemas.openxmlformats.org/officeDocument/2006/relationships/image" Target="../media/image9.png"/><Relationship Id="rId16" Type="http://schemas.openxmlformats.org/officeDocument/2006/relationships/image" Target="../media/image23.png"/><Relationship Id="rId20" Type="http://schemas.openxmlformats.org/officeDocument/2006/relationships/image" Target="../media/image27.png"/><Relationship Id="rId29" Type="http://schemas.openxmlformats.org/officeDocument/2006/relationships/image" Target="../media/image36.png"/><Relationship Id="rId1" Type="http://schemas.openxmlformats.org/officeDocument/2006/relationships/slideLayout" Target="../slideLayouts/slideLayout1.xml"/><Relationship Id="rId6" Type="http://schemas.openxmlformats.org/officeDocument/2006/relationships/image" Target="../media/image13.png"/><Relationship Id="rId11" Type="http://schemas.openxmlformats.org/officeDocument/2006/relationships/image" Target="../media/image18.png"/><Relationship Id="rId24" Type="http://schemas.openxmlformats.org/officeDocument/2006/relationships/image" Target="../media/image31.png"/><Relationship Id="rId5" Type="http://schemas.openxmlformats.org/officeDocument/2006/relationships/image" Target="../media/image12.png"/><Relationship Id="rId15" Type="http://schemas.openxmlformats.org/officeDocument/2006/relationships/image" Target="../media/image22.png"/><Relationship Id="rId23" Type="http://schemas.openxmlformats.org/officeDocument/2006/relationships/image" Target="../media/image30.jpeg"/><Relationship Id="rId28" Type="http://schemas.openxmlformats.org/officeDocument/2006/relationships/image" Target="../media/image35.jpeg"/><Relationship Id="rId10" Type="http://schemas.openxmlformats.org/officeDocument/2006/relationships/image" Target="../media/image17.png"/><Relationship Id="rId19" Type="http://schemas.openxmlformats.org/officeDocument/2006/relationships/image" Target="../media/image26.png"/><Relationship Id="rId4" Type="http://schemas.openxmlformats.org/officeDocument/2006/relationships/image" Target="../media/image11.jpeg"/><Relationship Id="rId9" Type="http://schemas.openxmlformats.org/officeDocument/2006/relationships/image" Target="../media/image16.png"/><Relationship Id="rId14" Type="http://schemas.openxmlformats.org/officeDocument/2006/relationships/image" Target="../media/image21.png"/><Relationship Id="rId22" Type="http://schemas.openxmlformats.org/officeDocument/2006/relationships/image" Target="../media/image29.png"/><Relationship Id="rId27" Type="http://schemas.openxmlformats.org/officeDocument/2006/relationships/image" Target="../media/image34.jpeg"/><Relationship Id="rId30" Type="http://schemas.openxmlformats.org/officeDocument/2006/relationships/image" Target="../media/image37.png"/></Relationships>
</file>

<file path=ppt/slides/_rels/slide6.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18.png"/><Relationship Id="rId18" Type="http://schemas.openxmlformats.org/officeDocument/2006/relationships/image" Target="../media/image52.jpeg"/><Relationship Id="rId26" Type="http://schemas.openxmlformats.org/officeDocument/2006/relationships/image" Target="../media/image60.jpeg"/><Relationship Id="rId3" Type="http://schemas.openxmlformats.org/officeDocument/2006/relationships/image" Target="../media/image38.png"/><Relationship Id="rId21" Type="http://schemas.openxmlformats.org/officeDocument/2006/relationships/image" Target="../media/image55.jpeg"/><Relationship Id="rId7" Type="http://schemas.openxmlformats.org/officeDocument/2006/relationships/image" Target="../media/image42.png"/><Relationship Id="rId12" Type="http://schemas.openxmlformats.org/officeDocument/2006/relationships/image" Target="../media/image47.png"/><Relationship Id="rId17" Type="http://schemas.openxmlformats.org/officeDocument/2006/relationships/image" Target="../media/image51.jpeg"/><Relationship Id="rId25" Type="http://schemas.openxmlformats.org/officeDocument/2006/relationships/image" Target="../media/image59.png"/><Relationship Id="rId2" Type="http://schemas.openxmlformats.org/officeDocument/2006/relationships/image" Target="../media/image11.jpeg"/><Relationship Id="rId16" Type="http://schemas.openxmlformats.org/officeDocument/2006/relationships/image" Target="../media/image50.png"/><Relationship Id="rId20" Type="http://schemas.openxmlformats.org/officeDocument/2006/relationships/image" Target="../media/image54.jpeg"/><Relationship Id="rId1" Type="http://schemas.openxmlformats.org/officeDocument/2006/relationships/slideLayout" Target="../slideLayouts/slideLayout1.xml"/><Relationship Id="rId6" Type="http://schemas.openxmlformats.org/officeDocument/2006/relationships/image" Target="../media/image41.png"/><Relationship Id="rId11" Type="http://schemas.openxmlformats.org/officeDocument/2006/relationships/image" Target="../media/image46.png"/><Relationship Id="rId24" Type="http://schemas.openxmlformats.org/officeDocument/2006/relationships/image" Target="../media/image58.png"/><Relationship Id="rId5" Type="http://schemas.openxmlformats.org/officeDocument/2006/relationships/image" Target="../media/image40.png"/><Relationship Id="rId15" Type="http://schemas.openxmlformats.org/officeDocument/2006/relationships/image" Target="../media/image49.jpeg"/><Relationship Id="rId23" Type="http://schemas.openxmlformats.org/officeDocument/2006/relationships/image" Target="../media/image57.png"/><Relationship Id="rId10" Type="http://schemas.openxmlformats.org/officeDocument/2006/relationships/image" Target="../media/image45.jpeg"/><Relationship Id="rId19" Type="http://schemas.openxmlformats.org/officeDocument/2006/relationships/image" Target="../media/image53.png"/><Relationship Id="rId4" Type="http://schemas.openxmlformats.org/officeDocument/2006/relationships/image" Target="../media/image39.png"/><Relationship Id="rId9" Type="http://schemas.openxmlformats.org/officeDocument/2006/relationships/image" Target="../media/image44.jpeg"/><Relationship Id="rId14" Type="http://schemas.openxmlformats.org/officeDocument/2006/relationships/image" Target="../media/image48.png"/><Relationship Id="rId22" Type="http://schemas.openxmlformats.org/officeDocument/2006/relationships/image" Target="../media/image56.png"/><Relationship Id="rId27" Type="http://schemas.openxmlformats.org/officeDocument/2006/relationships/image" Target="../media/image61.png"/></Relationships>
</file>

<file path=ppt/slides/_rels/slide7.xml.rels><?xml version="1.0" encoding="UTF-8" standalone="yes"?>
<Relationships xmlns="http://schemas.openxmlformats.org/package/2006/relationships"><Relationship Id="rId8" Type="http://schemas.openxmlformats.org/officeDocument/2006/relationships/chart" Target="../charts/chart13.xml"/><Relationship Id="rId3" Type="http://schemas.openxmlformats.org/officeDocument/2006/relationships/chart" Target="../charts/chart8.xml"/><Relationship Id="rId7" Type="http://schemas.openxmlformats.org/officeDocument/2006/relationships/chart" Target="../charts/chart12.xml"/><Relationship Id="rId2" Type="http://schemas.openxmlformats.org/officeDocument/2006/relationships/chart" Target="../charts/chart7.xml"/><Relationship Id="rId1" Type="http://schemas.openxmlformats.org/officeDocument/2006/relationships/slideLayout" Target="../slideLayouts/slideLayout1.xml"/><Relationship Id="rId6" Type="http://schemas.openxmlformats.org/officeDocument/2006/relationships/chart" Target="../charts/chart11.xml"/><Relationship Id="rId5" Type="http://schemas.openxmlformats.org/officeDocument/2006/relationships/chart" Target="../charts/chart10.xml"/><Relationship Id="rId10" Type="http://schemas.openxmlformats.org/officeDocument/2006/relationships/chart" Target="../charts/chart15.xml"/><Relationship Id="rId4" Type="http://schemas.openxmlformats.org/officeDocument/2006/relationships/chart" Target="../charts/chart9.xml"/><Relationship Id="rId9" Type="http://schemas.openxmlformats.org/officeDocument/2006/relationships/chart" Target="../charts/chart14.xml"/></Relationships>
</file>

<file path=ppt/slides/_rels/slide8.xml.rels><?xml version="1.0" encoding="UTF-8" standalone="yes"?>
<Relationships xmlns="http://schemas.openxmlformats.org/package/2006/relationships"><Relationship Id="rId8" Type="http://schemas.openxmlformats.org/officeDocument/2006/relationships/chart" Target="../charts/chart22.xml"/><Relationship Id="rId3" Type="http://schemas.openxmlformats.org/officeDocument/2006/relationships/chart" Target="../charts/chart17.xml"/><Relationship Id="rId7" Type="http://schemas.openxmlformats.org/officeDocument/2006/relationships/chart" Target="../charts/chart21.xml"/><Relationship Id="rId2" Type="http://schemas.openxmlformats.org/officeDocument/2006/relationships/chart" Target="../charts/chart16.xml"/><Relationship Id="rId1" Type="http://schemas.openxmlformats.org/officeDocument/2006/relationships/slideLayout" Target="../slideLayouts/slideLayout1.xml"/><Relationship Id="rId6" Type="http://schemas.openxmlformats.org/officeDocument/2006/relationships/chart" Target="../charts/chart20.xml"/><Relationship Id="rId5" Type="http://schemas.openxmlformats.org/officeDocument/2006/relationships/chart" Target="../charts/chart19.xml"/><Relationship Id="rId10" Type="http://schemas.openxmlformats.org/officeDocument/2006/relationships/chart" Target="../charts/chart24.xml"/><Relationship Id="rId4" Type="http://schemas.openxmlformats.org/officeDocument/2006/relationships/chart" Target="../charts/chart18.xml"/><Relationship Id="rId9" Type="http://schemas.openxmlformats.org/officeDocument/2006/relationships/chart" Target="../charts/chart23.xml"/></Relationships>
</file>

<file path=ppt/slides/_rels/slide9.xml.rels><?xml version="1.0" encoding="UTF-8" standalone="yes"?>
<Relationships xmlns="http://schemas.openxmlformats.org/package/2006/relationships"><Relationship Id="rId3" Type="http://schemas.openxmlformats.org/officeDocument/2006/relationships/chart" Target="../charts/chart26.xml"/><Relationship Id="rId7" Type="http://schemas.openxmlformats.org/officeDocument/2006/relationships/chart" Target="../charts/chart30.xml"/><Relationship Id="rId2" Type="http://schemas.openxmlformats.org/officeDocument/2006/relationships/chart" Target="../charts/chart25.xml"/><Relationship Id="rId1" Type="http://schemas.openxmlformats.org/officeDocument/2006/relationships/slideLayout" Target="../slideLayouts/slideLayout20.xml"/><Relationship Id="rId6" Type="http://schemas.openxmlformats.org/officeDocument/2006/relationships/chart" Target="../charts/chart29.xml"/><Relationship Id="rId5" Type="http://schemas.openxmlformats.org/officeDocument/2006/relationships/chart" Target="../charts/chart28.xml"/><Relationship Id="rId4" Type="http://schemas.openxmlformats.org/officeDocument/2006/relationships/chart" Target="../charts/chart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F739A92-1C3E-453F-BA96-E79E43B766EC}"/>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53" imgH="359" progId="TCLayout.ActiveDocument.1">
                  <p:embed/>
                </p:oleObj>
              </mc:Choice>
              <mc:Fallback>
                <p:oleObj name="think-cell Slide" r:id="rId4" imgW="353" imgH="359" progId="TCLayout.ActiveDocument.1">
                  <p:embed/>
                  <p:pic>
                    <p:nvPicPr>
                      <p:cNvPr id="9" name="Object 8" hidden="1">
                        <a:extLst>
                          <a:ext uri="{FF2B5EF4-FFF2-40B4-BE49-F238E27FC236}">
                            <a16:creationId xmlns:a16="http://schemas.microsoft.com/office/drawing/2014/main" id="{DF739A92-1C3E-453F-BA96-E79E43B766EC}"/>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39DE3B8D-08F0-4AF0-ADE2-4A3EE9DD5206}"/>
              </a:ext>
            </a:extLst>
          </p:cNvPr>
          <p:cNvSpPr>
            <a:spLocks noGrp="1"/>
          </p:cNvSpPr>
          <p:nvPr>
            <p:ph type="ctrTitle"/>
          </p:nvPr>
        </p:nvSpPr>
        <p:spPr>
          <a:xfrm>
            <a:off x="424895" y="5048291"/>
            <a:ext cx="7322104" cy="410273"/>
          </a:xfrm>
        </p:spPr>
        <p:txBody>
          <a:bodyPr/>
          <a:lstStyle/>
          <a:p>
            <a:r>
              <a:rPr lang="en-US" dirty="0"/>
              <a:t>Lifesciences Sector Presentation</a:t>
            </a:r>
          </a:p>
        </p:txBody>
      </p:sp>
      <p:sp>
        <p:nvSpPr>
          <p:cNvPr id="7" name="Subtitle 6">
            <a:extLst>
              <a:ext uri="{FF2B5EF4-FFF2-40B4-BE49-F238E27FC236}">
                <a16:creationId xmlns:a16="http://schemas.microsoft.com/office/drawing/2014/main" id="{176DEB0D-19D6-4E30-BED9-95F90D347059}"/>
              </a:ext>
            </a:extLst>
          </p:cNvPr>
          <p:cNvSpPr>
            <a:spLocks noGrp="1"/>
          </p:cNvSpPr>
          <p:nvPr>
            <p:ph type="subTitle" idx="1"/>
          </p:nvPr>
        </p:nvSpPr>
        <p:spPr>
          <a:xfrm>
            <a:off x="424896" y="5542980"/>
            <a:ext cx="7322104" cy="303692"/>
          </a:xfrm>
        </p:spPr>
        <p:txBody>
          <a:bodyPr/>
          <a:lstStyle/>
          <a:p>
            <a:r>
              <a:rPr lang="en-US" dirty="0"/>
              <a:t>November 2025</a:t>
            </a:r>
          </a:p>
        </p:txBody>
      </p:sp>
      <p:pic>
        <p:nvPicPr>
          <p:cNvPr id="3" name="Picture 2" descr="A picture containing logo&#10;&#10;Description automatically generated">
            <a:extLst>
              <a:ext uri="{FF2B5EF4-FFF2-40B4-BE49-F238E27FC236}">
                <a16:creationId xmlns:a16="http://schemas.microsoft.com/office/drawing/2014/main" id="{A15E145D-1BE9-704E-7DD9-F426180E5197}"/>
              </a:ext>
            </a:extLst>
          </p:cNvPr>
          <p:cNvPicPr>
            <a:picLocks noChangeAspect="1"/>
          </p:cNvPicPr>
          <p:nvPr/>
        </p:nvPicPr>
        <p:blipFill rotWithShape="1">
          <a:blip r:embed="rId6">
            <a:clrChange>
              <a:clrFrom>
                <a:srgbClr val="FFFFFF"/>
              </a:clrFrom>
              <a:clrTo>
                <a:srgbClr val="FFFFFF">
                  <a:alpha val="0"/>
                </a:srgbClr>
              </a:clrTo>
            </a:clrChange>
          </a:blip>
          <a:srcRect l="2219" r="34179" b="-1881"/>
          <a:stretch/>
        </p:blipFill>
        <p:spPr>
          <a:xfrm>
            <a:off x="10028612" y="6093181"/>
            <a:ext cx="1820488" cy="493160"/>
          </a:xfrm>
          <a:prstGeom prst="rect">
            <a:avLst/>
          </a:prstGeom>
        </p:spPr>
      </p:pic>
    </p:spTree>
    <p:extLst>
      <p:ext uri="{BB962C8B-B14F-4D97-AF65-F5344CB8AC3E}">
        <p14:creationId xmlns:p14="http://schemas.microsoft.com/office/powerpoint/2010/main" val="6128974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38BE3F-F497-835B-094F-B1AB7980CDC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56B6DD3-1328-E6D0-A4F0-73F054B93737}"/>
              </a:ext>
            </a:extLst>
          </p:cNvPr>
          <p:cNvSpPr>
            <a:spLocks noGrp="1"/>
          </p:cNvSpPr>
          <p:nvPr>
            <p:ph type="title"/>
          </p:nvPr>
        </p:nvSpPr>
        <p:spPr>
          <a:xfrm>
            <a:off x="344487" y="138940"/>
            <a:ext cx="11504613" cy="408795"/>
          </a:xfrm>
        </p:spPr>
        <p:txBody>
          <a:bodyPr/>
          <a:lstStyle/>
          <a:p>
            <a:r>
              <a:rPr lang="en-IN" dirty="0"/>
              <a:t>Expected transaction activity</a:t>
            </a:r>
          </a:p>
        </p:txBody>
      </p:sp>
      <p:sp>
        <p:nvSpPr>
          <p:cNvPr id="3" name="Text Placeholder 2">
            <a:extLst>
              <a:ext uri="{FF2B5EF4-FFF2-40B4-BE49-F238E27FC236}">
                <a16:creationId xmlns:a16="http://schemas.microsoft.com/office/drawing/2014/main" id="{4356B9A6-50A4-4AF6-0841-C2AC639BFF86}"/>
              </a:ext>
            </a:extLst>
          </p:cNvPr>
          <p:cNvSpPr>
            <a:spLocks noGrp="1"/>
          </p:cNvSpPr>
          <p:nvPr>
            <p:ph type="body" sz="quarter" idx="10"/>
          </p:nvPr>
        </p:nvSpPr>
        <p:spPr>
          <a:xfrm>
            <a:off x="344488" y="487848"/>
            <a:ext cx="11504612" cy="281861"/>
          </a:xfrm>
        </p:spPr>
        <p:txBody>
          <a:bodyPr/>
          <a:lstStyle/>
          <a:p>
            <a:endParaRPr lang="en-US"/>
          </a:p>
        </p:txBody>
      </p:sp>
      <p:sp>
        <p:nvSpPr>
          <p:cNvPr id="4" name="Text Placeholder 3">
            <a:extLst>
              <a:ext uri="{FF2B5EF4-FFF2-40B4-BE49-F238E27FC236}">
                <a16:creationId xmlns:a16="http://schemas.microsoft.com/office/drawing/2014/main" id="{A9DDCBCE-02FE-3F3D-4D56-3F588937497B}"/>
              </a:ext>
            </a:extLst>
          </p:cNvPr>
          <p:cNvSpPr>
            <a:spLocks noGrp="1"/>
          </p:cNvSpPr>
          <p:nvPr>
            <p:ph type="body" sz="quarter" idx="11"/>
          </p:nvPr>
        </p:nvSpPr>
        <p:spPr/>
        <p:txBody>
          <a:bodyPr/>
          <a:lstStyle/>
          <a:p>
            <a:r>
              <a:rPr lang="en-US" dirty="0"/>
              <a:t>Source: VCC Edge. Notes: (1) Strategic and not PE/ VC deal. </a:t>
            </a:r>
          </a:p>
        </p:txBody>
      </p:sp>
      <p:cxnSp>
        <p:nvCxnSpPr>
          <p:cNvPr id="61" name="Straight Connector 60">
            <a:extLst>
              <a:ext uri="{FF2B5EF4-FFF2-40B4-BE49-F238E27FC236}">
                <a16:creationId xmlns:a16="http://schemas.microsoft.com/office/drawing/2014/main" id="{F6A04631-FDE2-C160-3CAA-B4D23B9070A7}"/>
              </a:ext>
            </a:extLst>
          </p:cNvPr>
          <p:cNvCxnSpPr>
            <a:cxnSpLocks/>
          </p:cNvCxnSpPr>
          <p:nvPr/>
        </p:nvCxnSpPr>
        <p:spPr>
          <a:xfrm>
            <a:off x="398565" y="1232261"/>
            <a:ext cx="5400000" cy="0"/>
          </a:xfrm>
          <a:prstGeom prst="line">
            <a:avLst/>
          </a:prstGeom>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40BE2235-C930-BFB0-DE77-30F61F43939B}"/>
              </a:ext>
            </a:extLst>
          </p:cNvPr>
          <p:cNvSpPr/>
          <p:nvPr/>
        </p:nvSpPr>
        <p:spPr>
          <a:xfrm>
            <a:off x="344487" y="1191851"/>
            <a:ext cx="545724" cy="55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385723"/>
              </a:solidFill>
              <a:effectLst/>
              <a:uLnTx/>
              <a:uFillTx/>
              <a:latin typeface="Segoe UI"/>
              <a:ea typeface="+mn-ea"/>
              <a:cs typeface="+mn-cs"/>
            </a:endParaRPr>
          </a:p>
        </p:txBody>
      </p:sp>
      <p:sp>
        <p:nvSpPr>
          <p:cNvPr id="60" name="TextBox 59">
            <a:extLst>
              <a:ext uri="{FF2B5EF4-FFF2-40B4-BE49-F238E27FC236}">
                <a16:creationId xmlns:a16="http://schemas.microsoft.com/office/drawing/2014/main" id="{F055877D-96C3-5844-E2BA-AE5D43AF6047}"/>
              </a:ext>
            </a:extLst>
          </p:cNvPr>
          <p:cNvSpPr txBox="1"/>
          <p:nvPr/>
        </p:nvSpPr>
        <p:spPr>
          <a:xfrm>
            <a:off x="357186" y="863060"/>
            <a:ext cx="5441379" cy="357771"/>
          </a:xfrm>
          <a:prstGeom prst="rect">
            <a:avLst/>
          </a:prstGeom>
          <a:noFill/>
        </p:spPr>
        <p:txBody>
          <a:bodyPr wrap="square" lIns="0" tIns="0" rIns="0" bIns="0" anchor="ctr">
            <a:noAutofit/>
          </a:bodyPr>
          <a:lstStyle/>
          <a:p>
            <a:pPr marL="0" marR="0" lvl="0" indent="0" algn="l" defTabSz="958983"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385723"/>
                </a:solidFill>
                <a:effectLst/>
                <a:uLnTx/>
                <a:uFillTx/>
                <a:latin typeface="Segoe UI"/>
                <a:ea typeface="Verdana" panose="020B0604030504040204" pitchFamily="34" charset="0"/>
                <a:cs typeface="Verdana" panose="020B0604030504040204" pitchFamily="34" charset="0"/>
              </a:rPr>
              <a:t>Transaction themes - Pharma</a:t>
            </a:r>
          </a:p>
        </p:txBody>
      </p:sp>
      <p:sp>
        <p:nvSpPr>
          <p:cNvPr id="6" name="Oval 5">
            <a:extLst>
              <a:ext uri="{FF2B5EF4-FFF2-40B4-BE49-F238E27FC236}">
                <a16:creationId xmlns:a16="http://schemas.microsoft.com/office/drawing/2014/main" id="{DACAAA7D-7F8A-F0FB-7083-32F2AF6CA1EC}"/>
              </a:ext>
            </a:extLst>
          </p:cNvPr>
          <p:cNvSpPr/>
          <p:nvPr/>
        </p:nvSpPr>
        <p:spPr bwMode="auto">
          <a:xfrm>
            <a:off x="457199" y="1609539"/>
            <a:ext cx="1512000" cy="800404"/>
          </a:xfrm>
          <a:prstGeom prst="ellipse">
            <a:avLst/>
          </a:prstGeom>
          <a:solidFill>
            <a:schemeClr val="accent2">
              <a:lumMod val="20000"/>
              <a:lumOff val="80000"/>
            </a:schemeClr>
          </a:solidFill>
          <a:ln w="12700" cap="flat" cmpd="sng" algn="ctr">
            <a:solidFill>
              <a:schemeClr val="accent1"/>
            </a:solid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marL="0" marR="0" lvl="0" indent="0" algn="ctr" defTabSz="914400" rtl="0" eaLnBrk="0" fontAlgn="base" latinLnBrk="0" hangingPunct="0">
              <a:lnSpc>
                <a:spcPct val="106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404040"/>
                </a:solidFill>
                <a:effectLst/>
                <a:uLnTx/>
                <a:uFillTx/>
                <a:latin typeface="EYInterstate" panose="02000503020000020004" pitchFamily="2" charset="0"/>
                <a:ea typeface="+mn-ea"/>
                <a:cs typeface="+mn-cs"/>
              </a:rPr>
              <a:t>Formulations</a:t>
            </a:r>
          </a:p>
        </p:txBody>
      </p:sp>
      <p:sp>
        <p:nvSpPr>
          <p:cNvPr id="7" name="Oval 6">
            <a:extLst>
              <a:ext uri="{FF2B5EF4-FFF2-40B4-BE49-F238E27FC236}">
                <a16:creationId xmlns:a16="http://schemas.microsoft.com/office/drawing/2014/main" id="{E1460567-0355-203B-7925-6811229917A3}"/>
              </a:ext>
            </a:extLst>
          </p:cNvPr>
          <p:cNvSpPr/>
          <p:nvPr/>
        </p:nvSpPr>
        <p:spPr bwMode="auto">
          <a:xfrm>
            <a:off x="403093" y="1609818"/>
            <a:ext cx="292100" cy="304800"/>
          </a:xfrm>
          <a:prstGeom prst="ellipse">
            <a:avLst/>
          </a:prstGeom>
          <a:solidFill>
            <a:schemeClr val="accent2">
              <a:lumMod val="40000"/>
              <a:lumOff val="60000"/>
            </a:schemeClr>
          </a:solidFill>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73152" tIns="73152" rIns="73152" bIns="73152" numCol="1" rtlCol="0" anchor="ctr" anchorCtr="1" compatLnSpc="1">
            <a:prstTxWarp prst="textNoShape">
              <a:avLst/>
            </a:prstTxWarp>
          </a:bodyPr>
          <a:lstStyle/>
          <a:p>
            <a:pPr marL="0" marR="0" lvl="0" indent="0" algn="ctr" defTabSz="914400" rtl="0" eaLnBrk="0" fontAlgn="base" latinLnBrk="0" hangingPunct="0">
              <a:lnSpc>
                <a:spcPct val="106000"/>
              </a:lnSpc>
              <a:spcBef>
                <a:spcPct val="0"/>
              </a:spcBef>
              <a:spcAft>
                <a:spcPct val="0"/>
              </a:spcAft>
              <a:buClrTx/>
              <a:buSzTx/>
              <a:buFontTx/>
              <a:buNone/>
              <a:tabLst/>
              <a:defRPr/>
            </a:pPr>
            <a:r>
              <a:rPr kumimoji="0" lang="en-US" sz="1200" b="1" i="0" u="none" strike="noStrike" kern="1200" cap="none" spc="0" normalizeH="0" baseline="0" noProof="0">
                <a:ln>
                  <a:noFill/>
                </a:ln>
                <a:solidFill>
                  <a:srgbClr val="404040"/>
                </a:solidFill>
                <a:effectLst/>
                <a:uLnTx/>
                <a:uFillTx/>
                <a:latin typeface="Arial" charset="0"/>
                <a:ea typeface="+mn-ea"/>
                <a:cs typeface="+mn-cs"/>
              </a:rPr>
              <a:t>1</a:t>
            </a:r>
          </a:p>
        </p:txBody>
      </p:sp>
      <p:sp>
        <p:nvSpPr>
          <p:cNvPr id="13" name="TextBox 12">
            <a:extLst>
              <a:ext uri="{FF2B5EF4-FFF2-40B4-BE49-F238E27FC236}">
                <a16:creationId xmlns:a16="http://schemas.microsoft.com/office/drawing/2014/main" id="{9E83B3FC-4917-E4EE-EA36-39AA2E2A3056}"/>
              </a:ext>
            </a:extLst>
          </p:cNvPr>
          <p:cNvSpPr txBox="1"/>
          <p:nvPr/>
        </p:nvSpPr>
        <p:spPr>
          <a:xfrm>
            <a:off x="2042960" y="1587009"/>
            <a:ext cx="3755604" cy="760978"/>
          </a:xfrm>
          <a:prstGeom prst="rect">
            <a:avLst/>
          </a:prstGeom>
          <a:noFill/>
          <a:ln>
            <a:solidFill>
              <a:schemeClr val="tx1"/>
            </a:solidFill>
            <a:prstDash val="dash"/>
          </a:ln>
        </p:spPr>
        <p:txBody>
          <a:bodyPr wrap="square" rtlCol="0">
            <a:spAutoFit/>
          </a:bodyPr>
          <a:lstStyle/>
          <a:p>
            <a:pPr marL="171450" marR="0" lvl="0" indent="-171450" algn="l" defTabSz="914400" rtl="0" eaLnBrk="1" fontAlgn="auto" latinLnBrk="0" hangingPunct="1">
              <a:lnSpc>
                <a:spcPts val="1000"/>
              </a:lnSpc>
              <a:spcBef>
                <a:spcPts val="400"/>
              </a:spcBef>
              <a:spcAft>
                <a:spcPts val="0"/>
              </a:spcAft>
              <a:buClrTx/>
              <a:buSzTx/>
              <a:buFont typeface="Wingdings" pitchFamily="2" charset="2"/>
              <a:buChar char="§"/>
              <a:tabLst/>
              <a:defRPr/>
            </a:pPr>
            <a:r>
              <a:rPr kumimoji="0" lang="en-US" sz="1000" b="0" i="0" u="none" strike="noStrike" kern="1200" cap="none" spc="0" normalizeH="0" baseline="0" noProof="0" dirty="0">
                <a:ln>
                  <a:noFill/>
                </a:ln>
                <a:solidFill>
                  <a:srgbClr val="404040"/>
                </a:solidFill>
                <a:effectLst/>
                <a:uLnTx/>
                <a:uFillTx/>
                <a:latin typeface="EYInterstate" panose="02000503020000020004" pitchFamily="2" charset="0"/>
                <a:ea typeface="+mn-ea"/>
                <a:cs typeface="+mn-cs"/>
              </a:rPr>
              <a:t>Domestic formulations</a:t>
            </a:r>
          </a:p>
          <a:p>
            <a:pPr marL="628650" marR="0" lvl="1" indent="-171450" algn="l" defTabSz="914400" rtl="0" eaLnBrk="1" fontAlgn="auto" latinLnBrk="0" hangingPunct="1">
              <a:lnSpc>
                <a:spcPts val="1000"/>
              </a:lnSpc>
              <a:spcBef>
                <a:spcPts val="400"/>
              </a:spcBef>
              <a:spcAft>
                <a:spcPts val="0"/>
              </a:spcAft>
              <a:buClrTx/>
              <a:buSzTx/>
              <a:buFont typeface="Wingdings" pitchFamily="2" charset="2"/>
              <a:buChar char="§"/>
              <a:tabLst/>
              <a:defRPr/>
            </a:pPr>
            <a:r>
              <a:rPr kumimoji="0" lang="en-US" sz="1000" b="0" i="0" u="none" strike="noStrike" kern="1200" cap="none" spc="0" normalizeH="0" baseline="0" noProof="0" dirty="0">
                <a:ln>
                  <a:noFill/>
                </a:ln>
                <a:solidFill>
                  <a:srgbClr val="404040"/>
                </a:solidFill>
                <a:effectLst/>
                <a:uLnTx/>
                <a:uFillTx/>
                <a:latin typeface="EYInterstate" panose="02000503020000020004" pitchFamily="2" charset="0"/>
                <a:ea typeface="+mn-ea"/>
                <a:cs typeface="+mn-cs"/>
              </a:rPr>
              <a:t>Consolidation led by M&amp;A - platform and strategic.</a:t>
            </a:r>
          </a:p>
          <a:p>
            <a:pPr marL="171450" marR="0" lvl="0" indent="-171450" algn="l" defTabSz="914400" rtl="0" eaLnBrk="1" fontAlgn="auto" latinLnBrk="0" hangingPunct="1">
              <a:lnSpc>
                <a:spcPts val="1000"/>
              </a:lnSpc>
              <a:spcBef>
                <a:spcPts val="400"/>
              </a:spcBef>
              <a:spcAft>
                <a:spcPts val="0"/>
              </a:spcAft>
              <a:buClrTx/>
              <a:buSzTx/>
              <a:buFont typeface="Wingdings" pitchFamily="2" charset="2"/>
              <a:buChar char="§"/>
              <a:tabLst/>
              <a:defRPr/>
            </a:pPr>
            <a:r>
              <a:rPr kumimoji="0" lang="en-US" sz="1000" b="0" i="0" u="none" strike="noStrike" kern="1200" cap="none" spc="0" normalizeH="0" baseline="0" noProof="0" dirty="0">
                <a:ln>
                  <a:noFill/>
                </a:ln>
                <a:solidFill>
                  <a:srgbClr val="404040"/>
                </a:solidFill>
                <a:effectLst/>
                <a:uLnTx/>
                <a:uFillTx/>
                <a:latin typeface="EYInterstate" panose="02000503020000020004" pitchFamily="2" charset="0"/>
                <a:ea typeface="+mn-ea"/>
                <a:cs typeface="+mn-cs"/>
              </a:rPr>
              <a:t>Export Formulations</a:t>
            </a:r>
          </a:p>
          <a:p>
            <a:pPr marL="628650" marR="0" lvl="1" indent="-171450" algn="l" defTabSz="914400" rtl="0" eaLnBrk="1" fontAlgn="auto" latinLnBrk="0" hangingPunct="1">
              <a:lnSpc>
                <a:spcPts val="1000"/>
              </a:lnSpc>
              <a:spcBef>
                <a:spcPts val="400"/>
              </a:spcBef>
              <a:spcAft>
                <a:spcPts val="0"/>
              </a:spcAft>
              <a:buClrTx/>
              <a:buSzTx/>
              <a:buFont typeface="Wingdings" pitchFamily="2" charset="2"/>
              <a:buChar char="§"/>
              <a:tabLst/>
              <a:defRPr/>
            </a:pPr>
            <a:r>
              <a:rPr kumimoji="0" lang="en-US" sz="1000" b="0" i="0" u="none" strike="noStrike" kern="1200" cap="none" spc="0" normalizeH="0" baseline="0" noProof="0" dirty="0">
                <a:ln>
                  <a:noFill/>
                </a:ln>
                <a:solidFill>
                  <a:srgbClr val="404040"/>
                </a:solidFill>
                <a:effectLst/>
                <a:uLnTx/>
                <a:uFillTx/>
                <a:latin typeface="EYInterstate" panose="02000503020000020004" pitchFamily="2" charset="0"/>
                <a:ea typeface="+mn-ea"/>
                <a:cs typeface="+mn-cs"/>
              </a:rPr>
              <a:t>M&amp;A/Growth PE – opportunistic transactions</a:t>
            </a:r>
          </a:p>
        </p:txBody>
      </p:sp>
      <p:sp>
        <p:nvSpPr>
          <p:cNvPr id="24" name="TextBox 23">
            <a:extLst>
              <a:ext uri="{FF2B5EF4-FFF2-40B4-BE49-F238E27FC236}">
                <a16:creationId xmlns:a16="http://schemas.microsoft.com/office/drawing/2014/main" id="{2A182D21-D28B-27CD-FA97-0699EBDC79A1}"/>
              </a:ext>
            </a:extLst>
          </p:cNvPr>
          <p:cNvSpPr txBox="1"/>
          <p:nvPr/>
        </p:nvSpPr>
        <p:spPr>
          <a:xfrm>
            <a:off x="2042961" y="2854972"/>
            <a:ext cx="3755603" cy="966162"/>
          </a:xfrm>
          <a:prstGeom prst="rect">
            <a:avLst/>
          </a:prstGeom>
          <a:noFill/>
          <a:ln>
            <a:solidFill>
              <a:schemeClr val="tx1"/>
            </a:solidFill>
            <a:prstDash val="dash"/>
          </a:ln>
        </p:spPr>
        <p:txBody>
          <a:bodyPr wrap="square" rtlCol="0">
            <a:spAutoFit/>
          </a:bodyPr>
          <a:lstStyle/>
          <a:p>
            <a:pPr marL="171450" marR="0" lvl="0" indent="-171450" algn="l" defTabSz="914400" rtl="0" eaLnBrk="1" fontAlgn="auto" latinLnBrk="0" hangingPunct="1">
              <a:lnSpc>
                <a:spcPts val="1000"/>
              </a:lnSpc>
              <a:spcBef>
                <a:spcPts val="400"/>
              </a:spcBef>
              <a:spcAft>
                <a:spcPts val="0"/>
              </a:spcAft>
              <a:buClrTx/>
              <a:buSzTx/>
              <a:buFont typeface="Wingdings" pitchFamily="2" charset="2"/>
              <a:buChar char="§"/>
              <a:tabLst/>
              <a:defRPr/>
            </a:pPr>
            <a:r>
              <a:rPr kumimoji="0" lang="en-US" sz="1000" b="0" i="0" u="none" strike="noStrike" kern="1200" cap="none" spc="0" normalizeH="0" baseline="0" noProof="0" dirty="0">
                <a:ln>
                  <a:noFill/>
                </a:ln>
                <a:solidFill>
                  <a:srgbClr val="404040"/>
                </a:solidFill>
                <a:effectLst/>
                <a:uLnTx/>
                <a:uFillTx/>
                <a:latin typeface="EYInterstate" panose="02000503020000020004" pitchFamily="2" charset="0"/>
                <a:ea typeface="+mn-ea"/>
                <a:cs typeface="+mn-cs"/>
              </a:rPr>
              <a:t>Strong appetite for growth PE but limited opportunities for growth PE.</a:t>
            </a:r>
          </a:p>
          <a:p>
            <a:pPr marL="171450" marR="0" lvl="0" indent="-171450" algn="l" defTabSz="914400" rtl="0" eaLnBrk="1" fontAlgn="auto" latinLnBrk="0" hangingPunct="1">
              <a:lnSpc>
                <a:spcPts val="1000"/>
              </a:lnSpc>
              <a:spcBef>
                <a:spcPts val="400"/>
              </a:spcBef>
              <a:spcAft>
                <a:spcPts val="0"/>
              </a:spcAft>
              <a:buClrTx/>
              <a:buSzTx/>
              <a:buFont typeface="Wingdings" pitchFamily="2" charset="2"/>
              <a:buChar char="§"/>
              <a:tabLst/>
              <a:defRPr/>
            </a:pPr>
            <a:r>
              <a:rPr kumimoji="0" lang="en-US" sz="1000" b="0" i="0" u="none" strike="noStrike" kern="1200" cap="none" spc="0" normalizeH="0" baseline="0" noProof="0" dirty="0">
                <a:ln>
                  <a:noFill/>
                </a:ln>
                <a:solidFill>
                  <a:srgbClr val="404040"/>
                </a:solidFill>
                <a:effectLst/>
                <a:uLnTx/>
                <a:uFillTx/>
                <a:latin typeface="EYInterstate" panose="02000503020000020004" pitchFamily="2" charset="0"/>
                <a:ea typeface="+mn-ea"/>
                <a:cs typeface="+mn-cs"/>
              </a:rPr>
              <a:t>Potential value unlock through listing of CDMO verticals of API companies</a:t>
            </a:r>
          </a:p>
          <a:p>
            <a:pPr marL="171450" marR="0" lvl="0" indent="-171450" algn="l" defTabSz="914400" rtl="0" eaLnBrk="1" fontAlgn="auto" latinLnBrk="0" hangingPunct="1">
              <a:lnSpc>
                <a:spcPts val="1000"/>
              </a:lnSpc>
              <a:spcBef>
                <a:spcPts val="4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404040"/>
                </a:solidFill>
                <a:effectLst/>
                <a:uLnTx/>
                <a:uFillTx/>
                <a:latin typeface="EYInterstate" panose="02000503020000020004" pitchFamily="2" charset="0"/>
                <a:ea typeface="+mn-ea"/>
                <a:cs typeface="+mn-cs"/>
              </a:rPr>
              <a:t>Outbound – Indian CDMOs may look to acquire assets/ capabilities in regulated markets.</a:t>
            </a:r>
          </a:p>
        </p:txBody>
      </p:sp>
      <p:sp>
        <p:nvSpPr>
          <p:cNvPr id="33" name="TextBox 32">
            <a:extLst>
              <a:ext uri="{FF2B5EF4-FFF2-40B4-BE49-F238E27FC236}">
                <a16:creationId xmlns:a16="http://schemas.microsoft.com/office/drawing/2014/main" id="{AAF33F77-352B-AAEA-DC5C-58424EAD0D1D}"/>
              </a:ext>
            </a:extLst>
          </p:cNvPr>
          <p:cNvSpPr txBox="1"/>
          <p:nvPr/>
        </p:nvSpPr>
        <p:spPr>
          <a:xfrm>
            <a:off x="2042961" y="4283028"/>
            <a:ext cx="3755603" cy="709681"/>
          </a:xfrm>
          <a:prstGeom prst="rect">
            <a:avLst/>
          </a:prstGeom>
          <a:noFill/>
          <a:ln>
            <a:solidFill>
              <a:schemeClr val="tx1"/>
            </a:solidFill>
            <a:prstDash val="dash"/>
          </a:ln>
        </p:spPr>
        <p:txBody>
          <a:bodyPr wrap="square" rtlCol="0">
            <a:spAutoFit/>
          </a:bodyPr>
          <a:lstStyle/>
          <a:p>
            <a:pPr marL="171450" marR="0" lvl="0" indent="-171450" algn="l" defTabSz="914400" rtl="0" eaLnBrk="1" fontAlgn="auto" latinLnBrk="0" hangingPunct="1">
              <a:lnSpc>
                <a:spcPts val="1000"/>
              </a:lnSpc>
              <a:spcBef>
                <a:spcPts val="400"/>
              </a:spcBef>
              <a:spcAft>
                <a:spcPts val="0"/>
              </a:spcAft>
              <a:buClrTx/>
              <a:buSzTx/>
              <a:buFont typeface="Wingdings" pitchFamily="2" charset="2"/>
              <a:buChar char="§"/>
              <a:tabLst/>
              <a:defRPr/>
            </a:pPr>
            <a:r>
              <a:rPr kumimoji="0" lang="en-US" sz="1000" b="0" i="0" u="none" strike="noStrike" kern="1200" cap="none" spc="0" normalizeH="0" baseline="0" noProof="0" dirty="0">
                <a:ln>
                  <a:noFill/>
                </a:ln>
                <a:solidFill>
                  <a:srgbClr val="404040"/>
                </a:solidFill>
                <a:effectLst/>
                <a:uLnTx/>
                <a:uFillTx/>
                <a:latin typeface="EYInterstate" panose="02000503020000020004" pitchFamily="2" charset="0"/>
                <a:ea typeface="+mn-ea"/>
                <a:cs typeface="+mn-cs"/>
              </a:rPr>
              <a:t>Platforms </a:t>
            </a:r>
          </a:p>
          <a:p>
            <a:pPr marL="628650" marR="0" lvl="1" indent="-171450" algn="l" defTabSz="914400" rtl="0" eaLnBrk="1" fontAlgn="auto" latinLnBrk="0" hangingPunct="1">
              <a:lnSpc>
                <a:spcPts val="1000"/>
              </a:lnSpc>
              <a:spcBef>
                <a:spcPts val="400"/>
              </a:spcBef>
              <a:spcAft>
                <a:spcPts val="0"/>
              </a:spcAft>
              <a:buClrTx/>
              <a:buSzTx/>
              <a:buFont typeface="Wingdings" pitchFamily="2" charset="2"/>
              <a:buChar char="§"/>
              <a:tabLst/>
              <a:defRPr/>
            </a:pPr>
            <a:r>
              <a:rPr kumimoji="0" lang="en-US" sz="1000" b="0" i="0" u="none" strike="noStrike" kern="1200" cap="none" spc="0" normalizeH="0" baseline="0" noProof="0" dirty="0">
                <a:ln>
                  <a:noFill/>
                </a:ln>
                <a:solidFill>
                  <a:srgbClr val="404040"/>
                </a:solidFill>
                <a:effectLst/>
                <a:uLnTx/>
                <a:uFillTx/>
                <a:latin typeface="EYInterstate" panose="02000503020000020004" pitchFamily="2" charset="0"/>
                <a:ea typeface="+mn-ea"/>
                <a:cs typeface="+mn-cs"/>
              </a:rPr>
              <a:t>Large buyout funds keen to set up API platforms</a:t>
            </a:r>
          </a:p>
          <a:p>
            <a:pPr marL="171450" marR="0" lvl="0" indent="-171450" algn="l" defTabSz="914400" rtl="0" eaLnBrk="1" fontAlgn="auto" latinLnBrk="0" hangingPunct="1">
              <a:lnSpc>
                <a:spcPts val="1000"/>
              </a:lnSpc>
              <a:spcBef>
                <a:spcPts val="4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404040"/>
                </a:solidFill>
                <a:effectLst/>
                <a:uLnTx/>
                <a:uFillTx/>
                <a:latin typeface="EYInterstate" panose="02000503020000020004" pitchFamily="2" charset="0"/>
                <a:ea typeface="+mn-ea"/>
                <a:cs typeface="+mn-cs"/>
              </a:rPr>
              <a:t>M&amp;A – existing platforms and strategics looking to acquire niche capabilities, example : peptides, ADCs, fermentations, </a:t>
            </a:r>
            <a:r>
              <a:rPr kumimoji="0" lang="en-US" sz="1000" b="0" i="0" u="none" strike="noStrike" kern="1200" cap="none" spc="0" normalizeH="0" baseline="0" noProof="0" dirty="0" err="1">
                <a:ln>
                  <a:noFill/>
                </a:ln>
                <a:solidFill>
                  <a:srgbClr val="404040"/>
                </a:solidFill>
                <a:effectLst/>
                <a:uLnTx/>
                <a:uFillTx/>
                <a:latin typeface="EYInterstate" panose="02000503020000020004" pitchFamily="2" charset="0"/>
                <a:ea typeface="+mn-ea"/>
                <a:cs typeface="+mn-cs"/>
              </a:rPr>
              <a:t>etc</a:t>
            </a:r>
            <a:endParaRPr kumimoji="0" lang="en-US" sz="1000" b="0" i="0" u="none" strike="noStrike" kern="1200" cap="none" spc="0" normalizeH="0" baseline="0" noProof="0" dirty="0">
              <a:ln>
                <a:noFill/>
              </a:ln>
              <a:solidFill>
                <a:srgbClr val="404040"/>
              </a:solidFill>
              <a:effectLst/>
              <a:uLnTx/>
              <a:uFillTx/>
              <a:latin typeface="EYInterstate" panose="02000503020000020004" pitchFamily="2" charset="0"/>
              <a:ea typeface="+mn-ea"/>
              <a:cs typeface="+mn-cs"/>
            </a:endParaRPr>
          </a:p>
        </p:txBody>
      </p:sp>
      <p:sp>
        <p:nvSpPr>
          <p:cNvPr id="34" name="TextBox 33">
            <a:extLst>
              <a:ext uri="{FF2B5EF4-FFF2-40B4-BE49-F238E27FC236}">
                <a16:creationId xmlns:a16="http://schemas.microsoft.com/office/drawing/2014/main" id="{B2AA410E-C2A2-9F66-D617-8FC4CB72EA58}"/>
              </a:ext>
            </a:extLst>
          </p:cNvPr>
          <p:cNvSpPr txBox="1"/>
          <p:nvPr/>
        </p:nvSpPr>
        <p:spPr>
          <a:xfrm>
            <a:off x="2042961" y="5713233"/>
            <a:ext cx="3755603" cy="530145"/>
          </a:xfrm>
          <a:prstGeom prst="rect">
            <a:avLst/>
          </a:prstGeom>
          <a:noFill/>
          <a:ln>
            <a:solidFill>
              <a:schemeClr val="tx1"/>
            </a:solidFill>
            <a:prstDash val="dash"/>
          </a:ln>
        </p:spPr>
        <p:txBody>
          <a:bodyPr wrap="square" rtlCol="0">
            <a:spAutoFit/>
          </a:bodyPr>
          <a:lstStyle/>
          <a:p>
            <a:pPr marL="171450" marR="0" lvl="0" indent="-171450" algn="l" defTabSz="914400" rtl="0" eaLnBrk="1" fontAlgn="auto" latinLnBrk="0" hangingPunct="1">
              <a:lnSpc>
                <a:spcPts val="1000"/>
              </a:lnSpc>
              <a:spcBef>
                <a:spcPts val="400"/>
              </a:spcBef>
              <a:spcAft>
                <a:spcPts val="0"/>
              </a:spcAft>
              <a:buClrTx/>
              <a:buSzTx/>
              <a:buFont typeface="Wingdings" pitchFamily="2" charset="2"/>
              <a:buChar char="§"/>
              <a:tabLst/>
              <a:defRPr/>
            </a:pPr>
            <a:r>
              <a:rPr kumimoji="0" lang="en-IN" sz="1000" b="0" i="0" u="none" strike="noStrike" kern="1200" cap="none" spc="0" normalizeH="0" baseline="0" noProof="0" dirty="0">
                <a:ln>
                  <a:noFill/>
                </a:ln>
                <a:solidFill>
                  <a:srgbClr val="404040"/>
                </a:solidFill>
                <a:effectLst/>
                <a:uLnTx/>
                <a:uFillTx/>
                <a:latin typeface="EYInterstate" panose="02000503020000020004" pitchFamily="2" charset="0"/>
                <a:ea typeface="+mn-ea"/>
                <a:cs typeface="+mn-cs"/>
              </a:rPr>
              <a:t>Consolidation in the pharma distribution space to continue</a:t>
            </a:r>
          </a:p>
          <a:p>
            <a:pPr marL="171450" marR="0" lvl="0" indent="-171450" algn="l" defTabSz="914400" rtl="0" eaLnBrk="1" fontAlgn="auto" latinLnBrk="0" hangingPunct="1">
              <a:lnSpc>
                <a:spcPts val="1000"/>
              </a:lnSpc>
              <a:spcBef>
                <a:spcPts val="400"/>
              </a:spcBef>
              <a:spcAft>
                <a:spcPts val="0"/>
              </a:spcAft>
              <a:buClrTx/>
              <a:buSzTx/>
              <a:buFont typeface="Wingdings" pitchFamily="2" charset="2"/>
              <a:buChar char="§"/>
              <a:tabLst/>
              <a:defRPr/>
            </a:pPr>
            <a:r>
              <a:rPr kumimoji="0" lang="en-IN" sz="1000" b="0" i="0" u="none" strike="noStrike" kern="1200" cap="none" spc="0" normalizeH="0" baseline="0" noProof="0" dirty="0">
                <a:ln>
                  <a:noFill/>
                </a:ln>
                <a:solidFill>
                  <a:srgbClr val="404040"/>
                </a:solidFill>
                <a:effectLst/>
                <a:uLnTx/>
                <a:uFillTx/>
                <a:latin typeface="EYInterstate" panose="02000503020000020004" pitchFamily="2" charset="0"/>
                <a:ea typeface="+mn-ea"/>
                <a:cs typeface="+mn-cs"/>
              </a:rPr>
              <a:t>E Pharmacy - The larger players including 1MG and </a:t>
            </a:r>
            <a:r>
              <a:rPr kumimoji="0" lang="en-IN" sz="1000" b="0" i="0" u="none" strike="noStrike" kern="1200" cap="none" spc="0" normalizeH="0" baseline="0" noProof="0" dirty="0" err="1">
                <a:ln>
                  <a:noFill/>
                </a:ln>
                <a:solidFill>
                  <a:srgbClr val="404040"/>
                </a:solidFill>
                <a:effectLst/>
                <a:uLnTx/>
                <a:uFillTx/>
                <a:latin typeface="EYInterstate" panose="02000503020000020004" pitchFamily="2" charset="0"/>
                <a:ea typeface="+mn-ea"/>
                <a:cs typeface="+mn-cs"/>
              </a:rPr>
              <a:t>Pharmeasy</a:t>
            </a:r>
            <a:r>
              <a:rPr kumimoji="0" lang="en-IN" sz="1000" b="0" i="0" u="none" strike="noStrike" kern="1200" cap="none" spc="0" normalizeH="0" baseline="0" noProof="0" dirty="0">
                <a:ln>
                  <a:noFill/>
                </a:ln>
                <a:solidFill>
                  <a:srgbClr val="404040"/>
                </a:solidFill>
                <a:effectLst/>
                <a:uLnTx/>
                <a:uFillTx/>
                <a:latin typeface="EYInterstate" panose="02000503020000020004" pitchFamily="2" charset="0"/>
                <a:ea typeface="+mn-ea"/>
                <a:cs typeface="+mn-cs"/>
              </a:rPr>
              <a:t>                        still trying to streamline the business model</a:t>
            </a:r>
            <a:endParaRPr kumimoji="0" lang="en-US" sz="1000" b="0" i="0" u="none" strike="noStrike" kern="1200" cap="none" spc="0" normalizeH="0" baseline="0" noProof="0" dirty="0">
              <a:ln>
                <a:noFill/>
              </a:ln>
              <a:solidFill>
                <a:srgbClr val="404040"/>
              </a:solidFill>
              <a:effectLst/>
              <a:uLnTx/>
              <a:uFillTx/>
              <a:latin typeface="EYInterstate" panose="02000503020000020004" pitchFamily="2" charset="0"/>
              <a:ea typeface="+mn-ea"/>
              <a:cs typeface="+mn-cs"/>
            </a:endParaRPr>
          </a:p>
        </p:txBody>
      </p:sp>
      <p:sp>
        <p:nvSpPr>
          <p:cNvPr id="37" name="Oval 36">
            <a:extLst>
              <a:ext uri="{FF2B5EF4-FFF2-40B4-BE49-F238E27FC236}">
                <a16:creationId xmlns:a16="http://schemas.microsoft.com/office/drawing/2014/main" id="{581F35FA-E3D6-07B0-D2DA-847EA4988FF3}"/>
              </a:ext>
            </a:extLst>
          </p:cNvPr>
          <p:cNvSpPr/>
          <p:nvPr/>
        </p:nvSpPr>
        <p:spPr bwMode="auto">
          <a:xfrm>
            <a:off x="457200" y="2913689"/>
            <a:ext cx="1512000" cy="800404"/>
          </a:xfrm>
          <a:prstGeom prst="ellipse">
            <a:avLst/>
          </a:prstGeom>
          <a:solidFill>
            <a:schemeClr val="accent2">
              <a:lumMod val="20000"/>
              <a:lumOff val="80000"/>
            </a:schemeClr>
          </a:solidFill>
          <a:ln w="12700" cap="flat" cmpd="sng" algn="ctr">
            <a:solidFill>
              <a:schemeClr val="accent1"/>
            </a:solid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marL="0" marR="0" lvl="0" indent="0" algn="ctr" defTabSz="914400" rtl="0" eaLnBrk="0" fontAlgn="base" latinLnBrk="0" hangingPunct="0">
              <a:lnSpc>
                <a:spcPct val="106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404040"/>
                </a:solidFill>
                <a:effectLst/>
                <a:uLnTx/>
                <a:uFillTx/>
                <a:latin typeface="EYInterstate" panose="02000503020000020004" pitchFamily="2" charset="0"/>
                <a:ea typeface="+mn-ea"/>
                <a:cs typeface="+mn-cs"/>
              </a:rPr>
              <a:t>CDMO/ CRO</a:t>
            </a:r>
          </a:p>
        </p:txBody>
      </p:sp>
      <p:sp>
        <p:nvSpPr>
          <p:cNvPr id="38" name="Oval 37">
            <a:extLst>
              <a:ext uri="{FF2B5EF4-FFF2-40B4-BE49-F238E27FC236}">
                <a16:creationId xmlns:a16="http://schemas.microsoft.com/office/drawing/2014/main" id="{DEB07AE4-6083-D400-308F-2E7DA83A784C}"/>
              </a:ext>
            </a:extLst>
          </p:cNvPr>
          <p:cNvSpPr/>
          <p:nvPr/>
        </p:nvSpPr>
        <p:spPr bwMode="auto">
          <a:xfrm>
            <a:off x="403094" y="2913968"/>
            <a:ext cx="292100" cy="304800"/>
          </a:xfrm>
          <a:prstGeom prst="ellipse">
            <a:avLst/>
          </a:prstGeom>
          <a:solidFill>
            <a:schemeClr val="accent2">
              <a:lumMod val="40000"/>
              <a:lumOff val="60000"/>
            </a:schemeClr>
          </a:solidFill>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73152" tIns="73152" rIns="73152" bIns="73152" numCol="1" rtlCol="0" anchor="ctr" anchorCtr="1" compatLnSpc="1">
            <a:prstTxWarp prst="textNoShape">
              <a:avLst/>
            </a:prstTxWarp>
          </a:bodyPr>
          <a:lstStyle/>
          <a:p>
            <a:pPr marL="0" marR="0" lvl="0" indent="0" algn="ctr" defTabSz="914400" rtl="0" eaLnBrk="0" fontAlgn="base" latinLnBrk="0" hangingPunct="0">
              <a:lnSpc>
                <a:spcPct val="106000"/>
              </a:lnSpc>
              <a:spcBef>
                <a:spcPct val="0"/>
              </a:spcBef>
              <a:spcAft>
                <a:spcPct val="0"/>
              </a:spcAft>
              <a:buClrTx/>
              <a:buSzTx/>
              <a:buFontTx/>
              <a:buNone/>
              <a:tabLst/>
              <a:defRPr/>
            </a:pPr>
            <a:r>
              <a:rPr kumimoji="0" lang="en-US" sz="1200" b="1" i="0" u="none" strike="noStrike" kern="1200" cap="none" spc="0" normalizeH="0" baseline="0" noProof="0">
                <a:ln>
                  <a:noFill/>
                </a:ln>
                <a:solidFill>
                  <a:srgbClr val="404040"/>
                </a:solidFill>
                <a:effectLst/>
                <a:uLnTx/>
                <a:uFillTx/>
                <a:latin typeface="Arial" charset="0"/>
                <a:ea typeface="+mn-ea"/>
                <a:cs typeface="+mn-cs"/>
              </a:rPr>
              <a:t>2</a:t>
            </a:r>
          </a:p>
        </p:txBody>
      </p:sp>
      <p:sp>
        <p:nvSpPr>
          <p:cNvPr id="59" name="Oval 58">
            <a:extLst>
              <a:ext uri="{FF2B5EF4-FFF2-40B4-BE49-F238E27FC236}">
                <a16:creationId xmlns:a16="http://schemas.microsoft.com/office/drawing/2014/main" id="{6EB7C017-1FBF-58BF-1D79-C6687002805C}"/>
              </a:ext>
            </a:extLst>
          </p:cNvPr>
          <p:cNvSpPr/>
          <p:nvPr/>
        </p:nvSpPr>
        <p:spPr bwMode="auto">
          <a:xfrm>
            <a:off x="457200" y="4273324"/>
            <a:ext cx="1512000" cy="800404"/>
          </a:xfrm>
          <a:prstGeom prst="ellipse">
            <a:avLst/>
          </a:prstGeom>
          <a:solidFill>
            <a:schemeClr val="accent2">
              <a:lumMod val="20000"/>
              <a:lumOff val="80000"/>
            </a:schemeClr>
          </a:solidFill>
          <a:ln w="12700" cap="flat" cmpd="sng" algn="ctr">
            <a:solidFill>
              <a:schemeClr val="accent1"/>
            </a:solid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marL="0" marR="0" lvl="0" indent="0" algn="ctr" defTabSz="914400" rtl="0" eaLnBrk="0" fontAlgn="base" latinLnBrk="0" hangingPunct="0">
              <a:lnSpc>
                <a:spcPct val="106000"/>
              </a:lnSpc>
              <a:spcBef>
                <a:spcPct val="0"/>
              </a:spcBef>
              <a:spcAft>
                <a:spcPct val="0"/>
              </a:spcAft>
              <a:buClrTx/>
              <a:buSzTx/>
              <a:buFontTx/>
              <a:buNone/>
              <a:tabLst/>
              <a:defRPr/>
            </a:pPr>
            <a:r>
              <a:rPr kumimoji="0" lang="en-US" sz="1200" b="1" i="0" u="none" strike="noStrike" kern="1200" cap="none" spc="0" normalizeH="0" baseline="0" noProof="0">
                <a:ln>
                  <a:noFill/>
                </a:ln>
                <a:solidFill>
                  <a:srgbClr val="404040"/>
                </a:solidFill>
                <a:effectLst/>
                <a:uLnTx/>
                <a:uFillTx/>
                <a:latin typeface="EYInterstate" panose="02000503020000020004" pitchFamily="2" charset="0"/>
                <a:ea typeface="+mn-ea"/>
                <a:cs typeface="+mn-cs"/>
              </a:rPr>
              <a:t>API/ Intermediates</a:t>
            </a:r>
          </a:p>
        </p:txBody>
      </p:sp>
      <p:sp>
        <p:nvSpPr>
          <p:cNvPr id="63" name="Oval 62">
            <a:extLst>
              <a:ext uri="{FF2B5EF4-FFF2-40B4-BE49-F238E27FC236}">
                <a16:creationId xmlns:a16="http://schemas.microsoft.com/office/drawing/2014/main" id="{0DEFAA84-33EB-0A3B-326C-C61F78E3ACF1}"/>
              </a:ext>
            </a:extLst>
          </p:cNvPr>
          <p:cNvSpPr/>
          <p:nvPr/>
        </p:nvSpPr>
        <p:spPr bwMode="auto">
          <a:xfrm>
            <a:off x="403094" y="4273603"/>
            <a:ext cx="292100" cy="304800"/>
          </a:xfrm>
          <a:prstGeom prst="ellipse">
            <a:avLst/>
          </a:prstGeom>
          <a:solidFill>
            <a:schemeClr val="accent2">
              <a:lumMod val="40000"/>
              <a:lumOff val="60000"/>
            </a:schemeClr>
          </a:solidFill>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73152" tIns="73152" rIns="73152" bIns="73152" numCol="1" rtlCol="0" anchor="ctr" anchorCtr="1" compatLnSpc="1">
            <a:prstTxWarp prst="textNoShape">
              <a:avLst/>
            </a:prstTxWarp>
          </a:bodyPr>
          <a:lstStyle/>
          <a:p>
            <a:pPr marL="0" marR="0" lvl="0" indent="0" algn="ctr" defTabSz="914400" rtl="0" eaLnBrk="0" fontAlgn="base" latinLnBrk="0" hangingPunct="0">
              <a:lnSpc>
                <a:spcPct val="106000"/>
              </a:lnSpc>
              <a:spcBef>
                <a:spcPct val="0"/>
              </a:spcBef>
              <a:spcAft>
                <a:spcPct val="0"/>
              </a:spcAft>
              <a:buClrTx/>
              <a:buSzTx/>
              <a:buFontTx/>
              <a:buNone/>
              <a:tabLst/>
              <a:defRPr/>
            </a:pPr>
            <a:r>
              <a:rPr kumimoji="0" lang="en-US" sz="1200" b="1" i="0" u="none" strike="noStrike" kern="1200" cap="none" spc="0" normalizeH="0" baseline="0" noProof="0">
                <a:ln>
                  <a:noFill/>
                </a:ln>
                <a:solidFill>
                  <a:srgbClr val="404040"/>
                </a:solidFill>
                <a:effectLst/>
                <a:uLnTx/>
                <a:uFillTx/>
                <a:latin typeface="Arial" charset="0"/>
                <a:ea typeface="+mn-ea"/>
                <a:cs typeface="+mn-cs"/>
              </a:rPr>
              <a:t>3</a:t>
            </a:r>
          </a:p>
        </p:txBody>
      </p:sp>
      <p:sp>
        <p:nvSpPr>
          <p:cNvPr id="91" name="Oval 90">
            <a:extLst>
              <a:ext uri="{FF2B5EF4-FFF2-40B4-BE49-F238E27FC236}">
                <a16:creationId xmlns:a16="http://schemas.microsoft.com/office/drawing/2014/main" id="{23AFCE47-4741-B99D-8F33-C93ACB4C62A3}"/>
              </a:ext>
            </a:extLst>
          </p:cNvPr>
          <p:cNvSpPr/>
          <p:nvPr/>
        </p:nvSpPr>
        <p:spPr bwMode="auto">
          <a:xfrm>
            <a:off x="457200" y="5569386"/>
            <a:ext cx="1512000" cy="800404"/>
          </a:xfrm>
          <a:prstGeom prst="ellipse">
            <a:avLst/>
          </a:prstGeom>
          <a:solidFill>
            <a:schemeClr val="accent2">
              <a:lumMod val="20000"/>
              <a:lumOff val="80000"/>
            </a:schemeClr>
          </a:solidFill>
          <a:ln w="12700" cap="flat" cmpd="sng" algn="ctr">
            <a:solidFill>
              <a:schemeClr val="accent1"/>
            </a:solid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marL="0" marR="0" lvl="0" indent="0" algn="ctr" defTabSz="914400" rtl="0" eaLnBrk="0" fontAlgn="base" latinLnBrk="0" hangingPunct="0">
              <a:lnSpc>
                <a:spcPct val="106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404040"/>
                </a:solidFill>
                <a:effectLst/>
                <a:uLnTx/>
                <a:uFillTx/>
                <a:latin typeface="EYInterstate" panose="02000503020000020004" pitchFamily="2" charset="0"/>
                <a:ea typeface="+mn-ea"/>
                <a:cs typeface="+mn-cs"/>
              </a:rPr>
              <a:t>Others</a:t>
            </a:r>
          </a:p>
        </p:txBody>
      </p:sp>
      <p:sp>
        <p:nvSpPr>
          <p:cNvPr id="92" name="Oval 91">
            <a:extLst>
              <a:ext uri="{FF2B5EF4-FFF2-40B4-BE49-F238E27FC236}">
                <a16:creationId xmlns:a16="http://schemas.microsoft.com/office/drawing/2014/main" id="{436E5CDB-001A-0FA2-635C-C04A0408414C}"/>
              </a:ext>
            </a:extLst>
          </p:cNvPr>
          <p:cNvSpPr/>
          <p:nvPr/>
        </p:nvSpPr>
        <p:spPr bwMode="auto">
          <a:xfrm>
            <a:off x="403094" y="5569665"/>
            <a:ext cx="292100" cy="304800"/>
          </a:xfrm>
          <a:prstGeom prst="ellipse">
            <a:avLst/>
          </a:prstGeom>
          <a:solidFill>
            <a:schemeClr val="accent2">
              <a:lumMod val="40000"/>
              <a:lumOff val="60000"/>
            </a:schemeClr>
          </a:solidFill>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73152" tIns="73152" rIns="73152" bIns="73152" numCol="1" rtlCol="0" anchor="ctr" anchorCtr="1" compatLnSpc="1">
            <a:prstTxWarp prst="textNoShape">
              <a:avLst/>
            </a:prstTxWarp>
          </a:bodyPr>
          <a:lstStyle/>
          <a:p>
            <a:pPr marL="0" marR="0" lvl="0" indent="0" algn="ctr" defTabSz="914400" rtl="0" eaLnBrk="0" fontAlgn="base" latinLnBrk="0" hangingPunct="0">
              <a:lnSpc>
                <a:spcPct val="106000"/>
              </a:lnSpc>
              <a:spcBef>
                <a:spcPct val="0"/>
              </a:spcBef>
              <a:spcAft>
                <a:spcPct val="0"/>
              </a:spcAft>
              <a:buClrTx/>
              <a:buSzTx/>
              <a:buFontTx/>
              <a:buNone/>
              <a:tabLst/>
              <a:defRPr/>
            </a:pPr>
            <a:r>
              <a:rPr kumimoji="0" lang="en-US" sz="1200" b="1" i="0" u="none" strike="noStrike" kern="1200" cap="none" spc="0" normalizeH="0" baseline="0" noProof="0">
                <a:ln>
                  <a:noFill/>
                </a:ln>
                <a:solidFill>
                  <a:srgbClr val="404040"/>
                </a:solidFill>
                <a:effectLst/>
                <a:uLnTx/>
                <a:uFillTx/>
                <a:latin typeface="Arial" charset="0"/>
                <a:ea typeface="+mn-ea"/>
                <a:cs typeface="+mn-cs"/>
              </a:rPr>
              <a:t>4</a:t>
            </a:r>
          </a:p>
        </p:txBody>
      </p:sp>
      <p:cxnSp>
        <p:nvCxnSpPr>
          <p:cNvPr id="94" name="Straight Connector 93">
            <a:extLst>
              <a:ext uri="{FF2B5EF4-FFF2-40B4-BE49-F238E27FC236}">
                <a16:creationId xmlns:a16="http://schemas.microsoft.com/office/drawing/2014/main" id="{EEFEE5C3-E66A-FEA9-853E-740AEE9A826A}"/>
              </a:ext>
            </a:extLst>
          </p:cNvPr>
          <p:cNvCxnSpPr/>
          <p:nvPr/>
        </p:nvCxnSpPr>
        <p:spPr>
          <a:xfrm>
            <a:off x="357186" y="2710157"/>
            <a:ext cx="1119289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0BA717A6-B91E-EB66-4404-13D81FF17AF6}"/>
              </a:ext>
            </a:extLst>
          </p:cNvPr>
          <p:cNvCxnSpPr/>
          <p:nvPr/>
        </p:nvCxnSpPr>
        <p:spPr>
          <a:xfrm>
            <a:off x="357186" y="3984791"/>
            <a:ext cx="1119289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A081766A-B7EB-3F8D-9192-37FB90A30996}"/>
              </a:ext>
            </a:extLst>
          </p:cNvPr>
          <p:cNvCxnSpPr/>
          <p:nvPr/>
        </p:nvCxnSpPr>
        <p:spPr>
          <a:xfrm>
            <a:off x="357186" y="5315116"/>
            <a:ext cx="11192892" cy="0"/>
          </a:xfrm>
          <a:prstGeom prst="line">
            <a:avLst/>
          </a:prstGeom>
        </p:spPr>
        <p:style>
          <a:lnRef idx="1">
            <a:schemeClr val="accent1"/>
          </a:lnRef>
          <a:fillRef idx="0">
            <a:schemeClr val="accent1"/>
          </a:fillRef>
          <a:effectRef idx="0">
            <a:schemeClr val="accent1"/>
          </a:effectRef>
          <a:fontRef idx="minor">
            <a:schemeClr val="tx1"/>
          </a:fontRef>
        </p:style>
      </p:cxnSp>
      <p:sp>
        <p:nvSpPr>
          <p:cNvPr id="35" name="Oval 34">
            <a:extLst>
              <a:ext uri="{FF2B5EF4-FFF2-40B4-BE49-F238E27FC236}">
                <a16:creationId xmlns:a16="http://schemas.microsoft.com/office/drawing/2014/main" id="{8941B3D3-3FC8-FF76-7617-560B0405228A}"/>
              </a:ext>
            </a:extLst>
          </p:cNvPr>
          <p:cNvSpPr/>
          <p:nvPr/>
        </p:nvSpPr>
        <p:spPr bwMode="auto">
          <a:xfrm>
            <a:off x="6359224" y="1679946"/>
            <a:ext cx="1512000" cy="800404"/>
          </a:xfrm>
          <a:prstGeom prst="ellipse">
            <a:avLst/>
          </a:prstGeom>
          <a:solidFill>
            <a:schemeClr val="accent2">
              <a:lumMod val="20000"/>
              <a:lumOff val="80000"/>
            </a:schemeClr>
          </a:solidFill>
          <a:ln w="12700" cap="flat" cmpd="sng" algn="ctr">
            <a:solidFill>
              <a:schemeClr val="accent1"/>
            </a:solid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marL="0" marR="0" lvl="0" indent="0" algn="ctr" defTabSz="914400" rtl="0" eaLnBrk="0" fontAlgn="base" latinLnBrk="0" hangingPunct="0">
              <a:lnSpc>
                <a:spcPct val="106000"/>
              </a:lnSpc>
              <a:spcBef>
                <a:spcPct val="0"/>
              </a:spcBef>
              <a:spcAft>
                <a:spcPct val="0"/>
              </a:spcAft>
              <a:buClrTx/>
              <a:buSzTx/>
              <a:buFontTx/>
              <a:buNone/>
              <a:tabLst/>
              <a:defRPr/>
            </a:pPr>
            <a:r>
              <a:rPr kumimoji="0" lang="en-US" sz="1200" b="1" i="0" u="none" strike="noStrike" kern="1200" cap="none" spc="0" normalizeH="0" baseline="0" noProof="0">
                <a:ln>
                  <a:noFill/>
                </a:ln>
                <a:solidFill>
                  <a:srgbClr val="404040"/>
                </a:solidFill>
                <a:effectLst/>
                <a:uLnTx/>
                <a:uFillTx/>
                <a:latin typeface="EYInterstate" panose="02000503020000020004" pitchFamily="2" charset="0"/>
                <a:ea typeface="+mn-ea"/>
                <a:cs typeface="+mn-cs"/>
              </a:rPr>
              <a:t>Hospitals</a:t>
            </a:r>
          </a:p>
        </p:txBody>
      </p:sp>
      <p:sp>
        <p:nvSpPr>
          <p:cNvPr id="36" name="Oval 35">
            <a:extLst>
              <a:ext uri="{FF2B5EF4-FFF2-40B4-BE49-F238E27FC236}">
                <a16:creationId xmlns:a16="http://schemas.microsoft.com/office/drawing/2014/main" id="{E79BBA03-8C08-80D4-3E0A-3A78084A66FA}"/>
              </a:ext>
            </a:extLst>
          </p:cNvPr>
          <p:cNvSpPr/>
          <p:nvPr/>
        </p:nvSpPr>
        <p:spPr bwMode="auto">
          <a:xfrm>
            <a:off x="6305119" y="1680225"/>
            <a:ext cx="292100" cy="304800"/>
          </a:xfrm>
          <a:prstGeom prst="ellipse">
            <a:avLst/>
          </a:prstGeom>
          <a:solidFill>
            <a:schemeClr val="accent2">
              <a:lumMod val="40000"/>
              <a:lumOff val="60000"/>
            </a:schemeClr>
          </a:solidFill>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73152" tIns="73152" rIns="73152" bIns="73152" numCol="1" rtlCol="0" anchor="ctr" anchorCtr="1" compatLnSpc="1">
            <a:prstTxWarp prst="textNoShape">
              <a:avLst/>
            </a:prstTxWarp>
          </a:bodyPr>
          <a:lstStyle/>
          <a:p>
            <a:pPr marL="0" marR="0" lvl="0" indent="0" algn="ctr" defTabSz="914400" rtl="0" eaLnBrk="0" fontAlgn="base" latinLnBrk="0" hangingPunct="0">
              <a:lnSpc>
                <a:spcPct val="106000"/>
              </a:lnSpc>
              <a:spcBef>
                <a:spcPct val="0"/>
              </a:spcBef>
              <a:spcAft>
                <a:spcPct val="0"/>
              </a:spcAft>
              <a:buClrTx/>
              <a:buSzTx/>
              <a:buFontTx/>
              <a:buNone/>
              <a:tabLst/>
              <a:defRPr/>
            </a:pPr>
            <a:r>
              <a:rPr kumimoji="0" lang="en-US" sz="1200" b="1" i="0" u="none" strike="noStrike" kern="1200" cap="none" spc="0" normalizeH="0" baseline="0" noProof="0">
                <a:ln>
                  <a:noFill/>
                </a:ln>
                <a:solidFill>
                  <a:srgbClr val="404040"/>
                </a:solidFill>
                <a:effectLst/>
                <a:uLnTx/>
                <a:uFillTx/>
                <a:latin typeface="Arial" charset="0"/>
                <a:ea typeface="+mn-ea"/>
                <a:cs typeface="+mn-cs"/>
              </a:rPr>
              <a:t>1</a:t>
            </a:r>
          </a:p>
        </p:txBody>
      </p:sp>
      <p:sp>
        <p:nvSpPr>
          <p:cNvPr id="39" name="TextBox 38">
            <a:extLst>
              <a:ext uri="{FF2B5EF4-FFF2-40B4-BE49-F238E27FC236}">
                <a16:creationId xmlns:a16="http://schemas.microsoft.com/office/drawing/2014/main" id="{B2C43E54-3BF4-D882-F79C-F20AB4D90EF4}"/>
              </a:ext>
            </a:extLst>
          </p:cNvPr>
          <p:cNvSpPr txBox="1"/>
          <p:nvPr/>
        </p:nvSpPr>
        <p:spPr>
          <a:xfrm>
            <a:off x="7931924" y="1423181"/>
            <a:ext cx="3768666" cy="1118255"/>
          </a:xfrm>
          <a:prstGeom prst="rect">
            <a:avLst/>
          </a:prstGeom>
          <a:noFill/>
          <a:ln>
            <a:solidFill>
              <a:schemeClr val="tx1"/>
            </a:solidFill>
            <a:prstDash val="dash"/>
          </a:ln>
        </p:spPr>
        <p:txBody>
          <a:bodyPr wrap="square" rtlCol="0">
            <a:spAutoFit/>
          </a:bodyPr>
          <a:lstStyle/>
          <a:p>
            <a:pPr marL="171450" marR="0" lvl="0" indent="-171450" algn="l" defTabSz="914400" rtl="0" eaLnBrk="1" fontAlgn="auto" latinLnBrk="0" hangingPunct="1">
              <a:lnSpc>
                <a:spcPct val="100000"/>
              </a:lnSpc>
              <a:spcBef>
                <a:spcPts val="400"/>
              </a:spcBef>
              <a:spcAft>
                <a:spcPts val="0"/>
              </a:spcAft>
              <a:buClrTx/>
              <a:buSzTx/>
              <a:buFont typeface="Wingdings" pitchFamily="2" charset="2"/>
              <a:buChar char="§"/>
              <a:tabLst/>
              <a:defRPr/>
            </a:pPr>
            <a:r>
              <a:rPr kumimoji="0" lang="en-US" sz="1000" b="0" i="0" u="none" strike="noStrike" kern="1200" cap="none" spc="0" normalizeH="0" baseline="0" noProof="0" dirty="0">
                <a:ln>
                  <a:noFill/>
                </a:ln>
                <a:solidFill>
                  <a:srgbClr val="404040"/>
                </a:solidFill>
                <a:effectLst/>
                <a:uLnTx/>
                <a:uFillTx/>
                <a:latin typeface="EYInterstate" panose="02000503020000020004" pitchFamily="2" charset="0"/>
                <a:ea typeface="+mn-ea"/>
                <a:cs typeface="+mn-cs"/>
              </a:rPr>
              <a:t>Regional consolidation to continue as standalone hospitals get absorbed by regional/national chains</a:t>
            </a:r>
          </a:p>
          <a:p>
            <a:pPr marL="171450" marR="0" lvl="0" indent="-171450" algn="l" defTabSz="914400" rtl="0" eaLnBrk="1" fontAlgn="auto" latinLnBrk="0" hangingPunct="1">
              <a:lnSpc>
                <a:spcPct val="100000"/>
              </a:lnSpc>
              <a:spcBef>
                <a:spcPts val="400"/>
              </a:spcBef>
              <a:spcAft>
                <a:spcPts val="0"/>
              </a:spcAft>
              <a:buClrTx/>
              <a:buSzTx/>
              <a:buFont typeface="Wingdings" pitchFamily="2" charset="2"/>
              <a:buChar char="§"/>
              <a:tabLst/>
              <a:defRPr/>
            </a:pPr>
            <a:r>
              <a:rPr lang="en-US" sz="1000" dirty="0">
                <a:solidFill>
                  <a:srgbClr val="404040"/>
                </a:solidFill>
                <a:latin typeface="EYInterstate" panose="02000503020000020004" pitchFamily="2" charset="0"/>
              </a:rPr>
              <a:t>Single specialty- Regional consolidation and buyout transactions may find flavor</a:t>
            </a:r>
            <a:endParaRPr kumimoji="0" lang="en-US" sz="1000" b="0" i="0" u="none" strike="noStrike" kern="1200" cap="none" spc="0" normalizeH="0" baseline="0" noProof="0" dirty="0">
              <a:ln>
                <a:noFill/>
              </a:ln>
              <a:solidFill>
                <a:srgbClr val="404040"/>
              </a:solidFill>
              <a:effectLst/>
              <a:uLnTx/>
              <a:uFillTx/>
              <a:latin typeface="EYInterstate" panose="02000503020000020004" pitchFamily="2" charset="0"/>
              <a:ea typeface="+mn-ea"/>
              <a:cs typeface="+mn-cs"/>
            </a:endParaRPr>
          </a:p>
          <a:p>
            <a:pPr marL="171450" marR="0" lvl="0" indent="-171450" algn="l" defTabSz="914400" rtl="0" eaLnBrk="1" fontAlgn="auto" latinLnBrk="0" hangingPunct="1">
              <a:lnSpc>
                <a:spcPct val="100000"/>
              </a:lnSpc>
              <a:spcBef>
                <a:spcPts val="400"/>
              </a:spcBef>
              <a:spcAft>
                <a:spcPts val="0"/>
              </a:spcAft>
              <a:buClrTx/>
              <a:buSzTx/>
              <a:buFont typeface="Wingdings" pitchFamily="2" charset="2"/>
              <a:buChar char="§"/>
              <a:tabLst/>
              <a:defRPr/>
            </a:pPr>
            <a:r>
              <a:rPr kumimoji="0" lang="en-US" sz="1000" b="0" i="0" u="none" strike="noStrike" kern="1200" cap="none" spc="0" normalizeH="0" baseline="0" noProof="0" dirty="0">
                <a:ln>
                  <a:noFill/>
                </a:ln>
                <a:solidFill>
                  <a:srgbClr val="404040"/>
                </a:solidFill>
                <a:effectLst/>
                <a:uLnTx/>
                <a:uFillTx/>
                <a:latin typeface="EYInterstate" panose="02000503020000020004" pitchFamily="2" charset="0"/>
                <a:ea typeface="+mn-ea"/>
                <a:cs typeface="+mn-cs"/>
              </a:rPr>
              <a:t>Growth PE – keen to back single specialty hospitals and diversified regional hospitals</a:t>
            </a:r>
          </a:p>
        </p:txBody>
      </p:sp>
      <p:sp>
        <p:nvSpPr>
          <p:cNvPr id="40" name="TextBox 39">
            <a:extLst>
              <a:ext uri="{FF2B5EF4-FFF2-40B4-BE49-F238E27FC236}">
                <a16:creationId xmlns:a16="http://schemas.microsoft.com/office/drawing/2014/main" id="{D480428F-252E-C5E6-E431-0F8AD59A571D}"/>
              </a:ext>
            </a:extLst>
          </p:cNvPr>
          <p:cNvSpPr txBox="1"/>
          <p:nvPr/>
        </p:nvSpPr>
        <p:spPr>
          <a:xfrm>
            <a:off x="7931924" y="2929016"/>
            <a:ext cx="3768666" cy="810478"/>
          </a:xfrm>
          <a:prstGeom prst="rect">
            <a:avLst/>
          </a:prstGeom>
          <a:noFill/>
          <a:ln>
            <a:solidFill>
              <a:schemeClr val="tx1"/>
            </a:solidFill>
            <a:prstDash val="dash"/>
          </a:ln>
        </p:spPr>
        <p:txBody>
          <a:bodyPr wrap="square" rtlCol="0">
            <a:spAutoFit/>
          </a:bodyPr>
          <a:lstStyle/>
          <a:p>
            <a:pPr marL="171450" marR="0" lvl="0" indent="-171450" algn="l" defTabSz="914400" rtl="0" eaLnBrk="1" fontAlgn="auto" latinLnBrk="0" hangingPunct="1">
              <a:lnSpc>
                <a:spcPct val="100000"/>
              </a:lnSpc>
              <a:spcBef>
                <a:spcPts val="400"/>
              </a:spcBef>
              <a:spcAft>
                <a:spcPts val="0"/>
              </a:spcAft>
              <a:buClrTx/>
              <a:buSzTx/>
              <a:buFont typeface="Wingdings" pitchFamily="2" charset="2"/>
              <a:buChar char="§"/>
              <a:tabLst/>
              <a:defRPr/>
            </a:pPr>
            <a:r>
              <a:rPr kumimoji="0" lang="en-US" sz="1000" b="0" i="0" u="none" strike="noStrike" kern="1200" cap="none" spc="0" normalizeH="0" baseline="0" noProof="0" dirty="0">
                <a:ln>
                  <a:noFill/>
                </a:ln>
                <a:solidFill>
                  <a:srgbClr val="404040"/>
                </a:solidFill>
                <a:effectLst/>
                <a:uLnTx/>
                <a:uFillTx/>
                <a:latin typeface="EYInterstate" panose="02000503020000020004" pitchFamily="2" charset="0"/>
                <a:ea typeface="+mn-ea"/>
                <a:cs typeface="+mn-cs"/>
              </a:rPr>
              <a:t>Consolidation theme will continue to play as larger chains acquire regional champions</a:t>
            </a:r>
          </a:p>
          <a:p>
            <a:pPr marL="171450" marR="0" lvl="0" indent="-171450" algn="l" defTabSz="914400" rtl="0" eaLnBrk="1" fontAlgn="auto" latinLnBrk="0" hangingPunct="1">
              <a:lnSpc>
                <a:spcPct val="100000"/>
              </a:lnSpc>
              <a:spcBef>
                <a:spcPts val="400"/>
              </a:spcBef>
              <a:spcAft>
                <a:spcPts val="0"/>
              </a:spcAft>
              <a:buClrTx/>
              <a:buSzTx/>
              <a:buFont typeface="Wingdings" pitchFamily="2" charset="2"/>
              <a:buChar char="§"/>
              <a:tabLst/>
              <a:defRPr/>
            </a:pPr>
            <a:r>
              <a:rPr kumimoji="0" lang="en-US" sz="1000" b="0" i="0" u="none" strike="noStrike" kern="1200" cap="none" spc="0" normalizeH="0" baseline="0" noProof="0" dirty="0">
                <a:ln>
                  <a:noFill/>
                </a:ln>
                <a:solidFill>
                  <a:srgbClr val="404040"/>
                </a:solidFill>
                <a:effectLst/>
                <a:uLnTx/>
                <a:uFillTx/>
                <a:latin typeface="EYInterstate" panose="02000503020000020004" pitchFamily="2" charset="0"/>
                <a:ea typeface="+mn-ea"/>
                <a:cs typeface="+mn-cs"/>
              </a:rPr>
              <a:t>Strong growth PE interest in IVD &amp; regional diagnostic chains</a:t>
            </a:r>
          </a:p>
          <a:p>
            <a:pPr marL="171450" marR="0" lvl="0" indent="-171450" algn="l" defTabSz="914400" rtl="0" eaLnBrk="1" fontAlgn="auto" latinLnBrk="0" hangingPunct="1">
              <a:lnSpc>
                <a:spcPct val="100000"/>
              </a:lnSpc>
              <a:spcBef>
                <a:spcPts val="400"/>
              </a:spcBef>
              <a:spcAft>
                <a:spcPts val="0"/>
              </a:spcAft>
              <a:buClrTx/>
              <a:buSzTx/>
              <a:buFont typeface="Wingdings" pitchFamily="2" charset="2"/>
              <a:buChar char="§"/>
              <a:tabLst/>
              <a:defRPr/>
            </a:pPr>
            <a:r>
              <a:rPr kumimoji="0" lang="en-US" sz="1000" b="0" i="0" u="none" strike="noStrike" kern="1200" cap="none" spc="0" normalizeH="0" baseline="0" noProof="0" dirty="0">
                <a:ln>
                  <a:noFill/>
                </a:ln>
                <a:solidFill>
                  <a:srgbClr val="404040"/>
                </a:solidFill>
                <a:effectLst/>
                <a:uLnTx/>
                <a:uFillTx/>
                <a:latin typeface="EYInterstate" panose="02000503020000020004" pitchFamily="2" charset="0"/>
                <a:ea typeface="+mn-ea"/>
                <a:cs typeface="+mn-cs"/>
              </a:rPr>
              <a:t>Selective opportunities in molecular diagnostic sector</a:t>
            </a:r>
          </a:p>
        </p:txBody>
      </p:sp>
      <p:sp>
        <p:nvSpPr>
          <p:cNvPr id="41" name="TextBox 40">
            <a:extLst>
              <a:ext uri="{FF2B5EF4-FFF2-40B4-BE49-F238E27FC236}">
                <a16:creationId xmlns:a16="http://schemas.microsoft.com/office/drawing/2014/main" id="{EF021CA0-C07D-786A-D735-4D7A77810E9B}"/>
              </a:ext>
            </a:extLst>
          </p:cNvPr>
          <p:cNvSpPr txBox="1"/>
          <p:nvPr/>
        </p:nvSpPr>
        <p:spPr>
          <a:xfrm>
            <a:off x="7931924" y="4269882"/>
            <a:ext cx="3755603" cy="810478"/>
          </a:xfrm>
          <a:prstGeom prst="rect">
            <a:avLst/>
          </a:prstGeom>
          <a:noFill/>
          <a:ln>
            <a:solidFill>
              <a:schemeClr val="tx1"/>
            </a:solidFill>
            <a:prstDash val="dash"/>
          </a:ln>
        </p:spPr>
        <p:txBody>
          <a:bodyPr wrap="square" rtlCol="0">
            <a:spAutoFit/>
          </a:bodyPr>
          <a:lstStyle/>
          <a:p>
            <a:pPr marL="171450" marR="0" lvl="0" indent="-171450" algn="l" defTabSz="914400" rtl="0" eaLnBrk="1" fontAlgn="auto" latinLnBrk="0" hangingPunct="1">
              <a:lnSpc>
                <a:spcPct val="100000"/>
              </a:lnSpc>
              <a:spcBef>
                <a:spcPts val="400"/>
              </a:spcBef>
              <a:spcAft>
                <a:spcPts val="0"/>
              </a:spcAft>
              <a:buClrTx/>
              <a:buSzTx/>
              <a:buFont typeface="Wingdings" pitchFamily="2" charset="2"/>
              <a:buChar char="§"/>
              <a:tabLst/>
              <a:defRPr/>
            </a:pPr>
            <a:r>
              <a:rPr kumimoji="0" lang="en-US" sz="1000" b="0" i="0" u="none" strike="noStrike" kern="1200" cap="none" spc="0" normalizeH="0" baseline="0" noProof="0" dirty="0">
                <a:ln>
                  <a:noFill/>
                </a:ln>
                <a:solidFill>
                  <a:srgbClr val="404040"/>
                </a:solidFill>
                <a:effectLst/>
                <a:uLnTx/>
                <a:uFillTx/>
                <a:latin typeface="EYInterstate" panose="02000503020000020004" pitchFamily="2" charset="0"/>
                <a:ea typeface="+mn-ea"/>
                <a:cs typeface="+mn-cs"/>
              </a:rPr>
              <a:t>Platform scale up</a:t>
            </a:r>
          </a:p>
          <a:p>
            <a:pPr marL="171450" marR="0" lvl="0" indent="-171450" algn="l" defTabSz="914400" rtl="0" eaLnBrk="1" fontAlgn="auto" latinLnBrk="0" hangingPunct="1">
              <a:lnSpc>
                <a:spcPct val="100000"/>
              </a:lnSpc>
              <a:spcBef>
                <a:spcPts val="400"/>
              </a:spcBef>
              <a:spcAft>
                <a:spcPts val="0"/>
              </a:spcAft>
              <a:buClrTx/>
              <a:buSzTx/>
              <a:buFont typeface="Wingdings" pitchFamily="2" charset="2"/>
              <a:buChar char="§"/>
              <a:tabLst/>
              <a:defRPr/>
            </a:pPr>
            <a:r>
              <a:rPr kumimoji="0" lang="en-US" sz="1000" b="0" i="0" u="none" strike="noStrike" kern="1200" cap="none" spc="0" normalizeH="0" baseline="0" noProof="0" dirty="0">
                <a:ln>
                  <a:noFill/>
                </a:ln>
                <a:solidFill>
                  <a:srgbClr val="404040"/>
                </a:solidFill>
                <a:effectLst/>
                <a:uLnTx/>
                <a:uFillTx/>
                <a:latin typeface="EYInterstate" panose="02000503020000020004" pitchFamily="2" charset="0"/>
                <a:ea typeface="+mn-ea"/>
                <a:cs typeface="+mn-cs"/>
              </a:rPr>
              <a:t>Pharma companies looking to expand into Med-Tech – Zydus, Dr Reddy’s </a:t>
            </a:r>
          </a:p>
          <a:p>
            <a:pPr marL="171450" marR="0" lvl="0" indent="-171450" algn="l" defTabSz="914400" rtl="0" eaLnBrk="1" fontAlgn="auto" latinLnBrk="0" hangingPunct="1">
              <a:lnSpc>
                <a:spcPct val="100000"/>
              </a:lnSpc>
              <a:spcBef>
                <a:spcPts val="400"/>
              </a:spcBef>
              <a:spcAft>
                <a:spcPts val="0"/>
              </a:spcAft>
              <a:buClrTx/>
              <a:buSzTx/>
              <a:buFont typeface="Wingdings" pitchFamily="2" charset="2"/>
              <a:buChar char="§"/>
              <a:tabLst/>
              <a:defRPr/>
            </a:pPr>
            <a:r>
              <a:rPr lang="en-US" sz="1000" dirty="0">
                <a:solidFill>
                  <a:srgbClr val="404040"/>
                </a:solidFill>
                <a:latin typeface="EYInterstate" panose="02000503020000020004" pitchFamily="2" charset="0"/>
              </a:rPr>
              <a:t>Scaled up med-tech companies might look to go public</a:t>
            </a:r>
            <a:endParaRPr kumimoji="0" lang="en-US" sz="1000" b="0" i="0" u="none" strike="noStrike" kern="1200" cap="none" spc="0" normalizeH="0" baseline="0" noProof="0" dirty="0">
              <a:ln>
                <a:noFill/>
              </a:ln>
              <a:solidFill>
                <a:srgbClr val="404040"/>
              </a:solidFill>
              <a:effectLst/>
              <a:uLnTx/>
              <a:uFillTx/>
              <a:latin typeface="EYInterstate" panose="02000503020000020004" pitchFamily="2" charset="0"/>
              <a:ea typeface="+mn-ea"/>
              <a:cs typeface="+mn-cs"/>
            </a:endParaRPr>
          </a:p>
        </p:txBody>
      </p:sp>
      <p:sp>
        <p:nvSpPr>
          <p:cNvPr id="42" name="Oval 41">
            <a:extLst>
              <a:ext uri="{FF2B5EF4-FFF2-40B4-BE49-F238E27FC236}">
                <a16:creationId xmlns:a16="http://schemas.microsoft.com/office/drawing/2014/main" id="{B49590F0-7B3E-15A7-8FBC-0E663A7250A8}"/>
              </a:ext>
            </a:extLst>
          </p:cNvPr>
          <p:cNvSpPr/>
          <p:nvPr/>
        </p:nvSpPr>
        <p:spPr bwMode="auto">
          <a:xfrm>
            <a:off x="6359224" y="2977066"/>
            <a:ext cx="1512000" cy="800404"/>
          </a:xfrm>
          <a:prstGeom prst="ellipse">
            <a:avLst/>
          </a:prstGeom>
          <a:solidFill>
            <a:schemeClr val="accent2">
              <a:lumMod val="20000"/>
              <a:lumOff val="80000"/>
            </a:schemeClr>
          </a:solidFill>
          <a:ln w="12700" cap="flat" cmpd="sng" algn="ctr">
            <a:solidFill>
              <a:schemeClr val="accent1"/>
            </a:solid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marL="0" marR="0" lvl="0" indent="0" algn="ctr" defTabSz="914400" rtl="0" eaLnBrk="0" fontAlgn="base" latinLnBrk="0" hangingPunct="0">
              <a:lnSpc>
                <a:spcPct val="106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404040"/>
                </a:solidFill>
                <a:effectLst/>
                <a:uLnTx/>
                <a:uFillTx/>
                <a:latin typeface="EYInterstate" panose="02000503020000020004" pitchFamily="2" charset="0"/>
                <a:ea typeface="+mn-ea"/>
                <a:cs typeface="+mn-cs"/>
              </a:rPr>
              <a:t>Diagnostics</a:t>
            </a:r>
          </a:p>
        </p:txBody>
      </p:sp>
      <p:sp>
        <p:nvSpPr>
          <p:cNvPr id="43" name="Oval 42">
            <a:extLst>
              <a:ext uri="{FF2B5EF4-FFF2-40B4-BE49-F238E27FC236}">
                <a16:creationId xmlns:a16="http://schemas.microsoft.com/office/drawing/2014/main" id="{56CB4838-69C9-3CA2-7601-6407697F85D0}"/>
              </a:ext>
            </a:extLst>
          </p:cNvPr>
          <p:cNvSpPr/>
          <p:nvPr/>
        </p:nvSpPr>
        <p:spPr bwMode="auto">
          <a:xfrm>
            <a:off x="6349624" y="2977066"/>
            <a:ext cx="292100" cy="304800"/>
          </a:xfrm>
          <a:prstGeom prst="ellipse">
            <a:avLst/>
          </a:prstGeom>
          <a:solidFill>
            <a:schemeClr val="accent2">
              <a:lumMod val="40000"/>
              <a:lumOff val="60000"/>
            </a:schemeClr>
          </a:solidFill>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73152" tIns="73152" rIns="73152" bIns="73152" numCol="1" rtlCol="0" anchor="ctr" anchorCtr="1" compatLnSpc="1">
            <a:prstTxWarp prst="textNoShape">
              <a:avLst/>
            </a:prstTxWarp>
          </a:bodyPr>
          <a:lstStyle/>
          <a:p>
            <a:pPr marL="0" marR="0" lvl="0" indent="0" algn="ctr" defTabSz="914400" rtl="0" eaLnBrk="0" fontAlgn="base" latinLnBrk="0" hangingPunct="0">
              <a:lnSpc>
                <a:spcPct val="106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404040"/>
                </a:solidFill>
                <a:effectLst/>
                <a:uLnTx/>
                <a:uFillTx/>
                <a:latin typeface="Arial" charset="0"/>
                <a:ea typeface="+mn-ea"/>
                <a:cs typeface="+mn-cs"/>
              </a:rPr>
              <a:t>2</a:t>
            </a:r>
          </a:p>
        </p:txBody>
      </p:sp>
      <p:sp>
        <p:nvSpPr>
          <p:cNvPr id="44" name="Oval 43">
            <a:extLst>
              <a:ext uri="{FF2B5EF4-FFF2-40B4-BE49-F238E27FC236}">
                <a16:creationId xmlns:a16="http://schemas.microsoft.com/office/drawing/2014/main" id="{6D42617D-674A-0B5A-4A30-56E933487308}"/>
              </a:ext>
            </a:extLst>
          </p:cNvPr>
          <p:cNvSpPr/>
          <p:nvPr/>
        </p:nvSpPr>
        <p:spPr bwMode="auto">
          <a:xfrm>
            <a:off x="6359224" y="4223783"/>
            <a:ext cx="1512000" cy="800404"/>
          </a:xfrm>
          <a:prstGeom prst="ellipse">
            <a:avLst/>
          </a:prstGeom>
          <a:solidFill>
            <a:schemeClr val="accent2">
              <a:lumMod val="20000"/>
              <a:lumOff val="80000"/>
            </a:schemeClr>
          </a:solidFill>
          <a:ln w="12700" cap="flat" cmpd="sng" algn="ctr">
            <a:solidFill>
              <a:schemeClr val="accent1"/>
            </a:solid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marL="0" marR="0" lvl="0" indent="0" algn="ctr" defTabSz="914400" rtl="0" eaLnBrk="0" fontAlgn="base" latinLnBrk="0" hangingPunct="0">
              <a:lnSpc>
                <a:spcPct val="106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404040"/>
                </a:solidFill>
                <a:effectLst/>
                <a:uLnTx/>
                <a:uFillTx/>
                <a:latin typeface="EYInterstate" panose="02000503020000020004" pitchFamily="2" charset="0"/>
                <a:ea typeface="+mn-ea"/>
                <a:cs typeface="+mn-cs"/>
              </a:rPr>
              <a:t>Med-Tech</a:t>
            </a:r>
          </a:p>
        </p:txBody>
      </p:sp>
      <p:sp>
        <p:nvSpPr>
          <p:cNvPr id="45" name="Oval 44">
            <a:extLst>
              <a:ext uri="{FF2B5EF4-FFF2-40B4-BE49-F238E27FC236}">
                <a16:creationId xmlns:a16="http://schemas.microsoft.com/office/drawing/2014/main" id="{E347A2CA-9824-CCEB-80AB-0B0C3469EEB4}"/>
              </a:ext>
            </a:extLst>
          </p:cNvPr>
          <p:cNvSpPr/>
          <p:nvPr/>
        </p:nvSpPr>
        <p:spPr bwMode="auto">
          <a:xfrm>
            <a:off x="6305119" y="4224062"/>
            <a:ext cx="292100" cy="304800"/>
          </a:xfrm>
          <a:prstGeom prst="ellipse">
            <a:avLst/>
          </a:prstGeom>
          <a:solidFill>
            <a:schemeClr val="accent2">
              <a:lumMod val="40000"/>
              <a:lumOff val="60000"/>
            </a:schemeClr>
          </a:solidFill>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73152" tIns="73152" rIns="73152" bIns="73152" numCol="1" rtlCol="0" anchor="ctr" anchorCtr="1" compatLnSpc="1">
            <a:prstTxWarp prst="textNoShape">
              <a:avLst/>
            </a:prstTxWarp>
          </a:bodyPr>
          <a:lstStyle/>
          <a:p>
            <a:pPr marL="0" marR="0" lvl="0" indent="0" algn="ctr" defTabSz="914400" rtl="0" eaLnBrk="0" fontAlgn="base" latinLnBrk="0" hangingPunct="0">
              <a:lnSpc>
                <a:spcPct val="106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404040"/>
                </a:solidFill>
                <a:effectLst/>
                <a:uLnTx/>
                <a:uFillTx/>
                <a:latin typeface="Arial" charset="0"/>
                <a:ea typeface="+mn-ea"/>
                <a:cs typeface="+mn-cs"/>
              </a:rPr>
              <a:t>3</a:t>
            </a:r>
          </a:p>
        </p:txBody>
      </p:sp>
      <p:grpSp>
        <p:nvGrpSpPr>
          <p:cNvPr id="47" name="Group 46">
            <a:extLst>
              <a:ext uri="{FF2B5EF4-FFF2-40B4-BE49-F238E27FC236}">
                <a16:creationId xmlns:a16="http://schemas.microsoft.com/office/drawing/2014/main" id="{3B72B470-DC38-8C3B-D119-FA7602F084B5}"/>
              </a:ext>
            </a:extLst>
          </p:cNvPr>
          <p:cNvGrpSpPr/>
          <p:nvPr/>
        </p:nvGrpSpPr>
        <p:grpSpPr>
          <a:xfrm>
            <a:off x="6251575" y="861902"/>
            <a:ext cx="5507608" cy="398417"/>
            <a:chOff x="6096000" y="849202"/>
            <a:chExt cx="5507608" cy="398417"/>
          </a:xfrm>
        </p:grpSpPr>
        <p:cxnSp>
          <p:nvCxnSpPr>
            <p:cNvPr id="5" name="Straight Connector 4">
              <a:extLst>
                <a:ext uri="{FF2B5EF4-FFF2-40B4-BE49-F238E27FC236}">
                  <a16:creationId xmlns:a16="http://schemas.microsoft.com/office/drawing/2014/main" id="{5EFC890B-E846-74E7-CF11-8D9C51F4FE66}"/>
                </a:ext>
              </a:extLst>
            </p:cNvPr>
            <p:cNvCxnSpPr>
              <a:cxnSpLocks/>
            </p:cNvCxnSpPr>
            <p:nvPr/>
          </p:nvCxnSpPr>
          <p:spPr>
            <a:xfrm>
              <a:off x="6150078" y="1219735"/>
              <a:ext cx="5400000" cy="0"/>
            </a:xfrm>
            <a:prstGeom prst="line">
              <a:avLst/>
            </a:prstGeom>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20C6446C-5F5A-BCC5-6183-693056632156}"/>
                </a:ext>
              </a:extLst>
            </p:cNvPr>
            <p:cNvSpPr/>
            <p:nvPr/>
          </p:nvSpPr>
          <p:spPr>
            <a:xfrm>
              <a:off x="6096000" y="1191851"/>
              <a:ext cx="545724" cy="55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385723"/>
                </a:solidFill>
                <a:effectLst/>
                <a:uLnTx/>
                <a:uFillTx/>
                <a:latin typeface="Segoe UI"/>
                <a:ea typeface="+mn-ea"/>
                <a:cs typeface="+mn-cs"/>
              </a:endParaRPr>
            </a:p>
          </p:txBody>
        </p:sp>
        <p:sp>
          <p:nvSpPr>
            <p:cNvPr id="46" name="TextBox 45">
              <a:extLst>
                <a:ext uri="{FF2B5EF4-FFF2-40B4-BE49-F238E27FC236}">
                  <a16:creationId xmlns:a16="http://schemas.microsoft.com/office/drawing/2014/main" id="{4412D70E-1905-DEB8-AAAA-D5E33F0C5048}"/>
                </a:ext>
              </a:extLst>
            </p:cNvPr>
            <p:cNvSpPr txBox="1"/>
            <p:nvPr/>
          </p:nvSpPr>
          <p:spPr>
            <a:xfrm>
              <a:off x="6162229" y="849202"/>
              <a:ext cx="5441379" cy="357771"/>
            </a:xfrm>
            <a:prstGeom prst="rect">
              <a:avLst/>
            </a:prstGeom>
            <a:noFill/>
          </p:spPr>
          <p:txBody>
            <a:bodyPr wrap="square" lIns="0" tIns="0" rIns="0" bIns="0" anchor="ctr">
              <a:noAutofit/>
            </a:bodyPr>
            <a:lstStyle/>
            <a:p>
              <a:pPr marL="0" marR="0" lvl="0" indent="0" algn="l" defTabSz="958983"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385723"/>
                  </a:solidFill>
                  <a:effectLst/>
                  <a:uLnTx/>
                  <a:uFillTx/>
                  <a:latin typeface="Segoe UI"/>
                  <a:ea typeface="Verdana" panose="020B0604030504040204" pitchFamily="34" charset="0"/>
                  <a:cs typeface="Verdana" panose="020B0604030504040204" pitchFamily="34" charset="0"/>
                </a:rPr>
                <a:t>Transaction themes – Healthcare and Med-Tech</a:t>
              </a:r>
            </a:p>
          </p:txBody>
        </p:sp>
      </p:grpSp>
    </p:spTree>
    <p:extLst>
      <p:ext uri="{BB962C8B-B14F-4D97-AF65-F5344CB8AC3E}">
        <p14:creationId xmlns:p14="http://schemas.microsoft.com/office/powerpoint/2010/main" val="28922153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72EB50-1E62-9F20-FDDA-A64EDC6986A7}"/>
            </a:ext>
          </a:extLst>
        </p:cNvPr>
        <p:cNvGrpSpPr/>
        <p:nvPr/>
      </p:nvGrpSpPr>
      <p:grpSpPr>
        <a:xfrm>
          <a:off x="0" y="0"/>
          <a:ext cx="0" cy="0"/>
          <a:chOff x="0" y="0"/>
          <a:chExt cx="0" cy="0"/>
        </a:xfrm>
      </p:grpSpPr>
      <p:sp>
        <p:nvSpPr>
          <p:cNvPr id="10" name="Title 9">
            <a:extLst>
              <a:ext uri="{FF2B5EF4-FFF2-40B4-BE49-F238E27FC236}">
                <a16:creationId xmlns:a16="http://schemas.microsoft.com/office/drawing/2014/main" id="{BB077C11-A8B6-375D-3ADB-F52562D27D2F}"/>
              </a:ext>
            </a:extLst>
          </p:cNvPr>
          <p:cNvSpPr>
            <a:spLocks noGrp="1"/>
          </p:cNvSpPr>
          <p:nvPr>
            <p:ph type="title"/>
          </p:nvPr>
        </p:nvSpPr>
        <p:spPr>
          <a:xfrm>
            <a:off x="344487" y="88836"/>
            <a:ext cx="11504613" cy="408795"/>
          </a:xfrm>
        </p:spPr>
        <p:txBody>
          <a:bodyPr/>
          <a:lstStyle/>
          <a:p>
            <a:r>
              <a:rPr lang="en-US" dirty="0"/>
              <a:t>Healthcare </a:t>
            </a:r>
            <a:r>
              <a:rPr lang="en-US"/>
              <a:t>and Pharma ECM </a:t>
            </a:r>
            <a:r>
              <a:rPr lang="en-US" dirty="0"/>
              <a:t>to see a growth momentum in medium term</a:t>
            </a:r>
            <a:endParaRPr lang="en-IN" dirty="0"/>
          </a:p>
        </p:txBody>
      </p:sp>
      <p:graphicFrame>
        <p:nvGraphicFramePr>
          <p:cNvPr id="23" name="Content Placeholder 22">
            <a:extLst>
              <a:ext uri="{FF2B5EF4-FFF2-40B4-BE49-F238E27FC236}">
                <a16:creationId xmlns:a16="http://schemas.microsoft.com/office/drawing/2014/main" id="{34178AEA-B373-0C6F-F8FD-C33F53AC3CE8}"/>
              </a:ext>
            </a:extLst>
          </p:cNvPr>
          <p:cNvGraphicFramePr>
            <a:graphicFrameLocks noGrp="1"/>
          </p:cNvGraphicFramePr>
          <p:nvPr>
            <p:ph idx="17"/>
            <p:extLst>
              <p:ext uri="{D42A27DB-BD31-4B8C-83A1-F6EECF244321}">
                <p14:modId xmlns:p14="http://schemas.microsoft.com/office/powerpoint/2010/main" val="3493841018"/>
              </p:ext>
            </p:extLst>
          </p:nvPr>
        </p:nvGraphicFramePr>
        <p:xfrm>
          <a:off x="661557" y="4029893"/>
          <a:ext cx="4825296" cy="1941483"/>
        </p:xfrm>
        <a:graphic>
          <a:graphicData uri="http://schemas.openxmlformats.org/drawingml/2006/chart">
            <c:chart xmlns:c="http://schemas.openxmlformats.org/drawingml/2006/chart" xmlns:r="http://schemas.openxmlformats.org/officeDocument/2006/relationships" r:id="rId2"/>
          </a:graphicData>
        </a:graphic>
      </p:graphicFrame>
      <p:sp>
        <p:nvSpPr>
          <p:cNvPr id="24" name="TextBox 23">
            <a:extLst>
              <a:ext uri="{FF2B5EF4-FFF2-40B4-BE49-F238E27FC236}">
                <a16:creationId xmlns:a16="http://schemas.microsoft.com/office/drawing/2014/main" id="{F796D416-9A5E-010D-3986-C0B9A8D890C2}"/>
              </a:ext>
            </a:extLst>
          </p:cNvPr>
          <p:cNvSpPr txBox="1"/>
          <p:nvPr/>
        </p:nvSpPr>
        <p:spPr>
          <a:xfrm>
            <a:off x="2493489" y="4745325"/>
            <a:ext cx="963853"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900" b="1" i="0" u="none" strike="noStrike" kern="1200" cap="none" spc="0" normalizeH="0" baseline="0" noProof="0" dirty="0">
                <a:ln>
                  <a:noFill/>
                </a:ln>
                <a:solidFill>
                  <a:srgbClr val="404040"/>
                </a:solidFill>
                <a:effectLst/>
                <a:uLnTx/>
                <a:uFillTx/>
                <a:latin typeface="Segoe UI"/>
                <a:ea typeface="+mn-ea"/>
                <a:cs typeface="+mn-cs"/>
              </a:rPr>
              <a:t>FY </a:t>
            </a:r>
            <a:r>
              <a:rPr lang="en-IN" sz="900" b="1" dirty="0">
                <a:solidFill>
                  <a:srgbClr val="404040"/>
                </a:solidFill>
                <a:latin typeface="Segoe UI"/>
              </a:rPr>
              <a:t>27 – FY 29</a:t>
            </a:r>
            <a:endParaRPr kumimoji="0" lang="en-IN" sz="900" b="1" i="0" u="none" strike="noStrike" kern="1200" cap="none" spc="0" normalizeH="0" baseline="0" noProof="0" dirty="0">
              <a:ln>
                <a:noFill/>
              </a:ln>
              <a:solidFill>
                <a:srgbClr val="404040"/>
              </a:solidFill>
              <a:effectLst/>
              <a:uLnTx/>
              <a:uFillTx/>
              <a:latin typeface="Segoe UI"/>
              <a:ea typeface="+mn-ea"/>
              <a:cs typeface="+mn-cs"/>
            </a:endParaRPr>
          </a:p>
        </p:txBody>
      </p:sp>
      <p:graphicFrame>
        <p:nvGraphicFramePr>
          <p:cNvPr id="40" name="Content Placeholder 22">
            <a:extLst>
              <a:ext uri="{FF2B5EF4-FFF2-40B4-BE49-F238E27FC236}">
                <a16:creationId xmlns:a16="http://schemas.microsoft.com/office/drawing/2014/main" id="{CA469414-B7C0-7A9F-8C8A-F32E2AF7F2DD}"/>
              </a:ext>
            </a:extLst>
          </p:cNvPr>
          <p:cNvGraphicFramePr>
            <a:graphicFrameLocks/>
          </p:cNvGraphicFramePr>
          <p:nvPr>
            <p:extLst>
              <p:ext uri="{D42A27DB-BD31-4B8C-83A1-F6EECF244321}">
                <p14:modId xmlns:p14="http://schemas.microsoft.com/office/powerpoint/2010/main" val="624790697"/>
              </p:ext>
            </p:extLst>
          </p:nvPr>
        </p:nvGraphicFramePr>
        <p:xfrm>
          <a:off x="6993043" y="3998570"/>
          <a:ext cx="4472115" cy="1894723"/>
        </p:xfrm>
        <a:graphic>
          <a:graphicData uri="http://schemas.openxmlformats.org/drawingml/2006/chart">
            <c:chart xmlns:c="http://schemas.openxmlformats.org/drawingml/2006/chart" xmlns:r="http://schemas.openxmlformats.org/officeDocument/2006/relationships" r:id="rId3"/>
          </a:graphicData>
        </a:graphic>
      </p:graphicFrame>
      <p:grpSp>
        <p:nvGrpSpPr>
          <p:cNvPr id="42" name="Group 41">
            <a:extLst>
              <a:ext uri="{FF2B5EF4-FFF2-40B4-BE49-F238E27FC236}">
                <a16:creationId xmlns:a16="http://schemas.microsoft.com/office/drawing/2014/main" id="{D4AAB900-E2F8-61DD-DBC6-30319D1C828B}"/>
              </a:ext>
            </a:extLst>
          </p:cNvPr>
          <p:cNvGrpSpPr/>
          <p:nvPr/>
        </p:nvGrpSpPr>
        <p:grpSpPr>
          <a:xfrm>
            <a:off x="250343" y="721579"/>
            <a:ext cx="5325998" cy="368322"/>
            <a:chOff x="250343" y="943254"/>
            <a:chExt cx="3579561" cy="368322"/>
          </a:xfrm>
        </p:grpSpPr>
        <p:sp>
          <p:nvSpPr>
            <p:cNvPr id="43" name="Right Triangle 90">
              <a:extLst>
                <a:ext uri="{FF2B5EF4-FFF2-40B4-BE49-F238E27FC236}">
                  <a16:creationId xmlns:a16="http://schemas.microsoft.com/office/drawing/2014/main" id="{A64AE4A1-6BBD-4581-CB75-E696F40044F8}"/>
                </a:ext>
              </a:extLst>
            </p:cNvPr>
            <p:cNvSpPr/>
            <p:nvPr/>
          </p:nvSpPr>
          <p:spPr>
            <a:xfrm>
              <a:off x="250343" y="1108298"/>
              <a:ext cx="3528397" cy="203278"/>
            </a:xfrm>
            <a:custGeom>
              <a:avLst/>
              <a:gdLst>
                <a:gd name="connsiteX0" fmla="*/ 0 w 85182"/>
                <a:gd name="connsiteY0" fmla="*/ 484264 h 484264"/>
                <a:gd name="connsiteX1" fmla="*/ 0 w 85182"/>
                <a:gd name="connsiteY1" fmla="*/ 0 h 484264"/>
                <a:gd name="connsiteX2" fmla="*/ 85182 w 85182"/>
                <a:gd name="connsiteY2" fmla="*/ 484264 h 484264"/>
                <a:gd name="connsiteX3" fmla="*/ 0 w 85182"/>
                <a:gd name="connsiteY3" fmla="*/ 484264 h 484264"/>
                <a:gd name="connsiteX0" fmla="*/ 1314450 w 1399632"/>
                <a:gd name="connsiteY0" fmla="*/ 493789 h 493789"/>
                <a:gd name="connsiteX1" fmla="*/ 0 w 1399632"/>
                <a:gd name="connsiteY1" fmla="*/ 0 h 493789"/>
                <a:gd name="connsiteX2" fmla="*/ 1399632 w 1399632"/>
                <a:gd name="connsiteY2" fmla="*/ 493789 h 493789"/>
                <a:gd name="connsiteX3" fmla="*/ 1314450 w 1399632"/>
                <a:gd name="connsiteY3" fmla="*/ 493789 h 493789"/>
                <a:gd name="connsiteX0" fmla="*/ 1314450 w 1339307"/>
                <a:gd name="connsiteY0" fmla="*/ 628650 h 628650"/>
                <a:gd name="connsiteX1" fmla="*/ 0 w 1339307"/>
                <a:gd name="connsiteY1" fmla="*/ 134861 h 628650"/>
                <a:gd name="connsiteX2" fmla="*/ 1339307 w 1339307"/>
                <a:gd name="connsiteY2" fmla="*/ 0 h 628650"/>
                <a:gd name="connsiteX3" fmla="*/ 1314450 w 1339307"/>
                <a:gd name="connsiteY3" fmla="*/ 628650 h 628650"/>
              </a:gdLst>
              <a:ahLst/>
              <a:cxnLst>
                <a:cxn ang="0">
                  <a:pos x="connsiteX0" y="connsiteY0"/>
                </a:cxn>
                <a:cxn ang="0">
                  <a:pos x="connsiteX1" y="connsiteY1"/>
                </a:cxn>
                <a:cxn ang="0">
                  <a:pos x="connsiteX2" y="connsiteY2"/>
                </a:cxn>
                <a:cxn ang="0">
                  <a:pos x="connsiteX3" y="connsiteY3"/>
                </a:cxn>
              </a:cxnLst>
              <a:rect l="l" t="t" r="r" b="b"/>
              <a:pathLst>
                <a:path w="1339307" h="628650">
                  <a:moveTo>
                    <a:pt x="1314450" y="628650"/>
                  </a:moveTo>
                  <a:lnTo>
                    <a:pt x="0" y="134861"/>
                  </a:lnTo>
                  <a:lnTo>
                    <a:pt x="1339307" y="0"/>
                  </a:lnTo>
                  <a:lnTo>
                    <a:pt x="1314450" y="628650"/>
                  </a:lnTo>
                  <a:close/>
                </a:path>
              </a:pathLst>
            </a:custGeom>
            <a:gradFill flip="none" rotWithShape="1">
              <a:gsLst>
                <a:gs pos="0">
                  <a:schemeClr val="tx1">
                    <a:alpha val="1000"/>
                  </a:schemeClr>
                </a:gs>
                <a:gs pos="100000">
                  <a:schemeClr val="tx1">
                    <a:alpha val="30000"/>
                  </a:schemeClr>
                </a:gs>
              </a:gsLst>
              <a:lin ang="108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dirty="0">
                <a:ln>
                  <a:noFill/>
                </a:ln>
                <a:solidFill>
                  <a:srgbClr val="404040"/>
                </a:solidFill>
                <a:effectLst/>
                <a:uLnTx/>
                <a:uFillTx/>
                <a:latin typeface="Segoe UI"/>
                <a:ea typeface="+mn-ea"/>
                <a:cs typeface="Calibri" panose="020F0502020204030204" pitchFamily="34" charset="0"/>
              </a:endParaRPr>
            </a:p>
          </p:txBody>
        </p:sp>
        <p:sp>
          <p:nvSpPr>
            <p:cNvPr id="44" name="Rectangle 43">
              <a:extLst>
                <a:ext uri="{FF2B5EF4-FFF2-40B4-BE49-F238E27FC236}">
                  <a16:creationId xmlns:a16="http://schemas.microsoft.com/office/drawing/2014/main" id="{C09408BE-6E51-4242-22E5-C5185A410DF1}"/>
                </a:ext>
              </a:extLst>
            </p:cNvPr>
            <p:cNvSpPr/>
            <p:nvPr/>
          </p:nvSpPr>
          <p:spPr>
            <a:xfrm>
              <a:off x="301508" y="943254"/>
              <a:ext cx="3528396" cy="21986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04040"/>
                  </a:solidFill>
                  <a:effectLst/>
                  <a:uLnTx/>
                  <a:uFillTx/>
                  <a:latin typeface="Segoe UI"/>
                  <a:ea typeface="+mn-ea"/>
                  <a:cs typeface="+mn-cs"/>
                </a:rPr>
                <a:t>Healthcare and Med-Tech</a:t>
              </a:r>
            </a:p>
          </p:txBody>
        </p:sp>
      </p:grpSp>
      <p:sp>
        <p:nvSpPr>
          <p:cNvPr id="45" name="Rectangle 44">
            <a:extLst>
              <a:ext uri="{FF2B5EF4-FFF2-40B4-BE49-F238E27FC236}">
                <a16:creationId xmlns:a16="http://schemas.microsoft.com/office/drawing/2014/main" id="{112F49CF-5091-D493-5E5D-CC1B290762A0}"/>
              </a:ext>
            </a:extLst>
          </p:cNvPr>
          <p:cNvSpPr/>
          <p:nvPr/>
        </p:nvSpPr>
        <p:spPr>
          <a:xfrm>
            <a:off x="298991" y="724079"/>
            <a:ext cx="5249870" cy="21986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04040"/>
                </a:solidFill>
                <a:effectLst/>
                <a:uLnTx/>
                <a:uFillTx/>
                <a:latin typeface="Segoe UI"/>
                <a:ea typeface="+mn-ea"/>
                <a:cs typeface="+mn-cs"/>
              </a:rPr>
              <a:t>Healthcare and Med-Tech</a:t>
            </a:r>
          </a:p>
        </p:txBody>
      </p:sp>
      <p:grpSp>
        <p:nvGrpSpPr>
          <p:cNvPr id="46" name="Group 45">
            <a:extLst>
              <a:ext uri="{FF2B5EF4-FFF2-40B4-BE49-F238E27FC236}">
                <a16:creationId xmlns:a16="http://schemas.microsoft.com/office/drawing/2014/main" id="{91586C17-0565-40E7-13EA-75B6C67FCC52}"/>
              </a:ext>
            </a:extLst>
          </p:cNvPr>
          <p:cNvGrpSpPr/>
          <p:nvPr/>
        </p:nvGrpSpPr>
        <p:grpSpPr>
          <a:xfrm>
            <a:off x="6277777" y="724082"/>
            <a:ext cx="5325998" cy="368322"/>
            <a:chOff x="250343" y="943254"/>
            <a:chExt cx="3579561" cy="368322"/>
          </a:xfrm>
        </p:grpSpPr>
        <p:sp>
          <p:nvSpPr>
            <p:cNvPr id="47" name="Right Triangle 90">
              <a:extLst>
                <a:ext uri="{FF2B5EF4-FFF2-40B4-BE49-F238E27FC236}">
                  <a16:creationId xmlns:a16="http://schemas.microsoft.com/office/drawing/2014/main" id="{6B383C84-85FC-2735-2FEF-F781FBCCC720}"/>
                </a:ext>
              </a:extLst>
            </p:cNvPr>
            <p:cNvSpPr/>
            <p:nvPr/>
          </p:nvSpPr>
          <p:spPr>
            <a:xfrm>
              <a:off x="250343" y="1108298"/>
              <a:ext cx="3528397" cy="203278"/>
            </a:xfrm>
            <a:custGeom>
              <a:avLst/>
              <a:gdLst>
                <a:gd name="connsiteX0" fmla="*/ 0 w 85182"/>
                <a:gd name="connsiteY0" fmla="*/ 484264 h 484264"/>
                <a:gd name="connsiteX1" fmla="*/ 0 w 85182"/>
                <a:gd name="connsiteY1" fmla="*/ 0 h 484264"/>
                <a:gd name="connsiteX2" fmla="*/ 85182 w 85182"/>
                <a:gd name="connsiteY2" fmla="*/ 484264 h 484264"/>
                <a:gd name="connsiteX3" fmla="*/ 0 w 85182"/>
                <a:gd name="connsiteY3" fmla="*/ 484264 h 484264"/>
                <a:gd name="connsiteX0" fmla="*/ 1314450 w 1399632"/>
                <a:gd name="connsiteY0" fmla="*/ 493789 h 493789"/>
                <a:gd name="connsiteX1" fmla="*/ 0 w 1399632"/>
                <a:gd name="connsiteY1" fmla="*/ 0 h 493789"/>
                <a:gd name="connsiteX2" fmla="*/ 1399632 w 1399632"/>
                <a:gd name="connsiteY2" fmla="*/ 493789 h 493789"/>
                <a:gd name="connsiteX3" fmla="*/ 1314450 w 1399632"/>
                <a:gd name="connsiteY3" fmla="*/ 493789 h 493789"/>
                <a:gd name="connsiteX0" fmla="*/ 1314450 w 1339307"/>
                <a:gd name="connsiteY0" fmla="*/ 628650 h 628650"/>
                <a:gd name="connsiteX1" fmla="*/ 0 w 1339307"/>
                <a:gd name="connsiteY1" fmla="*/ 134861 h 628650"/>
                <a:gd name="connsiteX2" fmla="*/ 1339307 w 1339307"/>
                <a:gd name="connsiteY2" fmla="*/ 0 h 628650"/>
                <a:gd name="connsiteX3" fmla="*/ 1314450 w 1339307"/>
                <a:gd name="connsiteY3" fmla="*/ 628650 h 628650"/>
              </a:gdLst>
              <a:ahLst/>
              <a:cxnLst>
                <a:cxn ang="0">
                  <a:pos x="connsiteX0" y="connsiteY0"/>
                </a:cxn>
                <a:cxn ang="0">
                  <a:pos x="connsiteX1" y="connsiteY1"/>
                </a:cxn>
                <a:cxn ang="0">
                  <a:pos x="connsiteX2" y="connsiteY2"/>
                </a:cxn>
                <a:cxn ang="0">
                  <a:pos x="connsiteX3" y="connsiteY3"/>
                </a:cxn>
              </a:cxnLst>
              <a:rect l="l" t="t" r="r" b="b"/>
              <a:pathLst>
                <a:path w="1339307" h="628650">
                  <a:moveTo>
                    <a:pt x="1314450" y="628650"/>
                  </a:moveTo>
                  <a:lnTo>
                    <a:pt x="0" y="134861"/>
                  </a:lnTo>
                  <a:lnTo>
                    <a:pt x="1339307" y="0"/>
                  </a:lnTo>
                  <a:lnTo>
                    <a:pt x="1314450" y="628650"/>
                  </a:lnTo>
                  <a:close/>
                </a:path>
              </a:pathLst>
            </a:custGeom>
            <a:gradFill flip="none" rotWithShape="1">
              <a:gsLst>
                <a:gs pos="0">
                  <a:schemeClr val="tx1">
                    <a:alpha val="1000"/>
                  </a:schemeClr>
                </a:gs>
                <a:gs pos="100000">
                  <a:schemeClr val="tx1">
                    <a:alpha val="30000"/>
                  </a:schemeClr>
                </a:gs>
              </a:gsLst>
              <a:lin ang="108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dirty="0">
                <a:ln>
                  <a:noFill/>
                </a:ln>
                <a:solidFill>
                  <a:srgbClr val="404040"/>
                </a:solidFill>
                <a:effectLst/>
                <a:uLnTx/>
                <a:uFillTx/>
                <a:latin typeface="Segoe UI"/>
                <a:ea typeface="+mn-ea"/>
                <a:cs typeface="Calibri" panose="020F0502020204030204" pitchFamily="34" charset="0"/>
              </a:endParaRPr>
            </a:p>
          </p:txBody>
        </p:sp>
        <p:sp>
          <p:nvSpPr>
            <p:cNvPr id="48" name="Rectangle 47">
              <a:extLst>
                <a:ext uri="{FF2B5EF4-FFF2-40B4-BE49-F238E27FC236}">
                  <a16:creationId xmlns:a16="http://schemas.microsoft.com/office/drawing/2014/main" id="{42A7A3F0-DF83-3033-6975-74FE0771B08D}"/>
                </a:ext>
              </a:extLst>
            </p:cNvPr>
            <p:cNvSpPr/>
            <p:nvPr/>
          </p:nvSpPr>
          <p:spPr>
            <a:xfrm>
              <a:off x="301508" y="943254"/>
              <a:ext cx="3528396" cy="21986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04040"/>
                  </a:solidFill>
                  <a:effectLst/>
                  <a:uLnTx/>
                  <a:uFillTx/>
                  <a:latin typeface="Segoe UI"/>
                  <a:ea typeface="+mn-ea"/>
                  <a:cs typeface="+mn-cs"/>
                </a:rPr>
                <a:t>Pharma</a:t>
              </a:r>
            </a:p>
          </p:txBody>
        </p:sp>
      </p:grpSp>
      <p:grpSp>
        <p:nvGrpSpPr>
          <p:cNvPr id="53" name="Group 52">
            <a:extLst>
              <a:ext uri="{FF2B5EF4-FFF2-40B4-BE49-F238E27FC236}">
                <a16:creationId xmlns:a16="http://schemas.microsoft.com/office/drawing/2014/main" id="{EBA7AE10-D01F-965E-5747-DC0371D5155F}"/>
              </a:ext>
            </a:extLst>
          </p:cNvPr>
          <p:cNvGrpSpPr/>
          <p:nvPr/>
        </p:nvGrpSpPr>
        <p:grpSpPr>
          <a:xfrm>
            <a:off x="298991" y="977326"/>
            <a:ext cx="5249870" cy="373387"/>
            <a:chOff x="344487" y="896797"/>
            <a:chExt cx="5561013" cy="373387"/>
          </a:xfrm>
        </p:grpSpPr>
        <p:sp>
          <p:nvSpPr>
            <p:cNvPr id="49" name="Text Placeholder 2">
              <a:extLst>
                <a:ext uri="{FF2B5EF4-FFF2-40B4-BE49-F238E27FC236}">
                  <a16:creationId xmlns:a16="http://schemas.microsoft.com/office/drawing/2014/main" id="{BC10480F-A8FD-944B-AFA0-E4ABF5F94B32}"/>
                </a:ext>
              </a:extLst>
            </p:cNvPr>
            <p:cNvSpPr txBox="1">
              <a:spLocks/>
            </p:cNvSpPr>
            <p:nvPr/>
          </p:nvSpPr>
          <p:spPr>
            <a:xfrm>
              <a:off x="344487" y="896797"/>
              <a:ext cx="5157787" cy="338400"/>
            </a:xfrm>
            <a:prstGeom prst="rect">
              <a:avLst/>
            </a:prstGeom>
          </p:spPr>
          <p:txBody>
            <a:bodyPr anchor="ctr"/>
            <a:lstStyle>
              <a:lvl1pPr marL="0" indent="0" algn="l" defTabSz="914400" rtl="0" eaLnBrk="1" latinLnBrk="0" hangingPunct="1">
                <a:lnSpc>
                  <a:spcPct val="120000"/>
                </a:lnSpc>
                <a:spcBef>
                  <a:spcPts val="200"/>
                </a:spcBef>
                <a:spcAft>
                  <a:spcPts val="200"/>
                </a:spcAft>
                <a:buClr>
                  <a:schemeClr val="bg2"/>
                </a:buClr>
                <a:buFont typeface="Segoe UI" panose="020B0502040204020203" pitchFamily="34" charset="0"/>
                <a:buNone/>
                <a:defRPr sz="1100" b="1" kern="1200">
                  <a:solidFill>
                    <a:schemeClr val="bg2"/>
                  </a:solidFill>
                  <a:latin typeface="+mn-lt"/>
                  <a:ea typeface="+mn-ea"/>
                  <a:cs typeface="+mn-cs"/>
                </a:defRPr>
              </a:lvl1pPr>
              <a:lvl2pPr marL="457200" indent="0" algn="l" defTabSz="914400" rtl="0" eaLnBrk="1" latinLnBrk="0" hangingPunct="1">
                <a:lnSpc>
                  <a:spcPct val="120000"/>
                </a:lnSpc>
                <a:spcBef>
                  <a:spcPts val="200"/>
                </a:spcBef>
                <a:spcAft>
                  <a:spcPts val="200"/>
                </a:spcAft>
                <a:buClr>
                  <a:schemeClr val="bg2"/>
                </a:buClr>
                <a:buFont typeface="Segoe UI" panose="020B0502040204020203" pitchFamily="34" charset="0"/>
                <a:buNone/>
                <a:defRPr sz="2000" b="1" kern="1200">
                  <a:solidFill>
                    <a:schemeClr val="tx2"/>
                  </a:solidFill>
                  <a:latin typeface="+mn-lt"/>
                  <a:ea typeface="+mn-ea"/>
                  <a:cs typeface="+mn-cs"/>
                </a:defRPr>
              </a:lvl2pPr>
              <a:lvl3pPr marL="914400" indent="0" algn="l" defTabSz="914400" rtl="0" eaLnBrk="1" latinLnBrk="0" hangingPunct="1">
                <a:lnSpc>
                  <a:spcPct val="120000"/>
                </a:lnSpc>
                <a:spcBef>
                  <a:spcPts val="200"/>
                </a:spcBef>
                <a:spcAft>
                  <a:spcPts val="200"/>
                </a:spcAft>
                <a:buClr>
                  <a:schemeClr val="bg2"/>
                </a:buClr>
                <a:buFont typeface="Wingdings" panose="05000000000000000000" pitchFamily="2" charset="2"/>
                <a:buNone/>
                <a:defRPr sz="1800" b="1" kern="1200">
                  <a:solidFill>
                    <a:schemeClr val="tx2"/>
                  </a:solidFill>
                  <a:latin typeface="+mn-lt"/>
                  <a:ea typeface="+mn-ea"/>
                  <a:cs typeface="+mn-cs"/>
                </a:defRPr>
              </a:lvl3pPr>
              <a:lvl4pPr marL="1371600" indent="0" algn="l" defTabSz="914400" rtl="0" eaLnBrk="1" latinLnBrk="0" hangingPunct="1">
                <a:lnSpc>
                  <a:spcPct val="120000"/>
                </a:lnSpc>
                <a:spcBef>
                  <a:spcPts val="200"/>
                </a:spcBef>
                <a:spcAft>
                  <a:spcPts val="200"/>
                </a:spcAft>
                <a:buClr>
                  <a:schemeClr val="bg2"/>
                </a:buClr>
                <a:buFont typeface="Arial" panose="020B0604020202020204" pitchFamily="34" charset="0"/>
                <a:buNone/>
                <a:defRPr sz="1600" b="1" kern="1200">
                  <a:solidFill>
                    <a:schemeClr val="tx2"/>
                  </a:solidFill>
                  <a:latin typeface="+mn-lt"/>
                  <a:ea typeface="+mn-ea"/>
                  <a:cs typeface="+mn-cs"/>
                </a:defRPr>
              </a:lvl4pPr>
              <a:lvl5pPr marL="1828800" indent="0" algn="l" defTabSz="914400" rtl="0" eaLnBrk="1" latinLnBrk="0" hangingPunct="1">
                <a:lnSpc>
                  <a:spcPct val="120000"/>
                </a:lnSpc>
                <a:spcBef>
                  <a:spcPts val="200"/>
                </a:spcBef>
                <a:spcAft>
                  <a:spcPts val="200"/>
                </a:spcAft>
                <a:buClr>
                  <a:schemeClr val="bg2"/>
                </a:buClr>
                <a:buFont typeface="Segoe UI" panose="020B0502040204020203" pitchFamily="34" charset="0"/>
                <a:buNone/>
                <a:defRPr sz="1600" b="1" kern="1200">
                  <a:solidFill>
                    <a:schemeClr val="tx2"/>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200"/>
                </a:spcBef>
                <a:spcAft>
                  <a:spcPts val="200"/>
                </a:spcAft>
                <a:buClr>
                  <a:srgbClr val="385723"/>
                </a:buClr>
                <a:buSzTx/>
                <a:buFont typeface="Segoe UI" panose="020B0502040204020203" pitchFamily="34" charset="0"/>
                <a:buNone/>
                <a:tabLst/>
                <a:defRPr/>
              </a:pPr>
              <a:r>
                <a:rPr kumimoji="0" lang="en-US" sz="1100" b="1" i="0" u="none" strike="noStrike" kern="1200" cap="none" spc="0" normalizeH="0" baseline="0" noProof="0" dirty="0">
                  <a:ln>
                    <a:noFill/>
                  </a:ln>
                  <a:solidFill>
                    <a:srgbClr val="385723"/>
                  </a:solidFill>
                  <a:effectLst/>
                  <a:uLnTx/>
                  <a:uFillTx/>
                  <a:latin typeface="Segoe UI"/>
                  <a:ea typeface="+mn-ea"/>
                  <a:cs typeface="+mn-cs"/>
                </a:rPr>
                <a:t>Growth in PE and ECM Deal value (FY 25- FY 29)</a:t>
              </a:r>
            </a:p>
          </p:txBody>
        </p:sp>
        <p:grpSp>
          <p:nvGrpSpPr>
            <p:cNvPr id="50" name="Group 49">
              <a:extLst>
                <a:ext uri="{FF2B5EF4-FFF2-40B4-BE49-F238E27FC236}">
                  <a16:creationId xmlns:a16="http://schemas.microsoft.com/office/drawing/2014/main" id="{000724F1-E1E9-C386-9DF1-39CC36C3C982}"/>
                </a:ext>
              </a:extLst>
            </p:cNvPr>
            <p:cNvGrpSpPr/>
            <p:nvPr/>
          </p:nvGrpSpPr>
          <p:grpSpPr>
            <a:xfrm>
              <a:off x="344487" y="1214416"/>
              <a:ext cx="5561013" cy="55768"/>
              <a:chOff x="344487" y="1214416"/>
              <a:chExt cx="5561013" cy="55768"/>
            </a:xfrm>
          </p:grpSpPr>
          <p:cxnSp>
            <p:nvCxnSpPr>
              <p:cNvPr id="51" name="Straight Connector 50">
                <a:extLst>
                  <a:ext uri="{FF2B5EF4-FFF2-40B4-BE49-F238E27FC236}">
                    <a16:creationId xmlns:a16="http://schemas.microsoft.com/office/drawing/2014/main" id="{B6F65EB5-89E2-BCBF-7236-E86CA0EC9053}"/>
                  </a:ext>
                </a:extLst>
              </p:cNvPr>
              <p:cNvCxnSpPr>
                <a:cxnSpLocks/>
              </p:cNvCxnSpPr>
              <p:nvPr/>
            </p:nvCxnSpPr>
            <p:spPr>
              <a:xfrm>
                <a:off x="398568" y="1242300"/>
                <a:ext cx="5506932"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F98E8671-14EA-FDE1-7C8F-8ECA909FBE01}"/>
                  </a:ext>
                </a:extLst>
              </p:cNvPr>
              <p:cNvSpPr/>
              <p:nvPr/>
            </p:nvSpPr>
            <p:spPr>
              <a:xfrm>
                <a:off x="344487" y="1214416"/>
                <a:ext cx="545724" cy="55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prstClr val="white"/>
                  </a:solidFill>
                  <a:effectLst/>
                  <a:uLnTx/>
                  <a:uFillTx/>
                  <a:latin typeface="Segoe UI"/>
                  <a:ea typeface="+mn-ea"/>
                  <a:cs typeface="+mn-cs"/>
                </a:endParaRPr>
              </a:p>
            </p:txBody>
          </p:sp>
        </p:grpSp>
      </p:grpSp>
      <p:grpSp>
        <p:nvGrpSpPr>
          <p:cNvPr id="54" name="Group 53">
            <a:extLst>
              <a:ext uri="{FF2B5EF4-FFF2-40B4-BE49-F238E27FC236}">
                <a16:creationId xmlns:a16="http://schemas.microsoft.com/office/drawing/2014/main" id="{BACF6319-CDE2-A21A-7C19-CF71F0804B57}"/>
              </a:ext>
            </a:extLst>
          </p:cNvPr>
          <p:cNvGrpSpPr/>
          <p:nvPr/>
        </p:nvGrpSpPr>
        <p:grpSpPr>
          <a:xfrm>
            <a:off x="291905" y="3673671"/>
            <a:ext cx="5249871" cy="373387"/>
            <a:chOff x="344487" y="896797"/>
            <a:chExt cx="5561013" cy="373387"/>
          </a:xfrm>
        </p:grpSpPr>
        <p:sp>
          <p:nvSpPr>
            <p:cNvPr id="55" name="Text Placeholder 2">
              <a:extLst>
                <a:ext uri="{FF2B5EF4-FFF2-40B4-BE49-F238E27FC236}">
                  <a16:creationId xmlns:a16="http://schemas.microsoft.com/office/drawing/2014/main" id="{4941F6EB-45FC-542C-FDAA-7DDA8561A0FA}"/>
                </a:ext>
              </a:extLst>
            </p:cNvPr>
            <p:cNvSpPr txBox="1">
              <a:spLocks/>
            </p:cNvSpPr>
            <p:nvPr/>
          </p:nvSpPr>
          <p:spPr>
            <a:xfrm>
              <a:off x="344487" y="896797"/>
              <a:ext cx="5157787" cy="338400"/>
            </a:xfrm>
            <a:prstGeom prst="rect">
              <a:avLst/>
            </a:prstGeom>
          </p:spPr>
          <p:txBody>
            <a:bodyPr anchor="ctr"/>
            <a:lstStyle>
              <a:lvl1pPr marL="0" indent="0" algn="l" defTabSz="914400" rtl="0" eaLnBrk="1" latinLnBrk="0" hangingPunct="1">
                <a:lnSpc>
                  <a:spcPct val="120000"/>
                </a:lnSpc>
                <a:spcBef>
                  <a:spcPts val="200"/>
                </a:spcBef>
                <a:spcAft>
                  <a:spcPts val="200"/>
                </a:spcAft>
                <a:buClr>
                  <a:schemeClr val="bg2"/>
                </a:buClr>
                <a:buFont typeface="Segoe UI" panose="020B0502040204020203" pitchFamily="34" charset="0"/>
                <a:buNone/>
                <a:defRPr sz="1100" b="1" kern="1200">
                  <a:solidFill>
                    <a:schemeClr val="bg2"/>
                  </a:solidFill>
                  <a:latin typeface="+mn-lt"/>
                  <a:ea typeface="+mn-ea"/>
                  <a:cs typeface="+mn-cs"/>
                </a:defRPr>
              </a:lvl1pPr>
              <a:lvl2pPr marL="457200" indent="0" algn="l" defTabSz="914400" rtl="0" eaLnBrk="1" latinLnBrk="0" hangingPunct="1">
                <a:lnSpc>
                  <a:spcPct val="120000"/>
                </a:lnSpc>
                <a:spcBef>
                  <a:spcPts val="200"/>
                </a:spcBef>
                <a:spcAft>
                  <a:spcPts val="200"/>
                </a:spcAft>
                <a:buClr>
                  <a:schemeClr val="bg2"/>
                </a:buClr>
                <a:buFont typeface="Segoe UI" panose="020B0502040204020203" pitchFamily="34" charset="0"/>
                <a:buNone/>
                <a:defRPr sz="2000" b="1" kern="1200">
                  <a:solidFill>
                    <a:schemeClr val="tx2"/>
                  </a:solidFill>
                  <a:latin typeface="+mn-lt"/>
                  <a:ea typeface="+mn-ea"/>
                  <a:cs typeface="+mn-cs"/>
                </a:defRPr>
              </a:lvl2pPr>
              <a:lvl3pPr marL="914400" indent="0" algn="l" defTabSz="914400" rtl="0" eaLnBrk="1" latinLnBrk="0" hangingPunct="1">
                <a:lnSpc>
                  <a:spcPct val="120000"/>
                </a:lnSpc>
                <a:spcBef>
                  <a:spcPts val="200"/>
                </a:spcBef>
                <a:spcAft>
                  <a:spcPts val="200"/>
                </a:spcAft>
                <a:buClr>
                  <a:schemeClr val="bg2"/>
                </a:buClr>
                <a:buFont typeface="Wingdings" panose="05000000000000000000" pitchFamily="2" charset="2"/>
                <a:buNone/>
                <a:defRPr sz="1800" b="1" kern="1200">
                  <a:solidFill>
                    <a:schemeClr val="tx2"/>
                  </a:solidFill>
                  <a:latin typeface="+mn-lt"/>
                  <a:ea typeface="+mn-ea"/>
                  <a:cs typeface="+mn-cs"/>
                </a:defRPr>
              </a:lvl3pPr>
              <a:lvl4pPr marL="1371600" indent="0" algn="l" defTabSz="914400" rtl="0" eaLnBrk="1" latinLnBrk="0" hangingPunct="1">
                <a:lnSpc>
                  <a:spcPct val="120000"/>
                </a:lnSpc>
                <a:spcBef>
                  <a:spcPts val="200"/>
                </a:spcBef>
                <a:spcAft>
                  <a:spcPts val="200"/>
                </a:spcAft>
                <a:buClr>
                  <a:schemeClr val="bg2"/>
                </a:buClr>
                <a:buFont typeface="Arial" panose="020B0604020202020204" pitchFamily="34" charset="0"/>
                <a:buNone/>
                <a:defRPr sz="1600" b="1" kern="1200">
                  <a:solidFill>
                    <a:schemeClr val="tx2"/>
                  </a:solidFill>
                  <a:latin typeface="+mn-lt"/>
                  <a:ea typeface="+mn-ea"/>
                  <a:cs typeface="+mn-cs"/>
                </a:defRPr>
              </a:lvl4pPr>
              <a:lvl5pPr marL="1828800" indent="0" algn="l" defTabSz="914400" rtl="0" eaLnBrk="1" latinLnBrk="0" hangingPunct="1">
                <a:lnSpc>
                  <a:spcPct val="120000"/>
                </a:lnSpc>
                <a:spcBef>
                  <a:spcPts val="200"/>
                </a:spcBef>
                <a:spcAft>
                  <a:spcPts val="200"/>
                </a:spcAft>
                <a:buClr>
                  <a:schemeClr val="bg2"/>
                </a:buClr>
                <a:buFont typeface="Segoe UI" panose="020B0502040204020203" pitchFamily="34" charset="0"/>
                <a:buNone/>
                <a:defRPr sz="1600" b="1" kern="1200">
                  <a:solidFill>
                    <a:schemeClr val="tx2"/>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200"/>
                </a:spcBef>
                <a:spcAft>
                  <a:spcPts val="200"/>
                </a:spcAft>
                <a:buClr>
                  <a:srgbClr val="385723"/>
                </a:buClr>
                <a:buSzTx/>
                <a:buFont typeface="Segoe UI" panose="020B0502040204020203" pitchFamily="34" charset="0"/>
                <a:buNone/>
                <a:tabLst/>
                <a:defRPr/>
              </a:pPr>
              <a:r>
                <a:rPr kumimoji="0" lang="en-US" sz="1100" b="1" i="0" u="none" strike="noStrike" kern="1200" cap="none" spc="0" normalizeH="0" baseline="0" noProof="0" dirty="0">
                  <a:ln>
                    <a:noFill/>
                  </a:ln>
                  <a:solidFill>
                    <a:srgbClr val="385723"/>
                  </a:solidFill>
                  <a:effectLst/>
                  <a:uLnTx/>
                  <a:uFillTx/>
                  <a:latin typeface="Segoe UI"/>
                  <a:ea typeface="+mn-ea"/>
                  <a:cs typeface="+mn-cs"/>
                </a:rPr>
                <a:t>ECM % of Total Deal Value by </a:t>
              </a:r>
              <a:r>
                <a:rPr lang="en-US" dirty="0">
                  <a:solidFill>
                    <a:srgbClr val="385723"/>
                  </a:solidFill>
                  <a:latin typeface="Segoe UI"/>
                </a:rPr>
                <a:t>FY 27 – FY 29</a:t>
              </a:r>
              <a:endParaRPr kumimoji="0" lang="en-US" sz="1100" b="1" i="0" u="none" strike="noStrike" kern="1200" cap="none" spc="0" normalizeH="0" baseline="0" noProof="0" dirty="0">
                <a:ln>
                  <a:noFill/>
                </a:ln>
                <a:solidFill>
                  <a:srgbClr val="385723"/>
                </a:solidFill>
                <a:effectLst/>
                <a:uLnTx/>
                <a:uFillTx/>
                <a:latin typeface="Segoe UI"/>
                <a:ea typeface="+mn-ea"/>
                <a:cs typeface="+mn-cs"/>
              </a:endParaRPr>
            </a:p>
          </p:txBody>
        </p:sp>
        <p:grpSp>
          <p:nvGrpSpPr>
            <p:cNvPr id="56" name="Group 55">
              <a:extLst>
                <a:ext uri="{FF2B5EF4-FFF2-40B4-BE49-F238E27FC236}">
                  <a16:creationId xmlns:a16="http://schemas.microsoft.com/office/drawing/2014/main" id="{E8A5D76A-6E62-405F-F3F9-B056DE8A5EB6}"/>
                </a:ext>
              </a:extLst>
            </p:cNvPr>
            <p:cNvGrpSpPr/>
            <p:nvPr/>
          </p:nvGrpSpPr>
          <p:grpSpPr>
            <a:xfrm>
              <a:off x="344487" y="1214416"/>
              <a:ext cx="5561013" cy="55768"/>
              <a:chOff x="344487" y="1214416"/>
              <a:chExt cx="5561013" cy="55768"/>
            </a:xfrm>
          </p:grpSpPr>
          <p:cxnSp>
            <p:nvCxnSpPr>
              <p:cNvPr id="57" name="Straight Connector 56">
                <a:extLst>
                  <a:ext uri="{FF2B5EF4-FFF2-40B4-BE49-F238E27FC236}">
                    <a16:creationId xmlns:a16="http://schemas.microsoft.com/office/drawing/2014/main" id="{6F9CE9DB-E676-B991-2EB0-06FD493CD008}"/>
                  </a:ext>
                </a:extLst>
              </p:cNvPr>
              <p:cNvCxnSpPr>
                <a:cxnSpLocks/>
              </p:cNvCxnSpPr>
              <p:nvPr/>
            </p:nvCxnSpPr>
            <p:spPr>
              <a:xfrm>
                <a:off x="398568" y="1242300"/>
                <a:ext cx="5506932"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8" name="Rectangle 57">
                <a:extLst>
                  <a:ext uri="{FF2B5EF4-FFF2-40B4-BE49-F238E27FC236}">
                    <a16:creationId xmlns:a16="http://schemas.microsoft.com/office/drawing/2014/main" id="{A5A0E3F0-4EAE-0641-94C0-7DAE7B0060DC}"/>
                  </a:ext>
                </a:extLst>
              </p:cNvPr>
              <p:cNvSpPr/>
              <p:nvPr/>
            </p:nvSpPr>
            <p:spPr>
              <a:xfrm>
                <a:off x="344487" y="1214416"/>
                <a:ext cx="545724" cy="55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prstClr val="white"/>
                  </a:solidFill>
                  <a:effectLst/>
                  <a:uLnTx/>
                  <a:uFillTx/>
                  <a:latin typeface="Segoe UI"/>
                  <a:ea typeface="+mn-ea"/>
                  <a:cs typeface="+mn-cs"/>
                </a:endParaRPr>
              </a:p>
            </p:txBody>
          </p:sp>
        </p:grpSp>
      </p:grpSp>
      <p:grpSp>
        <p:nvGrpSpPr>
          <p:cNvPr id="59" name="Group 58">
            <a:extLst>
              <a:ext uri="{FF2B5EF4-FFF2-40B4-BE49-F238E27FC236}">
                <a16:creationId xmlns:a16="http://schemas.microsoft.com/office/drawing/2014/main" id="{E66868CC-99D9-AB23-7F61-9479583058AC}"/>
              </a:ext>
            </a:extLst>
          </p:cNvPr>
          <p:cNvGrpSpPr/>
          <p:nvPr/>
        </p:nvGrpSpPr>
        <p:grpSpPr>
          <a:xfrm>
            <a:off x="6338857" y="964701"/>
            <a:ext cx="5249869" cy="373387"/>
            <a:chOff x="344487" y="896797"/>
            <a:chExt cx="5561013" cy="373387"/>
          </a:xfrm>
        </p:grpSpPr>
        <p:sp>
          <p:nvSpPr>
            <p:cNvPr id="60" name="Text Placeholder 2">
              <a:extLst>
                <a:ext uri="{FF2B5EF4-FFF2-40B4-BE49-F238E27FC236}">
                  <a16:creationId xmlns:a16="http://schemas.microsoft.com/office/drawing/2014/main" id="{5922E7D2-F1B0-445F-3556-9F1EC439326B}"/>
                </a:ext>
              </a:extLst>
            </p:cNvPr>
            <p:cNvSpPr txBox="1">
              <a:spLocks/>
            </p:cNvSpPr>
            <p:nvPr/>
          </p:nvSpPr>
          <p:spPr>
            <a:xfrm>
              <a:off x="344487" y="896797"/>
              <a:ext cx="5157787" cy="338400"/>
            </a:xfrm>
            <a:prstGeom prst="rect">
              <a:avLst/>
            </a:prstGeom>
          </p:spPr>
          <p:txBody>
            <a:bodyPr anchor="ctr"/>
            <a:lstStyle>
              <a:lvl1pPr marL="0" indent="0" algn="l" defTabSz="914400" rtl="0" eaLnBrk="1" latinLnBrk="0" hangingPunct="1">
                <a:lnSpc>
                  <a:spcPct val="120000"/>
                </a:lnSpc>
                <a:spcBef>
                  <a:spcPts val="200"/>
                </a:spcBef>
                <a:spcAft>
                  <a:spcPts val="200"/>
                </a:spcAft>
                <a:buClr>
                  <a:schemeClr val="bg2"/>
                </a:buClr>
                <a:buFont typeface="Segoe UI" panose="020B0502040204020203" pitchFamily="34" charset="0"/>
                <a:buNone/>
                <a:defRPr sz="1100" b="1" kern="1200">
                  <a:solidFill>
                    <a:schemeClr val="bg2"/>
                  </a:solidFill>
                  <a:latin typeface="+mn-lt"/>
                  <a:ea typeface="+mn-ea"/>
                  <a:cs typeface="+mn-cs"/>
                </a:defRPr>
              </a:lvl1pPr>
              <a:lvl2pPr marL="457200" indent="0" algn="l" defTabSz="914400" rtl="0" eaLnBrk="1" latinLnBrk="0" hangingPunct="1">
                <a:lnSpc>
                  <a:spcPct val="120000"/>
                </a:lnSpc>
                <a:spcBef>
                  <a:spcPts val="200"/>
                </a:spcBef>
                <a:spcAft>
                  <a:spcPts val="200"/>
                </a:spcAft>
                <a:buClr>
                  <a:schemeClr val="bg2"/>
                </a:buClr>
                <a:buFont typeface="Segoe UI" panose="020B0502040204020203" pitchFamily="34" charset="0"/>
                <a:buNone/>
                <a:defRPr sz="2000" b="1" kern="1200">
                  <a:solidFill>
                    <a:schemeClr val="tx2"/>
                  </a:solidFill>
                  <a:latin typeface="+mn-lt"/>
                  <a:ea typeface="+mn-ea"/>
                  <a:cs typeface="+mn-cs"/>
                </a:defRPr>
              </a:lvl2pPr>
              <a:lvl3pPr marL="914400" indent="0" algn="l" defTabSz="914400" rtl="0" eaLnBrk="1" latinLnBrk="0" hangingPunct="1">
                <a:lnSpc>
                  <a:spcPct val="120000"/>
                </a:lnSpc>
                <a:spcBef>
                  <a:spcPts val="200"/>
                </a:spcBef>
                <a:spcAft>
                  <a:spcPts val="200"/>
                </a:spcAft>
                <a:buClr>
                  <a:schemeClr val="bg2"/>
                </a:buClr>
                <a:buFont typeface="Wingdings" panose="05000000000000000000" pitchFamily="2" charset="2"/>
                <a:buNone/>
                <a:defRPr sz="1800" b="1" kern="1200">
                  <a:solidFill>
                    <a:schemeClr val="tx2"/>
                  </a:solidFill>
                  <a:latin typeface="+mn-lt"/>
                  <a:ea typeface="+mn-ea"/>
                  <a:cs typeface="+mn-cs"/>
                </a:defRPr>
              </a:lvl3pPr>
              <a:lvl4pPr marL="1371600" indent="0" algn="l" defTabSz="914400" rtl="0" eaLnBrk="1" latinLnBrk="0" hangingPunct="1">
                <a:lnSpc>
                  <a:spcPct val="120000"/>
                </a:lnSpc>
                <a:spcBef>
                  <a:spcPts val="200"/>
                </a:spcBef>
                <a:spcAft>
                  <a:spcPts val="200"/>
                </a:spcAft>
                <a:buClr>
                  <a:schemeClr val="bg2"/>
                </a:buClr>
                <a:buFont typeface="Arial" panose="020B0604020202020204" pitchFamily="34" charset="0"/>
                <a:buNone/>
                <a:defRPr sz="1600" b="1" kern="1200">
                  <a:solidFill>
                    <a:schemeClr val="tx2"/>
                  </a:solidFill>
                  <a:latin typeface="+mn-lt"/>
                  <a:ea typeface="+mn-ea"/>
                  <a:cs typeface="+mn-cs"/>
                </a:defRPr>
              </a:lvl4pPr>
              <a:lvl5pPr marL="1828800" indent="0" algn="l" defTabSz="914400" rtl="0" eaLnBrk="1" latinLnBrk="0" hangingPunct="1">
                <a:lnSpc>
                  <a:spcPct val="120000"/>
                </a:lnSpc>
                <a:spcBef>
                  <a:spcPts val="200"/>
                </a:spcBef>
                <a:spcAft>
                  <a:spcPts val="200"/>
                </a:spcAft>
                <a:buClr>
                  <a:schemeClr val="bg2"/>
                </a:buClr>
                <a:buFont typeface="Segoe UI" panose="020B0502040204020203" pitchFamily="34" charset="0"/>
                <a:buNone/>
                <a:defRPr sz="1600" b="1" kern="1200">
                  <a:solidFill>
                    <a:schemeClr val="tx2"/>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200"/>
                </a:spcBef>
                <a:spcAft>
                  <a:spcPts val="200"/>
                </a:spcAft>
                <a:buClr>
                  <a:srgbClr val="385723"/>
                </a:buClr>
                <a:buSzTx/>
                <a:buFont typeface="Segoe UI" panose="020B0502040204020203" pitchFamily="34" charset="0"/>
                <a:buNone/>
                <a:tabLst/>
                <a:defRPr/>
              </a:pPr>
              <a:r>
                <a:rPr kumimoji="0" lang="en-US" sz="1100" b="1" i="0" u="none" strike="noStrike" kern="1200" cap="none" spc="0" normalizeH="0" baseline="0" noProof="0" dirty="0">
                  <a:ln>
                    <a:noFill/>
                  </a:ln>
                  <a:solidFill>
                    <a:srgbClr val="385723"/>
                  </a:solidFill>
                  <a:effectLst/>
                  <a:uLnTx/>
                  <a:uFillTx/>
                  <a:latin typeface="Segoe UI"/>
                  <a:ea typeface="+mn-ea"/>
                  <a:cs typeface="+mn-cs"/>
                </a:rPr>
                <a:t>Growth in PE and ECM Deal value (FY 25- FY 29)</a:t>
              </a:r>
            </a:p>
          </p:txBody>
        </p:sp>
        <p:grpSp>
          <p:nvGrpSpPr>
            <p:cNvPr id="61" name="Group 60">
              <a:extLst>
                <a:ext uri="{FF2B5EF4-FFF2-40B4-BE49-F238E27FC236}">
                  <a16:creationId xmlns:a16="http://schemas.microsoft.com/office/drawing/2014/main" id="{0E91FDE8-2979-856C-253F-35A4470B8A10}"/>
                </a:ext>
              </a:extLst>
            </p:cNvPr>
            <p:cNvGrpSpPr/>
            <p:nvPr/>
          </p:nvGrpSpPr>
          <p:grpSpPr>
            <a:xfrm>
              <a:off x="344487" y="1214416"/>
              <a:ext cx="5561013" cy="55768"/>
              <a:chOff x="344487" y="1214416"/>
              <a:chExt cx="5561013" cy="55768"/>
            </a:xfrm>
          </p:grpSpPr>
          <p:cxnSp>
            <p:nvCxnSpPr>
              <p:cNvPr id="62" name="Straight Connector 61">
                <a:extLst>
                  <a:ext uri="{FF2B5EF4-FFF2-40B4-BE49-F238E27FC236}">
                    <a16:creationId xmlns:a16="http://schemas.microsoft.com/office/drawing/2014/main" id="{C00BD652-4661-C429-FE56-3FEC0F8603E2}"/>
                  </a:ext>
                </a:extLst>
              </p:cNvPr>
              <p:cNvCxnSpPr>
                <a:cxnSpLocks/>
              </p:cNvCxnSpPr>
              <p:nvPr/>
            </p:nvCxnSpPr>
            <p:spPr>
              <a:xfrm>
                <a:off x="398568" y="1242300"/>
                <a:ext cx="5506932"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7381ED33-3283-D7A4-2D5E-0CC64E54FA9C}"/>
                  </a:ext>
                </a:extLst>
              </p:cNvPr>
              <p:cNvSpPr/>
              <p:nvPr/>
            </p:nvSpPr>
            <p:spPr>
              <a:xfrm>
                <a:off x="344487" y="1214416"/>
                <a:ext cx="545724" cy="55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prstClr val="white"/>
                  </a:solidFill>
                  <a:effectLst/>
                  <a:uLnTx/>
                  <a:uFillTx/>
                  <a:latin typeface="Segoe UI"/>
                  <a:ea typeface="+mn-ea"/>
                  <a:cs typeface="+mn-cs"/>
                </a:endParaRPr>
              </a:p>
            </p:txBody>
          </p:sp>
        </p:grpSp>
      </p:grpSp>
      <p:grpSp>
        <p:nvGrpSpPr>
          <p:cNvPr id="64" name="Group 63">
            <a:extLst>
              <a:ext uri="{FF2B5EF4-FFF2-40B4-BE49-F238E27FC236}">
                <a16:creationId xmlns:a16="http://schemas.microsoft.com/office/drawing/2014/main" id="{4AA26977-DDAB-AC96-68F8-7731BEEB66CB}"/>
              </a:ext>
            </a:extLst>
          </p:cNvPr>
          <p:cNvGrpSpPr/>
          <p:nvPr/>
        </p:nvGrpSpPr>
        <p:grpSpPr>
          <a:xfrm>
            <a:off x="6352706" y="3679067"/>
            <a:ext cx="5249869" cy="373387"/>
            <a:chOff x="344487" y="896797"/>
            <a:chExt cx="5561013" cy="373387"/>
          </a:xfrm>
        </p:grpSpPr>
        <p:sp>
          <p:nvSpPr>
            <p:cNvPr id="65" name="Text Placeholder 2">
              <a:extLst>
                <a:ext uri="{FF2B5EF4-FFF2-40B4-BE49-F238E27FC236}">
                  <a16:creationId xmlns:a16="http://schemas.microsoft.com/office/drawing/2014/main" id="{BE3271C0-C725-EE37-468A-CD0146CFB1EA}"/>
                </a:ext>
              </a:extLst>
            </p:cNvPr>
            <p:cNvSpPr txBox="1">
              <a:spLocks/>
            </p:cNvSpPr>
            <p:nvPr/>
          </p:nvSpPr>
          <p:spPr>
            <a:xfrm>
              <a:off x="344487" y="896797"/>
              <a:ext cx="5157787" cy="338400"/>
            </a:xfrm>
            <a:prstGeom prst="rect">
              <a:avLst/>
            </a:prstGeom>
          </p:spPr>
          <p:txBody>
            <a:bodyPr anchor="ctr"/>
            <a:lstStyle>
              <a:lvl1pPr marL="0" indent="0" algn="l" defTabSz="914400" rtl="0" eaLnBrk="1" latinLnBrk="0" hangingPunct="1">
                <a:lnSpc>
                  <a:spcPct val="120000"/>
                </a:lnSpc>
                <a:spcBef>
                  <a:spcPts val="200"/>
                </a:spcBef>
                <a:spcAft>
                  <a:spcPts val="200"/>
                </a:spcAft>
                <a:buClr>
                  <a:schemeClr val="bg2"/>
                </a:buClr>
                <a:buFont typeface="Segoe UI" panose="020B0502040204020203" pitchFamily="34" charset="0"/>
                <a:buNone/>
                <a:defRPr sz="1100" b="1" kern="1200">
                  <a:solidFill>
                    <a:schemeClr val="bg2"/>
                  </a:solidFill>
                  <a:latin typeface="+mn-lt"/>
                  <a:ea typeface="+mn-ea"/>
                  <a:cs typeface="+mn-cs"/>
                </a:defRPr>
              </a:lvl1pPr>
              <a:lvl2pPr marL="457200" indent="0" algn="l" defTabSz="914400" rtl="0" eaLnBrk="1" latinLnBrk="0" hangingPunct="1">
                <a:lnSpc>
                  <a:spcPct val="120000"/>
                </a:lnSpc>
                <a:spcBef>
                  <a:spcPts val="200"/>
                </a:spcBef>
                <a:spcAft>
                  <a:spcPts val="200"/>
                </a:spcAft>
                <a:buClr>
                  <a:schemeClr val="bg2"/>
                </a:buClr>
                <a:buFont typeface="Segoe UI" panose="020B0502040204020203" pitchFamily="34" charset="0"/>
                <a:buNone/>
                <a:defRPr sz="2000" b="1" kern="1200">
                  <a:solidFill>
                    <a:schemeClr val="tx2"/>
                  </a:solidFill>
                  <a:latin typeface="+mn-lt"/>
                  <a:ea typeface="+mn-ea"/>
                  <a:cs typeface="+mn-cs"/>
                </a:defRPr>
              </a:lvl2pPr>
              <a:lvl3pPr marL="914400" indent="0" algn="l" defTabSz="914400" rtl="0" eaLnBrk="1" latinLnBrk="0" hangingPunct="1">
                <a:lnSpc>
                  <a:spcPct val="120000"/>
                </a:lnSpc>
                <a:spcBef>
                  <a:spcPts val="200"/>
                </a:spcBef>
                <a:spcAft>
                  <a:spcPts val="200"/>
                </a:spcAft>
                <a:buClr>
                  <a:schemeClr val="bg2"/>
                </a:buClr>
                <a:buFont typeface="Wingdings" panose="05000000000000000000" pitchFamily="2" charset="2"/>
                <a:buNone/>
                <a:defRPr sz="1800" b="1" kern="1200">
                  <a:solidFill>
                    <a:schemeClr val="tx2"/>
                  </a:solidFill>
                  <a:latin typeface="+mn-lt"/>
                  <a:ea typeface="+mn-ea"/>
                  <a:cs typeface="+mn-cs"/>
                </a:defRPr>
              </a:lvl3pPr>
              <a:lvl4pPr marL="1371600" indent="0" algn="l" defTabSz="914400" rtl="0" eaLnBrk="1" latinLnBrk="0" hangingPunct="1">
                <a:lnSpc>
                  <a:spcPct val="120000"/>
                </a:lnSpc>
                <a:spcBef>
                  <a:spcPts val="200"/>
                </a:spcBef>
                <a:spcAft>
                  <a:spcPts val="200"/>
                </a:spcAft>
                <a:buClr>
                  <a:schemeClr val="bg2"/>
                </a:buClr>
                <a:buFont typeface="Arial" panose="020B0604020202020204" pitchFamily="34" charset="0"/>
                <a:buNone/>
                <a:defRPr sz="1600" b="1" kern="1200">
                  <a:solidFill>
                    <a:schemeClr val="tx2"/>
                  </a:solidFill>
                  <a:latin typeface="+mn-lt"/>
                  <a:ea typeface="+mn-ea"/>
                  <a:cs typeface="+mn-cs"/>
                </a:defRPr>
              </a:lvl4pPr>
              <a:lvl5pPr marL="1828800" indent="0" algn="l" defTabSz="914400" rtl="0" eaLnBrk="1" latinLnBrk="0" hangingPunct="1">
                <a:lnSpc>
                  <a:spcPct val="120000"/>
                </a:lnSpc>
                <a:spcBef>
                  <a:spcPts val="200"/>
                </a:spcBef>
                <a:spcAft>
                  <a:spcPts val="200"/>
                </a:spcAft>
                <a:buClr>
                  <a:schemeClr val="bg2"/>
                </a:buClr>
                <a:buFont typeface="Segoe UI" panose="020B0502040204020203" pitchFamily="34" charset="0"/>
                <a:buNone/>
                <a:defRPr sz="1600" b="1" kern="1200">
                  <a:solidFill>
                    <a:schemeClr val="tx2"/>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200"/>
                </a:spcBef>
                <a:spcAft>
                  <a:spcPts val="200"/>
                </a:spcAft>
                <a:buClr>
                  <a:srgbClr val="385723"/>
                </a:buClr>
                <a:buSzTx/>
                <a:buFont typeface="Segoe UI" panose="020B0502040204020203" pitchFamily="34" charset="0"/>
                <a:buNone/>
                <a:tabLst/>
                <a:defRPr/>
              </a:pPr>
              <a:r>
                <a:rPr kumimoji="0" lang="en-US" sz="1100" b="1" i="0" u="none" strike="noStrike" kern="1200" cap="none" spc="0" normalizeH="0" baseline="0" noProof="0" dirty="0">
                  <a:ln>
                    <a:noFill/>
                  </a:ln>
                  <a:solidFill>
                    <a:srgbClr val="385723"/>
                  </a:solidFill>
                  <a:effectLst/>
                  <a:uLnTx/>
                  <a:uFillTx/>
                  <a:latin typeface="Segoe UI"/>
                  <a:ea typeface="+mn-ea"/>
                  <a:cs typeface="+mn-cs"/>
                </a:rPr>
                <a:t>ECM % of Total Deal Value by FY 27 – FY 29</a:t>
              </a:r>
            </a:p>
          </p:txBody>
        </p:sp>
        <p:grpSp>
          <p:nvGrpSpPr>
            <p:cNvPr id="66" name="Group 65">
              <a:extLst>
                <a:ext uri="{FF2B5EF4-FFF2-40B4-BE49-F238E27FC236}">
                  <a16:creationId xmlns:a16="http://schemas.microsoft.com/office/drawing/2014/main" id="{D68F43D7-15A3-E624-2928-C95200D0AE84}"/>
                </a:ext>
              </a:extLst>
            </p:cNvPr>
            <p:cNvGrpSpPr/>
            <p:nvPr/>
          </p:nvGrpSpPr>
          <p:grpSpPr>
            <a:xfrm>
              <a:off x="344487" y="1214416"/>
              <a:ext cx="5561013" cy="55768"/>
              <a:chOff x="344487" y="1214416"/>
              <a:chExt cx="5561013" cy="55768"/>
            </a:xfrm>
          </p:grpSpPr>
          <p:cxnSp>
            <p:nvCxnSpPr>
              <p:cNvPr id="67" name="Straight Connector 66">
                <a:extLst>
                  <a:ext uri="{FF2B5EF4-FFF2-40B4-BE49-F238E27FC236}">
                    <a16:creationId xmlns:a16="http://schemas.microsoft.com/office/drawing/2014/main" id="{1BFD5D22-DB1B-4510-57F9-F8841A836FE5}"/>
                  </a:ext>
                </a:extLst>
              </p:cNvPr>
              <p:cNvCxnSpPr>
                <a:cxnSpLocks/>
              </p:cNvCxnSpPr>
              <p:nvPr/>
            </p:nvCxnSpPr>
            <p:spPr>
              <a:xfrm>
                <a:off x="398568" y="1242300"/>
                <a:ext cx="5506932" cy="0"/>
              </a:xfrm>
              <a:prstGeom prst="line">
                <a:avLst/>
              </a:prstGeom>
              <a:solidFill>
                <a:schemeClr val="bg2"/>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8" name="Rectangle 67">
                <a:extLst>
                  <a:ext uri="{FF2B5EF4-FFF2-40B4-BE49-F238E27FC236}">
                    <a16:creationId xmlns:a16="http://schemas.microsoft.com/office/drawing/2014/main" id="{5BE27860-55D4-7312-0B66-7FBF5B84B38E}"/>
                  </a:ext>
                </a:extLst>
              </p:cNvPr>
              <p:cNvSpPr/>
              <p:nvPr/>
            </p:nvSpPr>
            <p:spPr>
              <a:xfrm>
                <a:off x="344487" y="1214416"/>
                <a:ext cx="545724" cy="55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prstClr val="white"/>
                  </a:solidFill>
                  <a:effectLst/>
                  <a:uLnTx/>
                  <a:uFillTx/>
                  <a:latin typeface="Segoe UI"/>
                  <a:ea typeface="+mn-ea"/>
                  <a:cs typeface="+mn-cs"/>
                </a:endParaRPr>
              </a:p>
            </p:txBody>
          </p:sp>
        </p:grpSp>
      </p:grpSp>
      <p:sp>
        <p:nvSpPr>
          <p:cNvPr id="36" name="TextBox 35">
            <a:extLst>
              <a:ext uri="{FF2B5EF4-FFF2-40B4-BE49-F238E27FC236}">
                <a16:creationId xmlns:a16="http://schemas.microsoft.com/office/drawing/2014/main" id="{85CEF74D-2876-ABEE-CED6-75C85CE0C14A}"/>
              </a:ext>
            </a:extLst>
          </p:cNvPr>
          <p:cNvSpPr txBox="1"/>
          <p:nvPr/>
        </p:nvSpPr>
        <p:spPr>
          <a:xfrm>
            <a:off x="8760995" y="4687390"/>
            <a:ext cx="1117519"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900" b="1" i="0" u="none" strike="noStrike" kern="1200" cap="none" spc="0" normalizeH="0" baseline="0" noProof="0" dirty="0">
                <a:ln>
                  <a:noFill/>
                </a:ln>
                <a:solidFill>
                  <a:srgbClr val="404040"/>
                </a:solidFill>
                <a:effectLst/>
                <a:uLnTx/>
                <a:uFillTx/>
                <a:latin typeface="Segoe UI"/>
                <a:ea typeface="+mn-ea"/>
                <a:cs typeface="+mn-cs"/>
              </a:rPr>
              <a:t>FY </a:t>
            </a:r>
            <a:r>
              <a:rPr lang="en-IN" sz="900" b="1" dirty="0">
                <a:solidFill>
                  <a:srgbClr val="404040"/>
                </a:solidFill>
                <a:latin typeface="Segoe UI"/>
              </a:rPr>
              <a:t>27 – FY 29</a:t>
            </a:r>
            <a:endParaRPr kumimoji="0" lang="en-IN" sz="900" b="1" i="0" u="none" strike="noStrike" kern="1200" cap="none" spc="0" normalizeH="0" baseline="0" noProof="0" dirty="0">
              <a:ln>
                <a:noFill/>
              </a:ln>
              <a:solidFill>
                <a:srgbClr val="404040"/>
              </a:solidFill>
              <a:effectLst/>
              <a:uLnTx/>
              <a:uFillTx/>
              <a:latin typeface="Segoe UI"/>
              <a:ea typeface="+mn-ea"/>
              <a:cs typeface="+mn-cs"/>
            </a:endParaRPr>
          </a:p>
        </p:txBody>
      </p:sp>
      <p:graphicFrame>
        <p:nvGraphicFramePr>
          <p:cNvPr id="69" name="Chart 68">
            <a:extLst>
              <a:ext uri="{FF2B5EF4-FFF2-40B4-BE49-F238E27FC236}">
                <a16:creationId xmlns:a16="http://schemas.microsoft.com/office/drawing/2014/main" id="{BB4B93F7-8478-9141-5886-60C843BAE1D0}"/>
              </a:ext>
            </a:extLst>
          </p:cNvPr>
          <p:cNvGraphicFramePr/>
          <p:nvPr>
            <p:extLst>
              <p:ext uri="{D42A27DB-BD31-4B8C-83A1-F6EECF244321}">
                <p14:modId xmlns:p14="http://schemas.microsoft.com/office/powerpoint/2010/main" val="141039359"/>
              </p:ext>
            </p:extLst>
          </p:nvPr>
        </p:nvGraphicFramePr>
        <p:xfrm>
          <a:off x="326470" y="1430290"/>
          <a:ext cx="2812216" cy="232443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3" name="Chart 72">
            <a:extLst>
              <a:ext uri="{FF2B5EF4-FFF2-40B4-BE49-F238E27FC236}">
                <a16:creationId xmlns:a16="http://schemas.microsoft.com/office/drawing/2014/main" id="{B904A30B-036B-C591-0AC8-614BB72CE5F4}"/>
              </a:ext>
            </a:extLst>
          </p:cNvPr>
          <p:cNvGraphicFramePr/>
          <p:nvPr>
            <p:extLst>
              <p:ext uri="{D42A27DB-BD31-4B8C-83A1-F6EECF244321}">
                <p14:modId xmlns:p14="http://schemas.microsoft.com/office/powerpoint/2010/main" val="14251993"/>
              </p:ext>
            </p:extLst>
          </p:nvPr>
        </p:nvGraphicFramePr>
        <p:xfrm>
          <a:off x="2853930" y="1437548"/>
          <a:ext cx="2812216" cy="2324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4" name="Chart 73">
            <a:extLst>
              <a:ext uri="{FF2B5EF4-FFF2-40B4-BE49-F238E27FC236}">
                <a16:creationId xmlns:a16="http://schemas.microsoft.com/office/drawing/2014/main" id="{D0873052-243F-5FFD-1883-3EA3812A5CC1}"/>
              </a:ext>
            </a:extLst>
          </p:cNvPr>
          <p:cNvGraphicFramePr/>
          <p:nvPr>
            <p:extLst>
              <p:ext uri="{D42A27DB-BD31-4B8C-83A1-F6EECF244321}">
                <p14:modId xmlns:p14="http://schemas.microsoft.com/office/powerpoint/2010/main" val="3495580295"/>
              </p:ext>
            </p:extLst>
          </p:nvPr>
        </p:nvGraphicFramePr>
        <p:xfrm>
          <a:off x="6299102" y="1437546"/>
          <a:ext cx="2812216" cy="232443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7" name="Chart 76">
            <a:extLst>
              <a:ext uri="{FF2B5EF4-FFF2-40B4-BE49-F238E27FC236}">
                <a16:creationId xmlns:a16="http://schemas.microsoft.com/office/drawing/2014/main" id="{72A9ABBD-DC98-6C03-A27C-5036C7ED7962}"/>
              </a:ext>
            </a:extLst>
          </p:cNvPr>
          <p:cNvGraphicFramePr/>
          <p:nvPr>
            <p:extLst>
              <p:ext uri="{D42A27DB-BD31-4B8C-83A1-F6EECF244321}">
                <p14:modId xmlns:p14="http://schemas.microsoft.com/office/powerpoint/2010/main" val="1811801231"/>
              </p:ext>
            </p:extLst>
          </p:nvPr>
        </p:nvGraphicFramePr>
        <p:xfrm>
          <a:off x="8904413" y="1430292"/>
          <a:ext cx="2812216" cy="2324437"/>
        </p:xfrm>
        <a:graphic>
          <a:graphicData uri="http://schemas.openxmlformats.org/drawingml/2006/chart">
            <c:chart xmlns:c="http://schemas.openxmlformats.org/drawingml/2006/chart" xmlns:r="http://schemas.openxmlformats.org/officeDocument/2006/relationships" r:id="rId7"/>
          </a:graphicData>
        </a:graphic>
      </p:graphicFrame>
      <p:sp>
        <p:nvSpPr>
          <p:cNvPr id="3" name="TextBox 2">
            <a:extLst>
              <a:ext uri="{FF2B5EF4-FFF2-40B4-BE49-F238E27FC236}">
                <a16:creationId xmlns:a16="http://schemas.microsoft.com/office/drawing/2014/main" id="{E57EBD75-6212-F4B8-C89A-2E58212CC141}"/>
              </a:ext>
            </a:extLst>
          </p:cNvPr>
          <p:cNvSpPr txBox="1"/>
          <p:nvPr/>
        </p:nvSpPr>
        <p:spPr>
          <a:xfrm>
            <a:off x="236937" y="6128790"/>
            <a:ext cx="5316100" cy="246221"/>
          </a:xfrm>
          <a:prstGeom prst="rect">
            <a:avLst/>
          </a:prstGeom>
          <a:noFill/>
        </p:spPr>
        <p:txBody>
          <a:bodyPr wrap="square" rtlCol="0">
            <a:spAutoFit/>
          </a:bodyPr>
          <a:lstStyle/>
          <a:p>
            <a:pPr marL="171450" indent="-171450">
              <a:buFont typeface="Arial" panose="020B0604020202020204" pitchFamily="34" charset="0"/>
              <a:buChar char="•"/>
            </a:pPr>
            <a:r>
              <a:rPr lang="en-IN" sz="1000" dirty="0"/>
              <a:t>ECM Activities driven by PE exits is expected to touch $8 Billions between FY 27 – FY 29</a:t>
            </a:r>
          </a:p>
        </p:txBody>
      </p:sp>
      <p:sp>
        <p:nvSpPr>
          <p:cNvPr id="4" name="TextBox 3">
            <a:extLst>
              <a:ext uri="{FF2B5EF4-FFF2-40B4-BE49-F238E27FC236}">
                <a16:creationId xmlns:a16="http://schemas.microsoft.com/office/drawing/2014/main" id="{0C215E0D-59A6-40CA-F5D3-632CECF3B2D6}"/>
              </a:ext>
            </a:extLst>
          </p:cNvPr>
          <p:cNvSpPr txBox="1"/>
          <p:nvPr/>
        </p:nvSpPr>
        <p:spPr>
          <a:xfrm>
            <a:off x="6485330" y="6045660"/>
            <a:ext cx="5316100" cy="400110"/>
          </a:xfrm>
          <a:prstGeom prst="rect">
            <a:avLst/>
          </a:prstGeom>
          <a:noFill/>
        </p:spPr>
        <p:txBody>
          <a:bodyPr wrap="square" rtlCol="0">
            <a:spAutoFit/>
          </a:bodyPr>
          <a:lstStyle/>
          <a:p>
            <a:pPr marL="171450" indent="-171450">
              <a:buFont typeface="Arial" panose="020B0604020202020204" pitchFamily="34" charset="0"/>
              <a:buChar char="•"/>
            </a:pPr>
            <a:r>
              <a:rPr lang="en-IN" sz="1000" dirty="0"/>
              <a:t>PE and M&amp;A Investments in healthcare are expected to exceed $ 5.3 billions at 10% CAGR between FY 27 – FY 29</a:t>
            </a:r>
          </a:p>
        </p:txBody>
      </p:sp>
      <p:graphicFrame>
        <p:nvGraphicFramePr>
          <p:cNvPr id="5" name="Content Placeholder 22">
            <a:extLst>
              <a:ext uri="{FF2B5EF4-FFF2-40B4-BE49-F238E27FC236}">
                <a16:creationId xmlns:a16="http://schemas.microsoft.com/office/drawing/2014/main" id="{E9F14902-556B-1F2A-C3EB-A76DD9813F8E}"/>
              </a:ext>
            </a:extLst>
          </p:cNvPr>
          <p:cNvGraphicFramePr>
            <a:graphicFrameLocks/>
          </p:cNvGraphicFramePr>
          <p:nvPr>
            <p:extLst>
              <p:ext uri="{D42A27DB-BD31-4B8C-83A1-F6EECF244321}">
                <p14:modId xmlns:p14="http://schemas.microsoft.com/office/powerpoint/2010/main" val="1393190665"/>
              </p:ext>
            </p:extLst>
          </p:nvPr>
        </p:nvGraphicFramePr>
        <p:xfrm>
          <a:off x="6992579" y="4003328"/>
          <a:ext cx="4825296" cy="194148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5456517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F0463C-BB44-4824-3CA2-F722B4492F39}"/>
            </a:ext>
          </a:extLst>
        </p:cNvPr>
        <p:cNvGrpSpPr/>
        <p:nvPr/>
      </p:nvGrpSpPr>
      <p:grpSpPr>
        <a:xfrm>
          <a:off x="0" y="0"/>
          <a:ext cx="0" cy="0"/>
          <a:chOff x="0" y="0"/>
          <a:chExt cx="0" cy="0"/>
        </a:xfrm>
      </p:grpSpPr>
      <p:sp>
        <p:nvSpPr>
          <p:cNvPr id="10" name="Title 9">
            <a:extLst>
              <a:ext uri="{FF2B5EF4-FFF2-40B4-BE49-F238E27FC236}">
                <a16:creationId xmlns:a16="http://schemas.microsoft.com/office/drawing/2014/main" id="{07049C99-B08C-9BBD-4117-DEDA81AFE148}"/>
              </a:ext>
            </a:extLst>
          </p:cNvPr>
          <p:cNvSpPr>
            <a:spLocks noGrp="1"/>
          </p:cNvSpPr>
          <p:nvPr>
            <p:ph type="title"/>
          </p:nvPr>
        </p:nvSpPr>
        <p:spPr>
          <a:xfrm>
            <a:off x="344487" y="88836"/>
            <a:ext cx="11504613" cy="408795"/>
          </a:xfrm>
        </p:spPr>
        <p:txBody>
          <a:bodyPr/>
          <a:lstStyle/>
          <a:p>
            <a:r>
              <a:rPr lang="en-US" dirty="0"/>
              <a:t>Healthcare </a:t>
            </a:r>
            <a:r>
              <a:rPr lang="en-US"/>
              <a:t>and Pharma ECM </a:t>
            </a:r>
            <a:r>
              <a:rPr lang="en-US" dirty="0"/>
              <a:t>to see a growth momentum in medium term</a:t>
            </a:r>
            <a:endParaRPr lang="en-IN" dirty="0"/>
          </a:p>
        </p:txBody>
      </p:sp>
      <p:grpSp>
        <p:nvGrpSpPr>
          <p:cNvPr id="42" name="Group 41">
            <a:extLst>
              <a:ext uri="{FF2B5EF4-FFF2-40B4-BE49-F238E27FC236}">
                <a16:creationId xmlns:a16="http://schemas.microsoft.com/office/drawing/2014/main" id="{4F22253C-6700-83AE-274B-A1152BC954C2}"/>
              </a:ext>
            </a:extLst>
          </p:cNvPr>
          <p:cNvGrpSpPr/>
          <p:nvPr/>
        </p:nvGrpSpPr>
        <p:grpSpPr>
          <a:xfrm>
            <a:off x="250343" y="721579"/>
            <a:ext cx="5325998" cy="368322"/>
            <a:chOff x="250343" y="943254"/>
            <a:chExt cx="3579561" cy="368322"/>
          </a:xfrm>
        </p:grpSpPr>
        <p:sp>
          <p:nvSpPr>
            <p:cNvPr id="43" name="Right Triangle 90">
              <a:extLst>
                <a:ext uri="{FF2B5EF4-FFF2-40B4-BE49-F238E27FC236}">
                  <a16:creationId xmlns:a16="http://schemas.microsoft.com/office/drawing/2014/main" id="{1A0EE76B-2958-5368-494F-B41B5E648058}"/>
                </a:ext>
              </a:extLst>
            </p:cNvPr>
            <p:cNvSpPr/>
            <p:nvPr/>
          </p:nvSpPr>
          <p:spPr>
            <a:xfrm>
              <a:off x="250343" y="1108298"/>
              <a:ext cx="3528397" cy="203278"/>
            </a:xfrm>
            <a:custGeom>
              <a:avLst/>
              <a:gdLst>
                <a:gd name="connsiteX0" fmla="*/ 0 w 85182"/>
                <a:gd name="connsiteY0" fmla="*/ 484264 h 484264"/>
                <a:gd name="connsiteX1" fmla="*/ 0 w 85182"/>
                <a:gd name="connsiteY1" fmla="*/ 0 h 484264"/>
                <a:gd name="connsiteX2" fmla="*/ 85182 w 85182"/>
                <a:gd name="connsiteY2" fmla="*/ 484264 h 484264"/>
                <a:gd name="connsiteX3" fmla="*/ 0 w 85182"/>
                <a:gd name="connsiteY3" fmla="*/ 484264 h 484264"/>
                <a:gd name="connsiteX0" fmla="*/ 1314450 w 1399632"/>
                <a:gd name="connsiteY0" fmla="*/ 493789 h 493789"/>
                <a:gd name="connsiteX1" fmla="*/ 0 w 1399632"/>
                <a:gd name="connsiteY1" fmla="*/ 0 h 493789"/>
                <a:gd name="connsiteX2" fmla="*/ 1399632 w 1399632"/>
                <a:gd name="connsiteY2" fmla="*/ 493789 h 493789"/>
                <a:gd name="connsiteX3" fmla="*/ 1314450 w 1399632"/>
                <a:gd name="connsiteY3" fmla="*/ 493789 h 493789"/>
                <a:gd name="connsiteX0" fmla="*/ 1314450 w 1339307"/>
                <a:gd name="connsiteY0" fmla="*/ 628650 h 628650"/>
                <a:gd name="connsiteX1" fmla="*/ 0 w 1339307"/>
                <a:gd name="connsiteY1" fmla="*/ 134861 h 628650"/>
                <a:gd name="connsiteX2" fmla="*/ 1339307 w 1339307"/>
                <a:gd name="connsiteY2" fmla="*/ 0 h 628650"/>
                <a:gd name="connsiteX3" fmla="*/ 1314450 w 1339307"/>
                <a:gd name="connsiteY3" fmla="*/ 628650 h 628650"/>
              </a:gdLst>
              <a:ahLst/>
              <a:cxnLst>
                <a:cxn ang="0">
                  <a:pos x="connsiteX0" y="connsiteY0"/>
                </a:cxn>
                <a:cxn ang="0">
                  <a:pos x="connsiteX1" y="connsiteY1"/>
                </a:cxn>
                <a:cxn ang="0">
                  <a:pos x="connsiteX2" y="connsiteY2"/>
                </a:cxn>
                <a:cxn ang="0">
                  <a:pos x="connsiteX3" y="connsiteY3"/>
                </a:cxn>
              </a:cxnLst>
              <a:rect l="l" t="t" r="r" b="b"/>
              <a:pathLst>
                <a:path w="1339307" h="628650">
                  <a:moveTo>
                    <a:pt x="1314450" y="628650"/>
                  </a:moveTo>
                  <a:lnTo>
                    <a:pt x="0" y="134861"/>
                  </a:lnTo>
                  <a:lnTo>
                    <a:pt x="1339307" y="0"/>
                  </a:lnTo>
                  <a:lnTo>
                    <a:pt x="1314450" y="628650"/>
                  </a:lnTo>
                  <a:close/>
                </a:path>
              </a:pathLst>
            </a:custGeom>
            <a:gradFill flip="none" rotWithShape="1">
              <a:gsLst>
                <a:gs pos="0">
                  <a:schemeClr val="tx1">
                    <a:alpha val="1000"/>
                  </a:schemeClr>
                </a:gs>
                <a:gs pos="100000">
                  <a:schemeClr val="tx1">
                    <a:alpha val="30000"/>
                  </a:schemeClr>
                </a:gs>
              </a:gsLst>
              <a:lin ang="108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dirty="0">
                <a:ln>
                  <a:noFill/>
                </a:ln>
                <a:solidFill>
                  <a:srgbClr val="404040"/>
                </a:solidFill>
                <a:effectLst/>
                <a:uLnTx/>
                <a:uFillTx/>
                <a:latin typeface="Segoe UI"/>
                <a:ea typeface="+mn-ea"/>
                <a:cs typeface="Calibri" panose="020F0502020204030204" pitchFamily="34" charset="0"/>
              </a:endParaRPr>
            </a:p>
          </p:txBody>
        </p:sp>
        <p:sp>
          <p:nvSpPr>
            <p:cNvPr id="44" name="Rectangle 43">
              <a:extLst>
                <a:ext uri="{FF2B5EF4-FFF2-40B4-BE49-F238E27FC236}">
                  <a16:creationId xmlns:a16="http://schemas.microsoft.com/office/drawing/2014/main" id="{5D5C49C1-DDC8-2C6D-3E72-68DF45A273DA}"/>
                </a:ext>
              </a:extLst>
            </p:cNvPr>
            <p:cNvSpPr/>
            <p:nvPr/>
          </p:nvSpPr>
          <p:spPr>
            <a:xfrm>
              <a:off x="301508" y="943254"/>
              <a:ext cx="3528396" cy="21986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04040"/>
                  </a:solidFill>
                  <a:effectLst/>
                  <a:uLnTx/>
                  <a:uFillTx/>
                  <a:latin typeface="Segoe UI"/>
                  <a:ea typeface="+mn-ea"/>
                  <a:cs typeface="+mn-cs"/>
                </a:rPr>
                <a:t>Healthcare and Med-Tech</a:t>
              </a:r>
            </a:p>
          </p:txBody>
        </p:sp>
      </p:grpSp>
      <p:sp>
        <p:nvSpPr>
          <p:cNvPr id="45" name="Rectangle 44">
            <a:extLst>
              <a:ext uri="{FF2B5EF4-FFF2-40B4-BE49-F238E27FC236}">
                <a16:creationId xmlns:a16="http://schemas.microsoft.com/office/drawing/2014/main" id="{DD87295A-3C0D-7EE6-022B-8871271F1A11}"/>
              </a:ext>
            </a:extLst>
          </p:cNvPr>
          <p:cNvSpPr/>
          <p:nvPr/>
        </p:nvSpPr>
        <p:spPr>
          <a:xfrm>
            <a:off x="298991" y="724079"/>
            <a:ext cx="5249870" cy="21986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04040"/>
                </a:solidFill>
                <a:effectLst/>
                <a:uLnTx/>
                <a:uFillTx/>
                <a:latin typeface="Segoe UI"/>
                <a:ea typeface="+mn-ea"/>
                <a:cs typeface="+mn-cs"/>
              </a:rPr>
              <a:t>Healthcare and Med-Tech</a:t>
            </a:r>
          </a:p>
        </p:txBody>
      </p:sp>
      <p:grpSp>
        <p:nvGrpSpPr>
          <p:cNvPr id="46" name="Group 45">
            <a:extLst>
              <a:ext uri="{FF2B5EF4-FFF2-40B4-BE49-F238E27FC236}">
                <a16:creationId xmlns:a16="http://schemas.microsoft.com/office/drawing/2014/main" id="{8F2DEA25-BE6D-3F80-12DB-4872C5423565}"/>
              </a:ext>
            </a:extLst>
          </p:cNvPr>
          <p:cNvGrpSpPr/>
          <p:nvPr/>
        </p:nvGrpSpPr>
        <p:grpSpPr>
          <a:xfrm>
            <a:off x="6277777" y="724082"/>
            <a:ext cx="5325998" cy="368322"/>
            <a:chOff x="250343" y="943254"/>
            <a:chExt cx="3579561" cy="368322"/>
          </a:xfrm>
        </p:grpSpPr>
        <p:sp>
          <p:nvSpPr>
            <p:cNvPr id="47" name="Right Triangle 90">
              <a:extLst>
                <a:ext uri="{FF2B5EF4-FFF2-40B4-BE49-F238E27FC236}">
                  <a16:creationId xmlns:a16="http://schemas.microsoft.com/office/drawing/2014/main" id="{F16510AB-FE27-D58D-F3AA-7DC469699A67}"/>
                </a:ext>
              </a:extLst>
            </p:cNvPr>
            <p:cNvSpPr/>
            <p:nvPr/>
          </p:nvSpPr>
          <p:spPr>
            <a:xfrm>
              <a:off x="250343" y="1108298"/>
              <a:ext cx="3528397" cy="203278"/>
            </a:xfrm>
            <a:custGeom>
              <a:avLst/>
              <a:gdLst>
                <a:gd name="connsiteX0" fmla="*/ 0 w 85182"/>
                <a:gd name="connsiteY0" fmla="*/ 484264 h 484264"/>
                <a:gd name="connsiteX1" fmla="*/ 0 w 85182"/>
                <a:gd name="connsiteY1" fmla="*/ 0 h 484264"/>
                <a:gd name="connsiteX2" fmla="*/ 85182 w 85182"/>
                <a:gd name="connsiteY2" fmla="*/ 484264 h 484264"/>
                <a:gd name="connsiteX3" fmla="*/ 0 w 85182"/>
                <a:gd name="connsiteY3" fmla="*/ 484264 h 484264"/>
                <a:gd name="connsiteX0" fmla="*/ 1314450 w 1399632"/>
                <a:gd name="connsiteY0" fmla="*/ 493789 h 493789"/>
                <a:gd name="connsiteX1" fmla="*/ 0 w 1399632"/>
                <a:gd name="connsiteY1" fmla="*/ 0 h 493789"/>
                <a:gd name="connsiteX2" fmla="*/ 1399632 w 1399632"/>
                <a:gd name="connsiteY2" fmla="*/ 493789 h 493789"/>
                <a:gd name="connsiteX3" fmla="*/ 1314450 w 1399632"/>
                <a:gd name="connsiteY3" fmla="*/ 493789 h 493789"/>
                <a:gd name="connsiteX0" fmla="*/ 1314450 w 1339307"/>
                <a:gd name="connsiteY0" fmla="*/ 628650 h 628650"/>
                <a:gd name="connsiteX1" fmla="*/ 0 w 1339307"/>
                <a:gd name="connsiteY1" fmla="*/ 134861 h 628650"/>
                <a:gd name="connsiteX2" fmla="*/ 1339307 w 1339307"/>
                <a:gd name="connsiteY2" fmla="*/ 0 h 628650"/>
                <a:gd name="connsiteX3" fmla="*/ 1314450 w 1339307"/>
                <a:gd name="connsiteY3" fmla="*/ 628650 h 628650"/>
              </a:gdLst>
              <a:ahLst/>
              <a:cxnLst>
                <a:cxn ang="0">
                  <a:pos x="connsiteX0" y="connsiteY0"/>
                </a:cxn>
                <a:cxn ang="0">
                  <a:pos x="connsiteX1" y="connsiteY1"/>
                </a:cxn>
                <a:cxn ang="0">
                  <a:pos x="connsiteX2" y="connsiteY2"/>
                </a:cxn>
                <a:cxn ang="0">
                  <a:pos x="connsiteX3" y="connsiteY3"/>
                </a:cxn>
              </a:cxnLst>
              <a:rect l="l" t="t" r="r" b="b"/>
              <a:pathLst>
                <a:path w="1339307" h="628650">
                  <a:moveTo>
                    <a:pt x="1314450" y="628650"/>
                  </a:moveTo>
                  <a:lnTo>
                    <a:pt x="0" y="134861"/>
                  </a:lnTo>
                  <a:lnTo>
                    <a:pt x="1339307" y="0"/>
                  </a:lnTo>
                  <a:lnTo>
                    <a:pt x="1314450" y="628650"/>
                  </a:lnTo>
                  <a:close/>
                </a:path>
              </a:pathLst>
            </a:custGeom>
            <a:gradFill flip="none" rotWithShape="1">
              <a:gsLst>
                <a:gs pos="0">
                  <a:schemeClr val="tx1">
                    <a:alpha val="1000"/>
                  </a:schemeClr>
                </a:gs>
                <a:gs pos="100000">
                  <a:schemeClr val="tx1">
                    <a:alpha val="30000"/>
                  </a:schemeClr>
                </a:gs>
              </a:gsLst>
              <a:lin ang="108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dirty="0">
                <a:ln>
                  <a:noFill/>
                </a:ln>
                <a:solidFill>
                  <a:srgbClr val="404040"/>
                </a:solidFill>
                <a:effectLst/>
                <a:uLnTx/>
                <a:uFillTx/>
                <a:latin typeface="Segoe UI"/>
                <a:ea typeface="+mn-ea"/>
                <a:cs typeface="Calibri" panose="020F0502020204030204" pitchFamily="34" charset="0"/>
              </a:endParaRPr>
            </a:p>
          </p:txBody>
        </p:sp>
        <p:sp>
          <p:nvSpPr>
            <p:cNvPr id="48" name="Rectangle 47">
              <a:extLst>
                <a:ext uri="{FF2B5EF4-FFF2-40B4-BE49-F238E27FC236}">
                  <a16:creationId xmlns:a16="http://schemas.microsoft.com/office/drawing/2014/main" id="{23D033D7-9D75-B5B5-03CF-8F8374DE9D80}"/>
                </a:ext>
              </a:extLst>
            </p:cNvPr>
            <p:cNvSpPr/>
            <p:nvPr/>
          </p:nvSpPr>
          <p:spPr>
            <a:xfrm>
              <a:off x="301508" y="943254"/>
              <a:ext cx="3528396" cy="21986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04040"/>
                  </a:solidFill>
                  <a:effectLst/>
                  <a:uLnTx/>
                  <a:uFillTx/>
                  <a:latin typeface="Segoe UI"/>
                  <a:ea typeface="+mn-ea"/>
                  <a:cs typeface="+mn-cs"/>
                </a:rPr>
                <a:t>Pharma</a:t>
              </a:r>
            </a:p>
          </p:txBody>
        </p:sp>
      </p:grpSp>
      <p:grpSp>
        <p:nvGrpSpPr>
          <p:cNvPr id="11" name="Group 10">
            <a:extLst>
              <a:ext uri="{FF2B5EF4-FFF2-40B4-BE49-F238E27FC236}">
                <a16:creationId xmlns:a16="http://schemas.microsoft.com/office/drawing/2014/main" id="{64FADD6E-8374-7E68-65F3-5EF53A1A89C4}"/>
              </a:ext>
            </a:extLst>
          </p:cNvPr>
          <p:cNvGrpSpPr/>
          <p:nvPr/>
        </p:nvGrpSpPr>
        <p:grpSpPr>
          <a:xfrm>
            <a:off x="250343" y="1433145"/>
            <a:ext cx="5325998" cy="1072060"/>
            <a:chOff x="250343" y="1332937"/>
            <a:chExt cx="5325998" cy="1072060"/>
          </a:xfrm>
        </p:grpSpPr>
        <p:sp>
          <p:nvSpPr>
            <p:cNvPr id="7" name="Rectangle 6">
              <a:extLst>
                <a:ext uri="{FF2B5EF4-FFF2-40B4-BE49-F238E27FC236}">
                  <a16:creationId xmlns:a16="http://schemas.microsoft.com/office/drawing/2014/main" id="{C5C8576C-1A86-27A1-8AEC-68B14E6FDAFD}"/>
                </a:ext>
              </a:extLst>
            </p:cNvPr>
            <p:cNvSpPr/>
            <p:nvPr/>
          </p:nvSpPr>
          <p:spPr>
            <a:xfrm>
              <a:off x="815641" y="1332937"/>
              <a:ext cx="4760700" cy="1072060"/>
            </a:xfrm>
            <a:prstGeom prst="rect">
              <a:avLst/>
            </a:prstGeom>
            <a:solidFill>
              <a:schemeClr val="bg2">
                <a:lumMod val="20000"/>
                <a:lumOff val="80000"/>
              </a:schemeClr>
            </a:solidFill>
            <a:ln>
              <a:noFill/>
            </a:ln>
          </p:spPr>
          <p:style>
            <a:lnRef idx="2">
              <a:schemeClr val="dk1"/>
            </a:lnRef>
            <a:fillRef idx="1">
              <a:schemeClr val="lt1"/>
            </a:fillRef>
            <a:effectRef idx="0">
              <a:schemeClr val="dk1"/>
            </a:effectRef>
            <a:fontRef idx="minor">
              <a:schemeClr val="dk1"/>
            </a:fontRef>
          </p:style>
          <p:txBody>
            <a:bodyPr wrap="square" lIns="91440" tIns="0" rIns="91440" bIns="0" rtlCol="0" anchor="ctr">
              <a:noAutofit/>
            </a:bodyPr>
            <a:lstStyle/>
            <a:p>
              <a:pPr eaLnBrk="0" hangingPunct="0"/>
              <a:r>
                <a:rPr lang="en-IN" sz="1400" i="1" dirty="0">
                  <a:solidFill>
                    <a:schemeClr val="tx2"/>
                  </a:solidFill>
                </a:rPr>
                <a:t>ECM Activities driven by PE exits is expected to touch </a:t>
              </a:r>
              <a:r>
                <a:rPr lang="en-IN" sz="1400" b="1" i="1" dirty="0">
                  <a:solidFill>
                    <a:schemeClr val="tx2"/>
                  </a:solidFill>
                </a:rPr>
                <a:t>INR 59,000 crores</a:t>
              </a:r>
              <a:r>
                <a:rPr lang="en-IN" sz="1400" i="1" dirty="0">
                  <a:solidFill>
                    <a:schemeClr val="tx2"/>
                  </a:solidFill>
                </a:rPr>
                <a:t> over the next 3 years</a:t>
              </a:r>
            </a:p>
          </p:txBody>
        </p:sp>
        <p:sp>
          <p:nvSpPr>
            <p:cNvPr id="8" name="Pentagon 7">
              <a:extLst>
                <a:ext uri="{FF2B5EF4-FFF2-40B4-BE49-F238E27FC236}">
                  <a16:creationId xmlns:a16="http://schemas.microsoft.com/office/drawing/2014/main" id="{65EF164A-0148-B85E-55CC-75CD307425B3}"/>
                </a:ext>
              </a:extLst>
            </p:cNvPr>
            <p:cNvSpPr>
              <a:spLocks/>
            </p:cNvSpPr>
            <p:nvPr/>
          </p:nvSpPr>
          <p:spPr>
            <a:xfrm>
              <a:off x="250343" y="1690457"/>
              <a:ext cx="365760" cy="274320"/>
            </a:xfrm>
            <a:prstGeom prst="homePlate">
              <a:avLst/>
            </a:prstGeom>
            <a:solidFill>
              <a:schemeClr val="bg2"/>
            </a:solidFill>
            <a:ln/>
          </p:spPr>
          <p:style>
            <a:lnRef idx="0">
              <a:schemeClr val="accent4"/>
            </a:lnRef>
            <a:fillRef idx="3">
              <a:schemeClr val="accent4"/>
            </a:fillRef>
            <a:effectRef idx="3">
              <a:schemeClr val="accent4"/>
            </a:effectRef>
            <a:fontRef idx="minor">
              <a:schemeClr val="lt1"/>
            </a:fontRef>
          </p:style>
          <p:txBody>
            <a:bodyPr wrap="none" rtlCol="0" anchor="ctr"/>
            <a:lstStyle/>
            <a:p>
              <a:pPr algn="ctr"/>
              <a:r>
                <a:rPr lang="en-US" sz="1600" b="1" dirty="0">
                  <a:solidFill>
                    <a:schemeClr val="bg1"/>
                  </a:solidFill>
                </a:rPr>
                <a:t>1</a:t>
              </a:r>
            </a:p>
          </p:txBody>
        </p:sp>
        <p:sp>
          <p:nvSpPr>
            <p:cNvPr id="9" name="Rectangle 8">
              <a:extLst>
                <a:ext uri="{FF2B5EF4-FFF2-40B4-BE49-F238E27FC236}">
                  <a16:creationId xmlns:a16="http://schemas.microsoft.com/office/drawing/2014/main" id="{60A214E2-7E22-9337-F056-A659F44FD71F}"/>
                </a:ext>
              </a:extLst>
            </p:cNvPr>
            <p:cNvSpPr/>
            <p:nvPr/>
          </p:nvSpPr>
          <p:spPr>
            <a:xfrm>
              <a:off x="707044" y="1332937"/>
              <a:ext cx="54864" cy="1044000"/>
            </a:xfrm>
            <a:prstGeom prst="rect">
              <a:avLst/>
            </a:prstGeom>
            <a:solidFill>
              <a:schemeClr val="bg2">
                <a:lumMod val="75000"/>
              </a:schemeClr>
            </a:solidFill>
            <a:ln>
              <a:noFill/>
            </a:ln>
          </p:spPr>
          <p:style>
            <a:lnRef idx="2">
              <a:schemeClr val="dk1"/>
            </a:lnRef>
            <a:fillRef idx="1">
              <a:schemeClr val="lt1"/>
            </a:fillRef>
            <a:effectRef idx="0">
              <a:schemeClr val="dk1"/>
            </a:effectRef>
            <a:fontRef idx="minor">
              <a:schemeClr val="dk1"/>
            </a:fontRef>
          </p:style>
          <p:txBody>
            <a:bodyPr wrap="square" lIns="91440" tIns="0" rIns="91440" bIns="0" rtlCol="0" anchor="ctr">
              <a:noAutofit/>
            </a:bodyPr>
            <a:lstStyle/>
            <a:p>
              <a:pPr eaLnBrk="0" hangingPunct="0"/>
              <a:endParaRPr lang="en-IN" sz="1400" b="1" dirty="0">
                <a:solidFill>
                  <a:prstClr val="black"/>
                </a:solidFill>
              </a:endParaRPr>
            </a:p>
          </p:txBody>
        </p:sp>
      </p:grpSp>
      <p:grpSp>
        <p:nvGrpSpPr>
          <p:cNvPr id="12" name="Group 11">
            <a:extLst>
              <a:ext uri="{FF2B5EF4-FFF2-40B4-BE49-F238E27FC236}">
                <a16:creationId xmlns:a16="http://schemas.microsoft.com/office/drawing/2014/main" id="{2975EB19-1187-26B4-A9D8-08EFF505A6B6}"/>
              </a:ext>
            </a:extLst>
          </p:cNvPr>
          <p:cNvGrpSpPr/>
          <p:nvPr/>
        </p:nvGrpSpPr>
        <p:grpSpPr>
          <a:xfrm>
            <a:off x="250343" y="3082433"/>
            <a:ext cx="5325998" cy="1072060"/>
            <a:chOff x="250343" y="1332937"/>
            <a:chExt cx="5325998" cy="1072060"/>
          </a:xfrm>
        </p:grpSpPr>
        <p:sp>
          <p:nvSpPr>
            <p:cNvPr id="13" name="Rectangle 12">
              <a:extLst>
                <a:ext uri="{FF2B5EF4-FFF2-40B4-BE49-F238E27FC236}">
                  <a16:creationId xmlns:a16="http://schemas.microsoft.com/office/drawing/2014/main" id="{CE746C35-6A39-DE95-7914-E4E2189BF19E}"/>
                </a:ext>
              </a:extLst>
            </p:cNvPr>
            <p:cNvSpPr/>
            <p:nvPr/>
          </p:nvSpPr>
          <p:spPr>
            <a:xfrm>
              <a:off x="815641" y="1332937"/>
              <a:ext cx="4760700" cy="1072060"/>
            </a:xfrm>
            <a:prstGeom prst="rect">
              <a:avLst/>
            </a:prstGeom>
            <a:solidFill>
              <a:schemeClr val="bg2">
                <a:lumMod val="20000"/>
                <a:lumOff val="80000"/>
              </a:schemeClr>
            </a:solidFill>
            <a:ln>
              <a:noFill/>
            </a:ln>
          </p:spPr>
          <p:style>
            <a:lnRef idx="2">
              <a:schemeClr val="dk1"/>
            </a:lnRef>
            <a:fillRef idx="1">
              <a:schemeClr val="lt1"/>
            </a:fillRef>
            <a:effectRef idx="0">
              <a:schemeClr val="dk1"/>
            </a:effectRef>
            <a:fontRef idx="minor">
              <a:schemeClr val="dk1"/>
            </a:fontRef>
          </p:style>
          <p:txBody>
            <a:bodyPr wrap="square" lIns="91440" tIns="0" rIns="91440" bIns="0" rtlCol="0" anchor="ctr">
              <a:noAutofit/>
            </a:bodyPr>
            <a:lstStyle/>
            <a:p>
              <a:pPr eaLnBrk="0" hangingPunct="0"/>
              <a:r>
                <a:rPr lang="en-US" sz="1400" i="1" dirty="0">
                  <a:solidFill>
                    <a:schemeClr val="tx2"/>
                  </a:solidFill>
                </a:rPr>
                <a:t>Healthcare and med-tech to attract private equity investment to the tune of </a:t>
              </a:r>
              <a:r>
                <a:rPr lang="en-US" sz="1400" b="1" i="1" dirty="0">
                  <a:solidFill>
                    <a:schemeClr val="tx2"/>
                  </a:solidFill>
                </a:rPr>
                <a:t>INR 36,000 crores </a:t>
              </a:r>
              <a:r>
                <a:rPr lang="en-US" sz="1400" i="1" dirty="0">
                  <a:solidFill>
                    <a:schemeClr val="tx2"/>
                  </a:solidFill>
                </a:rPr>
                <a:t>over the next 3 years</a:t>
              </a:r>
            </a:p>
          </p:txBody>
        </p:sp>
        <p:sp>
          <p:nvSpPr>
            <p:cNvPr id="14" name="Pentagon 7">
              <a:extLst>
                <a:ext uri="{FF2B5EF4-FFF2-40B4-BE49-F238E27FC236}">
                  <a16:creationId xmlns:a16="http://schemas.microsoft.com/office/drawing/2014/main" id="{DC09D377-3A2D-D564-5C91-E9B3C15B1BCB}"/>
                </a:ext>
              </a:extLst>
            </p:cNvPr>
            <p:cNvSpPr>
              <a:spLocks/>
            </p:cNvSpPr>
            <p:nvPr/>
          </p:nvSpPr>
          <p:spPr>
            <a:xfrm>
              <a:off x="250343" y="1690457"/>
              <a:ext cx="365760" cy="274320"/>
            </a:xfrm>
            <a:prstGeom prst="homePlate">
              <a:avLst/>
            </a:prstGeom>
            <a:solidFill>
              <a:schemeClr val="bg2"/>
            </a:solidFill>
            <a:ln/>
          </p:spPr>
          <p:style>
            <a:lnRef idx="0">
              <a:schemeClr val="accent4"/>
            </a:lnRef>
            <a:fillRef idx="3">
              <a:schemeClr val="accent4"/>
            </a:fillRef>
            <a:effectRef idx="3">
              <a:schemeClr val="accent4"/>
            </a:effectRef>
            <a:fontRef idx="minor">
              <a:schemeClr val="lt1"/>
            </a:fontRef>
          </p:style>
          <p:txBody>
            <a:bodyPr wrap="none" rtlCol="0" anchor="ctr"/>
            <a:lstStyle/>
            <a:p>
              <a:pPr algn="ctr"/>
              <a:r>
                <a:rPr lang="en-US" sz="1600" b="1" dirty="0">
                  <a:solidFill>
                    <a:schemeClr val="bg1"/>
                  </a:solidFill>
                </a:rPr>
                <a:t>2</a:t>
              </a:r>
            </a:p>
          </p:txBody>
        </p:sp>
        <p:sp>
          <p:nvSpPr>
            <p:cNvPr id="15" name="Rectangle 14">
              <a:extLst>
                <a:ext uri="{FF2B5EF4-FFF2-40B4-BE49-F238E27FC236}">
                  <a16:creationId xmlns:a16="http://schemas.microsoft.com/office/drawing/2014/main" id="{DE450E88-E877-1922-7C1F-FF5E8A0433FE}"/>
                </a:ext>
              </a:extLst>
            </p:cNvPr>
            <p:cNvSpPr/>
            <p:nvPr/>
          </p:nvSpPr>
          <p:spPr>
            <a:xfrm>
              <a:off x="707044" y="1332937"/>
              <a:ext cx="54864" cy="1044000"/>
            </a:xfrm>
            <a:prstGeom prst="rect">
              <a:avLst/>
            </a:prstGeom>
            <a:solidFill>
              <a:schemeClr val="bg2">
                <a:lumMod val="75000"/>
              </a:schemeClr>
            </a:solidFill>
            <a:ln>
              <a:noFill/>
            </a:ln>
          </p:spPr>
          <p:style>
            <a:lnRef idx="2">
              <a:schemeClr val="dk1"/>
            </a:lnRef>
            <a:fillRef idx="1">
              <a:schemeClr val="lt1"/>
            </a:fillRef>
            <a:effectRef idx="0">
              <a:schemeClr val="dk1"/>
            </a:effectRef>
            <a:fontRef idx="minor">
              <a:schemeClr val="dk1"/>
            </a:fontRef>
          </p:style>
          <p:txBody>
            <a:bodyPr wrap="square" lIns="91440" tIns="0" rIns="91440" bIns="0" rtlCol="0" anchor="ctr">
              <a:noAutofit/>
            </a:bodyPr>
            <a:lstStyle/>
            <a:p>
              <a:pPr eaLnBrk="0" hangingPunct="0"/>
              <a:endParaRPr lang="en-IN" sz="1400" b="1" dirty="0">
                <a:solidFill>
                  <a:prstClr val="black"/>
                </a:solidFill>
              </a:endParaRPr>
            </a:p>
          </p:txBody>
        </p:sp>
      </p:grpSp>
      <p:grpSp>
        <p:nvGrpSpPr>
          <p:cNvPr id="16" name="Group 15">
            <a:extLst>
              <a:ext uri="{FF2B5EF4-FFF2-40B4-BE49-F238E27FC236}">
                <a16:creationId xmlns:a16="http://schemas.microsoft.com/office/drawing/2014/main" id="{3519C8E7-FE1B-70FB-826D-1665FEEB6FFC}"/>
              </a:ext>
            </a:extLst>
          </p:cNvPr>
          <p:cNvGrpSpPr/>
          <p:nvPr/>
        </p:nvGrpSpPr>
        <p:grpSpPr>
          <a:xfrm>
            <a:off x="250343" y="4731721"/>
            <a:ext cx="5325998" cy="1072060"/>
            <a:chOff x="250343" y="1332937"/>
            <a:chExt cx="5325998" cy="1072060"/>
          </a:xfrm>
        </p:grpSpPr>
        <p:sp>
          <p:nvSpPr>
            <p:cNvPr id="17" name="Rectangle 16">
              <a:extLst>
                <a:ext uri="{FF2B5EF4-FFF2-40B4-BE49-F238E27FC236}">
                  <a16:creationId xmlns:a16="http://schemas.microsoft.com/office/drawing/2014/main" id="{7E92981E-23F1-7A27-6EF9-5BE42D7924A6}"/>
                </a:ext>
              </a:extLst>
            </p:cNvPr>
            <p:cNvSpPr/>
            <p:nvPr/>
          </p:nvSpPr>
          <p:spPr>
            <a:xfrm>
              <a:off x="815641" y="1332937"/>
              <a:ext cx="4760700" cy="1072060"/>
            </a:xfrm>
            <a:prstGeom prst="rect">
              <a:avLst/>
            </a:prstGeom>
            <a:solidFill>
              <a:schemeClr val="bg2">
                <a:lumMod val="20000"/>
                <a:lumOff val="80000"/>
              </a:schemeClr>
            </a:solidFill>
            <a:ln>
              <a:noFill/>
            </a:ln>
          </p:spPr>
          <p:style>
            <a:lnRef idx="2">
              <a:schemeClr val="dk1"/>
            </a:lnRef>
            <a:fillRef idx="1">
              <a:schemeClr val="lt1"/>
            </a:fillRef>
            <a:effectRef idx="0">
              <a:schemeClr val="dk1"/>
            </a:effectRef>
            <a:fontRef idx="minor">
              <a:schemeClr val="dk1"/>
            </a:fontRef>
          </p:style>
          <p:txBody>
            <a:bodyPr wrap="square" lIns="91440" tIns="0" rIns="91440" bIns="0" rtlCol="0" anchor="ctr">
              <a:noAutofit/>
            </a:bodyPr>
            <a:lstStyle/>
            <a:p>
              <a:pPr eaLnBrk="0" hangingPunct="0"/>
              <a:r>
                <a:rPr lang="en-US" sz="1400" i="1" dirty="0">
                  <a:solidFill>
                    <a:schemeClr val="tx2"/>
                  </a:solidFill>
                </a:rPr>
                <a:t>ECM activity to dominate fundraise over the next 3 years constituting around </a:t>
              </a:r>
              <a:r>
                <a:rPr lang="en-US" sz="1400" b="1" i="1" dirty="0">
                  <a:solidFill>
                    <a:schemeClr val="tx2"/>
                  </a:solidFill>
                </a:rPr>
                <a:t>62% </a:t>
              </a:r>
              <a:r>
                <a:rPr lang="en-US" sz="1400" i="1" dirty="0">
                  <a:solidFill>
                    <a:schemeClr val="tx2"/>
                  </a:solidFill>
                </a:rPr>
                <a:t>of the total fund raise</a:t>
              </a:r>
            </a:p>
          </p:txBody>
        </p:sp>
        <p:sp>
          <p:nvSpPr>
            <p:cNvPr id="18" name="Pentagon 7">
              <a:extLst>
                <a:ext uri="{FF2B5EF4-FFF2-40B4-BE49-F238E27FC236}">
                  <a16:creationId xmlns:a16="http://schemas.microsoft.com/office/drawing/2014/main" id="{A267D181-FBB7-D3B1-83C1-040B65C1F102}"/>
                </a:ext>
              </a:extLst>
            </p:cNvPr>
            <p:cNvSpPr>
              <a:spLocks/>
            </p:cNvSpPr>
            <p:nvPr/>
          </p:nvSpPr>
          <p:spPr>
            <a:xfrm>
              <a:off x="250343" y="1690457"/>
              <a:ext cx="365760" cy="274320"/>
            </a:xfrm>
            <a:prstGeom prst="homePlate">
              <a:avLst/>
            </a:prstGeom>
            <a:solidFill>
              <a:schemeClr val="bg2"/>
            </a:solidFill>
            <a:ln/>
          </p:spPr>
          <p:style>
            <a:lnRef idx="0">
              <a:schemeClr val="accent4"/>
            </a:lnRef>
            <a:fillRef idx="3">
              <a:schemeClr val="accent4"/>
            </a:fillRef>
            <a:effectRef idx="3">
              <a:schemeClr val="accent4"/>
            </a:effectRef>
            <a:fontRef idx="minor">
              <a:schemeClr val="lt1"/>
            </a:fontRef>
          </p:style>
          <p:txBody>
            <a:bodyPr wrap="none" rtlCol="0" anchor="ctr"/>
            <a:lstStyle/>
            <a:p>
              <a:pPr algn="ctr"/>
              <a:r>
                <a:rPr lang="en-US" sz="1600" b="1" dirty="0">
                  <a:solidFill>
                    <a:schemeClr val="bg1"/>
                  </a:solidFill>
                </a:rPr>
                <a:t>3</a:t>
              </a:r>
            </a:p>
          </p:txBody>
        </p:sp>
        <p:sp>
          <p:nvSpPr>
            <p:cNvPr id="19" name="Rectangle 18">
              <a:extLst>
                <a:ext uri="{FF2B5EF4-FFF2-40B4-BE49-F238E27FC236}">
                  <a16:creationId xmlns:a16="http://schemas.microsoft.com/office/drawing/2014/main" id="{F9E9A81F-34E2-0567-B989-2A02FDAA92A9}"/>
                </a:ext>
              </a:extLst>
            </p:cNvPr>
            <p:cNvSpPr/>
            <p:nvPr/>
          </p:nvSpPr>
          <p:spPr>
            <a:xfrm>
              <a:off x="707044" y="1332937"/>
              <a:ext cx="54864" cy="1044000"/>
            </a:xfrm>
            <a:prstGeom prst="rect">
              <a:avLst/>
            </a:prstGeom>
            <a:solidFill>
              <a:schemeClr val="bg2">
                <a:lumMod val="75000"/>
              </a:schemeClr>
            </a:solidFill>
            <a:ln>
              <a:noFill/>
            </a:ln>
          </p:spPr>
          <p:style>
            <a:lnRef idx="2">
              <a:schemeClr val="dk1"/>
            </a:lnRef>
            <a:fillRef idx="1">
              <a:schemeClr val="lt1"/>
            </a:fillRef>
            <a:effectRef idx="0">
              <a:schemeClr val="dk1"/>
            </a:effectRef>
            <a:fontRef idx="minor">
              <a:schemeClr val="dk1"/>
            </a:fontRef>
          </p:style>
          <p:txBody>
            <a:bodyPr wrap="square" lIns="91440" tIns="0" rIns="91440" bIns="0" rtlCol="0" anchor="ctr">
              <a:noAutofit/>
            </a:bodyPr>
            <a:lstStyle/>
            <a:p>
              <a:pPr eaLnBrk="0" hangingPunct="0"/>
              <a:endParaRPr lang="en-IN" sz="1400" b="1" dirty="0">
                <a:solidFill>
                  <a:prstClr val="black"/>
                </a:solidFill>
              </a:endParaRPr>
            </a:p>
          </p:txBody>
        </p:sp>
      </p:grpSp>
      <p:grpSp>
        <p:nvGrpSpPr>
          <p:cNvPr id="20" name="Group 19">
            <a:extLst>
              <a:ext uri="{FF2B5EF4-FFF2-40B4-BE49-F238E27FC236}">
                <a16:creationId xmlns:a16="http://schemas.microsoft.com/office/drawing/2014/main" id="{5790DCC9-63ED-7C0F-EBE7-7A8C298EE427}"/>
              </a:ext>
            </a:extLst>
          </p:cNvPr>
          <p:cNvGrpSpPr/>
          <p:nvPr/>
        </p:nvGrpSpPr>
        <p:grpSpPr>
          <a:xfrm>
            <a:off x="6353905" y="1433145"/>
            <a:ext cx="5325998" cy="1072060"/>
            <a:chOff x="250343" y="1332937"/>
            <a:chExt cx="5325998" cy="1072060"/>
          </a:xfrm>
        </p:grpSpPr>
        <p:sp>
          <p:nvSpPr>
            <p:cNvPr id="21" name="Rectangle 20">
              <a:extLst>
                <a:ext uri="{FF2B5EF4-FFF2-40B4-BE49-F238E27FC236}">
                  <a16:creationId xmlns:a16="http://schemas.microsoft.com/office/drawing/2014/main" id="{971849B5-01AB-CE2A-5AE1-BC47E949B652}"/>
                </a:ext>
              </a:extLst>
            </p:cNvPr>
            <p:cNvSpPr/>
            <p:nvPr/>
          </p:nvSpPr>
          <p:spPr>
            <a:xfrm>
              <a:off x="815641" y="1332937"/>
              <a:ext cx="4760700" cy="1072060"/>
            </a:xfrm>
            <a:prstGeom prst="rect">
              <a:avLst/>
            </a:prstGeom>
            <a:solidFill>
              <a:schemeClr val="bg2">
                <a:lumMod val="20000"/>
                <a:lumOff val="80000"/>
              </a:schemeClr>
            </a:solidFill>
            <a:ln>
              <a:noFill/>
            </a:ln>
          </p:spPr>
          <p:style>
            <a:lnRef idx="2">
              <a:schemeClr val="dk1"/>
            </a:lnRef>
            <a:fillRef idx="1">
              <a:schemeClr val="lt1"/>
            </a:fillRef>
            <a:effectRef idx="0">
              <a:schemeClr val="dk1"/>
            </a:effectRef>
            <a:fontRef idx="minor">
              <a:schemeClr val="dk1"/>
            </a:fontRef>
          </p:style>
          <p:txBody>
            <a:bodyPr wrap="square" lIns="91440" tIns="0" rIns="91440" bIns="0" rtlCol="0" anchor="ctr">
              <a:noAutofit/>
            </a:bodyPr>
            <a:lstStyle/>
            <a:p>
              <a:pPr eaLnBrk="0" hangingPunct="0"/>
              <a:r>
                <a:rPr lang="en-IN" sz="1400" i="1" dirty="0">
                  <a:solidFill>
                    <a:schemeClr val="tx2"/>
                  </a:solidFill>
                </a:rPr>
                <a:t>PE driven ECM exits to surpass private investments with ECM activities worth </a:t>
              </a:r>
              <a:r>
                <a:rPr lang="en-IN" sz="1400" b="1" i="1" dirty="0">
                  <a:solidFill>
                    <a:schemeClr val="tx2"/>
                  </a:solidFill>
                </a:rPr>
                <a:t>~INR 13,500 crores </a:t>
              </a:r>
              <a:r>
                <a:rPr lang="en-IN" sz="1400" i="1" dirty="0">
                  <a:solidFill>
                    <a:schemeClr val="tx2"/>
                  </a:solidFill>
                </a:rPr>
                <a:t>expected over the next 3 years</a:t>
              </a:r>
            </a:p>
          </p:txBody>
        </p:sp>
        <p:sp>
          <p:nvSpPr>
            <p:cNvPr id="22" name="Pentagon 7">
              <a:extLst>
                <a:ext uri="{FF2B5EF4-FFF2-40B4-BE49-F238E27FC236}">
                  <a16:creationId xmlns:a16="http://schemas.microsoft.com/office/drawing/2014/main" id="{B600CB25-EE48-7C2E-C39D-BDD19263177C}"/>
                </a:ext>
              </a:extLst>
            </p:cNvPr>
            <p:cNvSpPr>
              <a:spLocks/>
            </p:cNvSpPr>
            <p:nvPr/>
          </p:nvSpPr>
          <p:spPr>
            <a:xfrm>
              <a:off x="250343" y="1690457"/>
              <a:ext cx="365760" cy="274320"/>
            </a:xfrm>
            <a:prstGeom prst="homePlate">
              <a:avLst/>
            </a:prstGeom>
            <a:solidFill>
              <a:schemeClr val="bg2"/>
            </a:solidFill>
            <a:ln/>
          </p:spPr>
          <p:style>
            <a:lnRef idx="0">
              <a:schemeClr val="accent4"/>
            </a:lnRef>
            <a:fillRef idx="3">
              <a:schemeClr val="accent4"/>
            </a:fillRef>
            <a:effectRef idx="3">
              <a:schemeClr val="accent4"/>
            </a:effectRef>
            <a:fontRef idx="minor">
              <a:schemeClr val="lt1"/>
            </a:fontRef>
          </p:style>
          <p:txBody>
            <a:bodyPr wrap="none" rtlCol="0" anchor="ctr"/>
            <a:lstStyle/>
            <a:p>
              <a:pPr algn="ctr"/>
              <a:r>
                <a:rPr lang="en-US" sz="1600" b="1" dirty="0">
                  <a:solidFill>
                    <a:schemeClr val="bg1"/>
                  </a:solidFill>
                </a:rPr>
                <a:t>1</a:t>
              </a:r>
            </a:p>
          </p:txBody>
        </p:sp>
        <p:sp>
          <p:nvSpPr>
            <p:cNvPr id="25" name="Rectangle 24">
              <a:extLst>
                <a:ext uri="{FF2B5EF4-FFF2-40B4-BE49-F238E27FC236}">
                  <a16:creationId xmlns:a16="http://schemas.microsoft.com/office/drawing/2014/main" id="{789B3369-98A4-61C5-53AC-7131ADF64A61}"/>
                </a:ext>
              </a:extLst>
            </p:cNvPr>
            <p:cNvSpPr/>
            <p:nvPr/>
          </p:nvSpPr>
          <p:spPr>
            <a:xfrm>
              <a:off x="707044" y="1332937"/>
              <a:ext cx="54864" cy="1044000"/>
            </a:xfrm>
            <a:prstGeom prst="rect">
              <a:avLst/>
            </a:prstGeom>
            <a:solidFill>
              <a:schemeClr val="bg2">
                <a:lumMod val="75000"/>
              </a:schemeClr>
            </a:solidFill>
            <a:ln>
              <a:noFill/>
            </a:ln>
          </p:spPr>
          <p:style>
            <a:lnRef idx="2">
              <a:schemeClr val="dk1"/>
            </a:lnRef>
            <a:fillRef idx="1">
              <a:schemeClr val="lt1"/>
            </a:fillRef>
            <a:effectRef idx="0">
              <a:schemeClr val="dk1"/>
            </a:effectRef>
            <a:fontRef idx="minor">
              <a:schemeClr val="dk1"/>
            </a:fontRef>
          </p:style>
          <p:txBody>
            <a:bodyPr wrap="square" lIns="91440" tIns="0" rIns="91440" bIns="0" rtlCol="0" anchor="ctr">
              <a:noAutofit/>
            </a:bodyPr>
            <a:lstStyle/>
            <a:p>
              <a:pPr eaLnBrk="0" hangingPunct="0"/>
              <a:endParaRPr lang="en-IN" sz="1400" b="1" dirty="0">
                <a:solidFill>
                  <a:prstClr val="black"/>
                </a:solidFill>
              </a:endParaRPr>
            </a:p>
          </p:txBody>
        </p:sp>
      </p:grpSp>
      <p:grpSp>
        <p:nvGrpSpPr>
          <p:cNvPr id="26" name="Group 25">
            <a:extLst>
              <a:ext uri="{FF2B5EF4-FFF2-40B4-BE49-F238E27FC236}">
                <a16:creationId xmlns:a16="http://schemas.microsoft.com/office/drawing/2014/main" id="{D71C37B3-0420-DE4D-4015-21E1BE892E7E}"/>
              </a:ext>
            </a:extLst>
          </p:cNvPr>
          <p:cNvGrpSpPr/>
          <p:nvPr/>
        </p:nvGrpSpPr>
        <p:grpSpPr>
          <a:xfrm>
            <a:off x="6353905" y="3082433"/>
            <a:ext cx="5325998" cy="1072060"/>
            <a:chOff x="250343" y="1332937"/>
            <a:chExt cx="5325998" cy="1072060"/>
          </a:xfrm>
        </p:grpSpPr>
        <p:sp>
          <p:nvSpPr>
            <p:cNvPr id="27" name="Rectangle 26">
              <a:extLst>
                <a:ext uri="{FF2B5EF4-FFF2-40B4-BE49-F238E27FC236}">
                  <a16:creationId xmlns:a16="http://schemas.microsoft.com/office/drawing/2014/main" id="{81F8D5C5-2F6E-5437-635D-ED83A4496D25}"/>
                </a:ext>
              </a:extLst>
            </p:cNvPr>
            <p:cNvSpPr/>
            <p:nvPr/>
          </p:nvSpPr>
          <p:spPr>
            <a:xfrm>
              <a:off x="815641" y="1332937"/>
              <a:ext cx="4760700" cy="1072060"/>
            </a:xfrm>
            <a:prstGeom prst="rect">
              <a:avLst/>
            </a:prstGeom>
            <a:solidFill>
              <a:schemeClr val="bg2">
                <a:lumMod val="20000"/>
                <a:lumOff val="80000"/>
              </a:schemeClr>
            </a:solidFill>
            <a:ln>
              <a:noFill/>
            </a:ln>
          </p:spPr>
          <p:style>
            <a:lnRef idx="2">
              <a:schemeClr val="dk1"/>
            </a:lnRef>
            <a:fillRef idx="1">
              <a:schemeClr val="lt1"/>
            </a:fillRef>
            <a:effectRef idx="0">
              <a:schemeClr val="dk1"/>
            </a:effectRef>
            <a:fontRef idx="minor">
              <a:schemeClr val="dk1"/>
            </a:fontRef>
          </p:style>
          <p:txBody>
            <a:bodyPr wrap="square" lIns="91440" tIns="0" rIns="91440" bIns="0" rtlCol="0" anchor="ctr">
              <a:noAutofit/>
            </a:bodyPr>
            <a:lstStyle/>
            <a:p>
              <a:pPr eaLnBrk="0" hangingPunct="0"/>
              <a:r>
                <a:rPr lang="en-IN" sz="1400" i="1" dirty="0">
                  <a:solidFill>
                    <a:schemeClr val="tx2"/>
                  </a:solidFill>
                </a:rPr>
                <a:t>Private equity investments to exceed </a:t>
              </a:r>
              <a:r>
                <a:rPr lang="en-IN" sz="1400" b="1" i="1" dirty="0">
                  <a:solidFill>
                    <a:schemeClr val="tx2"/>
                  </a:solidFill>
                </a:rPr>
                <a:t>INR 11,500 crores </a:t>
              </a:r>
              <a:r>
                <a:rPr lang="en-IN" sz="1400" i="1" dirty="0">
                  <a:solidFill>
                    <a:schemeClr val="tx2"/>
                  </a:solidFill>
                </a:rPr>
                <a:t>at </a:t>
              </a:r>
              <a:r>
                <a:rPr lang="en-IN" sz="1400" b="1" i="1" dirty="0">
                  <a:solidFill>
                    <a:schemeClr val="tx2"/>
                  </a:solidFill>
                </a:rPr>
                <a:t>10% CAGR </a:t>
              </a:r>
              <a:r>
                <a:rPr lang="en-IN" sz="1400" i="1" dirty="0">
                  <a:solidFill>
                    <a:schemeClr val="tx2"/>
                  </a:solidFill>
                </a:rPr>
                <a:t>over the next 3 years</a:t>
              </a:r>
            </a:p>
          </p:txBody>
        </p:sp>
        <p:sp>
          <p:nvSpPr>
            <p:cNvPr id="28" name="Pentagon 7">
              <a:extLst>
                <a:ext uri="{FF2B5EF4-FFF2-40B4-BE49-F238E27FC236}">
                  <a16:creationId xmlns:a16="http://schemas.microsoft.com/office/drawing/2014/main" id="{4215A860-B5D2-C2A7-BE06-5BBF0C2D972F}"/>
                </a:ext>
              </a:extLst>
            </p:cNvPr>
            <p:cNvSpPr>
              <a:spLocks/>
            </p:cNvSpPr>
            <p:nvPr/>
          </p:nvSpPr>
          <p:spPr>
            <a:xfrm>
              <a:off x="250343" y="1690457"/>
              <a:ext cx="365760" cy="274320"/>
            </a:xfrm>
            <a:prstGeom prst="homePlate">
              <a:avLst/>
            </a:prstGeom>
            <a:solidFill>
              <a:schemeClr val="bg2"/>
            </a:solidFill>
            <a:ln/>
          </p:spPr>
          <p:style>
            <a:lnRef idx="0">
              <a:schemeClr val="accent4"/>
            </a:lnRef>
            <a:fillRef idx="3">
              <a:schemeClr val="accent4"/>
            </a:fillRef>
            <a:effectRef idx="3">
              <a:schemeClr val="accent4"/>
            </a:effectRef>
            <a:fontRef idx="minor">
              <a:schemeClr val="lt1"/>
            </a:fontRef>
          </p:style>
          <p:txBody>
            <a:bodyPr wrap="none" rtlCol="0" anchor="ctr"/>
            <a:lstStyle/>
            <a:p>
              <a:pPr algn="ctr"/>
              <a:r>
                <a:rPr lang="en-US" sz="1600" b="1" dirty="0">
                  <a:solidFill>
                    <a:schemeClr val="bg1"/>
                  </a:solidFill>
                </a:rPr>
                <a:t>2</a:t>
              </a:r>
            </a:p>
          </p:txBody>
        </p:sp>
        <p:sp>
          <p:nvSpPr>
            <p:cNvPr id="29" name="Rectangle 28">
              <a:extLst>
                <a:ext uri="{FF2B5EF4-FFF2-40B4-BE49-F238E27FC236}">
                  <a16:creationId xmlns:a16="http://schemas.microsoft.com/office/drawing/2014/main" id="{A80E8CE1-BFD6-E475-6338-8496E972B29B}"/>
                </a:ext>
              </a:extLst>
            </p:cNvPr>
            <p:cNvSpPr/>
            <p:nvPr/>
          </p:nvSpPr>
          <p:spPr>
            <a:xfrm>
              <a:off x="707044" y="1332937"/>
              <a:ext cx="54864" cy="1044000"/>
            </a:xfrm>
            <a:prstGeom prst="rect">
              <a:avLst/>
            </a:prstGeom>
            <a:solidFill>
              <a:schemeClr val="bg2">
                <a:lumMod val="75000"/>
              </a:schemeClr>
            </a:solidFill>
            <a:ln>
              <a:noFill/>
            </a:ln>
          </p:spPr>
          <p:style>
            <a:lnRef idx="2">
              <a:schemeClr val="dk1"/>
            </a:lnRef>
            <a:fillRef idx="1">
              <a:schemeClr val="lt1"/>
            </a:fillRef>
            <a:effectRef idx="0">
              <a:schemeClr val="dk1"/>
            </a:effectRef>
            <a:fontRef idx="minor">
              <a:schemeClr val="dk1"/>
            </a:fontRef>
          </p:style>
          <p:txBody>
            <a:bodyPr wrap="square" lIns="91440" tIns="0" rIns="91440" bIns="0" rtlCol="0" anchor="ctr">
              <a:noAutofit/>
            </a:bodyPr>
            <a:lstStyle/>
            <a:p>
              <a:pPr eaLnBrk="0" hangingPunct="0"/>
              <a:endParaRPr lang="en-IN" sz="1400" b="1" dirty="0">
                <a:solidFill>
                  <a:prstClr val="black"/>
                </a:solidFill>
              </a:endParaRPr>
            </a:p>
          </p:txBody>
        </p:sp>
      </p:grpSp>
      <p:grpSp>
        <p:nvGrpSpPr>
          <p:cNvPr id="30" name="Group 29">
            <a:extLst>
              <a:ext uri="{FF2B5EF4-FFF2-40B4-BE49-F238E27FC236}">
                <a16:creationId xmlns:a16="http://schemas.microsoft.com/office/drawing/2014/main" id="{94F31002-BB43-E7CF-7803-3DD2F786620F}"/>
              </a:ext>
            </a:extLst>
          </p:cNvPr>
          <p:cNvGrpSpPr/>
          <p:nvPr/>
        </p:nvGrpSpPr>
        <p:grpSpPr>
          <a:xfrm>
            <a:off x="6353905" y="4731721"/>
            <a:ext cx="5325998" cy="1072060"/>
            <a:chOff x="250343" y="1332937"/>
            <a:chExt cx="5325998" cy="1072060"/>
          </a:xfrm>
        </p:grpSpPr>
        <p:sp>
          <p:nvSpPr>
            <p:cNvPr id="31" name="Rectangle 30">
              <a:extLst>
                <a:ext uri="{FF2B5EF4-FFF2-40B4-BE49-F238E27FC236}">
                  <a16:creationId xmlns:a16="http://schemas.microsoft.com/office/drawing/2014/main" id="{A585F788-01DB-57CB-6594-4BB804D14223}"/>
                </a:ext>
              </a:extLst>
            </p:cNvPr>
            <p:cNvSpPr/>
            <p:nvPr/>
          </p:nvSpPr>
          <p:spPr>
            <a:xfrm>
              <a:off x="815641" y="1332937"/>
              <a:ext cx="4760700" cy="1072060"/>
            </a:xfrm>
            <a:prstGeom prst="rect">
              <a:avLst/>
            </a:prstGeom>
            <a:solidFill>
              <a:schemeClr val="bg2">
                <a:lumMod val="20000"/>
                <a:lumOff val="80000"/>
              </a:schemeClr>
            </a:solidFill>
            <a:ln>
              <a:noFill/>
            </a:ln>
          </p:spPr>
          <p:style>
            <a:lnRef idx="2">
              <a:schemeClr val="dk1"/>
            </a:lnRef>
            <a:fillRef idx="1">
              <a:schemeClr val="lt1"/>
            </a:fillRef>
            <a:effectRef idx="0">
              <a:schemeClr val="dk1"/>
            </a:effectRef>
            <a:fontRef idx="minor">
              <a:schemeClr val="dk1"/>
            </a:fontRef>
          </p:style>
          <p:txBody>
            <a:bodyPr wrap="square" lIns="91440" tIns="0" rIns="91440" bIns="0" rtlCol="0" anchor="ctr">
              <a:noAutofit/>
            </a:bodyPr>
            <a:lstStyle/>
            <a:p>
              <a:pPr eaLnBrk="0" hangingPunct="0"/>
              <a:r>
                <a:rPr lang="en-US" sz="1400" i="1" dirty="0">
                  <a:solidFill>
                    <a:schemeClr val="tx2"/>
                  </a:solidFill>
                </a:rPr>
                <a:t>ECM activity to dominate fundraise over the next 3 years constituting around </a:t>
              </a:r>
              <a:r>
                <a:rPr lang="en-US" sz="1400" b="1" i="1" dirty="0">
                  <a:solidFill>
                    <a:schemeClr val="tx2"/>
                  </a:solidFill>
                </a:rPr>
                <a:t>54% </a:t>
              </a:r>
              <a:r>
                <a:rPr lang="en-US" sz="1400" i="1" dirty="0">
                  <a:solidFill>
                    <a:schemeClr val="tx2"/>
                  </a:solidFill>
                </a:rPr>
                <a:t>of the total fund raise</a:t>
              </a:r>
            </a:p>
          </p:txBody>
        </p:sp>
        <p:sp>
          <p:nvSpPr>
            <p:cNvPr id="32" name="Pentagon 7">
              <a:extLst>
                <a:ext uri="{FF2B5EF4-FFF2-40B4-BE49-F238E27FC236}">
                  <a16:creationId xmlns:a16="http://schemas.microsoft.com/office/drawing/2014/main" id="{5F4C0EA1-29A2-5699-FE3D-05275854ACDF}"/>
                </a:ext>
              </a:extLst>
            </p:cNvPr>
            <p:cNvSpPr>
              <a:spLocks/>
            </p:cNvSpPr>
            <p:nvPr/>
          </p:nvSpPr>
          <p:spPr>
            <a:xfrm>
              <a:off x="250343" y="1690457"/>
              <a:ext cx="365760" cy="274320"/>
            </a:xfrm>
            <a:prstGeom prst="homePlate">
              <a:avLst/>
            </a:prstGeom>
            <a:solidFill>
              <a:schemeClr val="bg2"/>
            </a:solidFill>
            <a:ln/>
          </p:spPr>
          <p:style>
            <a:lnRef idx="0">
              <a:schemeClr val="accent4"/>
            </a:lnRef>
            <a:fillRef idx="3">
              <a:schemeClr val="accent4"/>
            </a:fillRef>
            <a:effectRef idx="3">
              <a:schemeClr val="accent4"/>
            </a:effectRef>
            <a:fontRef idx="minor">
              <a:schemeClr val="lt1"/>
            </a:fontRef>
          </p:style>
          <p:txBody>
            <a:bodyPr wrap="none" rtlCol="0" anchor="ctr"/>
            <a:lstStyle/>
            <a:p>
              <a:pPr algn="ctr"/>
              <a:r>
                <a:rPr lang="en-US" sz="1600" b="1" dirty="0">
                  <a:solidFill>
                    <a:schemeClr val="bg1"/>
                  </a:solidFill>
                </a:rPr>
                <a:t>3</a:t>
              </a:r>
            </a:p>
          </p:txBody>
        </p:sp>
        <p:sp>
          <p:nvSpPr>
            <p:cNvPr id="33" name="Rectangle 32">
              <a:extLst>
                <a:ext uri="{FF2B5EF4-FFF2-40B4-BE49-F238E27FC236}">
                  <a16:creationId xmlns:a16="http://schemas.microsoft.com/office/drawing/2014/main" id="{28DBC547-395C-379E-49B1-604A7938D16C}"/>
                </a:ext>
              </a:extLst>
            </p:cNvPr>
            <p:cNvSpPr/>
            <p:nvPr/>
          </p:nvSpPr>
          <p:spPr>
            <a:xfrm>
              <a:off x="707044" y="1332937"/>
              <a:ext cx="54864" cy="1044000"/>
            </a:xfrm>
            <a:prstGeom prst="rect">
              <a:avLst/>
            </a:prstGeom>
            <a:solidFill>
              <a:schemeClr val="bg2">
                <a:lumMod val="75000"/>
              </a:schemeClr>
            </a:solidFill>
            <a:ln>
              <a:noFill/>
            </a:ln>
          </p:spPr>
          <p:style>
            <a:lnRef idx="2">
              <a:schemeClr val="dk1"/>
            </a:lnRef>
            <a:fillRef idx="1">
              <a:schemeClr val="lt1"/>
            </a:fillRef>
            <a:effectRef idx="0">
              <a:schemeClr val="dk1"/>
            </a:effectRef>
            <a:fontRef idx="minor">
              <a:schemeClr val="dk1"/>
            </a:fontRef>
          </p:style>
          <p:txBody>
            <a:bodyPr wrap="square" lIns="91440" tIns="0" rIns="91440" bIns="0" rtlCol="0" anchor="ctr">
              <a:noAutofit/>
            </a:bodyPr>
            <a:lstStyle/>
            <a:p>
              <a:pPr eaLnBrk="0" hangingPunct="0"/>
              <a:endParaRPr lang="en-IN" sz="1400" b="1" dirty="0">
                <a:solidFill>
                  <a:prstClr val="black"/>
                </a:solidFill>
              </a:endParaRPr>
            </a:p>
          </p:txBody>
        </p:sp>
      </p:grpSp>
    </p:spTree>
    <p:extLst>
      <p:ext uri="{BB962C8B-B14F-4D97-AF65-F5344CB8AC3E}">
        <p14:creationId xmlns:p14="http://schemas.microsoft.com/office/powerpoint/2010/main" val="8607884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63693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593964F6-8722-80E8-6DBA-123078157B56}"/>
              </a:ext>
            </a:extLst>
          </p:cNvPr>
          <p:cNvSpPr>
            <a:spLocks noGrp="1"/>
          </p:cNvSpPr>
          <p:nvPr>
            <p:ph type="title"/>
          </p:nvPr>
        </p:nvSpPr>
        <p:spPr/>
        <p:txBody>
          <a:bodyPr/>
          <a:lstStyle/>
          <a:p>
            <a:r>
              <a:rPr lang="en-US" dirty="0"/>
              <a:t>Indian Lifesciences : Sector for all seasons </a:t>
            </a:r>
            <a:endParaRPr lang="en-IN" dirty="0"/>
          </a:p>
        </p:txBody>
      </p:sp>
      <p:sp>
        <p:nvSpPr>
          <p:cNvPr id="20" name="Text Placeholder 19">
            <a:extLst>
              <a:ext uri="{FF2B5EF4-FFF2-40B4-BE49-F238E27FC236}">
                <a16:creationId xmlns:a16="http://schemas.microsoft.com/office/drawing/2014/main" id="{2FF66AE3-D544-3688-056C-79A505FB57A3}"/>
              </a:ext>
            </a:extLst>
          </p:cNvPr>
          <p:cNvSpPr>
            <a:spLocks noGrp="1"/>
          </p:cNvSpPr>
          <p:nvPr>
            <p:ph type="body" sz="quarter" idx="10"/>
          </p:nvPr>
        </p:nvSpPr>
        <p:spPr/>
        <p:txBody>
          <a:bodyPr/>
          <a:lstStyle/>
          <a:p>
            <a:endParaRPr lang="en-IN"/>
          </a:p>
        </p:txBody>
      </p:sp>
      <p:sp>
        <p:nvSpPr>
          <p:cNvPr id="21" name="Text Placeholder 20">
            <a:extLst>
              <a:ext uri="{FF2B5EF4-FFF2-40B4-BE49-F238E27FC236}">
                <a16:creationId xmlns:a16="http://schemas.microsoft.com/office/drawing/2014/main" id="{54FC1516-03A2-CE28-8E16-4424091F29B5}"/>
              </a:ext>
            </a:extLst>
          </p:cNvPr>
          <p:cNvSpPr>
            <a:spLocks noGrp="1"/>
          </p:cNvSpPr>
          <p:nvPr>
            <p:ph type="body" sz="quarter" idx="11"/>
          </p:nvPr>
        </p:nvSpPr>
        <p:spPr/>
        <p:txBody>
          <a:bodyPr/>
          <a:lstStyle/>
          <a:p>
            <a:r>
              <a:rPr lang="en-IN"/>
              <a:t>Source: Bloomberg. Notes: Considered companies only with current market cap of INR 3,000 Crores.</a:t>
            </a:r>
          </a:p>
        </p:txBody>
      </p:sp>
      <p:sp>
        <p:nvSpPr>
          <p:cNvPr id="13" name="Text Placeholder 12">
            <a:extLst>
              <a:ext uri="{FF2B5EF4-FFF2-40B4-BE49-F238E27FC236}">
                <a16:creationId xmlns:a16="http://schemas.microsoft.com/office/drawing/2014/main" id="{D5D56624-F14E-E2DC-D93A-817E0BB20170}"/>
              </a:ext>
            </a:extLst>
          </p:cNvPr>
          <p:cNvSpPr>
            <a:spLocks noGrp="1"/>
          </p:cNvSpPr>
          <p:nvPr>
            <p:ph type="body" idx="1"/>
          </p:nvPr>
        </p:nvSpPr>
        <p:spPr/>
        <p:txBody>
          <a:bodyPr/>
          <a:lstStyle/>
          <a:p>
            <a:r>
              <a:rPr lang="en-US" dirty="0"/>
              <a:t>Lifesciences industry V/s NIFTY 50</a:t>
            </a:r>
            <a:endParaRPr lang="en-IN" dirty="0"/>
          </a:p>
        </p:txBody>
      </p:sp>
      <p:sp>
        <p:nvSpPr>
          <p:cNvPr id="16" name="Text Placeholder 15">
            <a:extLst>
              <a:ext uri="{FF2B5EF4-FFF2-40B4-BE49-F238E27FC236}">
                <a16:creationId xmlns:a16="http://schemas.microsoft.com/office/drawing/2014/main" id="{72F0A2B6-8D4D-8330-4155-3431006D2BCE}"/>
              </a:ext>
            </a:extLst>
          </p:cNvPr>
          <p:cNvSpPr>
            <a:spLocks noGrp="1"/>
          </p:cNvSpPr>
          <p:nvPr>
            <p:ph type="body" idx="12"/>
          </p:nvPr>
        </p:nvSpPr>
        <p:spPr/>
        <p:txBody>
          <a:bodyPr/>
          <a:lstStyle/>
          <a:p>
            <a:r>
              <a:rPr lang="en-US" dirty="0"/>
              <a:t>Lifesciences sectors V/s Nifty 50 </a:t>
            </a:r>
            <a:endParaRPr lang="en-IN" dirty="0"/>
          </a:p>
        </p:txBody>
      </p:sp>
      <p:grpSp>
        <p:nvGrpSpPr>
          <p:cNvPr id="25" name="Group 24">
            <a:extLst>
              <a:ext uri="{FF2B5EF4-FFF2-40B4-BE49-F238E27FC236}">
                <a16:creationId xmlns:a16="http://schemas.microsoft.com/office/drawing/2014/main" id="{796719D8-1FB5-F86F-74B8-26F7FE72F871}"/>
              </a:ext>
            </a:extLst>
          </p:cNvPr>
          <p:cNvGrpSpPr/>
          <p:nvPr/>
        </p:nvGrpSpPr>
        <p:grpSpPr>
          <a:xfrm>
            <a:off x="344487" y="1415325"/>
            <a:ext cx="5706200" cy="4725700"/>
            <a:chOff x="296057" y="3428999"/>
            <a:chExt cx="5686108" cy="3062205"/>
          </a:xfrm>
        </p:grpSpPr>
        <p:graphicFrame>
          <p:nvGraphicFramePr>
            <p:cNvPr id="2" name="Content Placeholder 6">
              <a:extLst>
                <a:ext uri="{FF2B5EF4-FFF2-40B4-BE49-F238E27FC236}">
                  <a16:creationId xmlns:a16="http://schemas.microsoft.com/office/drawing/2014/main" id="{67045D29-05EE-B310-7F61-1B7ED65C3BB7}"/>
                </a:ext>
              </a:extLst>
            </p:cNvPr>
            <p:cNvGraphicFramePr>
              <a:graphicFrameLocks/>
            </p:cNvGraphicFramePr>
            <p:nvPr>
              <p:extLst>
                <p:ext uri="{D42A27DB-BD31-4B8C-83A1-F6EECF244321}">
                  <p14:modId xmlns:p14="http://schemas.microsoft.com/office/powerpoint/2010/main" val="2958138070"/>
                </p:ext>
              </p:extLst>
            </p:nvPr>
          </p:nvGraphicFramePr>
          <p:xfrm>
            <a:off x="296057" y="3428999"/>
            <a:ext cx="5608844" cy="3062205"/>
          </p:xfrm>
          <a:graphic>
            <a:graphicData uri="http://schemas.openxmlformats.org/drawingml/2006/chart">
              <c:chart xmlns:c="http://schemas.openxmlformats.org/drawingml/2006/chart" xmlns:r="http://schemas.openxmlformats.org/officeDocument/2006/relationships" r:id="rId2"/>
            </a:graphicData>
          </a:graphic>
        </p:graphicFrame>
        <p:sp>
          <p:nvSpPr>
            <p:cNvPr id="15" name="TextBox 14">
              <a:extLst>
                <a:ext uri="{FF2B5EF4-FFF2-40B4-BE49-F238E27FC236}">
                  <a16:creationId xmlns:a16="http://schemas.microsoft.com/office/drawing/2014/main" id="{4D42C48D-7F93-47B7-40EC-CFE2BC4210DE}"/>
                </a:ext>
              </a:extLst>
            </p:cNvPr>
            <p:cNvSpPr txBox="1"/>
            <p:nvPr/>
          </p:nvSpPr>
          <p:spPr>
            <a:xfrm>
              <a:off x="5388439" y="3692025"/>
              <a:ext cx="593726" cy="230832"/>
            </a:xfrm>
            <a:prstGeom prst="rect">
              <a:avLst/>
            </a:prstGeom>
            <a:noFill/>
          </p:spPr>
          <p:txBody>
            <a:bodyPr wrap="square" rtlCol="0">
              <a:spAutoFit/>
            </a:bodyPr>
            <a:lstStyle/>
            <a:p>
              <a:r>
                <a:rPr lang="en-US" sz="900" b="1"/>
                <a:t>+236%</a:t>
              </a:r>
              <a:endParaRPr lang="en-IN" sz="900" b="1"/>
            </a:p>
          </p:txBody>
        </p:sp>
        <p:sp>
          <p:nvSpPr>
            <p:cNvPr id="17" name="TextBox 16">
              <a:extLst>
                <a:ext uri="{FF2B5EF4-FFF2-40B4-BE49-F238E27FC236}">
                  <a16:creationId xmlns:a16="http://schemas.microsoft.com/office/drawing/2014/main" id="{FCA07C4C-2EB7-5D40-BB2A-78803429DD2F}"/>
                </a:ext>
              </a:extLst>
            </p:cNvPr>
            <p:cNvSpPr txBox="1"/>
            <p:nvPr/>
          </p:nvSpPr>
          <p:spPr>
            <a:xfrm>
              <a:off x="5381184" y="4178254"/>
              <a:ext cx="593726" cy="230832"/>
            </a:xfrm>
            <a:prstGeom prst="rect">
              <a:avLst/>
            </a:prstGeom>
            <a:noFill/>
          </p:spPr>
          <p:txBody>
            <a:bodyPr wrap="square" rtlCol="0">
              <a:spAutoFit/>
            </a:bodyPr>
            <a:lstStyle/>
            <a:p>
              <a:r>
                <a:rPr lang="en-US" sz="900" b="1"/>
                <a:t>+144%</a:t>
              </a:r>
              <a:endParaRPr lang="en-IN" sz="900" b="1"/>
            </a:p>
          </p:txBody>
        </p:sp>
      </p:grpSp>
      <p:grpSp>
        <p:nvGrpSpPr>
          <p:cNvPr id="22" name="Group 21">
            <a:extLst>
              <a:ext uri="{FF2B5EF4-FFF2-40B4-BE49-F238E27FC236}">
                <a16:creationId xmlns:a16="http://schemas.microsoft.com/office/drawing/2014/main" id="{11C2D93F-A306-DD4D-351D-5FEDB92A6A44}"/>
              </a:ext>
            </a:extLst>
          </p:cNvPr>
          <p:cNvGrpSpPr/>
          <p:nvPr/>
        </p:nvGrpSpPr>
        <p:grpSpPr>
          <a:xfrm>
            <a:off x="2332739" y="1350528"/>
            <a:ext cx="1995071" cy="1525771"/>
            <a:chOff x="3228092" y="1358538"/>
            <a:chExt cx="2367975" cy="1975212"/>
          </a:xfrm>
        </p:grpSpPr>
        <p:sp>
          <p:nvSpPr>
            <p:cNvPr id="7" name="Oval 6">
              <a:extLst>
                <a:ext uri="{FF2B5EF4-FFF2-40B4-BE49-F238E27FC236}">
                  <a16:creationId xmlns:a16="http://schemas.microsoft.com/office/drawing/2014/main" id="{CF522062-3913-0A84-6838-A42C4015B778}"/>
                </a:ext>
              </a:extLst>
            </p:cNvPr>
            <p:cNvSpPr/>
            <p:nvPr/>
          </p:nvSpPr>
          <p:spPr>
            <a:xfrm>
              <a:off x="3228092" y="1358538"/>
              <a:ext cx="2265567" cy="1975212"/>
            </a:xfrm>
            <a:prstGeom prst="ellipse">
              <a:avLst/>
            </a:prstGeom>
            <a:solidFill>
              <a:schemeClr val="bg1">
                <a:lumMod val="95000"/>
              </a:schemeClr>
            </a:solid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graphicFrame>
          <p:nvGraphicFramePr>
            <p:cNvPr id="4" name="Content Placeholder 39">
              <a:extLst>
                <a:ext uri="{FF2B5EF4-FFF2-40B4-BE49-F238E27FC236}">
                  <a16:creationId xmlns:a16="http://schemas.microsoft.com/office/drawing/2014/main" id="{27485D60-7498-2CCF-79D0-2B4A2D7E3532}"/>
                </a:ext>
              </a:extLst>
            </p:cNvPr>
            <p:cNvGraphicFramePr>
              <a:graphicFrameLocks/>
            </p:cNvGraphicFramePr>
            <p:nvPr>
              <p:extLst>
                <p:ext uri="{D42A27DB-BD31-4B8C-83A1-F6EECF244321}">
                  <p14:modId xmlns:p14="http://schemas.microsoft.com/office/powerpoint/2010/main" val="2788542321"/>
                </p:ext>
              </p:extLst>
            </p:nvPr>
          </p:nvGraphicFramePr>
          <p:xfrm>
            <a:off x="3275180" y="1710690"/>
            <a:ext cx="1925469" cy="1252822"/>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a:extLst>
                <a:ext uri="{FF2B5EF4-FFF2-40B4-BE49-F238E27FC236}">
                  <a16:creationId xmlns:a16="http://schemas.microsoft.com/office/drawing/2014/main" id="{CE0A46D8-B4AD-FF0F-7C1D-1941A59DF376}"/>
                </a:ext>
              </a:extLst>
            </p:cNvPr>
            <p:cNvSpPr txBox="1"/>
            <p:nvPr/>
          </p:nvSpPr>
          <p:spPr>
            <a:xfrm>
              <a:off x="4183002" y="3077517"/>
              <a:ext cx="757430" cy="215444"/>
            </a:xfrm>
            <a:prstGeom prst="rect">
              <a:avLst/>
            </a:prstGeom>
            <a:noFill/>
          </p:spPr>
          <p:txBody>
            <a:bodyPr wrap="square" rtlCol="0">
              <a:spAutoFit/>
            </a:bodyPr>
            <a:lstStyle/>
            <a:p>
              <a:r>
                <a:rPr lang="en-US" sz="800" b="1" dirty="0"/>
                <a:t>1 Year</a:t>
              </a:r>
              <a:endParaRPr lang="en-IN" sz="800" b="1" dirty="0"/>
            </a:p>
          </p:txBody>
        </p:sp>
        <p:sp>
          <p:nvSpPr>
            <p:cNvPr id="18" name="TextBox 17">
              <a:extLst>
                <a:ext uri="{FF2B5EF4-FFF2-40B4-BE49-F238E27FC236}">
                  <a16:creationId xmlns:a16="http://schemas.microsoft.com/office/drawing/2014/main" id="{99D73D0A-D758-7CFA-E2AB-FF1C2DC4E17B}"/>
                </a:ext>
              </a:extLst>
            </p:cNvPr>
            <p:cNvSpPr txBox="1"/>
            <p:nvPr/>
          </p:nvSpPr>
          <p:spPr>
            <a:xfrm>
              <a:off x="4959135" y="1828892"/>
              <a:ext cx="593726" cy="230832"/>
            </a:xfrm>
            <a:prstGeom prst="rect">
              <a:avLst/>
            </a:prstGeom>
            <a:noFill/>
          </p:spPr>
          <p:txBody>
            <a:bodyPr wrap="square" rtlCol="0">
              <a:spAutoFit/>
            </a:bodyPr>
            <a:lstStyle/>
            <a:p>
              <a:r>
                <a:rPr lang="en-US" sz="900" b="1"/>
                <a:t>+25%</a:t>
              </a:r>
              <a:endParaRPr lang="en-IN" sz="900" b="1"/>
            </a:p>
          </p:txBody>
        </p:sp>
        <p:sp>
          <p:nvSpPr>
            <p:cNvPr id="24" name="TextBox 23">
              <a:extLst>
                <a:ext uri="{FF2B5EF4-FFF2-40B4-BE49-F238E27FC236}">
                  <a16:creationId xmlns:a16="http://schemas.microsoft.com/office/drawing/2014/main" id="{130E82A3-34D4-BE6B-540A-CEABE67000F5}"/>
                </a:ext>
              </a:extLst>
            </p:cNvPr>
            <p:cNvSpPr txBox="1"/>
            <p:nvPr/>
          </p:nvSpPr>
          <p:spPr>
            <a:xfrm>
              <a:off x="5002341" y="2059724"/>
              <a:ext cx="593726" cy="230832"/>
            </a:xfrm>
            <a:prstGeom prst="rect">
              <a:avLst/>
            </a:prstGeom>
            <a:noFill/>
          </p:spPr>
          <p:txBody>
            <a:bodyPr wrap="square" rtlCol="0">
              <a:spAutoFit/>
            </a:bodyPr>
            <a:lstStyle/>
            <a:p>
              <a:r>
                <a:rPr lang="en-US" sz="900" b="1"/>
                <a:t>+15%</a:t>
              </a:r>
              <a:endParaRPr lang="en-IN" sz="900" b="1"/>
            </a:p>
          </p:txBody>
        </p:sp>
      </p:grpSp>
      <p:graphicFrame>
        <p:nvGraphicFramePr>
          <p:cNvPr id="11" name="Content Placeholder 42">
            <a:extLst>
              <a:ext uri="{FF2B5EF4-FFF2-40B4-BE49-F238E27FC236}">
                <a16:creationId xmlns:a16="http://schemas.microsoft.com/office/drawing/2014/main" id="{7DEF93DE-39DC-EC06-4F65-891D2F29EB11}"/>
              </a:ext>
            </a:extLst>
          </p:cNvPr>
          <p:cNvGraphicFramePr>
            <a:graphicFrameLocks/>
          </p:cNvGraphicFramePr>
          <p:nvPr>
            <p:extLst>
              <p:ext uri="{D42A27DB-BD31-4B8C-83A1-F6EECF244321}">
                <p14:modId xmlns:p14="http://schemas.microsoft.com/office/powerpoint/2010/main" val="2575535406"/>
              </p:ext>
            </p:extLst>
          </p:nvPr>
        </p:nvGraphicFramePr>
        <p:xfrm>
          <a:off x="6336334" y="963403"/>
          <a:ext cx="5192910" cy="4516511"/>
        </p:xfrm>
        <a:graphic>
          <a:graphicData uri="http://schemas.openxmlformats.org/drawingml/2006/chart">
            <c:chart xmlns:c="http://schemas.openxmlformats.org/drawingml/2006/chart" xmlns:r="http://schemas.openxmlformats.org/officeDocument/2006/relationships" r:id="rId4"/>
          </a:graphicData>
        </a:graphic>
      </p:graphicFrame>
      <p:sp>
        <p:nvSpPr>
          <p:cNvPr id="27" name="TextBox 26">
            <a:extLst>
              <a:ext uri="{FF2B5EF4-FFF2-40B4-BE49-F238E27FC236}">
                <a16:creationId xmlns:a16="http://schemas.microsoft.com/office/drawing/2014/main" id="{A506E598-4C10-3959-CFE5-F8DB95E7FB5D}"/>
              </a:ext>
            </a:extLst>
          </p:cNvPr>
          <p:cNvSpPr txBox="1"/>
          <p:nvPr/>
        </p:nvSpPr>
        <p:spPr>
          <a:xfrm>
            <a:off x="11462243" y="4643840"/>
            <a:ext cx="609736" cy="215416"/>
          </a:xfrm>
          <a:prstGeom prst="rect">
            <a:avLst/>
          </a:prstGeom>
          <a:noFill/>
        </p:spPr>
        <p:txBody>
          <a:bodyPr wrap="square" rtlCol="0">
            <a:spAutoFit/>
          </a:bodyPr>
          <a:lstStyle/>
          <a:p>
            <a:r>
              <a:rPr lang="en-US" sz="900" b="1"/>
              <a:t>+144%</a:t>
            </a:r>
            <a:endParaRPr lang="en-IN" sz="900" b="1"/>
          </a:p>
        </p:txBody>
      </p:sp>
      <p:sp>
        <p:nvSpPr>
          <p:cNvPr id="28" name="TextBox 27">
            <a:extLst>
              <a:ext uri="{FF2B5EF4-FFF2-40B4-BE49-F238E27FC236}">
                <a16:creationId xmlns:a16="http://schemas.microsoft.com/office/drawing/2014/main" id="{736B2328-FC41-A71F-AD35-8BE8CFB256EB}"/>
              </a:ext>
            </a:extLst>
          </p:cNvPr>
          <p:cNvSpPr txBox="1"/>
          <p:nvPr/>
        </p:nvSpPr>
        <p:spPr>
          <a:xfrm>
            <a:off x="11460306" y="4405445"/>
            <a:ext cx="609736" cy="215416"/>
          </a:xfrm>
          <a:prstGeom prst="rect">
            <a:avLst/>
          </a:prstGeom>
          <a:noFill/>
        </p:spPr>
        <p:txBody>
          <a:bodyPr wrap="square" rtlCol="0">
            <a:spAutoFit/>
          </a:bodyPr>
          <a:lstStyle/>
          <a:p>
            <a:r>
              <a:rPr lang="en-US" sz="900" b="1"/>
              <a:t>+181%</a:t>
            </a:r>
            <a:endParaRPr lang="en-IN" sz="900" b="1"/>
          </a:p>
        </p:txBody>
      </p:sp>
      <p:sp>
        <p:nvSpPr>
          <p:cNvPr id="29" name="TextBox 28">
            <a:extLst>
              <a:ext uri="{FF2B5EF4-FFF2-40B4-BE49-F238E27FC236}">
                <a16:creationId xmlns:a16="http://schemas.microsoft.com/office/drawing/2014/main" id="{5EE27BB4-AA43-D8AF-DF32-0614AC2C0958}"/>
              </a:ext>
            </a:extLst>
          </p:cNvPr>
          <p:cNvSpPr txBox="1"/>
          <p:nvPr/>
        </p:nvSpPr>
        <p:spPr>
          <a:xfrm>
            <a:off x="11460306" y="4136570"/>
            <a:ext cx="609736" cy="215416"/>
          </a:xfrm>
          <a:prstGeom prst="rect">
            <a:avLst/>
          </a:prstGeom>
          <a:noFill/>
        </p:spPr>
        <p:txBody>
          <a:bodyPr wrap="square" rtlCol="0">
            <a:spAutoFit/>
          </a:bodyPr>
          <a:lstStyle/>
          <a:p>
            <a:r>
              <a:rPr lang="en-US" sz="900" b="1"/>
              <a:t>+192%</a:t>
            </a:r>
            <a:endParaRPr lang="en-IN" sz="900" b="1"/>
          </a:p>
        </p:txBody>
      </p:sp>
      <p:sp>
        <p:nvSpPr>
          <p:cNvPr id="30" name="TextBox 29">
            <a:extLst>
              <a:ext uri="{FF2B5EF4-FFF2-40B4-BE49-F238E27FC236}">
                <a16:creationId xmlns:a16="http://schemas.microsoft.com/office/drawing/2014/main" id="{00C2359D-E2A2-458C-43E8-4C57B1F2CEDF}"/>
              </a:ext>
            </a:extLst>
          </p:cNvPr>
          <p:cNvSpPr txBox="1"/>
          <p:nvPr/>
        </p:nvSpPr>
        <p:spPr>
          <a:xfrm>
            <a:off x="11488434" y="3404117"/>
            <a:ext cx="609736" cy="215416"/>
          </a:xfrm>
          <a:prstGeom prst="rect">
            <a:avLst/>
          </a:prstGeom>
          <a:noFill/>
        </p:spPr>
        <p:txBody>
          <a:bodyPr wrap="square" rtlCol="0">
            <a:spAutoFit/>
          </a:bodyPr>
          <a:lstStyle/>
          <a:p>
            <a:r>
              <a:rPr lang="en-US" sz="900" b="1"/>
              <a:t>+727%</a:t>
            </a:r>
            <a:endParaRPr lang="en-IN" sz="900" b="1"/>
          </a:p>
        </p:txBody>
      </p:sp>
      <p:sp>
        <p:nvSpPr>
          <p:cNvPr id="31" name="TextBox 30">
            <a:extLst>
              <a:ext uri="{FF2B5EF4-FFF2-40B4-BE49-F238E27FC236}">
                <a16:creationId xmlns:a16="http://schemas.microsoft.com/office/drawing/2014/main" id="{C2105D0F-CBAF-3AA6-E691-8B282D186C2F}"/>
              </a:ext>
            </a:extLst>
          </p:cNvPr>
          <p:cNvSpPr txBox="1"/>
          <p:nvPr/>
        </p:nvSpPr>
        <p:spPr>
          <a:xfrm>
            <a:off x="11483320" y="2280569"/>
            <a:ext cx="748367" cy="215416"/>
          </a:xfrm>
          <a:prstGeom prst="rect">
            <a:avLst/>
          </a:prstGeom>
          <a:noFill/>
        </p:spPr>
        <p:txBody>
          <a:bodyPr wrap="square" rtlCol="0">
            <a:spAutoFit/>
          </a:bodyPr>
          <a:lstStyle/>
          <a:p>
            <a:r>
              <a:rPr lang="en-US" sz="900" b="1"/>
              <a:t>+1,410%</a:t>
            </a:r>
            <a:endParaRPr lang="en-IN" sz="900" b="1"/>
          </a:p>
        </p:txBody>
      </p:sp>
      <p:grpSp>
        <p:nvGrpSpPr>
          <p:cNvPr id="23" name="Group 22">
            <a:extLst>
              <a:ext uri="{FF2B5EF4-FFF2-40B4-BE49-F238E27FC236}">
                <a16:creationId xmlns:a16="http://schemas.microsoft.com/office/drawing/2014/main" id="{15217604-7090-4427-853C-0B48A4994D83}"/>
              </a:ext>
            </a:extLst>
          </p:cNvPr>
          <p:cNvGrpSpPr/>
          <p:nvPr/>
        </p:nvGrpSpPr>
        <p:grpSpPr>
          <a:xfrm>
            <a:off x="376507" y="1350528"/>
            <a:ext cx="1956230" cy="1577301"/>
            <a:chOff x="12483061" y="1503292"/>
            <a:chExt cx="2400738" cy="1975212"/>
          </a:xfrm>
        </p:grpSpPr>
        <p:grpSp>
          <p:nvGrpSpPr>
            <p:cNvPr id="6" name="Group 5">
              <a:extLst>
                <a:ext uri="{FF2B5EF4-FFF2-40B4-BE49-F238E27FC236}">
                  <a16:creationId xmlns:a16="http://schemas.microsoft.com/office/drawing/2014/main" id="{736D0A97-B3AC-AF64-57F1-BFBEA2AB141B}"/>
                </a:ext>
              </a:extLst>
            </p:cNvPr>
            <p:cNvGrpSpPr/>
            <p:nvPr/>
          </p:nvGrpSpPr>
          <p:grpSpPr>
            <a:xfrm>
              <a:off x="12483061" y="1503292"/>
              <a:ext cx="2400738" cy="1975212"/>
              <a:chOff x="296057" y="1358538"/>
              <a:chExt cx="2400738" cy="1975212"/>
            </a:xfrm>
          </p:grpSpPr>
          <p:sp>
            <p:nvSpPr>
              <p:cNvPr id="5" name="Oval 4">
                <a:extLst>
                  <a:ext uri="{FF2B5EF4-FFF2-40B4-BE49-F238E27FC236}">
                    <a16:creationId xmlns:a16="http://schemas.microsoft.com/office/drawing/2014/main" id="{4B0E8522-5F1D-07E0-024F-3A27430125D6}"/>
                  </a:ext>
                </a:extLst>
              </p:cNvPr>
              <p:cNvSpPr/>
              <p:nvPr/>
            </p:nvSpPr>
            <p:spPr>
              <a:xfrm>
                <a:off x="296057" y="1358538"/>
                <a:ext cx="2265567" cy="1975212"/>
              </a:xfrm>
              <a:prstGeom prst="ellipse">
                <a:avLst/>
              </a:prstGeom>
              <a:solidFill>
                <a:schemeClr val="bg1">
                  <a:lumMod val="95000"/>
                </a:schemeClr>
              </a:solid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graphicFrame>
            <p:nvGraphicFramePr>
              <p:cNvPr id="3" name="Content Placeholder 11">
                <a:extLst>
                  <a:ext uri="{FF2B5EF4-FFF2-40B4-BE49-F238E27FC236}">
                    <a16:creationId xmlns:a16="http://schemas.microsoft.com/office/drawing/2014/main" id="{9C12717F-70D2-3FE0-C728-33E0E9B974C5}"/>
                  </a:ext>
                </a:extLst>
              </p:cNvPr>
              <p:cNvGraphicFramePr>
                <a:graphicFrameLocks/>
              </p:cNvGraphicFramePr>
              <p:nvPr>
                <p:extLst>
                  <p:ext uri="{D42A27DB-BD31-4B8C-83A1-F6EECF244321}">
                    <p14:modId xmlns:p14="http://schemas.microsoft.com/office/powerpoint/2010/main" val="2277149536"/>
                  </p:ext>
                </p:extLst>
              </p:nvPr>
            </p:nvGraphicFramePr>
            <p:xfrm>
              <a:off x="343147" y="1607446"/>
              <a:ext cx="1908887" cy="1246842"/>
            </p:xfrm>
            <a:graphic>
              <a:graphicData uri="http://schemas.openxmlformats.org/drawingml/2006/chart">
                <c:chart xmlns:c="http://schemas.openxmlformats.org/drawingml/2006/chart" xmlns:r="http://schemas.openxmlformats.org/officeDocument/2006/relationships" r:id="rId5"/>
              </a:graphicData>
            </a:graphic>
          </p:graphicFrame>
          <p:sp>
            <p:nvSpPr>
              <p:cNvPr id="12" name="TextBox 11">
                <a:extLst>
                  <a:ext uri="{FF2B5EF4-FFF2-40B4-BE49-F238E27FC236}">
                    <a16:creationId xmlns:a16="http://schemas.microsoft.com/office/drawing/2014/main" id="{98B71E46-9D0D-AAD4-2053-4A98135BFF00}"/>
                  </a:ext>
                </a:extLst>
              </p:cNvPr>
              <p:cNvSpPr txBox="1"/>
              <p:nvPr/>
            </p:nvSpPr>
            <p:spPr>
              <a:xfrm>
                <a:off x="2032122" y="1876694"/>
                <a:ext cx="627144" cy="289065"/>
              </a:xfrm>
              <a:prstGeom prst="rect">
                <a:avLst/>
              </a:prstGeom>
              <a:noFill/>
            </p:spPr>
            <p:txBody>
              <a:bodyPr wrap="square" rtlCol="0">
                <a:spAutoFit/>
              </a:bodyPr>
              <a:lstStyle/>
              <a:p>
                <a:r>
                  <a:rPr lang="en-US" sz="900" b="1"/>
                  <a:t>+87%</a:t>
                </a:r>
                <a:endParaRPr lang="en-IN" sz="900" b="1"/>
              </a:p>
            </p:txBody>
          </p:sp>
          <p:sp>
            <p:nvSpPr>
              <p:cNvPr id="14" name="TextBox 13">
                <a:extLst>
                  <a:ext uri="{FF2B5EF4-FFF2-40B4-BE49-F238E27FC236}">
                    <a16:creationId xmlns:a16="http://schemas.microsoft.com/office/drawing/2014/main" id="{DE957581-544D-E5CE-066C-8F009C29AE25}"/>
                  </a:ext>
                </a:extLst>
              </p:cNvPr>
              <p:cNvSpPr txBox="1"/>
              <p:nvPr/>
            </p:nvSpPr>
            <p:spPr>
              <a:xfrm>
                <a:off x="2044849" y="2115450"/>
                <a:ext cx="651946" cy="289065"/>
              </a:xfrm>
              <a:prstGeom prst="rect">
                <a:avLst/>
              </a:prstGeom>
              <a:noFill/>
            </p:spPr>
            <p:txBody>
              <a:bodyPr wrap="square" rtlCol="0">
                <a:spAutoFit/>
              </a:bodyPr>
              <a:lstStyle/>
              <a:p>
                <a:r>
                  <a:rPr lang="en-US" sz="900" b="1"/>
                  <a:t>+48%</a:t>
                </a:r>
                <a:endParaRPr lang="en-IN" sz="900" b="1"/>
              </a:p>
            </p:txBody>
          </p:sp>
        </p:grpSp>
        <p:sp>
          <p:nvSpPr>
            <p:cNvPr id="8" name="TextBox 7">
              <a:extLst>
                <a:ext uri="{FF2B5EF4-FFF2-40B4-BE49-F238E27FC236}">
                  <a16:creationId xmlns:a16="http://schemas.microsoft.com/office/drawing/2014/main" id="{72B28022-B002-D699-0D7F-613F143DF0D8}"/>
                </a:ext>
              </a:extLst>
            </p:cNvPr>
            <p:cNvSpPr txBox="1"/>
            <p:nvPr/>
          </p:nvSpPr>
          <p:spPr>
            <a:xfrm>
              <a:off x="13237129" y="3158920"/>
              <a:ext cx="757430" cy="215444"/>
            </a:xfrm>
            <a:prstGeom prst="rect">
              <a:avLst/>
            </a:prstGeom>
            <a:noFill/>
          </p:spPr>
          <p:txBody>
            <a:bodyPr wrap="square" rtlCol="0">
              <a:spAutoFit/>
            </a:bodyPr>
            <a:lstStyle/>
            <a:p>
              <a:r>
                <a:rPr lang="en-US" sz="800" b="1"/>
                <a:t>3 Years</a:t>
              </a:r>
              <a:endParaRPr lang="en-IN" sz="800" b="1"/>
            </a:p>
          </p:txBody>
        </p:sp>
      </p:grpSp>
      <p:sp>
        <p:nvSpPr>
          <p:cNvPr id="26" name="TextBox 25">
            <a:extLst>
              <a:ext uri="{FF2B5EF4-FFF2-40B4-BE49-F238E27FC236}">
                <a16:creationId xmlns:a16="http://schemas.microsoft.com/office/drawing/2014/main" id="{C44A7A5F-AAD5-B270-12F6-ED0E60B289B1}"/>
              </a:ext>
            </a:extLst>
          </p:cNvPr>
          <p:cNvSpPr txBox="1"/>
          <p:nvPr/>
        </p:nvSpPr>
        <p:spPr>
          <a:xfrm>
            <a:off x="344488" y="5849257"/>
            <a:ext cx="5511180" cy="492443"/>
          </a:xfrm>
          <a:prstGeom prst="rect">
            <a:avLst/>
          </a:prstGeom>
          <a:solidFill>
            <a:schemeClr val="accent4"/>
          </a:solidFill>
        </p:spPr>
        <p:txBody>
          <a:bodyPr wrap="square" rtlCol="0">
            <a:spAutoFit/>
          </a:bodyPr>
          <a:lstStyle/>
          <a:p>
            <a:r>
              <a:rPr lang="en-US" sz="1300" b="1" i="1" dirty="0"/>
              <a:t>The Indian Lifesciences sector and individual sub-sectors have consistently outperformed the NIFTY 50</a:t>
            </a:r>
            <a:endParaRPr lang="en-IN" sz="1300" b="1" i="1" dirty="0"/>
          </a:p>
        </p:txBody>
      </p:sp>
      <p:graphicFrame>
        <p:nvGraphicFramePr>
          <p:cNvPr id="33" name="Table 32">
            <a:extLst>
              <a:ext uri="{FF2B5EF4-FFF2-40B4-BE49-F238E27FC236}">
                <a16:creationId xmlns:a16="http://schemas.microsoft.com/office/drawing/2014/main" id="{088813E5-EAED-D311-D1C2-224B2A7A62D1}"/>
              </a:ext>
            </a:extLst>
          </p:cNvPr>
          <p:cNvGraphicFramePr>
            <a:graphicFrameLocks noGrp="1"/>
          </p:cNvGraphicFramePr>
          <p:nvPr>
            <p:extLst>
              <p:ext uri="{D42A27DB-BD31-4B8C-83A1-F6EECF244321}">
                <p14:modId xmlns:p14="http://schemas.microsoft.com/office/powerpoint/2010/main" val="1141663833"/>
              </p:ext>
            </p:extLst>
          </p:nvPr>
        </p:nvGraphicFramePr>
        <p:xfrm>
          <a:off x="6336334" y="5590296"/>
          <a:ext cx="5628661" cy="841290"/>
        </p:xfrm>
        <a:graphic>
          <a:graphicData uri="http://schemas.openxmlformats.org/drawingml/2006/table">
            <a:tbl>
              <a:tblPr>
                <a:tableStyleId>{5C22544A-7EE6-4342-B048-85BDC9FD1C3A}</a:tableStyleId>
              </a:tblPr>
              <a:tblGrid>
                <a:gridCol w="441821">
                  <a:extLst>
                    <a:ext uri="{9D8B030D-6E8A-4147-A177-3AD203B41FA5}">
                      <a16:colId xmlns:a16="http://schemas.microsoft.com/office/drawing/2014/main" val="3215614038"/>
                    </a:ext>
                  </a:extLst>
                </a:gridCol>
                <a:gridCol w="1037368">
                  <a:extLst>
                    <a:ext uri="{9D8B030D-6E8A-4147-A177-3AD203B41FA5}">
                      <a16:colId xmlns:a16="http://schemas.microsoft.com/office/drawing/2014/main" val="20375546"/>
                    </a:ext>
                  </a:extLst>
                </a:gridCol>
                <a:gridCol w="1037368">
                  <a:extLst>
                    <a:ext uri="{9D8B030D-6E8A-4147-A177-3AD203B41FA5}">
                      <a16:colId xmlns:a16="http://schemas.microsoft.com/office/drawing/2014/main" val="3026318388"/>
                    </a:ext>
                  </a:extLst>
                </a:gridCol>
                <a:gridCol w="1037368">
                  <a:extLst>
                    <a:ext uri="{9D8B030D-6E8A-4147-A177-3AD203B41FA5}">
                      <a16:colId xmlns:a16="http://schemas.microsoft.com/office/drawing/2014/main" val="3842024794"/>
                    </a:ext>
                  </a:extLst>
                </a:gridCol>
                <a:gridCol w="1037368">
                  <a:extLst>
                    <a:ext uri="{9D8B030D-6E8A-4147-A177-3AD203B41FA5}">
                      <a16:colId xmlns:a16="http://schemas.microsoft.com/office/drawing/2014/main" val="956546374"/>
                    </a:ext>
                  </a:extLst>
                </a:gridCol>
                <a:gridCol w="1037368">
                  <a:extLst>
                    <a:ext uri="{9D8B030D-6E8A-4147-A177-3AD203B41FA5}">
                      <a16:colId xmlns:a16="http://schemas.microsoft.com/office/drawing/2014/main" val="2264864806"/>
                    </a:ext>
                  </a:extLst>
                </a:gridCol>
              </a:tblGrid>
              <a:tr h="280430">
                <a:tc>
                  <a:txBody>
                    <a:bodyPr/>
                    <a:lstStyle/>
                    <a:p>
                      <a:pPr algn="ctr" fontAlgn="b">
                        <a:buNone/>
                      </a:pPr>
                      <a:r>
                        <a:rPr lang="en-IN" sz="1100" b="1" i="0" u="none" strike="noStrike">
                          <a:solidFill>
                            <a:srgbClr val="000000"/>
                          </a:solidFill>
                          <a:effectLst/>
                          <a:latin typeface="Aptos Narrow" panose="020B0004020202020204" pitchFamily="34" charset="0"/>
                        </a:rPr>
                        <a:t>Index</a:t>
                      </a:r>
                    </a:p>
                  </a:txBody>
                  <a:tcPr marL="0" marR="0" marT="0" marB="0" anchor="ctr">
                    <a:lnB w="12700" cap="flat" cmpd="sng" algn="ctr">
                      <a:solidFill>
                        <a:schemeClr val="tx1"/>
                      </a:solidFill>
                      <a:prstDash val="solid"/>
                      <a:round/>
                      <a:headEnd type="none" w="med" len="med"/>
                      <a:tailEnd type="none" w="med" len="med"/>
                    </a:lnB>
                    <a:solidFill>
                      <a:schemeClr val="bg2">
                        <a:lumMod val="60000"/>
                        <a:lumOff val="4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IN" sz="1100" b="1" u="none" strike="noStrike">
                          <a:effectLst/>
                        </a:rPr>
                        <a:t>Nifty 50</a:t>
                      </a:r>
                      <a:endParaRPr lang="en-IN" sz="1100" b="1" i="0" u="none" strike="noStrike">
                        <a:solidFill>
                          <a:srgbClr val="000000"/>
                        </a:solidFill>
                        <a:effectLst/>
                        <a:latin typeface="Aptos Narrow" panose="020B00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2">
                        <a:lumMod val="60000"/>
                        <a:lumOff val="40000"/>
                      </a:schemeClr>
                    </a:solidFill>
                  </a:tcPr>
                </a:tc>
                <a:tc>
                  <a:txBody>
                    <a:bodyPr/>
                    <a:lstStyle/>
                    <a:p>
                      <a:pPr algn="ctr" fontAlgn="b">
                        <a:buNone/>
                      </a:pPr>
                      <a:r>
                        <a:rPr lang="en-IN" sz="1100" b="1" u="none" strike="noStrike">
                          <a:effectLst/>
                        </a:rPr>
                        <a:t>Pharma</a:t>
                      </a:r>
                      <a:endParaRPr lang="en-IN" sz="1100" b="1" i="0" u="none" strike="noStrike">
                        <a:solidFill>
                          <a:srgbClr val="000000"/>
                        </a:solidFill>
                        <a:effectLst/>
                        <a:latin typeface="Aptos Narrow" panose="020B00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2">
                        <a:lumMod val="60000"/>
                        <a:lumOff val="40000"/>
                      </a:schemeClr>
                    </a:solidFill>
                  </a:tcPr>
                </a:tc>
                <a:tc>
                  <a:txBody>
                    <a:bodyPr/>
                    <a:lstStyle/>
                    <a:p>
                      <a:pPr algn="ctr" fontAlgn="b">
                        <a:buNone/>
                      </a:pPr>
                      <a:r>
                        <a:rPr lang="en-IN" sz="1100" b="1" u="none" strike="noStrike">
                          <a:effectLst/>
                        </a:rPr>
                        <a:t>Hospitals</a:t>
                      </a:r>
                      <a:endParaRPr lang="en-IN" sz="1100" b="1" i="0" u="none" strike="noStrike">
                        <a:solidFill>
                          <a:srgbClr val="000000"/>
                        </a:solidFill>
                        <a:effectLst/>
                        <a:latin typeface="Aptos Narrow" panose="020B00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2">
                        <a:lumMod val="60000"/>
                        <a:lumOff val="40000"/>
                      </a:schemeClr>
                    </a:solidFill>
                  </a:tcPr>
                </a:tc>
                <a:tc>
                  <a:txBody>
                    <a:bodyPr/>
                    <a:lstStyle/>
                    <a:p>
                      <a:pPr algn="ctr" fontAlgn="b">
                        <a:buNone/>
                      </a:pPr>
                      <a:r>
                        <a:rPr lang="en-IN" sz="1100" b="1" u="none" strike="noStrike">
                          <a:effectLst/>
                        </a:rPr>
                        <a:t>Diagnostics</a:t>
                      </a:r>
                      <a:endParaRPr lang="en-IN" sz="1100" b="1" i="0" u="none" strike="noStrike">
                        <a:solidFill>
                          <a:srgbClr val="000000"/>
                        </a:solidFill>
                        <a:effectLst/>
                        <a:latin typeface="Aptos Narrow" panose="020B00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2">
                        <a:lumMod val="60000"/>
                        <a:lumOff val="40000"/>
                      </a:schemeClr>
                    </a:solidFill>
                  </a:tcPr>
                </a:tc>
                <a:tc>
                  <a:txBody>
                    <a:bodyPr/>
                    <a:lstStyle/>
                    <a:p>
                      <a:pPr algn="ctr" fontAlgn="b">
                        <a:buNone/>
                      </a:pPr>
                      <a:r>
                        <a:rPr lang="en-IN" sz="1100" b="1" u="none" strike="noStrike">
                          <a:effectLst/>
                        </a:rPr>
                        <a:t>Med Tech</a:t>
                      </a:r>
                      <a:endParaRPr lang="en-IN" sz="1100" b="1" i="0" u="none" strike="noStrike">
                        <a:solidFill>
                          <a:srgbClr val="000000"/>
                        </a:solidFill>
                        <a:effectLst/>
                        <a:latin typeface="Aptos Narrow" panose="020B00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2">
                        <a:lumMod val="60000"/>
                        <a:lumOff val="40000"/>
                      </a:schemeClr>
                    </a:solidFill>
                  </a:tcPr>
                </a:tc>
                <a:extLst>
                  <a:ext uri="{0D108BD9-81ED-4DB2-BD59-A6C34878D82A}">
                    <a16:rowId xmlns:a16="http://schemas.microsoft.com/office/drawing/2014/main" val="2018617029"/>
                  </a:ext>
                </a:extLst>
              </a:tr>
              <a:tr h="280430">
                <a:tc>
                  <a:txBody>
                    <a:bodyPr/>
                    <a:lstStyle/>
                    <a:p>
                      <a:pPr algn="ctr" fontAlgn="b">
                        <a:buNone/>
                      </a:pPr>
                      <a:r>
                        <a:rPr lang="en-IN" sz="1100" b="1" u="none" strike="noStrike">
                          <a:effectLst/>
                        </a:rPr>
                        <a:t>3 year</a:t>
                      </a:r>
                      <a:endParaRPr lang="en-IN" sz="1100" b="1" i="0" u="none" strike="noStrike">
                        <a:solidFill>
                          <a:srgbClr val="000000"/>
                        </a:solidFill>
                        <a:effectLst/>
                        <a:latin typeface="Aptos Narrow" panose="020B0004020202020204" pitchFamily="34" charset="0"/>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buNone/>
                      </a:pPr>
                      <a:r>
                        <a:rPr lang="en-IN" sz="1100" b="0" i="0" u="none" strike="noStrike">
                          <a:solidFill>
                            <a:srgbClr val="000000"/>
                          </a:solidFill>
                          <a:effectLst/>
                          <a:latin typeface="Aptos Narrow" panose="020B0004020202020204" pitchFamily="34" charset="0"/>
                        </a:rPr>
                        <a:t>48%</a:t>
                      </a: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buNone/>
                      </a:pPr>
                      <a:r>
                        <a:rPr lang="en-IN" sz="1100" u="none" strike="noStrike">
                          <a:effectLst/>
                        </a:rPr>
                        <a:t>73%</a:t>
                      </a:r>
                      <a:endParaRPr lang="en-IN" sz="1100" b="0" i="0" u="none" strike="noStrike">
                        <a:solidFill>
                          <a:srgbClr val="000000"/>
                        </a:solidFill>
                        <a:effectLst/>
                        <a:latin typeface="Aptos Narrow" panose="020B0004020202020204" pitchFamily="34" charset="0"/>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buNone/>
                      </a:pPr>
                      <a:r>
                        <a:rPr lang="en-IN" sz="1100" u="none" strike="noStrike">
                          <a:effectLst/>
                        </a:rPr>
                        <a:t>183%</a:t>
                      </a:r>
                      <a:endParaRPr lang="en-IN" sz="1100" b="0" i="0" u="none" strike="noStrike">
                        <a:solidFill>
                          <a:srgbClr val="000000"/>
                        </a:solidFill>
                        <a:effectLst/>
                        <a:latin typeface="Aptos Narrow" panose="020B0004020202020204" pitchFamily="34" charset="0"/>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buNone/>
                      </a:pPr>
                      <a:r>
                        <a:rPr lang="en-IN" sz="1100" u="none" strike="noStrike">
                          <a:effectLst/>
                        </a:rPr>
                        <a:t>29%</a:t>
                      </a:r>
                      <a:endParaRPr lang="en-IN" sz="1100" b="0" i="0" u="none" strike="noStrike">
                        <a:solidFill>
                          <a:srgbClr val="000000"/>
                        </a:solidFill>
                        <a:effectLst/>
                        <a:latin typeface="Aptos Narrow" panose="020B0004020202020204" pitchFamily="34" charset="0"/>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buNone/>
                      </a:pPr>
                      <a:r>
                        <a:rPr lang="en-IN" sz="1100" u="none" strike="noStrike">
                          <a:effectLst/>
                        </a:rPr>
                        <a:t>221%</a:t>
                      </a:r>
                      <a:endParaRPr lang="en-IN" sz="1100" b="0" i="0" u="none" strike="noStrike">
                        <a:solidFill>
                          <a:srgbClr val="000000"/>
                        </a:solidFill>
                        <a:effectLst/>
                        <a:latin typeface="Aptos Narrow" panose="020B0004020202020204" pitchFamily="34" charset="0"/>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177877945"/>
                  </a:ext>
                </a:extLst>
              </a:tr>
              <a:tr h="280430">
                <a:tc>
                  <a:txBody>
                    <a:bodyPr/>
                    <a:lstStyle/>
                    <a:p>
                      <a:pPr algn="ctr" fontAlgn="b">
                        <a:buNone/>
                      </a:pPr>
                      <a:r>
                        <a:rPr lang="en-IN" sz="1100" b="1" u="none" strike="noStrike">
                          <a:effectLst/>
                        </a:rPr>
                        <a:t>1 year</a:t>
                      </a:r>
                      <a:endParaRPr lang="en-IN" sz="1100" b="1" i="0" u="none" strike="noStrike">
                        <a:solidFill>
                          <a:srgbClr val="000000"/>
                        </a:solidFill>
                        <a:effectLst/>
                        <a:latin typeface="Aptos Narrow" panose="020B00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b">
                        <a:buNone/>
                      </a:pPr>
                      <a:r>
                        <a:rPr lang="en-IN" sz="1100" b="0" i="0" u="none" strike="noStrike">
                          <a:solidFill>
                            <a:srgbClr val="000000"/>
                          </a:solidFill>
                          <a:effectLst/>
                          <a:latin typeface="Aptos Narrow" panose="020B0004020202020204" pitchFamily="34" charset="0"/>
                        </a:rPr>
                        <a:t>15%</a:t>
                      </a: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b">
                        <a:buNone/>
                      </a:pPr>
                      <a:r>
                        <a:rPr lang="en-IN" sz="1100" u="none" strike="noStrike">
                          <a:effectLst/>
                        </a:rPr>
                        <a:t>20%</a:t>
                      </a:r>
                      <a:endParaRPr lang="en-IN" sz="1100" b="0" i="0" u="none" strike="noStrike">
                        <a:solidFill>
                          <a:srgbClr val="000000"/>
                        </a:solidFill>
                        <a:effectLst/>
                        <a:latin typeface="Aptos Narrow" panose="020B00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b">
                        <a:buNone/>
                      </a:pPr>
                      <a:r>
                        <a:rPr lang="en-IN" sz="1100" u="none" strike="noStrike">
                          <a:effectLst/>
                        </a:rPr>
                        <a:t>48%</a:t>
                      </a:r>
                      <a:endParaRPr lang="en-IN" sz="1100" b="0" i="0" u="none" strike="noStrike">
                        <a:solidFill>
                          <a:srgbClr val="000000"/>
                        </a:solidFill>
                        <a:effectLst/>
                        <a:latin typeface="Aptos Narrow" panose="020B00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b">
                        <a:buNone/>
                      </a:pPr>
                      <a:r>
                        <a:rPr lang="en-IN" sz="1100" u="none" strike="noStrike">
                          <a:effectLst/>
                        </a:rPr>
                        <a:t>40%</a:t>
                      </a:r>
                      <a:endParaRPr lang="en-IN" sz="1100" b="0" i="0" u="none" strike="noStrike">
                        <a:solidFill>
                          <a:srgbClr val="000000"/>
                        </a:solidFill>
                        <a:effectLst/>
                        <a:latin typeface="Aptos Narrow" panose="020B00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b">
                        <a:buNone/>
                      </a:pPr>
                      <a:r>
                        <a:rPr lang="en-IN" sz="1100" u="none" strike="noStrike" dirty="0">
                          <a:effectLst/>
                        </a:rPr>
                        <a:t>90%</a:t>
                      </a:r>
                      <a:endParaRPr lang="en-IN" sz="1100" b="0" i="0" u="none" strike="noStrike" dirty="0">
                        <a:solidFill>
                          <a:srgbClr val="000000"/>
                        </a:solidFill>
                        <a:effectLst/>
                        <a:latin typeface="Aptos Narrow" panose="020B00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extLst>
                  <a:ext uri="{0D108BD9-81ED-4DB2-BD59-A6C34878D82A}">
                    <a16:rowId xmlns:a16="http://schemas.microsoft.com/office/drawing/2014/main" val="887526264"/>
                  </a:ext>
                </a:extLst>
              </a:tr>
            </a:tbl>
          </a:graphicData>
        </a:graphic>
      </p:graphicFrame>
    </p:spTree>
    <p:extLst>
      <p:ext uri="{BB962C8B-B14F-4D97-AF65-F5344CB8AC3E}">
        <p14:creationId xmlns:p14="http://schemas.microsoft.com/office/powerpoint/2010/main" val="24075448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CA8A3B-BE4F-BCF6-BFE1-DC286811F76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E9258F0-4D7E-9E0E-6614-1FDE2CB3AAF0}"/>
              </a:ext>
            </a:extLst>
          </p:cNvPr>
          <p:cNvSpPr>
            <a:spLocks noGrp="1"/>
          </p:cNvSpPr>
          <p:nvPr>
            <p:ph type="title"/>
          </p:nvPr>
        </p:nvSpPr>
        <p:spPr>
          <a:xfrm>
            <a:off x="344487" y="128025"/>
            <a:ext cx="11504613" cy="408795"/>
          </a:xfrm>
        </p:spPr>
        <p:txBody>
          <a:bodyPr/>
          <a:lstStyle/>
          <a:p>
            <a:r>
              <a:rPr lang="en-IN" dirty="0"/>
              <a:t>Lifesciences - back at the peak of fundraise seen in the aftermath of Covid</a:t>
            </a:r>
          </a:p>
        </p:txBody>
      </p:sp>
      <p:sp>
        <p:nvSpPr>
          <p:cNvPr id="3" name="Text Placeholder 2">
            <a:extLst>
              <a:ext uri="{FF2B5EF4-FFF2-40B4-BE49-F238E27FC236}">
                <a16:creationId xmlns:a16="http://schemas.microsoft.com/office/drawing/2014/main" id="{04201363-4652-6E51-EC97-F6BF13F79038}"/>
              </a:ext>
            </a:extLst>
          </p:cNvPr>
          <p:cNvSpPr>
            <a:spLocks noGrp="1"/>
          </p:cNvSpPr>
          <p:nvPr>
            <p:ph type="body" sz="quarter" idx="10"/>
          </p:nvPr>
        </p:nvSpPr>
        <p:spPr>
          <a:xfrm>
            <a:off x="344488" y="487848"/>
            <a:ext cx="11504612" cy="281861"/>
          </a:xfrm>
        </p:spPr>
        <p:txBody>
          <a:bodyPr/>
          <a:lstStyle/>
          <a:p>
            <a:endParaRPr lang="en-US" dirty="0"/>
          </a:p>
        </p:txBody>
      </p:sp>
      <p:sp>
        <p:nvSpPr>
          <p:cNvPr id="4" name="Text Placeholder 3">
            <a:extLst>
              <a:ext uri="{FF2B5EF4-FFF2-40B4-BE49-F238E27FC236}">
                <a16:creationId xmlns:a16="http://schemas.microsoft.com/office/drawing/2014/main" id="{760AD95D-BD61-A845-C6A3-9C9216288BD2}"/>
              </a:ext>
            </a:extLst>
          </p:cNvPr>
          <p:cNvSpPr>
            <a:spLocks noGrp="1"/>
          </p:cNvSpPr>
          <p:nvPr>
            <p:ph type="body" sz="quarter" idx="11"/>
          </p:nvPr>
        </p:nvSpPr>
        <p:spPr/>
        <p:txBody>
          <a:bodyPr/>
          <a:lstStyle/>
          <a:p>
            <a:r>
              <a:rPr lang="en-US"/>
              <a:t>Source: VCC Edge. Notes: Fundraise includes private equity above INR 80 crores, M&amp;A, IPOs and QIPs. Pharmaceuticals includes Formulations, APIs and CDMOs</a:t>
            </a:r>
          </a:p>
        </p:txBody>
      </p:sp>
      <p:cxnSp>
        <p:nvCxnSpPr>
          <p:cNvPr id="61" name="Straight Connector 60">
            <a:extLst>
              <a:ext uri="{FF2B5EF4-FFF2-40B4-BE49-F238E27FC236}">
                <a16:creationId xmlns:a16="http://schemas.microsoft.com/office/drawing/2014/main" id="{A6601D9B-D8AB-D0B5-1647-6EC01388AEEC}"/>
              </a:ext>
            </a:extLst>
          </p:cNvPr>
          <p:cNvCxnSpPr>
            <a:cxnSpLocks/>
          </p:cNvCxnSpPr>
          <p:nvPr/>
        </p:nvCxnSpPr>
        <p:spPr>
          <a:xfrm>
            <a:off x="398565" y="1219735"/>
            <a:ext cx="11520000" cy="0"/>
          </a:xfrm>
          <a:prstGeom prst="line">
            <a:avLst/>
          </a:prstGeom>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C5F6C30A-1A60-BC9B-90CA-B3B735EDC724}"/>
              </a:ext>
            </a:extLst>
          </p:cNvPr>
          <p:cNvSpPr txBox="1"/>
          <p:nvPr/>
        </p:nvSpPr>
        <p:spPr>
          <a:xfrm>
            <a:off x="357186" y="863060"/>
            <a:ext cx="12021720" cy="357771"/>
          </a:xfrm>
          <a:prstGeom prst="rect">
            <a:avLst/>
          </a:prstGeom>
          <a:noFill/>
        </p:spPr>
        <p:txBody>
          <a:bodyPr wrap="square" lIns="0" tIns="0" rIns="0" bIns="0" anchor="ctr">
            <a:noAutofit/>
          </a:bodyPr>
          <a:lstStyle/>
          <a:p>
            <a:pPr marL="0" marR="0" lvl="0" indent="0" algn="l" defTabSz="958983"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385723"/>
                </a:solidFill>
                <a:effectLst/>
                <a:uLnTx/>
                <a:uFillTx/>
                <a:latin typeface="Segoe UI"/>
                <a:ea typeface="Verdana" panose="020B0604030504040204" pitchFamily="34" charset="0"/>
                <a:cs typeface="Verdana" panose="020B0604030504040204" pitchFamily="34" charset="0"/>
              </a:rPr>
              <a:t>Fundraise activity in the Lifesciences sector (by sub-sector)</a:t>
            </a:r>
          </a:p>
        </p:txBody>
      </p:sp>
      <p:sp>
        <p:nvSpPr>
          <p:cNvPr id="62" name="Rectangle 61">
            <a:extLst>
              <a:ext uri="{FF2B5EF4-FFF2-40B4-BE49-F238E27FC236}">
                <a16:creationId xmlns:a16="http://schemas.microsoft.com/office/drawing/2014/main" id="{8C48BC44-62CC-22AE-1236-965BF69238D0}"/>
              </a:ext>
            </a:extLst>
          </p:cNvPr>
          <p:cNvSpPr/>
          <p:nvPr/>
        </p:nvSpPr>
        <p:spPr>
          <a:xfrm>
            <a:off x="344487" y="1191851"/>
            <a:ext cx="533352" cy="55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385723"/>
              </a:solidFill>
              <a:effectLst/>
              <a:uLnTx/>
              <a:uFillTx/>
              <a:latin typeface="Segoe UI"/>
              <a:ea typeface="+mn-ea"/>
              <a:cs typeface="+mn-cs"/>
            </a:endParaRPr>
          </a:p>
        </p:txBody>
      </p:sp>
      <p:grpSp>
        <p:nvGrpSpPr>
          <p:cNvPr id="40" name="Group 39">
            <a:extLst>
              <a:ext uri="{FF2B5EF4-FFF2-40B4-BE49-F238E27FC236}">
                <a16:creationId xmlns:a16="http://schemas.microsoft.com/office/drawing/2014/main" id="{EE3B7AB0-5E60-E45B-7960-EF33177C25BC}"/>
              </a:ext>
            </a:extLst>
          </p:cNvPr>
          <p:cNvGrpSpPr/>
          <p:nvPr/>
        </p:nvGrpSpPr>
        <p:grpSpPr>
          <a:xfrm>
            <a:off x="27591" y="1339539"/>
            <a:ext cx="8938610" cy="5242150"/>
            <a:chOff x="874129" y="1338943"/>
            <a:chExt cx="8777871" cy="5242150"/>
          </a:xfrm>
        </p:grpSpPr>
        <p:grpSp>
          <p:nvGrpSpPr>
            <p:cNvPr id="5" name="Group 4">
              <a:extLst>
                <a:ext uri="{FF2B5EF4-FFF2-40B4-BE49-F238E27FC236}">
                  <a16:creationId xmlns:a16="http://schemas.microsoft.com/office/drawing/2014/main" id="{B55DA0D6-F7E6-6112-60C9-10C95149C84B}"/>
                </a:ext>
              </a:extLst>
            </p:cNvPr>
            <p:cNvGrpSpPr/>
            <p:nvPr/>
          </p:nvGrpSpPr>
          <p:grpSpPr>
            <a:xfrm>
              <a:off x="874129" y="1338943"/>
              <a:ext cx="8777871" cy="5242150"/>
              <a:chOff x="223969" y="1654780"/>
              <a:chExt cx="11625132" cy="4715358"/>
            </a:xfrm>
          </p:grpSpPr>
          <p:graphicFrame>
            <p:nvGraphicFramePr>
              <p:cNvPr id="6" name="Chart 5">
                <a:extLst>
                  <a:ext uri="{FF2B5EF4-FFF2-40B4-BE49-F238E27FC236}">
                    <a16:creationId xmlns:a16="http://schemas.microsoft.com/office/drawing/2014/main" id="{8A9F2833-1B1D-125A-4B4E-C9EFA817568E}"/>
                  </a:ext>
                </a:extLst>
              </p:cNvPr>
              <p:cNvGraphicFramePr>
                <a:graphicFrameLocks/>
              </p:cNvGraphicFramePr>
              <p:nvPr>
                <p:extLst>
                  <p:ext uri="{D42A27DB-BD31-4B8C-83A1-F6EECF244321}">
                    <p14:modId xmlns:p14="http://schemas.microsoft.com/office/powerpoint/2010/main" val="2068700940"/>
                  </p:ext>
                </p:extLst>
              </p:nvPr>
            </p:nvGraphicFramePr>
            <p:xfrm>
              <a:off x="357186" y="2230078"/>
              <a:ext cx="11491915" cy="4140060"/>
            </p:xfrm>
            <a:graphic>
              <a:graphicData uri="http://schemas.openxmlformats.org/drawingml/2006/chart">
                <c:chart xmlns:c="http://schemas.openxmlformats.org/drawingml/2006/chart" xmlns:r="http://schemas.openxmlformats.org/officeDocument/2006/relationships" r:id="rId2"/>
              </a:graphicData>
            </a:graphic>
          </p:graphicFrame>
          <p:sp>
            <p:nvSpPr>
              <p:cNvPr id="7" name="Rectangle 6">
                <a:extLst>
                  <a:ext uri="{FF2B5EF4-FFF2-40B4-BE49-F238E27FC236}">
                    <a16:creationId xmlns:a16="http://schemas.microsoft.com/office/drawing/2014/main" id="{15802452-B810-9D27-94B4-491CE1D66002}"/>
                  </a:ext>
                </a:extLst>
              </p:cNvPr>
              <p:cNvSpPr/>
              <p:nvPr/>
            </p:nvSpPr>
            <p:spPr>
              <a:xfrm>
                <a:off x="223969" y="1668430"/>
                <a:ext cx="693652" cy="3677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IN" sz="800" b="1" i="1" u="none" strike="noStrike" kern="1200" cap="none" spc="0" normalizeH="0" baseline="0" noProof="0" dirty="0">
                    <a:ln>
                      <a:noFill/>
                    </a:ln>
                    <a:solidFill>
                      <a:srgbClr val="404040"/>
                    </a:solidFill>
                    <a:effectLst/>
                    <a:uLnTx/>
                    <a:uFillTx/>
                    <a:latin typeface="Segoe UI"/>
                    <a:ea typeface="+mn-ea"/>
                    <a:cs typeface="+mn-cs"/>
                  </a:rPr>
                  <a:t>INR Crore</a:t>
                </a:r>
              </a:p>
            </p:txBody>
          </p:sp>
          <p:sp>
            <p:nvSpPr>
              <p:cNvPr id="13" name="Oval 12">
                <a:extLst>
                  <a:ext uri="{FF2B5EF4-FFF2-40B4-BE49-F238E27FC236}">
                    <a16:creationId xmlns:a16="http://schemas.microsoft.com/office/drawing/2014/main" id="{BC4719D2-430A-4138-BE33-408D4110D707}"/>
                  </a:ext>
                </a:extLst>
              </p:cNvPr>
              <p:cNvSpPr/>
              <p:nvPr/>
            </p:nvSpPr>
            <p:spPr>
              <a:xfrm>
                <a:off x="788604" y="1654780"/>
                <a:ext cx="940787" cy="357767"/>
              </a:xfrm>
              <a:prstGeom prst="ellipse">
                <a:avLst/>
              </a:prstGeom>
              <a:noFill/>
              <a:ln>
                <a:solidFill>
                  <a:srgbClr val="C0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700" b="1" dirty="0">
                    <a:solidFill>
                      <a:schemeClr val="tx2"/>
                    </a:solidFill>
                  </a:rPr>
                  <a:t>17,073</a:t>
                </a:r>
              </a:p>
            </p:txBody>
          </p:sp>
          <p:sp>
            <p:nvSpPr>
              <p:cNvPr id="24" name="Oval 23">
                <a:extLst>
                  <a:ext uri="{FF2B5EF4-FFF2-40B4-BE49-F238E27FC236}">
                    <a16:creationId xmlns:a16="http://schemas.microsoft.com/office/drawing/2014/main" id="{F39891F8-8240-6F7D-F42E-49A64F71321A}"/>
                  </a:ext>
                </a:extLst>
              </p:cNvPr>
              <p:cNvSpPr/>
              <p:nvPr/>
            </p:nvSpPr>
            <p:spPr>
              <a:xfrm>
                <a:off x="2378675" y="1654780"/>
                <a:ext cx="940787" cy="357767"/>
              </a:xfrm>
              <a:prstGeom prst="ellipse">
                <a:avLst/>
              </a:prstGeom>
              <a:noFill/>
              <a:ln>
                <a:solidFill>
                  <a:srgbClr val="C0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700" b="1" dirty="0">
                    <a:solidFill>
                      <a:schemeClr val="tx2"/>
                    </a:solidFill>
                  </a:rPr>
                  <a:t>35,609</a:t>
                </a:r>
              </a:p>
            </p:txBody>
          </p:sp>
          <p:sp>
            <p:nvSpPr>
              <p:cNvPr id="33" name="Oval 32">
                <a:extLst>
                  <a:ext uri="{FF2B5EF4-FFF2-40B4-BE49-F238E27FC236}">
                    <a16:creationId xmlns:a16="http://schemas.microsoft.com/office/drawing/2014/main" id="{D3D32777-465E-5959-9402-04868BA7704B}"/>
                  </a:ext>
                </a:extLst>
              </p:cNvPr>
              <p:cNvSpPr/>
              <p:nvPr/>
            </p:nvSpPr>
            <p:spPr>
              <a:xfrm>
                <a:off x="3968746" y="1654780"/>
                <a:ext cx="940787" cy="357767"/>
              </a:xfrm>
              <a:prstGeom prst="ellipse">
                <a:avLst/>
              </a:prstGeom>
              <a:noFill/>
              <a:ln>
                <a:solidFill>
                  <a:srgbClr val="C0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700" b="1" dirty="0">
                    <a:solidFill>
                      <a:schemeClr val="tx2"/>
                    </a:solidFill>
                  </a:rPr>
                  <a:t>62,432</a:t>
                </a:r>
              </a:p>
            </p:txBody>
          </p:sp>
          <p:sp>
            <p:nvSpPr>
              <p:cNvPr id="34" name="Oval 33">
                <a:extLst>
                  <a:ext uri="{FF2B5EF4-FFF2-40B4-BE49-F238E27FC236}">
                    <a16:creationId xmlns:a16="http://schemas.microsoft.com/office/drawing/2014/main" id="{DAC47512-3714-061A-4769-956132FDED6C}"/>
                  </a:ext>
                </a:extLst>
              </p:cNvPr>
              <p:cNvSpPr/>
              <p:nvPr/>
            </p:nvSpPr>
            <p:spPr>
              <a:xfrm>
                <a:off x="5558817" y="1654780"/>
                <a:ext cx="940787" cy="357767"/>
              </a:xfrm>
              <a:prstGeom prst="ellipse">
                <a:avLst/>
              </a:prstGeom>
              <a:noFill/>
              <a:ln>
                <a:solidFill>
                  <a:srgbClr val="C0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700" b="1" dirty="0">
                    <a:solidFill>
                      <a:schemeClr val="tx2"/>
                    </a:solidFill>
                  </a:rPr>
                  <a:t>44,161</a:t>
                </a:r>
              </a:p>
            </p:txBody>
          </p:sp>
          <p:sp>
            <p:nvSpPr>
              <p:cNvPr id="35" name="Oval 34">
                <a:extLst>
                  <a:ext uri="{FF2B5EF4-FFF2-40B4-BE49-F238E27FC236}">
                    <a16:creationId xmlns:a16="http://schemas.microsoft.com/office/drawing/2014/main" id="{E1D5B478-2BD6-2277-BF5F-B8B6B55B367F}"/>
                  </a:ext>
                </a:extLst>
              </p:cNvPr>
              <p:cNvSpPr/>
              <p:nvPr/>
            </p:nvSpPr>
            <p:spPr>
              <a:xfrm>
                <a:off x="7148888" y="1654780"/>
                <a:ext cx="940787" cy="357767"/>
              </a:xfrm>
              <a:prstGeom prst="ellipse">
                <a:avLst/>
              </a:prstGeom>
              <a:noFill/>
              <a:ln>
                <a:solidFill>
                  <a:srgbClr val="C0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700" b="1" dirty="0">
                    <a:solidFill>
                      <a:schemeClr val="tx2"/>
                    </a:solidFill>
                  </a:rPr>
                  <a:t>54,670</a:t>
                </a:r>
              </a:p>
            </p:txBody>
          </p:sp>
          <p:sp>
            <p:nvSpPr>
              <p:cNvPr id="36" name="Oval 35">
                <a:extLst>
                  <a:ext uri="{FF2B5EF4-FFF2-40B4-BE49-F238E27FC236}">
                    <a16:creationId xmlns:a16="http://schemas.microsoft.com/office/drawing/2014/main" id="{8E8F1621-B197-A80F-1C23-643FF9FEF48A}"/>
                  </a:ext>
                </a:extLst>
              </p:cNvPr>
              <p:cNvSpPr/>
              <p:nvPr/>
            </p:nvSpPr>
            <p:spPr>
              <a:xfrm>
                <a:off x="8738959" y="1654780"/>
                <a:ext cx="940787" cy="357767"/>
              </a:xfrm>
              <a:prstGeom prst="ellipse">
                <a:avLst/>
              </a:prstGeom>
              <a:noFill/>
              <a:ln>
                <a:solidFill>
                  <a:srgbClr val="C0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700" b="1" dirty="0">
                    <a:solidFill>
                      <a:schemeClr val="tx2"/>
                    </a:solidFill>
                  </a:rPr>
                  <a:t>60,288</a:t>
                </a:r>
              </a:p>
            </p:txBody>
          </p:sp>
          <p:sp>
            <p:nvSpPr>
              <p:cNvPr id="37" name="Oval 36">
                <a:extLst>
                  <a:ext uri="{FF2B5EF4-FFF2-40B4-BE49-F238E27FC236}">
                    <a16:creationId xmlns:a16="http://schemas.microsoft.com/office/drawing/2014/main" id="{97494903-969C-8E16-3CD0-97E2340B9EE7}"/>
                  </a:ext>
                </a:extLst>
              </p:cNvPr>
              <p:cNvSpPr/>
              <p:nvPr/>
            </p:nvSpPr>
            <p:spPr>
              <a:xfrm>
                <a:off x="10329030" y="1654780"/>
                <a:ext cx="940787" cy="357767"/>
              </a:xfrm>
              <a:prstGeom prst="ellipse">
                <a:avLst/>
              </a:prstGeom>
              <a:noFill/>
              <a:ln>
                <a:solidFill>
                  <a:srgbClr val="C0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700" b="1" dirty="0">
                    <a:solidFill>
                      <a:schemeClr val="tx2"/>
                    </a:solidFill>
                  </a:rPr>
                  <a:t>72,440</a:t>
                </a:r>
              </a:p>
            </p:txBody>
          </p:sp>
        </p:grpSp>
        <p:grpSp>
          <p:nvGrpSpPr>
            <p:cNvPr id="9" name="Group 8">
              <a:extLst>
                <a:ext uri="{FF2B5EF4-FFF2-40B4-BE49-F238E27FC236}">
                  <a16:creationId xmlns:a16="http://schemas.microsoft.com/office/drawing/2014/main" id="{19A16490-6133-FAB1-2FB5-E421076ACCA6}"/>
                </a:ext>
              </a:extLst>
            </p:cNvPr>
            <p:cNvGrpSpPr/>
            <p:nvPr/>
          </p:nvGrpSpPr>
          <p:grpSpPr>
            <a:xfrm>
              <a:off x="5788801" y="6260963"/>
              <a:ext cx="2078585" cy="218377"/>
              <a:chOff x="10912690" y="4547025"/>
              <a:chExt cx="2305409" cy="218377"/>
            </a:xfrm>
          </p:grpSpPr>
          <p:sp>
            <p:nvSpPr>
              <p:cNvPr id="38" name="TextBox 37">
                <a:extLst>
                  <a:ext uri="{FF2B5EF4-FFF2-40B4-BE49-F238E27FC236}">
                    <a16:creationId xmlns:a16="http://schemas.microsoft.com/office/drawing/2014/main" id="{7559B100-1D45-356D-7728-753D7E687088}"/>
                  </a:ext>
                </a:extLst>
              </p:cNvPr>
              <p:cNvSpPr txBox="1"/>
              <p:nvPr/>
            </p:nvSpPr>
            <p:spPr>
              <a:xfrm>
                <a:off x="10912690" y="4549958"/>
                <a:ext cx="2305409" cy="215444"/>
              </a:xfrm>
              <a:prstGeom prst="rect">
                <a:avLst/>
              </a:prstGeom>
              <a:noFill/>
            </p:spPr>
            <p:txBody>
              <a:bodyPr wrap="square" rtlCol="0">
                <a:spAutoFit/>
              </a:bodyPr>
              <a:lstStyle/>
              <a:p>
                <a:pPr algn="ctr"/>
                <a:r>
                  <a:rPr lang="en-IN" sz="800" dirty="0"/>
                  <a:t>Total fundraise</a:t>
                </a:r>
              </a:p>
            </p:txBody>
          </p:sp>
          <p:sp>
            <p:nvSpPr>
              <p:cNvPr id="39" name="Oval 38">
                <a:extLst>
                  <a:ext uri="{FF2B5EF4-FFF2-40B4-BE49-F238E27FC236}">
                    <a16:creationId xmlns:a16="http://schemas.microsoft.com/office/drawing/2014/main" id="{03CC0BE8-1117-919C-E730-16871E7A5E06}"/>
                  </a:ext>
                </a:extLst>
              </p:cNvPr>
              <p:cNvSpPr/>
              <p:nvPr/>
            </p:nvSpPr>
            <p:spPr>
              <a:xfrm>
                <a:off x="11236900" y="4547025"/>
                <a:ext cx="346404" cy="217205"/>
              </a:xfrm>
              <a:prstGeom prst="ellipse">
                <a:avLst/>
              </a:prstGeom>
              <a:noFill/>
              <a:ln>
                <a:solidFill>
                  <a:srgbClr val="C0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800" dirty="0">
                    <a:solidFill>
                      <a:schemeClr val="tx1">
                        <a:lumMod val="60000"/>
                        <a:lumOff val="40000"/>
                      </a:schemeClr>
                    </a:solidFill>
                  </a:rPr>
                  <a:t>x</a:t>
                </a:r>
              </a:p>
            </p:txBody>
          </p:sp>
        </p:grpSp>
        <p:sp>
          <p:nvSpPr>
            <p:cNvPr id="10" name="TextBox 9">
              <a:extLst>
                <a:ext uri="{FF2B5EF4-FFF2-40B4-BE49-F238E27FC236}">
                  <a16:creationId xmlns:a16="http://schemas.microsoft.com/office/drawing/2014/main" id="{33D03627-9CD0-99EC-BB37-D865A1ADFC72}"/>
                </a:ext>
              </a:extLst>
            </p:cNvPr>
            <p:cNvSpPr txBox="1"/>
            <p:nvPr/>
          </p:nvSpPr>
          <p:spPr>
            <a:xfrm>
              <a:off x="1571732" y="4711699"/>
              <a:ext cx="285478" cy="200055"/>
            </a:xfrm>
            <a:prstGeom prst="rect">
              <a:avLst/>
            </a:prstGeom>
            <a:solidFill>
              <a:schemeClr val="bg2">
                <a:lumMod val="75000"/>
              </a:schemeClr>
            </a:solidFill>
          </p:spPr>
          <p:txBody>
            <a:bodyPr wrap="square" rtlCol="0">
              <a:spAutoFit/>
            </a:bodyPr>
            <a:lstStyle/>
            <a:p>
              <a:r>
                <a:rPr lang="en-IN" sz="700" b="1" dirty="0">
                  <a:solidFill>
                    <a:schemeClr val="bg1"/>
                  </a:solidFill>
                </a:rPr>
                <a:t>10</a:t>
              </a:r>
            </a:p>
          </p:txBody>
        </p:sp>
        <p:sp>
          <p:nvSpPr>
            <p:cNvPr id="11" name="TextBox 10">
              <a:extLst>
                <a:ext uri="{FF2B5EF4-FFF2-40B4-BE49-F238E27FC236}">
                  <a16:creationId xmlns:a16="http://schemas.microsoft.com/office/drawing/2014/main" id="{F944279C-FD06-6797-8344-AC57C5D599E0}"/>
                </a:ext>
              </a:extLst>
            </p:cNvPr>
            <p:cNvSpPr txBox="1"/>
            <p:nvPr/>
          </p:nvSpPr>
          <p:spPr>
            <a:xfrm>
              <a:off x="2775603" y="4356002"/>
              <a:ext cx="285478" cy="200055"/>
            </a:xfrm>
            <a:prstGeom prst="rect">
              <a:avLst/>
            </a:prstGeom>
            <a:solidFill>
              <a:schemeClr val="bg2">
                <a:lumMod val="75000"/>
              </a:schemeClr>
            </a:solidFill>
          </p:spPr>
          <p:txBody>
            <a:bodyPr wrap="square" rtlCol="0">
              <a:spAutoFit/>
            </a:bodyPr>
            <a:lstStyle/>
            <a:p>
              <a:r>
                <a:rPr lang="en-IN" sz="700" b="1" dirty="0">
                  <a:solidFill>
                    <a:schemeClr val="bg1"/>
                  </a:solidFill>
                </a:rPr>
                <a:t>29</a:t>
              </a:r>
            </a:p>
          </p:txBody>
        </p:sp>
        <p:sp>
          <p:nvSpPr>
            <p:cNvPr id="12" name="TextBox 11">
              <a:extLst>
                <a:ext uri="{FF2B5EF4-FFF2-40B4-BE49-F238E27FC236}">
                  <a16:creationId xmlns:a16="http://schemas.microsoft.com/office/drawing/2014/main" id="{1816E2DC-9810-6775-50FF-61A4A25D5A35}"/>
                </a:ext>
              </a:extLst>
            </p:cNvPr>
            <p:cNvSpPr txBox="1"/>
            <p:nvPr/>
          </p:nvSpPr>
          <p:spPr>
            <a:xfrm>
              <a:off x="3982435" y="4725971"/>
              <a:ext cx="285478" cy="200055"/>
            </a:xfrm>
            <a:prstGeom prst="rect">
              <a:avLst/>
            </a:prstGeom>
            <a:solidFill>
              <a:schemeClr val="bg2">
                <a:lumMod val="75000"/>
              </a:schemeClr>
            </a:solidFill>
          </p:spPr>
          <p:txBody>
            <a:bodyPr wrap="square" rtlCol="0">
              <a:spAutoFit/>
            </a:bodyPr>
            <a:lstStyle/>
            <a:p>
              <a:r>
                <a:rPr lang="en-IN" sz="700" b="1" dirty="0">
                  <a:solidFill>
                    <a:schemeClr val="bg1"/>
                  </a:solidFill>
                </a:rPr>
                <a:t>32</a:t>
              </a:r>
            </a:p>
          </p:txBody>
        </p:sp>
        <p:sp>
          <p:nvSpPr>
            <p:cNvPr id="14" name="TextBox 13">
              <a:extLst>
                <a:ext uri="{FF2B5EF4-FFF2-40B4-BE49-F238E27FC236}">
                  <a16:creationId xmlns:a16="http://schemas.microsoft.com/office/drawing/2014/main" id="{757193B1-B093-D930-158D-FB1C5F42ABBC}"/>
                </a:ext>
              </a:extLst>
            </p:cNvPr>
            <p:cNvSpPr txBox="1"/>
            <p:nvPr/>
          </p:nvSpPr>
          <p:spPr>
            <a:xfrm>
              <a:off x="5170619" y="4825998"/>
              <a:ext cx="285478" cy="200055"/>
            </a:xfrm>
            <a:prstGeom prst="rect">
              <a:avLst/>
            </a:prstGeom>
            <a:solidFill>
              <a:schemeClr val="bg2">
                <a:lumMod val="75000"/>
              </a:schemeClr>
            </a:solidFill>
          </p:spPr>
          <p:txBody>
            <a:bodyPr wrap="square" rtlCol="0">
              <a:spAutoFit/>
            </a:bodyPr>
            <a:lstStyle/>
            <a:p>
              <a:r>
                <a:rPr lang="en-IN" sz="700" b="1" dirty="0">
                  <a:solidFill>
                    <a:schemeClr val="bg1"/>
                  </a:solidFill>
                </a:rPr>
                <a:t>10</a:t>
              </a:r>
            </a:p>
          </p:txBody>
        </p:sp>
        <p:sp>
          <p:nvSpPr>
            <p:cNvPr id="15" name="TextBox 14">
              <a:extLst>
                <a:ext uri="{FF2B5EF4-FFF2-40B4-BE49-F238E27FC236}">
                  <a16:creationId xmlns:a16="http://schemas.microsoft.com/office/drawing/2014/main" id="{3C97F2BC-CDFC-3594-7BB0-39F8C65CCD07}"/>
                </a:ext>
              </a:extLst>
            </p:cNvPr>
            <p:cNvSpPr txBox="1"/>
            <p:nvPr/>
          </p:nvSpPr>
          <p:spPr>
            <a:xfrm>
              <a:off x="6358803" y="4811726"/>
              <a:ext cx="285478" cy="200055"/>
            </a:xfrm>
            <a:prstGeom prst="rect">
              <a:avLst/>
            </a:prstGeom>
            <a:solidFill>
              <a:schemeClr val="bg2">
                <a:lumMod val="75000"/>
              </a:schemeClr>
            </a:solidFill>
          </p:spPr>
          <p:txBody>
            <a:bodyPr wrap="square" rtlCol="0">
              <a:spAutoFit/>
            </a:bodyPr>
            <a:lstStyle/>
            <a:p>
              <a:r>
                <a:rPr lang="en-IN" sz="700" b="1" dirty="0">
                  <a:solidFill>
                    <a:schemeClr val="bg1"/>
                  </a:solidFill>
                </a:rPr>
                <a:t>16</a:t>
              </a:r>
            </a:p>
          </p:txBody>
        </p:sp>
        <p:sp>
          <p:nvSpPr>
            <p:cNvPr id="16" name="TextBox 15">
              <a:extLst>
                <a:ext uri="{FF2B5EF4-FFF2-40B4-BE49-F238E27FC236}">
                  <a16:creationId xmlns:a16="http://schemas.microsoft.com/office/drawing/2014/main" id="{48BA4466-7EFE-075E-DC6C-E86D73EADF33}"/>
                </a:ext>
              </a:extLst>
            </p:cNvPr>
            <p:cNvSpPr txBox="1"/>
            <p:nvPr/>
          </p:nvSpPr>
          <p:spPr>
            <a:xfrm>
              <a:off x="7581909" y="4525916"/>
              <a:ext cx="285478" cy="200055"/>
            </a:xfrm>
            <a:prstGeom prst="rect">
              <a:avLst/>
            </a:prstGeom>
            <a:solidFill>
              <a:schemeClr val="bg2">
                <a:lumMod val="75000"/>
              </a:schemeClr>
            </a:solidFill>
          </p:spPr>
          <p:txBody>
            <a:bodyPr wrap="square" rtlCol="0">
              <a:spAutoFit/>
            </a:bodyPr>
            <a:lstStyle/>
            <a:p>
              <a:r>
                <a:rPr lang="en-IN" sz="700" b="1" dirty="0">
                  <a:solidFill>
                    <a:schemeClr val="bg1"/>
                  </a:solidFill>
                </a:rPr>
                <a:t>25</a:t>
              </a:r>
            </a:p>
          </p:txBody>
        </p:sp>
        <p:sp>
          <p:nvSpPr>
            <p:cNvPr id="17" name="TextBox 16">
              <a:extLst>
                <a:ext uri="{FF2B5EF4-FFF2-40B4-BE49-F238E27FC236}">
                  <a16:creationId xmlns:a16="http://schemas.microsoft.com/office/drawing/2014/main" id="{F8336E6B-CBBC-0CAF-AE0E-084B5529A25B}"/>
                </a:ext>
              </a:extLst>
            </p:cNvPr>
            <p:cNvSpPr txBox="1"/>
            <p:nvPr/>
          </p:nvSpPr>
          <p:spPr>
            <a:xfrm>
              <a:off x="8766322" y="4017916"/>
              <a:ext cx="285478" cy="200055"/>
            </a:xfrm>
            <a:prstGeom prst="rect">
              <a:avLst/>
            </a:prstGeom>
            <a:solidFill>
              <a:schemeClr val="bg2">
                <a:lumMod val="75000"/>
              </a:schemeClr>
            </a:solidFill>
          </p:spPr>
          <p:txBody>
            <a:bodyPr wrap="square" rtlCol="0">
              <a:spAutoFit/>
            </a:bodyPr>
            <a:lstStyle/>
            <a:p>
              <a:r>
                <a:rPr lang="en-IN" sz="700" b="1" dirty="0">
                  <a:solidFill>
                    <a:schemeClr val="bg1"/>
                  </a:solidFill>
                </a:rPr>
                <a:t>28</a:t>
              </a:r>
            </a:p>
          </p:txBody>
        </p:sp>
        <p:sp>
          <p:nvSpPr>
            <p:cNvPr id="18" name="TextBox 17">
              <a:extLst>
                <a:ext uri="{FF2B5EF4-FFF2-40B4-BE49-F238E27FC236}">
                  <a16:creationId xmlns:a16="http://schemas.microsoft.com/office/drawing/2014/main" id="{18A5120C-C1B6-DF64-8BD9-2EDE615FB0EC}"/>
                </a:ext>
              </a:extLst>
            </p:cNvPr>
            <p:cNvSpPr txBox="1"/>
            <p:nvPr/>
          </p:nvSpPr>
          <p:spPr>
            <a:xfrm>
              <a:off x="1571732" y="3540898"/>
              <a:ext cx="285478" cy="200055"/>
            </a:xfrm>
            <a:prstGeom prst="rect">
              <a:avLst/>
            </a:prstGeom>
            <a:solidFill>
              <a:schemeClr val="bg2">
                <a:lumMod val="75000"/>
              </a:schemeClr>
            </a:solidFill>
          </p:spPr>
          <p:txBody>
            <a:bodyPr wrap="square" rtlCol="0">
              <a:spAutoFit/>
            </a:bodyPr>
            <a:lstStyle/>
            <a:p>
              <a:r>
                <a:rPr lang="en-IN" sz="700" b="1" dirty="0">
                  <a:solidFill>
                    <a:schemeClr val="bg1"/>
                  </a:solidFill>
                </a:rPr>
                <a:t>15</a:t>
              </a:r>
            </a:p>
          </p:txBody>
        </p:sp>
        <p:sp>
          <p:nvSpPr>
            <p:cNvPr id="19" name="TextBox 18">
              <a:extLst>
                <a:ext uri="{FF2B5EF4-FFF2-40B4-BE49-F238E27FC236}">
                  <a16:creationId xmlns:a16="http://schemas.microsoft.com/office/drawing/2014/main" id="{97E7B865-9482-7079-7066-1A56900249D9}"/>
                </a:ext>
              </a:extLst>
            </p:cNvPr>
            <p:cNvSpPr txBox="1"/>
            <p:nvPr/>
          </p:nvSpPr>
          <p:spPr>
            <a:xfrm>
              <a:off x="2775603" y="3067230"/>
              <a:ext cx="285478" cy="200055"/>
            </a:xfrm>
            <a:prstGeom prst="rect">
              <a:avLst/>
            </a:prstGeom>
            <a:solidFill>
              <a:schemeClr val="bg2">
                <a:lumMod val="75000"/>
              </a:schemeClr>
            </a:solidFill>
          </p:spPr>
          <p:txBody>
            <a:bodyPr wrap="square" rtlCol="0">
              <a:spAutoFit/>
            </a:bodyPr>
            <a:lstStyle/>
            <a:p>
              <a:r>
                <a:rPr lang="en-IN" sz="700" b="1" dirty="0">
                  <a:solidFill>
                    <a:schemeClr val="bg1"/>
                  </a:solidFill>
                </a:rPr>
                <a:t>10</a:t>
              </a:r>
            </a:p>
          </p:txBody>
        </p:sp>
        <p:sp>
          <p:nvSpPr>
            <p:cNvPr id="20" name="TextBox 19">
              <a:extLst>
                <a:ext uri="{FF2B5EF4-FFF2-40B4-BE49-F238E27FC236}">
                  <a16:creationId xmlns:a16="http://schemas.microsoft.com/office/drawing/2014/main" id="{08BA7DC1-C749-D98D-155B-7157CE955268}"/>
                </a:ext>
              </a:extLst>
            </p:cNvPr>
            <p:cNvSpPr txBox="1"/>
            <p:nvPr/>
          </p:nvSpPr>
          <p:spPr>
            <a:xfrm>
              <a:off x="3982435" y="3628763"/>
              <a:ext cx="285478" cy="200055"/>
            </a:xfrm>
            <a:prstGeom prst="rect">
              <a:avLst/>
            </a:prstGeom>
            <a:solidFill>
              <a:schemeClr val="bg2">
                <a:lumMod val="75000"/>
              </a:schemeClr>
            </a:solidFill>
          </p:spPr>
          <p:txBody>
            <a:bodyPr wrap="square" rtlCol="0">
              <a:spAutoFit/>
            </a:bodyPr>
            <a:lstStyle/>
            <a:p>
              <a:r>
                <a:rPr lang="en-IN" sz="700" b="1" dirty="0">
                  <a:solidFill>
                    <a:schemeClr val="bg1"/>
                  </a:solidFill>
                </a:rPr>
                <a:t>30</a:t>
              </a:r>
            </a:p>
          </p:txBody>
        </p:sp>
        <p:sp>
          <p:nvSpPr>
            <p:cNvPr id="21" name="TextBox 20">
              <a:extLst>
                <a:ext uri="{FF2B5EF4-FFF2-40B4-BE49-F238E27FC236}">
                  <a16:creationId xmlns:a16="http://schemas.microsoft.com/office/drawing/2014/main" id="{D0AE005A-5054-59B0-F39A-96AD173EE66F}"/>
                </a:ext>
              </a:extLst>
            </p:cNvPr>
            <p:cNvSpPr txBox="1"/>
            <p:nvPr/>
          </p:nvSpPr>
          <p:spPr>
            <a:xfrm>
              <a:off x="5170619" y="3528735"/>
              <a:ext cx="285478" cy="200055"/>
            </a:xfrm>
            <a:prstGeom prst="rect">
              <a:avLst/>
            </a:prstGeom>
            <a:solidFill>
              <a:schemeClr val="bg2">
                <a:lumMod val="75000"/>
              </a:schemeClr>
            </a:solidFill>
          </p:spPr>
          <p:txBody>
            <a:bodyPr wrap="square" rtlCol="0">
              <a:spAutoFit/>
            </a:bodyPr>
            <a:lstStyle/>
            <a:p>
              <a:r>
                <a:rPr lang="en-IN" sz="700" b="1" dirty="0">
                  <a:solidFill>
                    <a:schemeClr val="bg1"/>
                  </a:solidFill>
                </a:rPr>
                <a:t>22</a:t>
              </a:r>
            </a:p>
          </p:txBody>
        </p:sp>
        <p:sp>
          <p:nvSpPr>
            <p:cNvPr id="22" name="TextBox 21">
              <a:extLst>
                <a:ext uri="{FF2B5EF4-FFF2-40B4-BE49-F238E27FC236}">
                  <a16:creationId xmlns:a16="http://schemas.microsoft.com/office/drawing/2014/main" id="{7D7A8B48-6F81-475A-A3BB-46E645A1EA5F}"/>
                </a:ext>
              </a:extLst>
            </p:cNvPr>
            <p:cNvSpPr txBox="1"/>
            <p:nvPr/>
          </p:nvSpPr>
          <p:spPr>
            <a:xfrm>
              <a:off x="6358803" y="3022290"/>
              <a:ext cx="285478" cy="200055"/>
            </a:xfrm>
            <a:prstGeom prst="rect">
              <a:avLst/>
            </a:prstGeom>
            <a:solidFill>
              <a:schemeClr val="bg2">
                <a:lumMod val="75000"/>
              </a:schemeClr>
            </a:solidFill>
          </p:spPr>
          <p:txBody>
            <a:bodyPr wrap="square" rtlCol="0">
              <a:spAutoFit/>
            </a:bodyPr>
            <a:lstStyle/>
            <a:p>
              <a:r>
                <a:rPr lang="en-IN" sz="700" b="1" dirty="0">
                  <a:solidFill>
                    <a:schemeClr val="bg1"/>
                  </a:solidFill>
                </a:rPr>
                <a:t>31</a:t>
              </a:r>
            </a:p>
          </p:txBody>
        </p:sp>
        <p:sp>
          <p:nvSpPr>
            <p:cNvPr id="23" name="TextBox 22">
              <a:extLst>
                <a:ext uri="{FF2B5EF4-FFF2-40B4-BE49-F238E27FC236}">
                  <a16:creationId xmlns:a16="http://schemas.microsoft.com/office/drawing/2014/main" id="{81950960-AC51-189C-9670-44C4FE69338F}"/>
                </a:ext>
              </a:extLst>
            </p:cNvPr>
            <p:cNvSpPr txBox="1"/>
            <p:nvPr/>
          </p:nvSpPr>
          <p:spPr>
            <a:xfrm>
              <a:off x="7581909" y="3135446"/>
              <a:ext cx="285478" cy="200055"/>
            </a:xfrm>
            <a:prstGeom prst="rect">
              <a:avLst/>
            </a:prstGeom>
            <a:solidFill>
              <a:schemeClr val="bg2">
                <a:lumMod val="75000"/>
              </a:schemeClr>
            </a:solidFill>
          </p:spPr>
          <p:txBody>
            <a:bodyPr wrap="square" rtlCol="0">
              <a:spAutoFit/>
            </a:bodyPr>
            <a:lstStyle/>
            <a:p>
              <a:r>
                <a:rPr lang="en-IN" sz="700" b="1">
                  <a:solidFill>
                    <a:schemeClr val="bg1"/>
                  </a:solidFill>
                </a:rPr>
                <a:t>30</a:t>
              </a:r>
              <a:endParaRPr lang="en-IN" sz="700" b="1" dirty="0">
                <a:solidFill>
                  <a:schemeClr val="bg1"/>
                </a:solidFill>
              </a:endParaRPr>
            </a:p>
          </p:txBody>
        </p:sp>
        <p:sp>
          <p:nvSpPr>
            <p:cNvPr id="25" name="TextBox 24">
              <a:extLst>
                <a:ext uri="{FF2B5EF4-FFF2-40B4-BE49-F238E27FC236}">
                  <a16:creationId xmlns:a16="http://schemas.microsoft.com/office/drawing/2014/main" id="{C0309EB5-A22F-B3FE-FA6A-64D20AFCDBAB}"/>
                </a:ext>
              </a:extLst>
            </p:cNvPr>
            <p:cNvSpPr txBox="1"/>
            <p:nvPr/>
          </p:nvSpPr>
          <p:spPr>
            <a:xfrm>
              <a:off x="8778734" y="2243887"/>
              <a:ext cx="285478" cy="200055"/>
            </a:xfrm>
            <a:prstGeom prst="rect">
              <a:avLst/>
            </a:prstGeom>
            <a:solidFill>
              <a:schemeClr val="bg2">
                <a:lumMod val="75000"/>
              </a:schemeClr>
            </a:solidFill>
          </p:spPr>
          <p:txBody>
            <a:bodyPr wrap="square" rtlCol="0">
              <a:spAutoFit/>
            </a:bodyPr>
            <a:lstStyle/>
            <a:p>
              <a:r>
                <a:rPr lang="en-IN" sz="700" b="1" dirty="0">
                  <a:solidFill>
                    <a:schemeClr val="bg1"/>
                  </a:solidFill>
                </a:rPr>
                <a:t>15</a:t>
              </a:r>
            </a:p>
          </p:txBody>
        </p:sp>
        <p:sp>
          <p:nvSpPr>
            <p:cNvPr id="26" name="TextBox 25">
              <a:extLst>
                <a:ext uri="{FF2B5EF4-FFF2-40B4-BE49-F238E27FC236}">
                  <a16:creationId xmlns:a16="http://schemas.microsoft.com/office/drawing/2014/main" id="{AB054325-143C-5903-729B-1DC9CA93E13B}"/>
                </a:ext>
              </a:extLst>
            </p:cNvPr>
            <p:cNvSpPr txBox="1"/>
            <p:nvPr/>
          </p:nvSpPr>
          <p:spPr>
            <a:xfrm>
              <a:off x="1571732" y="2190482"/>
              <a:ext cx="285478" cy="200055"/>
            </a:xfrm>
            <a:prstGeom prst="rect">
              <a:avLst/>
            </a:prstGeom>
            <a:solidFill>
              <a:schemeClr val="bg2">
                <a:lumMod val="75000"/>
              </a:schemeClr>
            </a:solidFill>
          </p:spPr>
          <p:txBody>
            <a:bodyPr wrap="square" rtlCol="0">
              <a:spAutoFit/>
            </a:bodyPr>
            <a:lstStyle/>
            <a:p>
              <a:r>
                <a:rPr lang="en-IN" sz="700" b="1" dirty="0">
                  <a:solidFill>
                    <a:schemeClr val="bg1"/>
                  </a:solidFill>
                </a:rPr>
                <a:t> 9</a:t>
              </a:r>
            </a:p>
          </p:txBody>
        </p:sp>
        <p:sp>
          <p:nvSpPr>
            <p:cNvPr id="27" name="TextBox 26">
              <a:extLst>
                <a:ext uri="{FF2B5EF4-FFF2-40B4-BE49-F238E27FC236}">
                  <a16:creationId xmlns:a16="http://schemas.microsoft.com/office/drawing/2014/main" id="{3816733C-62F0-5E7C-5B0D-4777B4F340FD}"/>
                </a:ext>
              </a:extLst>
            </p:cNvPr>
            <p:cNvSpPr txBox="1"/>
            <p:nvPr/>
          </p:nvSpPr>
          <p:spPr>
            <a:xfrm>
              <a:off x="2775603" y="2230938"/>
              <a:ext cx="285478" cy="200055"/>
            </a:xfrm>
            <a:prstGeom prst="rect">
              <a:avLst/>
            </a:prstGeom>
            <a:solidFill>
              <a:schemeClr val="bg2">
                <a:lumMod val="75000"/>
              </a:schemeClr>
            </a:solidFill>
          </p:spPr>
          <p:txBody>
            <a:bodyPr wrap="square" rtlCol="0">
              <a:spAutoFit/>
            </a:bodyPr>
            <a:lstStyle/>
            <a:p>
              <a:r>
                <a:rPr lang="en-IN" sz="700" b="1" dirty="0">
                  <a:solidFill>
                    <a:schemeClr val="bg1"/>
                  </a:solidFill>
                </a:rPr>
                <a:t>10</a:t>
              </a:r>
            </a:p>
          </p:txBody>
        </p:sp>
        <p:sp>
          <p:nvSpPr>
            <p:cNvPr id="28" name="TextBox 27">
              <a:extLst>
                <a:ext uri="{FF2B5EF4-FFF2-40B4-BE49-F238E27FC236}">
                  <a16:creationId xmlns:a16="http://schemas.microsoft.com/office/drawing/2014/main" id="{08698AA5-BF3B-ADAB-2BFE-5B0808018F28}"/>
                </a:ext>
              </a:extLst>
            </p:cNvPr>
            <p:cNvSpPr txBox="1"/>
            <p:nvPr/>
          </p:nvSpPr>
          <p:spPr>
            <a:xfrm>
              <a:off x="3979473" y="2243886"/>
              <a:ext cx="285478" cy="200055"/>
            </a:xfrm>
            <a:prstGeom prst="rect">
              <a:avLst/>
            </a:prstGeom>
            <a:solidFill>
              <a:schemeClr val="bg2">
                <a:lumMod val="75000"/>
              </a:schemeClr>
            </a:solidFill>
          </p:spPr>
          <p:txBody>
            <a:bodyPr wrap="square" rtlCol="0">
              <a:spAutoFit/>
            </a:bodyPr>
            <a:lstStyle/>
            <a:p>
              <a:r>
                <a:rPr lang="en-IN" sz="700" b="1" dirty="0">
                  <a:solidFill>
                    <a:schemeClr val="bg1"/>
                  </a:solidFill>
                </a:rPr>
                <a:t>22</a:t>
              </a:r>
            </a:p>
          </p:txBody>
        </p:sp>
        <p:sp>
          <p:nvSpPr>
            <p:cNvPr id="29" name="TextBox 28">
              <a:extLst>
                <a:ext uri="{FF2B5EF4-FFF2-40B4-BE49-F238E27FC236}">
                  <a16:creationId xmlns:a16="http://schemas.microsoft.com/office/drawing/2014/main" id="{BF066C09-BF45-624A-7178-3860A99C0065}"/>
                </a:ext>
              </a:extLst>
            </p:cNvPr>
            <p:cNvSpPr txBox="1"/>
            <p:nvPr/>
          </p:nvSpPr>
          <p:spPr>
            <a:xfrm>
              <a:off x="5183344" y="2248843"/>
              <a:ext cx="285478" cy="200055"/>
            </a:xfrm>
            <a:prstGeom prst="rect">
              <a:avLst/>
            </a:prstGeom>
            <a:solidFill>
              <a:schemeClr val="bg2">
                <a:lumMod val="75000"/>
              </a:schemeClr>
            </a:solidFill>
          </p:spPr>
          <p:txBody>
            <a:bodyPr wrap="square" rtlCol="0">
              <a:spAutoFit/>
            </a:bodyPr>
            <a:lstStyle/>
            <a:p>
              <a:r>
                <a:rPr lang="en-IN" sz="700" b="1" dirty="0">
                  <a:solidFill>
                    <a:schemeClr val="bg1"/>
                  </a:solidFill>
                </a:rPr>
                <a:t>15</a:t>
              </a:r>
            </a:p>
          </p:txBody>
        </p:sp>
        <p:sp>
          <p:nvSpPr>
            <p:cNvPr id="30" name="TextBox 29">
              <a:extLst>
                <a:ext uri="{FF2B5EF4-FFF2-40B4-BE49-F238E27FC236}">
                  <a16:creationId xmlns:a16="http://schemas.microsoft.com/office/drawing/2014/main" id="{BD564363-EEF2-C72E-A8AE-2F04CC4FFC63}"/>
                </a:ext>
              </a:extLst>
            </p:cNvPr>
            <p:cNvSpPr txBox="1"/>
            <p:nvPr/>
          </p:nvSpPr>
          <p:spPr>
            <a:xfrm>
              <a:off x="7574863" y="2166344"/>
              <a:ext cx="285478" cy="200055"/>
            </a:xfrm>
            <a:prstGeom prst="rect">
              <a:avLst/>
            </a:prstGeom>
            <a:solidFill>
              <a:schemeClr val="bg2">
                <a:lumMod val="75000"/>
              </a:schemeClr>
            </a:solidFill>
          </p:spPr>
          <p:txBody>
            <a:bodyPr wrap="square" rtlCol="0">
              <a:spAutoFit/>
            </a:bodyPr>
            <a:lstStyle/>
            <a:p>
              <a:r>
                <a:rPr lang="en-IN" sz="700" b="1" dirty="0">
                  <a:solidFill>
                    <a:schemeClr val="bg1"/>
                  </a:solidFill>
                </a:rPr>
                <a:t>13</a:t>
              </a:r>
            </a:p>
          </p:txBody>
        </p:sp>
      </p:grpSp>
      <p:sp>
        <p:nvSpPr>
          <p:cNvPr id="41" name="TextBox 40">
            <a:extLst>
              <a:ext uri="{FF2B5EF4-FFF2-40B4-BE49-F238E27FC236}">
                <a16:creationId xmlns:a16="http://schemas.microsoft.com/office/drawing/2014/main" id="{0C06A3F5-B663-0B8A-1F0A-1B6544BAEA12}"/>
              </a:ext>
            </a:extLst>
          </p:cNvPr>
          <p:cNvSpPr txBox="1"/>
          <p:nvPr/>
        </p:nvSpPr>
        <p:spPr>
          <a:xfrm>
            <a:off x="9510513" y="1548966"/>
            <a:ext cx="2549215" cy="4377352"/>
          </a:xfrm>
          <a:prstGeom prst="rect">
            <a:avLst/>
          </a:prstGeom>
          <a:noFill/>
        </p:spPr>
        <p:txBody>
          <a:bodyPr wrap="square" rtlCol="0">
            <a:spAutoFit/>
          </a:bodyPr>
          <a:lstStyle/>
          <a:p>
            <a:pPr marL="228600" indent="-228600">
              <a:lnSpc>
                <a:spcPct val="150000"/>
              </a:lnSpc>
              <a:buFont typeface="+mj-lt"/>
              <a:buAutoNum type="arabicPeriod"/>
            </a:pPr>
            <a:r>
              <a:rPr lang="en-US" sz="1100" dirty="0"/>
              <a:t>Significant uptick in fund raising across all sub-sectors led by</a:t>
            </a:r>
          </a:p>
          <a:p>
            <a:pPr marL="685800" lvl="1" indent="-228600">
              <a:lnSpc>
                <a:spcPct val="150000"/>
              </a:lnSpc>
              <a:buFont typeface="Wingdings" panose="05000000000000000000" pitchFamily="2" charset="2"/>
              <a:buChar char="Ø"/>
            </a:pPr>
            <a:r>
              <a:rPr lang="en-US" sz="1100" dirty="0"/>
              <a:t>ECM  in Pharma </a:t>
            </a:r>
          </a:p>
          <a:p>
            <a:pPr marL="685800" lvl="1" indent="-228600">
              <a:lnSpc>
                <a:spcPct val="150000"/>
              </a:lnSpc>
              <a:buFont typeface="Wingdings" panose="05000000000000000000" pitchFamily="2" charset="2"/>
              <a:buChar char="Ø"/>
            </a:pPr>
            <a:r>
              <a:rPr lang="en-US" sz="1100" dirty="0"/>
              <a:t>Buyouts in Hospitals</a:t>
            </a:r>
          </a:p>
          <a:p>
            <a:pPr marL="228600" indent="-228600">
              <a:lnSpc>
                <a:spcPct val="150000"/>
              </a:lnSpc>
              <a:buFont typeface="+mj-lt"/>
              <a:buAutoNum type="arabicPeriod"/>
            </a:pPr>
            <a:r>
              <a:rPr lang="en-US" sz="1100" dirty="0"/>
              <a:t>Pharma continues to dominate the sector in total fund raise</a:t>
            </a:r>
          </a:p>
          <a:p>
            <a:pPr marL="228600" indent="-228600">
              <a:lnSpc>
                <a:spcPct val="150000"/>
              </a:lnSpc>
              <a:buFont typeface="+mj-lt"/>
              <a:buAutoNum type="arabicPeriod"/>
            </a:pPr>
            <a:r>
              <a:rPr lang="en-US" sz="1100" dirty="0"/>
              <a:t>Hospital activity driven by buyout platforms and M&amp;A</a:t>
            </a:r>
          </a:p>
          <a:p>
            <a:pPr marL="228600" indent="-228600">
              <a:lnSpc>
                <a:spcPct val="150000"/>
              </a:lnSpc>
              <a:buFont typeface="+mj-lt"/>
              <a:buAutoNum type="arabicPeriod"/>
            </a:pPr>
            <a:r>
              <a:rPr lang="en-US" sz="1100" dirty="0"/>
              <a:t>Medtech lags but expected to see momentum in future</a:t>
            </a:r>
          </a:p>
          <a:p>
            <a:pPr marL="228600" indent="-228600">
              <a:lnSpc>
                <a:spcPct val="150000"/>
              </a:lnSpc>
              <a:buFont typeface="+mj-lt"/>
              <a:buAutoNum type="arabicPeriod"/>
            </a:pPr>
            <a:r>
              <a:rPr lang="en-US" sz="1100" dirty="0"/>
              <a:t>Diagnostics driven by M&amp;A</a:t>
            </a:r>
          </a:p>
          <a:p>
            <a:pPr marL="228600" indent="-228600">
              <a:lnSpc>
                <a:spcPct val="150000"/>
              </a:lnSpc>
              <a:buFont typeface="+mj-lt"/>
              <a:buAutoNum type="arabicPeriod"/>
            </a:pPr>
            <a:r>
              <a:rPr lang="en-US" sz="1100" dirty="0"/>
              <a:t>Significant pick-up avg. deal size</a:t>
            </a:r>
          </a:p>
          <a:p>
            <a:pPr marL="685800" lvl="1" indent="-228600">
              <a:lnSpc>
                <a:spcPct val="150000"/>
              </a:lnSpc>
              <a:buFont typeface="Wingdings" panose="05000000000000000000" pitchFamily="2" charset="2"/>
              <a:buChar char="Ø"/>
            </a:pPr>
            <a:r>
              <a:rPr lang="en-US" sz="1100" dirty="0"/>
              <a:t>Pharma – increased from INR700 </a:t>
            </a:r>
            <a:r>
              <a:rPr lang="en-US" sz="1100" dirty="0" err="1"/>
              <a:t>Crs</a:t>
            </a:r>
            <a:r>
              <a:rPr lang="en-US" sz="1100" dirty="0"/>
              <a:t>. to INR2,100 </a:t>
            </a:r>
            <a:r>
              <a:rPr lang="en-US" sz="1100" dirty="0" err="1"/>
              <a:t>Crs</a:t>
            </a:r>
            <a:r>
              <a:rPr lang="en-US" sz="1100" dirty="0"/>
              <a:t>.</a:t>
            </a:r>
          </a:p>
          <a:p>
            <a:pPr marL="685800" lvl="1" indent="-228600">
              <a:lnSpc>
                <a:spcPct val="150000"/>
              </a:lnSpc>
              <a:buFont typeface="Wingdings" panose="05000000000000000000" pitchFamily="2" charset="2"/>
              <a:buChar char="Ø"/>
            </a:pPr>
            <a:r>
              <a:rPr lang="en-US" sz="1100" dirty="0"/>
              <a:t>Hospitals – increased from INR300 </a:t>
            </a:r>
            <a:r>
              <a:rPr lang="en-US" sz="1100" dirty="0" err="1"/>
              <a:t>Crs</a:t>
            </a:r>
            <a:r>
              <a:rPr lang="en-US" sz="1100" dirty="0"/>
              <a:t>. to INR850 </a:t>
            </a:r>
            <a:r>
              <a:rPr lang="en-US" sz="1100" dirty="0" err="1"/>
              <a:t>Crs</a:t>
            </a:r>
            <a:r>
              <a:rPr lang="en-US" sz="1100" dirty="0"/>
              <a:t>.</a:t>
            </a:r>
          </a:p>
        </p:txBody>
      </p:sp>
      <p:sp>
        <p:nvSpPr>
          <p:cNvPr id="31" name="Rectangle 30">
            <a:extLst>
              <a:ext uri="{FF2B5EF4-FFF2-40B4-BE49-F238E27FC236}">
                <a16:creationId xmlns:a16="http://schemas.microsoft.com/office/drawing/2014/main" id="{474C3226-51E1-837E-5D49-1A5F100ACB90}"/>
              </a:ext>
            </a:extLst>
          </p:cNvPr>
          <p:cNvSpPr/>
          <p:nvPr/>
        </p:nvSpPr>
        <p:spPr>
          <a:xfrm>
            <a:off x="8830715" y="2266967"/>
            <a:ext cx="612000" cy="277592"/>
          </a:xfrm>
          <a:prstGeom prst="rect">
            <a:avLst/>
          </a:prstGeom>
          <a:noFill/>
          <a:ln>
            <a:solidFill>
              <a:srgbClr val="C0CFB2"/>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1000" i="1" dirty="0">
                <a:solidFill>
                  <a:schemeClr val="tx2"/>
                </a:solidFill>
              </a:rPr>
              <a:t>6.23%</a:t>
            </a:r>
          </a:p>
        </p:txBody>
      </p:sp>
      <p:sp>
        <p:nvSpPr>
          <p:cNvPr id="32" name="Rectangle 31">
            <a:extLst>
              <a:ext uri="{FF2B5EF4-FFF2-40B4-BE49-F238E27FC236}">
                <a16:creationId xmlns:a16="http://schemas.microsoft.com/office/drawing/2014/main" id="{EAAF5DFD-23A8-BAF2-83BC-22EEF115901A}"/>
              </a:ext>
            </a:extLst>
          </p:cNvPr>
          <p:cNvSpPr/>
          <p:nvPr/>
        </p:nvSpPr>
        <p:spPr>
          <a:xfrm>
            <a:off x="8830715" y="2745294"/>
            <a:ext cx="612000" cy="277592"/>
          </a:xfrm>
          <a:prstGeom prst="rect">
            <a:avLst/>
          </a:prstGeom>
          <a:noFill/>
          <a:ln>
            <a:solidFill>
              <a:srgbClr val="D9D9D9"/>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1000" i="1" dirty="0">
                <a:solidFill>
                  <a:schemeClr val="tx2"/>
                </a:solidFill>
              </a:rPr>
              <a:t>44.11%</a:t>
            </a:r>
          </a:p>
        </p:txBody>
      </p:sp>
      <p:sp>
        <p:nvSpPr>
          <p:cNvPr id="42" name="Rectangle 41">
            <a:extLst>
              <a:ext uri="{FF2B5EF4-FFF2-40B4-BE49-F238E27FC236}">
                <a16:creationId xmlns:a16="http://schemas.microsoft.com/office/drawing/2014/main" id="{84120AB8-F360-9171-EAA1-0159B3746890}"/>
              </a:ext>
            </a:extLst>
          </p:cNvPr>
          <p:cNvSpPr/>
          <p:nvPr/>
        </p:nvSpPr>
        <p:spPr>
          <a:xfrm>
            <a:off x="8830715" y="3351766"/>
            <a:ext cx="612000" cy="277592"/>
          </a:xfrm>
          <a:prstGeom prst="rect">
            <a:avLst/>
          </a:prstGeom>
          <a:noFill/>
          <a:ln>
            <a:solidFill>
              <a:srgbClr val="BDCFC6"/>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1000" i="1" dirty="0">
                <a:solidFill>
                  <a:schemeClr val="tx2"/>
                </a:solidFill>
              </a:rPr>
              <a:t>22.59%</a:t>
            </a:r>
          </a:p>
        </p:txBody>
      </p:sp>
      <p:sp>
        <p:nvSpPr>
          <p:cNvPr id="43" name="Rectangle 42">
            <a:extLst>
              <a:ext uri="{FF2B5EF4-FFF2-40B4-BE49-F238E27FC236}">
                <a16:creationId xmlns:a16="http://schemas.microsoft.com/office/drawing/2014/main" id="{49DE8BDA-43F2-A73D-A27F-80D5A42F7389}"/>
              </a:ext>
            </a:extLst>
          </p:cNvPr>
          <p:cNvSpPr/>
          <p:nvPr/>
        </p:nvSpPr>
        <p:spPr>
          <a:xfrm>
            <a:off x="8830715" y="4689135"/>
            <a:ext cx="612000" cy="277592"/>
          </a:xfrm>
          <a:prstGeom prst="rect">
            <a:avLst/>
          </a:prstGeom>
          <a:noFill/>
          <a:ln>
            <a:solidFill>
              <a:srgbClr val="92D050"/>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1000" i="1" dirty="0">
                <a:solidFill>
                  <a:schemeClr val="tx2"/>
                </a:solidFill>
              </a:rPr>
              <a:t>11.15%</a:t>
            </a:r>
          </a:p>
        </p:txBody>
      </p:sp>
      <p:sp>
        <p:nvSpPr>
          <p:cNvPr id="45" name="TextBox 44">
            <a:extLst>
              <a:ext uri="{FF2B5EF4-FFF2-40B4-BE49-F238E27FC236}">
                <a16:creationId xmlns:a16="http://schemas.microsoft.com/office/drawing/2014/main" id="{20DAE7A3-F132-9A89-28E2-2F35325E754E}"/>
              </a:ext>
            </a:extLst>
          </p:cNvPr>
          <p:cNvSpPr txBox="1"/>
          <p:nvPr/>
        </p:nvSpPr>
        <p:spPr>
          <a:xfrm>
            <a:off x="8459515" y="1680774"/>
            <a:ext cx="1475878" cy="400110"/>
          </a:xfrm>
          <a:prstGeom prst="rect">
            <a:avLst/>
          </a:prstGeom>
          <a:noFill/>
        </p:spPr>
        <p:txBody>
          <a:bodyPr wrap="square" rtlCol="0">
            <a:spAutoFit/>
          </a:bodyPr>
          <a:lstStyle/>
          <a:p>
            <a:pPr algn="ctr"/>
            <a:r>
              <a:rPr lang="en-IN" sz="1000" b="1" i="1" dirty="0"/>
              <a:t>CAGR </a:t>
            </a:r>
          </a:p>
          <a:p>
            <a:pPr algn="ctr"/>
            <a:r>
              <a:rPr lang="en-IN" sz="1000" b="1" i="1" dirty="0"/>
              <a:t>(FY21-25)</a:t>
            </a:r>
          </a:p>
        </p:txBody>
      </p:sp>
    </p:spTree>
    <p:extLst>
      <p:ext uri="{BB962C8B-B14F-4D97-AF65-F5344CB8AC3E}">
        <p14:creationId xmlns:p14="http://schemas.microsoft.com/office/powerpoint/2010/main" val="13605240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0C5282-167A-E42D-ADF9-93B64EB5C098}"/>
            </a:ext>
          </a:extLst>
        </p:cNvPr>
        <p:cNvGrpSpPr/>
        <p:nvPr/>
      </p:nvGrpSpPr>
      <p:grpSpPr>
        <a:xfrm>
          <a:off x="0" y="0"/>
          <a:ext cx="0" cy="0"/>
          <a:chOff x="0" y="0"/>
          <a:chExt cx="0" cy="0"/>
        </a:xfrm>
      </p:grpSpPr>
      <p:sp>
        <p:nvSpPr>
          <p:cNvPr id="6" name="TextBox 5">
            <a:extLst>
              <a:ext uri="{FF2B5EF4-FFF2-40B4-BE49-F238E27FC236}">
                <a16:creationId xmlns:a16="http://schemas.microsoft.com/office/drawing/2014/main" id="{627193C1-EA37-CC9F-367A-340E1DD44A11}"/>
              </a:ext>
            </a:extLst>
          </p:cNvPr>
          <p:cNvSpPr txBox="1"/>
          <p:nvPr/>
        </p:nvSpPr>
        <p:spPr>
          <a:xfrm>
            <a:off x="9501887" y="1529922"/>
            <a:ext cx="2419819" cy="4377352"/>
          </a:xfrm>
          <a:prstGeom prst="rect">
            <a:avLst/>
          </a:prstGeom>
          <a:noFill/>
        </p:spPr>
        <p:txBody>
          <a:bodyPr wrap="square" rtlCol="0">
            <a:spAutoFit/>
          </a:bodyPr>
          <a:lstStyle/>
          <a:p>
            <a:pPr marL="228600" indent="-228600">
              <a:lnSpc>
                <a:spcPct val="150000"/>
              </a:lnSpc>
              <a:buFont typeface="+mj-lt"/>
              <a:buAutoNum type="arabicPeriod"/>
            </a:pPr>
            <a:r>
              <a:rPr lang="en-US" sz="1100" dirty="0"/>
              <a:t>M&amp;A as a transaction theme has gained prominence</a:t>
            </a:r>
            <a:r>
              <a:rPr lang="en-US" sz="1100" b="1" dirty="0"/>
              <a:t> </a:t>
            </a:r>
            <a:r>
              <a:rPr lang="en-US" sz="1100" dirty="0"/>
              <a:t>on the back of increasing consolidation</a:t>
            </a:r>
          </a:p>
          <a:p>
            <a:pPr marL="228600" indent="-228600">
              <a:lnSpc>
                <a:spcPct val="150000"/>
              </a:lnSpc>
              <a:buFont typeface="+mj-lt"/>
              <a:buAutoNum type="arabicPeriod"/>
            </a:pPr>
            <a:r>
              <a:rPr lang="en-US" sz="1100" dirty="0"/>
              <a:t>ECM back to post covid levels – momentum driven by Pharma</a:t>
            </a:r>
            <a:endParaRPr lang="en-US" sz="1100" b="1" dirty="0"/>
          </a:p>
          <a:p>
            <a:pPr marL="228600" indent="-228600">
              <a:lnSpc>
                <a:spcPct val="150000"/>
              </a:lnSpc>
              <a:buFont typeface="+mj-lt"/>
              <a:buAutoNum type="arabicPeriod"/>
            </a:pPr>
            <a:r>
              <a:rPr lang="en-US" sz="1100" dirty="0"/>
              <a:t>Growth PE transactions have declined as assets have scaled up</a:t>
            </a:r>
          </a:p>
          <a:p>
            <a:pPr marL="228600" indent="-228600">
              <a:lnSpc>
                <a:spcPct val="150000"/>
              </a:lnSpc>
              <a:buFont typeface="+mj-lt"/>
              <a:buAutoNum type="arabicPeriod"/>
            </a:pPr>
            <a:r>
              <a:rPr lang="en-US" sz="1100" dirty="0"/>
              <a:t>PE exits expected to drive future growth in ECM</a:t>
            </a:r>
          </a:p>
          <a:p>
            <a:pPr marL="228600" indent="-228600">
              <a:lnSpc>
                <a:spcPct val="150000"/>
              </a:lnSpc>
              <a:buFont typeface="+mj-lt"/>
              <a:buAutoNum type="arabicPeriod"/>
            </a:pPr>
            <a:r>
              <a:rPr lang="en-US" sz="1100" dirty="0"/>
              <a:t>Trend in avg. deal size</a:t>
            </a:r>
          </a:p>
          <a:p>
            <a:pPr marL="685800" lvl="1" indent="-228600">
              <a:lnSpc>
                <a:spcPct val="150000"/>
              </a:lnSpc>
              <a:buFont typeface="Wingdings" panose="05000000000000000000" pitchFamily="2" charset="2"/>
              <a:buChar char="Ø"/>
            </a:pPr>
            <a:r>
              <a:rPr lang="en-US" sz="1100" dirty="0"/>
              <a:t>M&amp;A avg. deal size has expanded by INR700 </a:t>
            </a:r>
            <a:r>
              <a:rPr lang="en-US" sz="1100" dirty="0" err="1"/>
              <a:t>Crs</a:t>
            </a:r>
            <a:r>
              <a:rPr lang="en-US" sz="1100" dirty="0"/>
              <a:t>. to INR 3,000 </a:t>
            </a:r>
            <a:r>
              <a:rPr lang="en-US" sz="1100" dirty="0" err="1"/>
              <a:t>Crs</a:t>
            </a:r>
            <a:r>
              <a:rPr lang="en-US" sz="1100" dirty="0"/>
              <a:t>.</a:t>
            </a:r>
          </a:p>
          <a:p>
            <a:pPr marL="685800" lvl="1" indent="-228600">
              <a:lnSpc>
                <a:spcPct val="150000"/>
              </a:lnSpc>
              <a:buFont typeface="Wingdings" panose="05000000000000000000" pitchFamily="2" charset="2"/>
              <a:buChar char="Ø"/>
            </a:pPr>
            <a:r>
              <a:rPr lang="en-US" sz="1100" dirty="0"/>
              <a:t>ECM – avg. deal size has remained flat over the years</a:t>
            </a:r>
          </a:p>
        </p:txBody>
      </p:sp>
      <p:sp>
        <p:nvSpPr>
          <p:cNvPr id="2" name="Title 1">
            <a:extLst>
              <a:ext uri="{FF2B5EF4-FFF2-40B4-BE49-F238E27FC236}">
                <a16:creationId xmlns:a16="http://schemas.microsoft.com/office/drawing/2014/main" id="{8117051C-3A0D-80F3-FAE0-E52459FCA538}"/>
              </a:ext>
            </a:extLst>
          </p:cNvPr>
          <p:cNvSpPr>
            <a:spLocks noGrp="1"/>
          </p:cNvSpPr>
          <p:nvPr>
            <p:ph type="title"/>
          </p:nvPr>
        </p:nvSpPr>
        <p:spPr>
          <a:xfrm>
            <a:off x="344487" y="128025"/>
            <a:ext cx="11504613" cy="408795"/>
          </a:xfrm>
        </p:spPr>
        <p:txBody>
          <a:bodyPr/>
          <a:lstStyle/>
          <a:p>
            <a:r>
              <a:rPr lang="en-IN" dirty="0"/>
              <a:t>Consolidation driving M&amp;A transactions across sub-sectors</a:t>
            </a:r>
          </a:p>
        </p:txBody>
      </p:sp>
      <p:sp>
        <p:nvSpPr>
          <p:cNvPr id="3" name="Text Placeholder 2">
            <a:extLst>
              <a:ext uri="{FF2B5EF4-FFF2-40B4-BE49-F238E27FC236}">
                <a16:creationId xmlns:a16="http://schemas.microsoft.com/office/drawing/2014/main" id="{FF2BEDE1-A54A-ED61-3699-2FB4A890ECBA}"/>
              </a:ext>
            </a:extLst>
          </p:cNvPr>
          <p:cNvSpPr>
            <a:spLocks noGrp="1"/>
          </p:cNvSpPr>
          <p:nvPr>
            <p:ph type="body" sz="quarter" idx="10"/>
          </p:nvPr>
        </p:nvSpPr>
        <p:spPr>
          <a:xfrm>
            <a:off x="344488" y="487848"/>
            <a:ext cx="11504612" cy="281861"/>
          </a:xfrm>
        </p:spPr>
        <p:txBody>
          <a:bodyPr/>
          <a:lstStyle/>
          <a:p>
            <a:endParaRPr lang="en-US"/>
          </a:p>
        </p:txBody>
      </p:sp>
      <p:sp>
        <p:nvSpPr>
          <p:cNvPr id="4" name="Text Placeholder 3">
            <a:extLst>
              <a:ext uri="{FF2B5EF4-FFF2-40B4-BE49-F238E27FC236}">
                <a16:creationId xmlns:a16="http://schemas.microsoft.com/office/drawing/2014/main" id="{304C04BA-A24B-AD12-C3A1-180C6DCF9443}"/>
              </a:ext>
            </a:extLst>
          </p:cNvPr>
          <p:cNvSpPr>
            <a:spLocks noGrp="1"/>
          </p:cNvSpPr>
          <p:nvPr>
            <p:ph type="body" sz="quarter" idx="11"/>
          </p:nvPr>
        </p:nvSpPr>
        <p:spPr/>
        <p:txBody>
          <a:bodyPr/>
          <a:lstStyle/>
          <a:p>
            <a:r>
              <a:rPr lang="en-US"/>
              <a:t>Source: VCC Edge. Notes: Fundraise includes private equity above INR 80 crores, M&amp;A, IPOs and QIPs. Pharmaceuticals includes Formulations, APIs and CDMOs</a:t>
            </a:r>
          </a:p>
        </p:txBody>
      </p:sp>
      <p:cxnSp>
        <p:nvCxnSpPr>
          <p:cNvPr id="61" name="Straight Connector 60">
            <a:extLst>
              <a:ext uri="{FF2B5EF4-FFF2-40B4-BE49-F238E27FC236}">
                <a16:creationId xmlns:a16="http://schemas.microsoft.com/office/drawing/2014/main" id="{2FEDCA83-2EE8-23D1-0147-80387AF8B471}"/>
              </a:ext>
            </a:extLst>
          </p:cNvPr>
          <p:cNvCxnSpPr>
            <a:cxnSpLocks/>
          </p:cNvCxnSpPr>
          <p:nvPr/>
        </p:nvCxnSpPr>
        <p:spPr>
          <a:xfrm>
            <a:off x="398565" y="1219735"/>
            <a:ext cx="11520000" cy="0"/>
          </a:xfrm>
          <a:prstGeom prst="line">
            <a:avLst/>
          </a:prstGeom>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F0A49E4A-D1C1-BCEA-23A9-B6A100DD409F}"/>
              </a:ext>
            </a:extLst>
          </p:cNvPr>
          <p:cNvSpPr/>
          <p:nvPr/>
        </p:nvSpPr>
        <p:spPr>
          <a:xfrm>
            <a:off x="344487" y="1191851"/>
            <a:ext cx="545724" cy="55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385723"/>
              </a:solidFill>
              <a:effectLst/>
              <a:uLnTx/>
              <a:uFillTx/>
              <a:latin typeface="Segoe UI"/>
              <a:ea typeface="+mn-ea"/>
              <a:cs typeface="+mn-cs"/>
            </a:endParaRPr>
          </a:p>
        </p:txBody>
      </p:sp>
      <p:sp>
        <p:nvSpPr>
          <p:cNvPr id="60" name="TextBox 59">
            <a:extLst>
              <a:ext uri="{FF2B5EF4-FFF2-40B4-BE49-F238E27FC236}">
                <a16:creationId xmlns:a16="http://schemas.microsoft.com/office/drawing/2014/main" id="{0922A916-2544-B450-C653-88D0192C0DD6}"/>
              </a:ext>
            </a:extLst>
          </p:cNvPr>
          <p:cNvSpPr txBox="1"/>
          <p:nvPr/>
        </p:nvSpPr>
        <p:spPr>
          <a:xfrm>
            <a:off x="357186" y="863060"/>
            <a:ext cx="6078120" cy="357771"/>
          </a:xfrm>
          <a:prstGeom prst="rect">
            <a:avLst/>
          </a:prstGeom>
          <a:noFill/>
        </p:spPr>
        <p:txBody>
          <a:bodyPr wrap="square" lIns="0" tIns="0" rIns="0" bIns="0" anchor="ctr">
            <a:noAutofit/>
          </a:bodyPr>
          <a:lstStyle/>
          <a:p>
            <a:pPr marL="0" marR="0" lvl="0" indent="0" algn="l" defTabSz="958983"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385723"/>
                </a:solidFill>
                <a:effectLst/>
                <a:uLnTx/>
                <a:uFillTx/>
                <a:latin typeface="Segoe UI"/>
                <a:ea typeface="Verdana" panose="020B0604030504040204" pitchFamily="34" charset="0"/>
                <a:cs typeface="Verdana" panose="020B0604030504040204" pitchFamily="34" charset="0"/>
              </a:rPr>
              <a:t>Fundraise activity in the </a:t>
            </a:r>
            <a:r>
              <a:rPr kumimoji="0" lang="en-US" sz="1100" b="1" i="0" u="none" strike="noStrike" kern="1200" cap="none" spc="0" normalizeH="0" baseline="0" noProof="0" dirty="0" err="1">
                <a:ln>
                  <a:noFill/>
                </a:ln>
                <a:solidFill>
                  <a:srgbClr val="385723"/>
                </a:solidFill>
                <a:effectLst/>
                <a:uLnTx/>
                <a:uFillTx/>
                <a:latin typeface="Segoe UI"/>
                <a:ea typeface="Verdana" panose="020B0604030504040204" pitchFamily="34" charset="0"/>
                <a:cs typeface="Verdana" panose="020B0604030504040204" pitchFamily="34" charset="0"/>
              </a:rPr>
              <a:t>lifesciences</a:t>
            </a:r>
            <a:r>
              <a:rPr kumimoji="0" lang="en-US" sz="1100" b="1" i="0" u="none" strike="noStrike" kern="1200" cap="none" spc="0" normalizeH="0" baseline="0" noProof="0" dirty="0">
                <a:ln>
                  <a:noFill/>
                </a:ln>
                <a:solidFill>
                  <a:srgbClr val="385723"/>
                </a:solidFill>
                <a:effectLst/>
                <a:uLnTx/>
                <a:uFillTx/>
                <a:latin typeface="Segoe UI"/>
                <a:ea typeface="Verdana" panose="020B0604030504040204" pitchFamily="34" charset="0"/>
                <a:cs typeface="Verdana" panose="020B0604030504040204" pitchFamily="34" charset="0"/>
              </a:rPr>
              <a:t> sector (by transaction type)</a:t>
            </a:r>
          </a:p>
        </p:txBody>
      </p:sp>
      <p:sp>
        <p:nvSpPr>
          <p:cNvPr id="7" name="Rectangle 6">
            <a:extLst>
              <a:ext uri="{FF2B5EF4-FFF2-40B4-BE49-F238E27FC236}">
                <a16:creationId xmlns:a16="http://schemas.microsoft.com/office/drawing/2014/main" id="{D3D685E4-618E-79E2-8D06-594AD09C65D6}"/>
              </a:ext>
            </a:extLst>
          </p:cNvPr>
          <p:cNvSpPr/>
          <p:nvPr/>
        </p:nvSpPr>
        <p:spPr>
          <a:xfrm>
            <a:off x="84323" y="1456874"/>
            <a:ext cx="545725" cy="3577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IN" sz="800" b="1" i="1" u="none" strike="noStrike" kern="1200" cap="none" spc="0" normalizeH="0" baseline="0" noProof="0" dirty="0">
                <a:ln>
                  <a:noFill/>
                </a:ln>
                <a:solidFill>
                  <a:srgbClr val="404040"/>
                </a:solidFill>
                <a:effectLst/>
                <a:uLnTx/>
                <a:uFillTx/>
                <a:latin typeface="Segoe UI"/>
                <a:ea typeface="+mn-ea"/>
                <a:cs typeface="+mn-cs"/>
              </a:rPr>
              <a:t>INR Crore</a:t>
            </a:r>
          </a:p>
        </p:txBody>
      </p:sp>
      <p:grpSp>
        <p:nvGrpSpPr>
          <p:cNvPr id="36" name="Group 35">
            <a:extLst>
              <a:ext uri="{FF2B5EF4-FFF2-40B4-BE49-F238E27FC236}">
                <a16:creationId xmlns:a16="http://schemas.microsoft.com/office/drawing/2014/main" id="{3BFF69A9-879C-1FDF-35C3-E6247898BE11}"/>
              </a:ext>
            </a:extLst>
          </p:cNvPr>
          <p:cNvGrpSpPr/>
          <p:nvPr/>
        </p:nvGrpSpPr>
        <p:grpSpPr>
          <a:xfrm>
            <a:off x="84323" y="1262110"/>
            <a:ext cx="9199377" cy="5389238"/>
            <a:chOff x="617349" y="1234227"/>
            <a:chExt cx="9430953" cy="5389238"/>
          </a:xfrm>
        </p:grpSpPr>
        <p:graphicFrame>
          <p:nvGraphicFramePr>
            <p:cNvPr id="5" name="Chart 4">
              <a:extLst>
                <a:ext uri="{FF2B5EF4-FFF2-40B4-BE49-F238E27FC236}">
                  <a16:creationId xmlns:a16="http://schemas.microsoft.com/office/drawing/2014/main" id="{A9236E02-6674-BC2D-2661-0EF4A7F8D5EF}"/>
                </a:ext>
              </a:extLst>
            </p:cNvPr>
            <p:cNvGraphicFramePr>
              <a:graphicFrameLocks/>
            </p:cNvGraphicFramePr>
            <p:nvPr>
              <p:extLst>
                <p:ext uri="{D42A27DB-BD31-4B8C-83A1-F6EECF244321}">
                  <p14:modId xmlns:p14="http://schemas.microsoft.com/office/powerpoint/2010/main" val="340907983"/>
                </p:ext>
              </p:extLst>
            </p:nvPr>
          </p:nvGraphicFramePr>
          <p:xfrm>
            <a:off x="617349" y="1234227"/>
            <a:ext cx="9430953" cy="5389238"/>
          </p:xfrm>
          <a:graphic>
            <a:graphicData uri="http://schemas.openxmlformats.org/drawingml/2006/chart">
              <c:chart xmlns:c="http://schemas.openxmlformats.org/drawingml/2006/chart" xmlns:r="http://schemas.openxmlformats.org/officeDocument/2006/relationships" r:id="rId2"/>
            </a:graphicData>
          </a:graphic>
        </p:graphicFrame>
        <p:sp>
          <p:nvSpPr>
            <p:cNvPr id="39" name="Oval 38">
              <a:extLst>
                <a:ext uri="{FF2B5EF4-FFF2-40B4-BE49-F238E27FC236}">
                  <a16:creationId xmlns:a16="http://schemas.microsoft.com/office/drawing/2014/main" id="{C37C53A4-B6E2-22DD-FF0A-15A726989B48}"/>
                </a:ext>
              </a:extLst>
            </p:cNvPr>
            <p:cNvSpPr/>
            <p:nvPr/>
          </p:nvSpPr>
          <p:spPr>
            <a:xfrm>
              <a:off x="6473807" y="6322258"/>
              <a:ext cx="399011" cy="199941"/>
            </a:xfrm>
            <a:prstGeom prst="ellipse">
              <a:avLst/>
            </a:prstGeom>
            <a:noFill/>
            <a:ln>
              <a:solidFill>
                <a:srgbClr val="C0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900">
                  <a:solidFill>
                    <a:schemeClr val="tx1">
                      <a:lumMod val="60000"/>
                      <a:lumOff val="40000"/>
                    </a:schemeClr>
                  </a:solidFill>
                </a:rPr>
                <a:t>x</a:t>
              </a:r>
            </a:p>
          </p:txBody>
        </p:sp>
        <p:sp>
          <p:nvSpPr>
            <p:cNvPr id="38" name="TextBox 37">
              <a:extLst>
                <a:ext uri="{FF2B5EF4-FFF2-40B4-BE49-F238E27FC236}">
                  <a16:creationId xmlns:a16="http://schemas.microsoft.com/office/drawing/2014/main" id="{0626E60C-27DA-EAB5-D681-1E63666E47A5}"/>
                </a:ext>
              </a:extLst>
            </p:cNvPr>
            <p:cNvSpPr txBox="1"/>
            <p:nvPr/>
          </p:nvSpPr>
          <p:spPr>
            <a:xfrm>
              <a:off x="6673312" y="6310852"/>
              <a:ext cx="1358236" cy="230832"/>
            </a:xfrm>
            <a:prstGeom prst="rect">
              <a:avLst/>
            </a:prstGeom>
            <a:noFill/>
          </p:spPr>
          <p:txBody>
            <a:bodyPr wrap="square" rtlCol="0">
              <a:spAutoFit/>
            </a:bodyPr>
            <a:lstStyle/>
            <a:p>
              <a:pPr algn="ctr"/>
              <a:r>
                <a:rPr lang="en-IN" sz="900" dirty="0"/>
                <a:t>Total fundraise</a:t>
              </a:r>
            </a:p>
          </p:txBody>
        </p:sp>
        <p:sp>
          <p:nvSpPr>
            <p:cNvPr id="8" name="Oval 7">
              <a:extLst>
                <a:ext uri="{FF2B5EF4-FFF2-40B4-BE49-F238E27FC236}">
                  <a16:creationId xmlns:a16="http://schemas.microsoft.com/office/drawing/2014/main" id="{A9243D4B-AA8D-095F-7385-8139EBB1E630}"/>
                </a:ext>
              </a:extLst>
            </p:cNvPr>
            <p:cNvSpPr/>
            <p:nvPr/>
          </p:nvSpPr>
          <p:spPr>
            <a:xfrm>
              <a:off x="1067302" y="1480609"/>
              <a:ext cx="772114" cy="357767"/>
            </a:xfrm>
            <a:prstGeom prst="ellipse">
              <a:avLst/>
            </a:prstGeom>
            <a:noFill/>
            <a:ln>
              <a:solidFill>
                <a:srgbClr val="C0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700" b="1" dirty="0">
                  <a:solidFill>
                    <a:schemeClr val="tx2"/>
                  </a:solidFill>
                </a:rPr>
                <a:t>17,073</a:t>
              </a:r>
            </a:p>
          </p:txBody>
        </p:sp>
        <p:sp>
          <p:nvSpPr>
            <p:cNvPr id="9" name="Oval 8">
              <a:extLst>
                <a:ext uri="{FF2B5EF4-FFF2-40B4-BE49-F238E27FC236}">
                  <a16:creationId xmlns:a16="http://schemas.microsoft.com/office/drawing/2014/main" id="{A74DB5FB-DF25-B91F-8CEC-0EE0FFD17DB1}"/>
                </a:ext>
              </a:extLst>
            </p:cNvPr>
            <p:cNvSpPr/>
            <p:nvPr/>
          </p:nvSpPr>
          <p:spPr>
            <a:xfrm>
              <a:off x="2372290" y="1480609"/>
              <a:ext cx="772114" cy="357767"/>
            </a:xfrm>
            <a:prstGeom prst="ellipse">
              <a:avLst/>
            </a:prstGeom>
            <a:noFill/>
            <a:ln>
              <a:solidFill>
                <a:srgbClr val="C0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700" b="1" dirty="0">
                  <a:solidFill>
                    <a:schemeClr val="tx2"/>
                  </a:solidFill>
                </a:rPr>
                <a:t>35,609</a:t>
              </a:r>
            </a:p>
          </p:txBody>
        </p:sp>
        <p:sp>
          <p:nvSpPr>
            <p:cNvPr id="10" name="Oval 9">
              <a:extLst>
                <a:ext uri="{FF2B5EF4-FFF2-40B4-BE49-F238E27FC236}">
                  <a16:creationId xmlns:a16="http://schemas.microsoft.com/office/drawing/2014/main" id="{1246FC9C-84BB-F98F-4B18-3CF82F296177}"/>
                </a:ext>
              </a:extLst>
            </p:cNvPr>
            <p:cNvSpPr/>
            <p:nvPr/>
          </p:nvSpPr>
          <p:spPr>
            <a:xfrm>
              <a:off x="3677279" y="1480609"/>
              <a:ext cx="772114" cy="357767"/>
            </a:xfrm>
            <a:prstGeom prst="ellipse">
              <a:avLst/>
            </a:prstGeom>
            <a:noFill/>
            <a:ln>
              <a:solidFill>
                <a:srgbClr val="C0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700" b="1" dirty="0">
                  <a:solidFill>
                    <a:schemeClr val="tx2"/>
                  </a:solidFill>
                </a:rPr>
                <a:t>62,432</a:t>
              </a:r>
            </a:p>
          </p:txBody>
        </p:sp>
        <p:sp>
          <p:nvSpPr>
            <p:cNvPr id="11" name="Oval 10">
              <a:extLst>
                <a:ext uri="{FF2B5EF4-FFF2-40B4-BE49-F238E27FC236}">
                  <a16:creationId xmlns:a16="http://schemas.microsoft.com/office/drawing/2014/main" id="{85918D0B-68A4-C068-2852-FFECDBA1FF13}"/>
                </a:ext>
              </a:extLst>
            </p:cNvPr>
            <p:cNvSpPr/>
            <p:nvPr/>
          </p:nvSpPr>
          <p:spPr>
            <a:xfrm>
              <a:off x="4982267" y="1480609"/>
              <a:ext cx="772114" cy="357767"/>
            </a:xfrm>
            <a:prstGeom prst="ellipse">
              <a:avLst/>
            </a:prstGeom>
            <a:noFill/>
            <a:ln>
              <a:solidFill>
                <a:srgbClr val="C0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700" b="1" dirty="0">
                  <a:solidFill>
                    <a:schemeClr val="tx2"/>
                  </a:solidFill>
                </a:rPr>
                <a:t>44,161</a:t>
              </a:r>
            </a:p>
          </p:txBody>
        </p:sp>
        <p:sp>
          <p:nvSpPr>
            <p:cNvPr id="12" name="Oval 11">
              <a:extLst>
                <a:ext uri="{FF2B5EF4-FFF2-40B4-BE49-F238E27FC236}">
                  <a16:creationId xmlns:a16="http://schemas.microsoft.com/office/drawing/2014/main" id="{74760E86-CDA1-15BF-9786-86E84BA633AF}"/>
                </a:ext>
              </a:extLst>
            </p:cNvPr>
            <p:cNvSpPr/>
            <p:nvPr/>
          </p:nvSpPr>
          <p:spPr>
            <a:xfrm>
              <a:off x="6287256" y="1480609"/>
              <a:ext cx="772114" cy="357767"/>
            </a:xfrm>
            <a:prstGeom prst="ellipse">
              <a:avLst/>
            </a:prstGeom>
            <a:noFill/>
            <a:ln>
              <a:solidFill>
                <a:srgbClr val="C0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700" b="1" dirty="0">
                  <a:solidFill>
                    <a:schemeClr val="tx2"/>
                  </a:solidFill>
                </a:rPr>
                <a:t>54,670</a:t>
              </a:r>
            </a:p>
          </p:txBody>
        </p:sp>
        <p:sp>
          <p:nvSpPr>
            <p:cNvPr id="14" name="Oval 13">
              <a:extLst>
                <a:ext uri="{FF2B5EF4-FFF2-40B4-BE49-F238E27FC236}">
                  <a16:creationId xmlns:a16="http://schemas.microsoft.com/office/drawing/2014/main" id="{B30F66DB-2BAC-BAD5-BF73-A67B055AD97F}"/>
                </a:ext>
              </a:extLst>
            </p:cNvPr>
            <p:cNvSpPr/>
            <p:nvPr/>
          </p:nvSpPr>
          <p:spPr>
            <a:xfrm>
              <a:off x="7592244" y="1480609"/>
              <a:ext cx="772114" cy="357767"/>
            </a:xfrm>
            <a:prstGeom prst="ellipse">
              <a:avLst/>
            </a:prstGeom>
            <a:noFill/>
            <a:ln>
              <a:solidFill>
                <a:srgbClr val="C0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700" b="1" dirty="0">
                  <a:solidFill>
                    <a:schemeClr val="tx2"/>
                  </a:solidFill>
                </a:rPr>
                <a:t>60,288</a:t>
              </a:r>
            </a:p>
          </p:txBody>
        </p:sp>
        <p:sp>
          <p:nvSpPr>
            <p:cNvPr id="15" name="Oval 14">
              <a:extLst>
                <a:ext uri="{FF2B5EF4-FFF2-40B4-BE49-F238E27FC236}">
                  <a16:creationId xmlns:a16="http://schemas.microsoft.com/office/drawing/2014/main" id="{40120661-1EA4-D3A8-C187-83D5E70785E6}"/>
                </a:ext>
              </a:extLst>
            </p:cNvPr>
            <p:cNvSpPr/>
            <p:nvPr/>
          </p:nvSpPr>
          <p:spPr>
            <a:xfrm>
              <a:off x="8897233" y="1480609"/>
              <a:ext cx="772114" cy="357767"/>
            </a:xfrm>
            <a:prstGeom prst="ellipse">
              <a:avLst/>
            </a:prstGeom>
            <a:noFill/>
            <a:ln>
              <a:solidFill>
                <a:srgbClr val="C0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700" b="1" dirty="0">
                  <a:solidFill>
                    <a:schemeClr val="tx2"/>
                  </a:solidFill>
                </a:rPr>
                <a:t>72,440</a:t>
              </a:r>
            </a:p>
          </p:txBody>
        </p:sp>
        <p:sp>
          <p:nvSpPr>
            <p:cNvPr id="13" name="TextBox 12">
              <a:extLst>
                <a:ext uri="{FF2B5EF4-FFF2-40B4-BE49-F238E27FC236}">
                  <a16:creationId xmlns:a16="http://schemas.microsoft.com/office/drawing/2014/main" id="{7121B944-E5A2-7F78-182F-7093720C7663}"/>
                </a:ext>
              </a:extLst>
            </p:cNvPr>
            <p:cNvSpPr txBox="1"/>
            <p:nvPr/>
          </p:nvSpPr>
          <p:spPr>
            <a:xfrm>
              <a:off x="1281909" y="4819570"/>
              <a:ext cx="292100" cy="200055"/>
            </a:xfrm>
            <a:prstGeom prst="rect">
              <a:avLst/>
            </a:prstGeom>
            <a:solidFill>
              <a:schemeClr val="bg2">
                <a:lumMod val="75000"/>
              </a:schemeClr>
            </a:solidFill>
          </p:spPr>
          <p:txBody>
            <a:bodyPr wrap="square" rtlCol="0">
              <a:spAutoFit/>
            </a:bodyPr>
            <a:lstStyle/>
            <a:p>
              <a:r>
                <a:rPr lang="en-IN" sz="700" b="1" dirty="0">
                  <a:solidFill>
                    <a:schemeClr val="bg1"/>
                  </a:solidFill>
                </a:rPr>
                <a:t>21</a:t>
              </a:r>
            </a:p>
          </p:txBody>
        </p:sp>
        <p:sp>
          <p:nvSpPr>
            <p:cNvPr id="16" name="TextBox 15">
              <a:extLst>
                <a:ext uri="{FF2B5EF4-FFF2-40B4-BE49-F238E27FC236}">
                  <a16:creationId xmlns:a16="http://schemas.microsoft.com/office/drawing/2014/main" id="{C1F5E86B-DFAC-DDAC-ABBD-CEF0352227F5}"/>
                </a:ext>
              </a:extLst>
            </p:cNvPr>
            <p:cNvSpPr txBox="1"/>
            <p:nvPr/>
          </p:nvSpPr>
          <p:spPr>
            <a:xfrm>
              <a:off x="2577309" y="4768770"/>
              <a:ext cx="292100" cy="200055"/>
            </a:xfrm>
            <a:prstGeom prst="rect">
              <a:avLst/>
            </a:prstGeom>
            <a:solidFill>
              <a:schemeClr val="bg2">
                <a:lumMod val="75000"/>
              </a:schemeClr>
            </a:solidFill>
          </p:spPr>
          <p:txBody>
            <a:bodyPr wrap="square" rtlCol="0">
              <a:spAutoFit/>
            </a:bodyPr>
            <a:lstStyle/>
            <a:p>
              <a:r>
                <a:rPr lang="en-IN" sz="700" b="1" dirty="0">
                  <a:solidFill>
                    <a:schemeClr val="bg1"/>
                  </a:solidFill>
                </a:rPr>
                <a:t>24</a:t>
              </a:r>
            </a:p>
          </p:txBody>
        </p:sp>
        <p:sp>
          <p:nvSpPr>
            <p:cNvPr id="17" name="TextBox 16">
              <a:extLst>
                <a:ext uri="{FF2B5EF4-FFF2-40B4-BE49-F238E27FC236}">
                  <a16:creationId xmlns:a16="http://schemas.microsoft.com/office/drawing/2014/main" id="{35FA2971-54B4-0A68-1DC1-A0E189D7845E}"/>
                </a:ext>
              </a:extLst>
            </p:cNvPr>
            <p:cNvSpPr txBox="1"/>
            <p:nvPr/>
          </p:nvSpPr>
          <p:spPr>
            <a:xfrm>
              <a:off x="3872709" y="4619515"/>
              <a:ext cx="292100" cy="200055"/>
            </a:xfrm>
            <a:prstGeom prst="rect">
              <a:avLst/>
            </a:prstGeom>
            <a:solidFill>
              <a:schemeClr val="bg2">
                <a:lumMod val="75000"/>
              </a:schemeClr>
            </a:solidFill>
          </p:spPr>
          <p:txBody>
            <a:bodyPr wrap="square" rtlCol="0">
              <a:spAutoFit/>
            </a:bodyPr>
            <a:lstStyle/>
            <a:p>
              <a:r>
                <a:rPr lang="en-IN" sz="700" b="1" dirty="0">
                  <a:solidFill>
                    <a:schemeClr val="bg1"/>
                  </a:solidFill>
                </a:rPr>
                <a:t>52</a:t>
              </a:r>
            </a:p>
          </p:txBody>
        </p:sp>
        <p:sp>
          <p:nvSpPr>
            <p:cNvPr id="18" name="TextBox 17">
              <a:extLst>
                <a:ext uri="{FF2B5EF4-FFF2-40B4-BE49-F238E27FC236}">
                  <a16:creationId xmlns:a16="http://schemas.microsoft.com/office/drawing/2014/main" id="{D041BF13-B2C3-CE9E-0138-92AD29428788}"/>
                </a:ext>
              </a:extLst>
            </p:cNvPr>
            <p:cNvSpPr txBox="1"/>
            <p:nvPr/>
          </p:nvSpPr>
          <p:spPr>
            <a:xfrm>
              <a:off x="5168109" y="4568715"/>
              <a:ext cx="292100" cy="200055"/>
            </a:xfrm>
            <a:prstGeom prst="rect">
              <a:avLst/>
            </a:prstGeom>
            <a:solidFill>
              <a:schemeClr val="bg2">
                <a:lumMod val="75000"/>
              </a:schemeClr>
            </a:solidFill>
          </p:spPr>
          <p:txBody>
            <a:bodyPr wrap="square" rtlCol="0">
              <a:spAutoFit/>
            </a:bodyPr>
            <a:lstStyle/>
            <a:p>
              <a:r>
                <a:rPr lang="en-IN" sz="700" b="1" dirty="0">
                  <a:solidFill>
                    <a:schemeClr val="bg1"/>
                  </a:solidFill>
                </a:rPr>
                <a:t>35</a:t>
              </a:r>
            </a:p>
          </p:txBody>
        </p:sp>
        <p:sp>
          <p:nvSpPr>
            <p:cNvPr id="19" name="TextBox 18">
              <a:extLst>
                <a:ext uri="{FF2B5EF4-FFF2-40B4-BE49-F238E27FC236}">
                  <a16:creationId xmlns:a16="http://schemas.microsoft.com/office/drawing/2014/main" id="{B7021FEA-3952-DB60-EA5B-CF99EF923E86}"/>
                </a:ext>
              </a:extLst>
            </p:cNvPr>
            <p:cNvSpPr txBox="1"/>
            <p:nvPr/>
          </p:nvSpPr>
          <p:spPr>
            <a:xfrm>
              <a:off x="6473806" y="5461382"/>
              <a:ext cx="399011" cy="199942"/>
            </a:xfrm>
            <a:prstGeom prst="rect">
              <a:avLst/>
            </a:prstGeom>
            <a:solidFill>
              <a:schemeClr val="bg2">
                <a:lumMod val="75000"/>
              </a:schemeClr>
            </a:solidFill>
          </p:spPr>
          <p:txBody>
            <a:bodyPr wrap="square" rtlCol="0">
              <a:spAutoFit/>
            </a:bodyPr>
            <a:lstStyle/>
            <a:p>
              <a:r>
                <a:rPr lang="en-IN" sz="700" b="1" dirty="0">
                  <a:solidFill>
                    <a:schemeClr val="bg1"/>
                  </a:solidFill>
                </a:rPr>
                <a:t> 22</a:t>
              </a:r>
            </a:p>
          </p:txBody>
        </p:sp>
        <p:sp>
          <p:nvSpPr>
            <p:cNvPr id="20" name="TextBox 19">
              <a:extLst>
                <a:ext uri="{FF2B5EF4-FFF2-40B4-BE49-F238E27FC236}">
                  <a16:creationId xmlns:a16="http://schemas.microsoft.com/office/drawing/2014/main" id="{5B42DCF8-9EC5-506E-484E-CE7D9101C79A}"/>
                </a:ext>
              </a:extLst>
            </p:cNvPr>
            <p:cNvSpPr txBox="1"/>
            <p:nvPr/>
          </p:nvSpPr>
          <p:spPr>
            <a:xfrm>
              <a:off x="7806851" y="5328163"/>
              <a:ext cx="292100" cy="200055"/>
            </a:xfrm>
            <a:prstGeom prst="rect">
              <a:avLst/>
            </a:prstGeom>
            <a:solidFill>
              <a:schemeClr val="bg2">
                <a:lumMod val="75000"/>
              </a:schemeClr>
            </a:solidFill>
          </p:spPr>
          <p:txBody>
            <a:bodyPr wrap="square" rtlCol="0">
              <a:spAutoFit/>
            </a:bodyPr>
            <a:lstStyle/>
            <a:p>
              <a:r>
                <a:rPr lang="en-IN" sz="700" b="1" dirty="0">
                  <a:solidFill>
                    <a:schemeClr val="bg1"/>
                  </a:solidFill>
                </a:rPr>
                <a:t>34</a:t>
              </a:r>
            </a:p>
          </p:txBody>
        </p:sp>
        <p:sp>
          <p:nvSpPr>
            <p:cNvPr id="21" name="TextBox 20">
              <a:extLst>
                <a:ext uri="{FF2B5EF4-FFF2-40B4-BE49-F238E27FC236}">
                  <a16:creationId xmlns:a16="http://schemas.microsoft.com/office/drawing/2014/main" id="{6AD1E5B0-F338-7D15-A90A-8E8C6D834837}"/>
                </a:ext>
              </a:extLst>
            </p:cNvPr>
            <p:cNvSpPr txBox="1"/>
            <p:nvPr/>
          </p:nvSpPr>
          <p:spPr>
            <a:xfrm>
              <a:off x="9114951" y="5518663"/>
              <a:ext cx="292100" cy="200055"/>
            </a:xfrm>
            <a:prstGeom prst="rect">
              <a:avLst/>
            </a:prstGeom>
            <a:solidFill>
              <a:schemeClr val="bg2">
                <a:lumMod val="75000"/>
              </a:schemeClr>
            </a:solidFill>
          </p:spPr>
          <p:txBody>
            <a:bodyPr wrap="square" rtlCol="0">
              <a:spAutoFit/>
            </a:bodyPr>
            <a:lstStyle/>
            <a:p>
              <a:r>
                <a:rPr lang="en-IN" sz="700" b="1" dirty="0">
                  <a:solidFill>
                    <a:schemeClr val="bg1"/>
                  </a:solidFill>
                </a:rPr>
                <a:t>22</a:t>
              </a:r>
            </a:p>
          </p:txBody>
        </p:sp>
        <p:sp>
          <p:nvSpPr>
            <p:cNvPr id="22" name="TextBox 21">
              <a:extLst>
                <a:ext uri="{FF2B5EF4-FFF2-40B4-BE49-F238E27FC236}">
                  <a16:creationId xmlns:a16="http://schemas.microsoft.com/office/drawing/2014/main" id="{82154F3D-893D-6F6B-56F0-AB7D146D943E}"/>
                </a:ext>
              </a:extLst>
            </p:cNvPr>
            <p:cNvSpPr txBox="1"/>
            <p:nvPr/>
          </p:nvSpPr>
          <p:spPr>
            <a:xfrm>
              <a:off x="1281909" y="2994888"/>
              <a:ext cx="292100" cy="200055"/>
            </a:xfrm>
            <a:prstGeom prst="rect">
              <a:avLst/>
            </a:prstGeom>
            <a:solidFill>
              <a:schemeClr val="bg2">
                <a:lumMod val="75000"/>
              </a:schemeClr>
            </a:solidFill>
          </p:spPr>
          <p:txBody>
            <a:bodyPr wrap="square" rtlCol="0">
              <a:spAutoFit/>
            </a:bodyPr>
            <a:lstStyle/>
            <a:p>
              <a:r>
                <a:rPr lang="en-IN" sz="700" b="1" dirty="0">
                  <a:solidFill>
                    <a:schemeClr val="bg1"/>
                  </a:solidFill>
                </a:rPr>
                <a:t>23</a:t>
              </a:r>
            </a:p>
          </p:txBody>
        </p:sp>
        <p:sp>
          <p:nvSpPr>
            <p:cNvPr id="23" name="TextBox 22">
              <a:extLst>
                <a:ext uri="{FF2B5EF4-FFF2-40B4-BE49-F238E27FC236}">
                  <a16:creationId xmlns:a16="http://schemas.microsoft.com/office/drawing/2014/main" id="{47B3455E-4D61-5831-E867-8319249AB12F}"/>
                </a:ext>
              </a:extLst>
            </p:cNvPr>
            <p:cNvSpPr txBox="1"/>
            <p:nvPr/>
          </p:nvSpPr>
          <p:spPr>
            <a:xfrm>
              <a:off x="2577309" y="3408737"/>
              <a:ext cx="292100" cy="200055"/>
            </a:xfrm>
            <a:prstGeom prst="rect">
              <a:avLst/>
            </a:prstGeom>
            <a:solidFill>
              <a:schemeClr val="bg2">
                <a:lumMod val="75000"/>
              </a:schemeClr>
            </a:solidFill>
          </p:spPr>
          <p:txBody>
            <a:bodyPr wrap="square" rtlCol="0">
              <a:spAutoFit/>
            </a:bodyPr>
            <a:lstStyle/>
            <a:p>
              <a:r>
                <a:rPr lang="en-IN" sz="700" b="1" dirty="0">
                  <a:solidFill>
                    <a:schemeClr val="bg1"/>
                  </a:solidFill>
                </a:rPr>
                <a:t>18</a:t>
              </a:r>
            </a:p>
          </p:txBody>
        </p:sp>
        <p:sp>
          <p:nvSpPr>
            <p:cNvPr id="24" name="TextBox 23">
              <a:extLst>
                <a:ext uri="{FF2B5EF4-FFF2-40B4-BE49-F238E27FC236}">
                  <a16:creationId xmlns:a16="http://schemas.microsoft.com/office/drawing/2014/main" id="{3C7904AA-5F4B-6050-8D8F-901AF457FA0A}"/>
                </a:ext>
              </a:extLst>
            </p:cNvPr>
            <p:cNvSpPr txBox="1"/>
            <p:nvPr/>
          </p:nvSpPr>
          <p:spPr>
            <a:xfrm>
              <a:off x="3891886" y="3094915"/>
              <a:ext cx="292100" cy="200055"/>
            </a:xfrm>
            <a:prstGeom prst="rect">
              <a:avLst/>
            </a:prstGeom>
            <a:solidFill>
              <a:schemeClr val="bg2">
                <a:lumMod val="75000"/>
              </a:schemeClr>
            </a:solidFill>
          </p:spPr>
          <p:txBody>
            <a:bodyPr wrap="square" rtlCol="0">
              <a:spAutoFit/>
            </a:bodyPr>
            <a:lstStyle/>
            <a:p>
              <a:r>
                <a:rPr lang="en-IN" sz="700" b="1" dirty="0">
                  <a:solidFill>
                    <a:schemeClr val="bg1"/>
                  </a:solidFill>
                </a:rPr>
                <a:t>30</a:t>
              </a:r>
            </a:p>
          </p:txBody>
        </p:sp>
        <p:sp>
          <p:nvSpPr>
            <p:cNvPr id="25" name="TextBox 24">
              <a:extLst>
                <a:ext uri="{FF2B5EF4-FFF2-40B4-BE49-F238E27FC236}">
                  <a16:creationId xmlns:a16="http://schemas.microsoft.com/office/drawing/2014/main" id="{5F3F52C8-69D4-22C2-2D57-5FCC0B212B07}"/>
                </a:ext>
              </a:extLst>
            </p:cNvPr>
            <p:cNvSpPr txBox="1"/>
            <p:nvPr/>
          </p:nvSpPr>
          <p:spPr>
            <a:xfrm>
              <a:off x="5186775" y="2829337"/>
              <a:ext cx="292100" cy="200055"/>
            </a:xfrm>
            <a:prstGeom prst="rect">
              <a:avLst/>
            </a:prstGeom>
            <a:solidFill>
              <a:schemeClr val="bg2">
                <a:lumMod val="75000"/>
              </a:schemeClr>
            </a:solidFill>
          </p:spPr>
          <p:txBody>
            <a:bodyPr wrap="square" rtlCol="0">
              <a:spAutoFit/>
            </a:bodyPr>
            <a:lstStyle/>
            <a:p>
              <a:r>
                <a:rPr lang="en-IN" sz="700" b="1" dirty="0">
                  <a:solidFill>
                    <a:schemeClr val="bg1"/>
                  </a:solidFill>
                </a:rPr>
                <a:t>28</a:t>
              </a:r>
            </a:p>
          </p:txBody>
        </p:sp>
        <p:sp>
          <p:nvSpPr>
            <p:cNvPr id="26" name="TextBox 25">
              <a:extLst>
                <a:ext uri="{FF2B5EF4-FFF2-40B4-BE49-F238E27FC236}">
                  <a16:creationId xmlns:a16="http://schemas.microsoft.com/office/drawing/2014/main" id="{F0FD2C46-BE52-53EA-C76B-1CE245FD6443}"/>
                </a:ext>
              </a:extLst>
            </p:cNvPr>
            <p:cNvSpPr txBox="1"/>
            <p:nvPr/>
          </p:nvSpPr>
          <p:spPr>
            <a:xfrm>
              <a:off x="6476507" y="3782373"/>
              <a:ext cx="292100" cy="200055"/>
            </a:xfrm>
            <a:prstGeom prst="rect">
              <a:avLst/>
            </a:prstGeom>
            <a:solidFill>
              <a:schemeClr val="bg2">
                <a:lumMod val="75000"/>
              </a:schemeClr>
            </a:solidFill>
          </p:spPr>
          <p:txBody>
            <a:bodyPr wrap="square" rtlCol="0">
              <a:spAutoFit/>
            </a:bodyPr>
            <a:lstStyle/>
            <a:p>
              <a:r>
                <a:rPr lang="en-IN" sz="700" b="1" dirty="0">
                  <a:solidFill>
                    <a:schemeClr val="bg1"/>
                  </a:solidFill>
                </a:rPr>
                <a:t>31</a:t>
              </a:r>
            </a:p>
          </p:txBody>
        </p:sp>
        <p:sp>
          <p:nvSpPr>
            <p:cNvPr id="27" name="TextBox 26">
              <a:extLst>
                <a:ext uri="{FF2B5EF4-FFF2-40B4-BE49-F238E27FC236}">
                  <a16:creationId xmlns:a16="http://schemas.microsoft.com/office/drawing/2014/main" id="{2E54B30F-1229-D023-5495-8E8AF22487EF}"/>
                </a:ext>
              </a:extLst>
            </p:cNvPr>
            <p:cNvSpPr txBox="1"/>
            <p:nvPr/>
          </p:nvSpPr>
          <p:spPr>
            <a:xfrm>
              <a:off x="7806851" y="3882400"/>
              <a:ext cx="292100" cy="200055"/>
            </a:xfrm>
            <a:prstGeom prst="rect">
              <a:avLst/>
            </a:prstGeom>
            <a:solidFill>
              <a:schemeClr val="bg2">
                <a:lumMod val="75000"/>
              </a:schemeClr>
            </a:solidFill>
          </p:spPr>
          <p:txBody>
            <a:bodyPr wrap="square" rtlCol="0">
              <a:spAutoFit/>
            </a:bodyPr>
            <a:lstStyle/>
            <a:p>
              <a:r>
                <a:rPr lang="en-IN" sz="700" b="1" dirty="0">
                  <a:solidFill>
                    <a:schemeClr val="bg1"/>
                  </a:solidFill>
                </a:rPr>
                <a:t>27</a:t>
              </a:r>
            </a:p>
          </p:txBody>
        </p:sp>
        <p:sp>
          <p:nvSpPr>
            <p:cNvPr id="28" name="TextBox 27">
              <a:extLst>
                <a:ext uri="{FF2B5EF4-FFF2-40B4-BE49-F238E27FC236}">
                  <a16:creationId xmlns:a16="http://schemas.microsoft.com/office/drawing/2014/main" id="{53E6B65D-FE2F-3F50-534D-26C9697D3A07}"/>
                </a:ext>
              </a:extLst>
            </p:cNvPr>
            <p:cNvSpPr txBox="1"/>
            <p:nvPr/>
          </p:nvSpPr>
          <p:spPr>
            <a:xfrm>
              <a:off x="9111302" y="3675915"/>
              <a:ext cx="292100" cy="200055"/>
            </a:xfrm>
            <a:prstGeom prst="rect">
              <a:avLst/>
            </a:prstGeom>
            <a:solidFill>
              <a:schemeClr val="bg2">
                <a:lumMod val="75000"/>
              </a:schemeClr>
            </a:solidFill>
          </p:spPr>
          <p:txBody>
            <a:bodyPr wrap="square" rtlCol="0">
              <a:spAutoFit/>
            </a:bodyPr>
            <a:lstStyle/>
            <a:p>
              <a:r>
                <a:rPr lang="en-IN" sz="700" b="1" dirty="0">
                  <a:solidFill>
                    <a:schemeClr val="bg1"/>
                  </a:solidFill>
                </a:rPr>
                <a:t>21</a:t>
              </a:r>
            </a:p>
          </p:txBody>
        </p:sp>
        <p:sp>
          <p:nvSpPr>
            <p:cNvPr id="30" name="TextBox 29">
              <a:extLst>
                <a:ext uri="{FF2B5EF4-FFF2-40B4-BE49-F238E27FC236}">
                  <a16:creationId xmlns:a16="http://schemas.microsoft.com/office/drawing/2014/main" id="{5E8065A3-39FB-C188-EB96-ECAE22CE4EED}"/>
                </a:ext>
              </a:extLst>
            </p:cNvPr>
            <p:cNvSpPr txBox="1"/>
            <p:nvPr/>
          </p:nvSpPr>
          <p:spPr>
            <a:xfrm>
              <a:off x="2577309" y="2289472"/>
              <a:ext cx="292100" cy="200055"/>
            </a:xfrm>
            <a:prstGeom prst="rect">
              <a:avLst/>
            </a:prstGeom>
            <a:solidFill>
              <a:schemeClr val="bg2">
                <a:lumMod val="75000"/>
              </a:schemeClr>
            </a:solidFill>
          </p:spPr>
          <p:txBody>
            <a:bodyPr wrap="square" rtlCol="0">
              <a:spAutoFit/>
            </a:bodyPr>
            <a:lstStyle/>
            <a:p>
              <a:r>
                <a:rPr lang="en-IN" sz="700" b="1" dirty="0">
                  <a:solidFill>
                    <a:schemeClr val="bg1"/>
                  </a:solidFill>
                </a:rPr>
                <a:t> 3</a:t>
              </a:r>
            </a:p>
          </p:txBody>
        </p:sp>
        <p:sp>
          <p:nvSpPr>
            <p:cNvPr id="31" name="TextBox 30">
              <a:extLst>
                <a:ext uri="{FF2B5EF4-FFF2-40B4-BE49-F238E27FC236}">
                  <a16:creationId xmlns:a16="http://schemas.microsoft.com/office/drawing/2014/main" id="{1E2A94A5-B05D-ED5A-0CEF-C7705E332FC6}"/>
                </a:ext>
              </a:extLst>
            </p:cNvPr>
            <p:cNvSpPr txBox="1"/>
            <p:nvPr/>
          </p:nvSpPr>
          <p:spPr>
            <a:xfrm>
              <a:off x="3872709" y="2200566"/>
              <a:ext cx="292100" cy="200055"/>
            </a:xfrm>
            <a:prstGeom prst="rect">
              <a:avLst/>
            </a:prstGeom>
            <a:solidFill>
              <a:schemeClr val="bg2">
                <a:lumMod val="75000"/>
              </a:schemeClr>
            </a:solidFill>
          </p:spPr>
          <p:txBody>
            <a:bodyPr wrap="square" rtlCol="0">
              <a:spAutoFit/>
            </a:bodyPr>
            <a:lstStyle/>
            <a:p>
              <a:r>
                <a:rPr lang="en-IN" sz="700" b="1" dirty="0">
                  <a:solidFill>
                    <a:schemeClr val="bg1"/>
                  </a:solidFill>
                </a:rPr>
                <a:t>11</a:t>
              </a:r>
            </a:p>
          </p:txBody>
        </p:sp>
        <p:sp>
          <p:nvSpPr>
            <p:cNvPr id="32" name="TextBox 31">
              <a:extLst>
                <a:ext uri="{FF2B5EF4-FFF2-40B4-BE49-F238E27FC236}">
                  <a16:creationId xmlns:a16="http://schemas.microsoft.com/office/drawing/2014/main" id="{A3682A22-73C9-7B7D-9F82-AA4CDA3DAC3C}"/>
                </a:ext>
              </a:extLst>
            </p:cNvPr>
            <p:cNvSpPr txBox="1"/>
            <p:nvPr/>
          </p:nvSpPr>
          <p:spPr>
            <a:xfrm>
              <a:off x="6476507" y="2200566"/>
              <a:ext cx="292100" cy="200055"/>
            </a:xfrm>
            <a:prstGeom prst="rect">
              <a:avLst/>
            </a:prstGeom>
            <a:solidFill>
              <a:schemeClr val="bg2">
                <a:lumMod val="75000"/>
              </a:schemeClr>
            </a:solidFill>
          </p:spPr>
          <p:txBody>
            <a:bodyPr wrap="square" rtlCol="0">
              <a:spAutoFit/>
            </a:bodyPr>
            <a:lstStyle/>
            <a:p>
              <a:r>
                <a:rPr lang="en-IN" sz="700" b="1" dirty="0">
                  <a:solidFill>
                    <a:schemeClr val="bg1"/>
                  </a:solidFill>
                </a:rPr>
                <a:t>11</a:t>
              </a:r>
            </a:p>
          </p:txBody>
        </p:sp>
        <p:sp>
          <p:nvSpPr>
            <p:cNvPr id="33" name="TextBox 32">
              <a:extLst>
                <a:ext uri="{FF2B5EF4-FFF2-40B4-BE49-F238E27FC236}">
                  <a16:creationId xmlns:a16="http://schemas.microsoft.com/office/drawing/2014/main" id="{7BD18EE0-8FE3-37D7-6433-E1B21D826B86}"/>
                </a:ext>
              </a:extLst>
            </p:cNvPr>
            <p:cNvSpPr txBox="1"/>
            <p:nvPr/>
          </p:nvSpPr>
          <p:spPr>
            <a:xfrm>
              <a:off x="7806851" y="2314547"/>
              <a:ext cx="292100" cy="200055"/>
            </a:xfrm>
            <a:prstGeom prst="rect">
              <a:avLst/>
            </a:prstGeom>
            <a:solidFill>
              <a:schemeClr val="bg2">
                <a:lumMod val="75000"/>
              </a:schemeClr>
            </a:solidFill>
          </p:spPr>
          <p:txBody>
            <a:bodyPr wrap="square" rtlCol="0">
              <a:spAutoFit/>
            </a:bodyPr>
            <a:lstStyle/>
            <a:p>
              <a:r>
                <a:rPr lang="en-IN" sz="700" b="1" dirty="0">
                  <a:solidFill>
                    <a:schemeClr val="bg1"/>
                  </a:solidFill>
                </a:rPr>
                <a:t>14</a:t>
              </a:r>
            </a:p>
          </p:txBody>
        </p:sp>
        <p:sp>
          <p:nvSpPr>
            <p:cNvPr id="34" name="TextBox 33">
              <a:extLst>
                <a:ext uri="{FF2B5EF4-FFF2-40B4-BE49-F238E27FC236}">
                  <a16:creationId xmlns:a16="http://schemas.microsoft.com/office/drawing/2014/main" id="{50542364-7FB4-D748-5D05-25C0117C5013}"/>
                </a:ext>
              </a:extLst>
            </p:cNvPr>
            <p:cNvSpPr txBox="1"/>
            <p:nvPr/>
          </p:nvSpPr>
          <p:spPr>
            <a:xfrm>
              <a:off x="9111302" y="2137528"/>
              <a:ext cx="292100" cy="200055"/>
            </a:xfrm>
            <a:prstGeom prst="rect">
              <a:avLst/>
            </a:prstGeom>
            <a:solidFill>
              <a:schemeClr val="bg2">
                <a:lumMod val="75000"/>
              </a:schemeClr>
            </a:solidFill>
          </p:spPr>
          <p:txBody>
            <a:bodyPr wrap="square" rtlCol="0">
              <a:spAutoFit/>
            </a:bodyPr>
            <a:lstStyle/>
            <a:p>
              <a:r>
                <a:rPr lang="en-IN" sz="700" b="1" dirty="0">
                  <a:solidFill>
                    <a:schemeClr val="bg1"/>
                  </a:solidFill>
                </a:rPr>
                <a:t>6</a:t>
              </a:r>
            </a:p>
          </p:txBody>
        </p:sp>
      </p:grpSp>
      <p:sp>
        <p:nvSpPr>
          <p:cNvPr id="37" name="TextBox 36">
            <a:extLst>
              <a:ext uri="{FF2B5EF4-FFF2-40B4-BE49-F238E27FC236}">
                <a16:creationId xmlns:a16="http://schemas.microsoft.com/office/drawing/2014/main" id="{2CA65B0E-B00F-FE09-0A21-3374F013E9BF}"/>
              </a:ext>
            </a:extLst>
          </p:cNvPr>
          <p:cNvSpPr txBox="1"/>
          <p:nvPr/>
        </p:nvSpPr>
        <p:spPr>
          <a:xfrm>
            <a:off x="8459515" y="1680774"/>
            <a:ext cx="1475878" cy="400110"/>
          </a:xfrm>
          <a:prstGeom prst="rect">
            <a:avLst/>
          </a:prstGeom>
          <a:noFill/>
        </p:spPr>
        <p:txBody>
          <a:bodyPr wrap="square" rtlCol="0">
            <a:spAutoFit/>
          </a:bodyPr>
          <a:lstStyle/>
          <a:p>
            <a:pPr algn="ctr"/>
            <a:r>
              <a:rPr lang="en-IN" sz="1000" b="1" i="1" dirty="0"/>
              <a:t>CAGR </a:t>
            </a:r>
          </a:p>
          <a:p>
            <a:pPr algn="ctr"/>
            <a:r>
              <a:rPr lang="en-IN" sz="1000" b="1" i="1" dirty="0"/>
              <a:t>(FY21-25)</a:t>
            </a:r>
          </a:p>
        </p:txBody>
      </p:sp>
      <p:sp>
        <p:nvSpPr>
          <p:cNvPr id="40" name="Rectangle 39">
            <a:extLst>
              <a:ext uri="{FF2B5EF4-FFF2-40B4-BE49-F238E27FC236}">
                <a16:creationId xmlns:a16="http://schemas.microsoft.com/office/drawing/2014/main" id="{2C32FA44-BE95-6E01-4F39-6359DDA57C67}"/>
              </a:ext>
            </a:extLst>
          </p:cNvPr>
          <p:cNvSpPr/>
          <p:nvPr/>
        </p:nvSpPr>
        <p:spPr>
          <a:xfrm>
            <a:off x="8830715" y="2266967"/>
            <a:ext cx="612000" cy="277592"/>
          </a:xfrm>
          <a:prstGeom prst="rect">
            <a:avLst/>
          </a:prstGeom>
          <a:noFill/>
          <a:ln>
            <a:solidFill>
              <a:srgbClr val="EEF6E9"/>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1000" i="1" dirty="0">
                <a:solidFill>
                  <a:schemeClr val="tx2"/>
                </a:solidFill>
              </a:rPr>
              <a:t>18.97%</a:t>
            </a:r>
          </a:p>
        </p:txBody>
      </p:sp>
      <p:sp>
        <p:nvSpPr>
          <p:cNvPr id="41" name="Rectangle 40">
            <a:extLst>
              <a:ext uri="{FF2B5EF4-FFF2-40B4-BE49-F238E27FC236}">
                <a16:creationId xmlns:a16="http://schemas.microsoft.com/office/drawing/2014/main" id="{585578BA-75A9-0933-AEFE-6027E1EF7A27}"/>
              </a:ext>
            </a:extLst>
          </p:cNvPr>
          <p:cNvSpPr/>
          <p:nvPr/>
        </p:nvSpPr>
        <p:spPr>
          <a:xfrm>
            <a:off x="8830715" y="4072798"/>
            <a:ext cx="612000" cy="277592"/>
          </a:xfrm>
          <a:prstGeom prst="rect">
            <a:avLst/>
          </a:prstGeom>
          <a:noFill/>
          <a:ln>
            <a:solidFill>
              <a:srgbClr val="D9D9D9"/>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1000" i="1" dirty="0">
                <a:solidFill>
                  <a:schemeClr val="tx2"/>
                </a:solidFill>
              </a:rPr>
              <a:t>25.53%</a:t>
            </a:r>
          </a:p>
        </p:txBody>
      </p:sp>
      <p:sp>
        <p:nvSpPr>
          <p:cNvPr id="42" name="Rectangle 41">
            <a:extLst>
              <a:ext uri="{FF2B5EF4-FFF2-40B4-BE49-F238E27FC236}">
                <a16:creationId xmlns:a16="http://schemas.microsoft.com/office/drawing/2014/main" id="{C4CF9BA0-1C68-33AB-7445-36384B01E740}"/>
              </a:ext>
            </a:extLst>
          </p:cNvPr>
          <p:cNvSpPr/>
          <p:nvPr/>
        </p:nvSpPr>
        <p:spPr>
          <a:xfrm>
            <a:off x="8830715" y="5669699"/>
            <a:ext cx="612000" cy="277592"/>
          </a:xfrm>
          <a:prstGeom prst="rect">
            <a:avLst/>
          </a:prstGeom>
          <a:noFill/>
          <a:ln>
            <a:solidFill>
              <a:srgbClr val="81BC59"/>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1000" i="1" dirty="0">
                <a:solidFill>
                  <a:schemeClr val="tx2"/>
                </a:solidFill>
              </a:rPr>
              <a:t>(5.54%)</a:t>
            </a:r>
          </a:p>
        </p:txBody>
      </p:sp>
    </p:spTree>
    <p:extLst>
      <p:ext uri="{BB962C8B-B14F-4D97-AF65-F5344CB8AC3E}">
        <p14:creationId xmlns:p14="http://schemas.microsoft.com/office/powerpoint/2010/main" val="35501953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62BF67-76E8-950F-9EC3-5BB60D28DC67}"/>
            </a:ext>
          </a:extLst>
        </p:cNvPr>
        <p:cNvGrpSpPr/>
        <p:nvPr/>
      </p:nvGrpSpPr>
      <p:grpSpPr>
        <a:xfrm>
          <a:off x="0" y="0"/>
          <a:ext cx="0" cy="0"/>
          <a:chOff x="0" y="0"/>
          <a:chExt cx="0" cy="0"/>
        </a:xfrm>
      </p:grpSpPr>
      <p:sp>
        <p:nvSpPr>
          <p:cNvPr id="1024" name="TextBox 1023">
            <a:extLst>
              <a:ext uri="{FF2B5EF4-FFF2-40B4-BE49-F238E27FC236}">
                <a16:creationId xmlns:a16="http://schemas.microsoft.com/office/drawing/2014/main" id="{8A803301-E7CE-E264-EADD-F4DA518CAA34}"/>
              </a:ext>
            </a:extLst>
          </p:cNvPr>
          <p:cNvSpPr txBox="1"/>
          <p:nvPr/>
        </p:nvSpPr>
        <p:spPr>
          <a:xfrm>
            <a:off x="490995" y="1348379"/>
            <a:ext cx="5307570" cy="400110"/>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04040"/>
                </a:solidFill>
                <a:effectLst/>
                <a:uLnTx/>
                <a:uFillTx/>
                <a:latin typeface="Segoe UI"/>
                <a:ea typeface="+mn-ea"/>
                <a:cs typeface="+mn-cs"/>
              </a:rPr>
              <a:t>ECM was dominated by pharmaceuticals </a:t>
            </a:r>
            <a:r>
              <a:rPr kumimoji="0" lang="en-US" sz="1000" b="0" i="0" u="none" strike="noStrike" kern="1200" cap="none" spc="0" normalizeH="0" baseline="0" noProof="0" dirty="0">
                <a:ln>
                  <a:noFill/>
                </a:ln>
                <a:solidFill>
                  <a:srgbClr val="404040"/>
                </a:solidFill>
                <a:effectLst/>
                <a:uLnTx/>
                <a:uFillTx/>
                <a:latin typeface="Segoe UI"/>
                <a:ea typeface="+mn-ea"/>
                <a:cs typeface="+mn-cs"/>
              </a:rPr>
              <a:t>which raised a total of ~INR 32,000 </a:t>
            </a:r>
            <a:r>
              <a:rPr kumimoji="0" lang="en-US" sz="1000" b="0" i="0" u="none" strike="noStrike" kern="1200" cap="none" spc="0" normalizeH="0" baseline="0" noProof="0" dirty="0" err="1">
                <a:ln>
                  <a:noFill/>
                </a:ln>
                <a:solidFill>
                  <a:srgbClr val="404040"/>
                </a:solidFill>
                <a:effectLst/>
                <a:uLnTx/>
                <a:uFillTx/>
                <a:latin typeface="Segoe UI"/>
                <a:ea typeface="+mn-ea"/>
                <a:cs typeface="+mn-cs"/>
              </a:rPr>
              <a:t>Crs</a:t>
            </a:r>
            <a:r>
              <a:rPr kumimoji="0" lang="en-US" sz="1000" b="0" i="0" u="none" strike="noStrike" kern="1200" cap="none" spc="0" normalizeH="0" baseline="0" noProof="0" dirty="0">
                <a:ln>
                  <a:noFill/>
                </a:ln>
                <a:solidFill>
                  <a:srgbClr val="404040"/>
                </a:solidFill>
                <a:effectLst/>
                <a:uLnTx/>
                <a:uFillTx/>
                <a:latin typeface="Segoe UI"/>
                <a:ea typeface="+mn-ea"/>
                <a:cs typeface="+mn-cs"/>
              </a:rPr>
              <a:t>. out of total issue of ~INR 51,000 </a:t>
            </a:r>
            <a:r>
              <a:rPr kumimoji="0" lang="en-US" sz="1000" b="0" i="0" u="none" strike="noStrike" kern="1200" cap="none" spc="0" normalizeH="0" baseline="0" noProof="0" dirty="0" err="1">
                <a:ln>
                  <a:noFill/>
                </a:ln>
                <a:solidFill>
                  <a:srgbClr val="404040"/>
                </a:solidFill>
                <a:effectLst/>
                <a:uLnTx/>
                <a:uFillTx/>
                <a:latin typeface="Segoe UI"/>
                <a:ea typeface="+mn-ea"/>
                <a:cs typeface="+mn-cs"/>
              </a:rPr>
              <a:t>Crs</a:t>
            </a:r>
            <a:r>
              <a:rPr kumimoji="0" lang="en-US" sz="1000" b="0" i="0" u="none" strike="noStrike" kern="1200" cap="none" spc="0" normalizeH="0" baseline="0" noProof="0" dirty="0">
                <a:ln>
                  <a:noFill/>
                </a:ln>
                <a:solidFill>
                  <a:srgbClr val="404040"/>
                </a:solidFill>
                <a:effectLst/>
                <a:uLnTx/>
                <a:uFillTx/>
                <a:latin typeface="Segoe UI"/>
                <a:ea typeface="+mn-ea"/>
                <a:cs typeface="+mn-cs"/>
              </a:rPr>
              <a:t>.</a:t>
            </a:r>
            <a:endParaRPr kumimoji="0" lang="en-IN" sz="1000" b="0" i="0" u="none" strike="noStrike" kern="1200" cap="none" spc="0" normalizeH="0" baseline="0" noProof="0" dirty="0">
              <a:ln>
                <a:noFill/>
              </a:ln>
              <a:solidFill>
                <a:srgbClr val="404040"/>
              </a:solidFill>
              <a:effectLst/>
              <a:uLnTx/>
              <a:uFillTx/>
              <a:latin typeface="Segoe UI"/>
              <a:ea typeface="+mn-ea"/>
              <a:cs typeface="+mn-cs"/>
            </a:endParaRPr>
          </a:p>
        </p:txBody>
      </p:sp>
      <p:sp>
        <p:nvSpPr>
          <p:cNvPr id="9" name="TextBox 8">
            <a:extLst>
              <a:ext uri="{FF2B5EF4-FFF2-40B4-BE49-F238E27FC236}">
                <a16:creationId xmlns:a16="http://schemas.microsoft.com/office/drawing/2014/main" id="{E16E478F-E984-3C9E-2DA5-3B1E058DB575}"/>
              </a:ext>
            </a:extLst>
          </p:cNvPr>
          <p:cNvSpPr txBox="1"/>
          <p:nvPr/>
        </p:nvSpPr>
        <p:spPr>
          <a:xfrm>
            <a:off x="6004195" y="863060"/>
            <a:ext cx="5441379" cy="357771"/>
          </a:xfrm>
          <a:prstGeom prst="rect">
            <a:avLst/>
          </a:prstGeom>
          <a:noFill/>
        </p:spPr>
        <p:txBody>
          <a:bodyPr wrap="square" lIns="0" tIns="0" rIns="0" bIns="0" anchor="ctr">
            <a:noAutofit/>
          </a:bodyPr>
          <a:lstStyle/>
          <a:p>
            <a:pPr marL="0" marR="0" lvl="0" indent="0" algn="l" defTabSz="958983"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385723"/>
                </a:solidFill>
                <a:effectLst/>
                <a:uLnTx/>
                <a:uFillTx/>
                <a:latin typeface="Segoe UI"/>
                <a:ea typeface="Verdana" panose="020B0604030504040204" pitchFamily="34" charset="0"/>
                <a:cs typeface="Verdana" panose="020B0604030504040204" pitchFamily="34" charset="0"/>
              </a:rPr>
              <a:t>M&amp;A themes</a:t>
            </a:r>
          </a:p>
        </p:txBody>
      </p:sp>
      <p:sp>
        <p:nvSpPr>
          <p:cNvPr id="139" name="Rectangle: Rounded Corners 138">
            <a:extLst>
              <a:ext uri="{FF2B5EF4-FFF2-40B4-BE49-F238E27FC236}">
                <a16:creationId xmlns:a16="http://schemas.microsoft.com/office/drawing/2014/main" id="{E4673F1C-2AEC-D46B-97A8-96C861E6F092}"/>
              </a:ext>
            </a:extLst>
          </p:cNvPr>
          <p:cNvSpPr/>
          <p:nvPr/>
        </p:nvSpPr>
        <p:spPr>
          <a:xfrm>
            <a:off x="423677" y="1400822"/>
            <a:ext cx="30116" cy="3096000"/>
          </a:xfrm>
          <a:prstGeom prst="roundRect">
            <a:avLst>
              <a:gd name="adj" fmla="val 50000"/>
            </a:avLst>
          </a:prstGeom>
          <a:solidFill>
            <a:schemeClr val="accent4">
              <a:lumMod val="90000"/>
            </a:schemeClr>
          </a:solidFill>
          <a:ln>
            <a:solidFill>
              <a:schemeClr val="accent4">
                <a:lumMod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 name="Title 1">
            <a:extLst>
              <a:ext uri="{FF2B5EF4-FFF2-40B4-BE49-F238E27FC236}">
                <a16:creationId xmlns:a16="http://schemas.microsoft.com/office/drawing/2014/main" id="{D4007F46-77B9-A46B-29C8-8C740C9CBAEA}"/>
              </a:ext>
            </a:extLst>
          </p:cNvPr>
          <p:cNvSpPr>
            <a:spLocks noGrp="1"/>
          </p:cNvSpPr>
          <p:nvPr>
            <p:ph type="title"/>
          </p:nvPr>
        </p:nvSpPr>
        <p:spPr>
          <a:xfrm>
            <a:off x="344487" y="138940"/>
            <a:ext cx="11504613" cy="408795"/>
          </a:xfrm>
        </p:spPr>
        <p:txBody>
          <a:bodyPr/>
          <a:lstStyle/>
          <a:p>
            <a:r>
              <a:rPr lang="en-IN" dirty="0"/>
              <a:t>Key trends in pharmaceuticals</a:t>
            </a:r>
          </a:p>
        </p:txBody>
      </p:sp>
      <p:sp>
        <p:nvSpPr>
          <p:cNvPr id="3" name="Text Placeholder 2">
            <a:extLst>
              <a:ext uri="{FF2B5EF4-FFF2-40B4-BE49-F238E27FC236}">
                <a16:creationId xmlns:a16="http://schemas.microsoft.com/office/drawing/2014/main" id="{941040DB-4CE9-D306-483C-FFFF4F817BFD}"/>
              </a:ext>
            </a:extLst>
          </p:cNvPr>
          <p:cNvSpPr>
            <a:spLocks noGrp="1"/>
          </p:cNvSpPr>
          <p:nvPr>
            <p:ph type="body" sz="quarter" idx="10"/>
          </p:nvPr>
        </p:nvSpPr>
        <p:spPr>
          <a:xfrm>
            <a:off x="344488" y="487848"/>
            <a:ext cx="11504612" cy="281861"/>
          </a:xfrm>
        </p:spPr>
        <p:txBody>
          <a:bodyPr/>
          <a:lstStyle/>
          <a:p>
            <a:endParaRPr lang="en-US" dirty="0"/>
          </a:p>
        </p:txBody>
      </p:sp>
      <p:sp>
        <p:nvSpPr>
          <p:cNvPr id="4" name="Text Placeholder 3">
            <a:extLst>
              <a:ext uri="{FF2B5EF4-FFF2-40B4-BE49-F238E27FC236}">
                <a16:creationId xmlns:a16="http://schemas.microsoft.com/office/drawing/2014/main" id="{63B5FABC-9639-0037-5CED-271A4FAC104A}"/>
              </a:ext>
            </a:extLst>
          </p:cNvPr>
          <p:cNvSpPr>
            <a:spLocks noGrp="1"/>
          </p:cNvSpPr>
          <p:nvPr>
            <p:ph type="body" sz="quarter" idx="11"/>
          </p:nvPr>
        </p:nvSpPr>
        <p:spPr/>
        <p:txBody>
          <a:bodyPr/>
          <a:lstStyle/>
          <a:p>
            <a:r>
              <a:rPr lang="en-US" dirty="0"/>
              <a:t>Source: </a:t>
            </a:r>
            <a:r>
              <a:rPr lang="en-US" dirty="0" err="1"/>
              <a:t>Equirus</a:t>
            </a:r>
            <a:r>
              <a:rPr lang="en-US" dirty="0"/>
              <a:t> analysis.</a:t>
            </a:r>
          </a:p>
        </p:txBody>
      </p:sp>
      <p:cxnSp>
        <p:nvCxnSpPr>
          <p:cNvPr id="61" name="Straight Connector 60">
            <a:extLst>
              <a:ext uri="{FF2B5EF4-FFF2-40B4-BE49-F238E27FC236}">
                <a16:creationId xmlns:a16="http://schemas.microsoft.com/office/drawing/2014/main" id="{2C09D641-8D26-FA6F-6D99-3E91A01C176C}"/>
              </a:ext>
            </a:extLst>
          </p:cNvPr>
          <p:cNvCxnSpPr>
            <a:cxnSpLocks/>
          </p:cNvCxnSpPr>
          <p:nvPr/>
        </p:nvCxnSpPr>
        <p:spPr>
          <a:xfrm>
            <a:off x="398565" y="1232798"/>
            <a:ext cx="5400000" cy="0"/>
          </a:xfrm>
          <a:prstGeom prst="line">
            <a:avLst/>
          </a:prstGeom>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96E8B242-4C5A-B59C-71B0-D96091F7F734}"/>
              </a:ext>
            </a:extLst>
          </p:cNvPr>
          <p:cNvSpPr/>
          <p:nvPr/>
        </p:nvSpPr>
        <p:spPr>
          <a:xfrm>
            <a:off x="344487" y="1204914"/>
            <a:ext cx="545724" cy="55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385723"/>
              </a:solidFill>
              <a:effectLst/>
              <a:uLnTx/>
              <a:uFillTx/>
              <a:latin typeface="Segoe UI"/>
              <a:ea typeface="+mn-ea"/>
              <a:cs typeface="+mn-cs"/>
            </a:endParaRPr>
          </a:p>
        </p:txBody>
      </p:sp>
      <p:sp>
        <p:nvSpPr>
          <p:cNvPr id="60" name="TextBox 59">
            <a:extLst>
              <a:ext uri="{FF2B5EF4-FFF2-40B4-BE49-F238E27FC236}">
                <a16:creationId xmlns:a16="http://schemas.microsoft.com/office/drawing/2014/main" id="{444DFF84-C959-088F-C317-F5A3142F3242}"/>
              </a:ext>
            </a:extLst>
          </p:cNvPr>
          <p:cNvSpPr txBox="1"/>
          <p:nvPr/>
        </p:nvSpPr>
        <p:spPr>
          <a:xfrm>
            <a:off x="357186" y="863060"/>
            <a:ext cx="5441379" cy="357771"/>
          </a:xfrm>
          <a:prstGeom prst="rect">
            <a:avLst/>
          </a:prstGeom>
          <a:noFill/>
        </p:spPr>
        <p:txBody>
          <a:bodyPr wrap="square" lIns="0" tIns="0" rIns="0" bIns="0" anchor="ctr">
            <a:noAutofit/>
          </a:bodyPr>
          <a:lstStyle/>
          <a:p>
            <a:pPr marL="0" marR="0" lvl="0" indent="0" algn="l" defTabSz="958983"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385723"/>
                </a:solidFill>
                <a:effectLst/>
                <a:uLnTx/>
                <a:uFillTx/>
                <a:latin typeface="Segoe UI"/>
                <a:ea typeface="Verdana" panose="020B0604030504040204" pitchFamily="34" charset="0"/>
                <a:cs typeface="Verdana" panose="020B0604030504040204" pitchFamily="34" charset="0"/>
              </a:rPr>
              <a:t>Key trends</a:t>
            </a:r>
          </a:p>
        </p:txBody>
      </p:sp>
      <p:cxnSp>
        <p:nvCxnSpPr>
          <p:cNvPr id="5" name="Straight Connector 4">
            <a:extLst>
              <a:ext uri="{FF2B5EF4-FFF2-40B4-BE49-F238E27FC236}">
                <a16:creationId xmlns:a16="http://schemas.microsoft.com/office/drawing/2014/main" id="{27E32034-E947-9113-7D04-CEDF37096F6A}"/>
              </a:ext>
            </a:extLst>
          </p:cNvPr>
          <p:cNvCxnSpPr>
            <a:cxnSpLocks/>
          </p:cNvCxnSpPr>
          <p:nvPr/>
        </p:nvCxnSpPr>
        <p:spPr>
          <a:xfrm>
            <a:off x="6045574" y="1219735"/>
            <a:ext cx="5940000" cy="0"/>
          </a:xfrm>
          <a:prstGeom prst="line">
            <a:avLst/>
          </a:prstGeom>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D3799E35-0617-AAF3-CE54-1ABCE3D3BE3A}"/>
              </a:ext>
            </a:extLst>
          </p:cNvPr>
          <p:cNvSpPr/>
          <p:nvPr/>
        </p:nvSpPr>
        <p:spPr>
          <a:xfrm>
            <a:off x="5991496" y="1191851"/>
            <a:ext cx="545724" cy="55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385723"/>
              </a:solidFill>
              <a:effectLst/>
              <a:uLnTx/>
              <a:uFillTx/>
              <a:latin typeface="Segoe UI"/>
              <a:ea typeface="+mn-ea"/>
              <a:cs typeface="+mn-cs"/>
            </a:endParaRPr>
          </a:p>
        </p:txBody>
      </p:sp>
      <p:grpSp>
        <p:nvGrpSpPr>
          <p:cNvPr id="17" name="Group 16">
            <a:extLst>
              <a:ext uri="{FF2B5EF4-FFF2-40B4-BE49-F238E27FC236}">
                <a16:creationId xmlns:a16="http://schemas.microsoft.com/office/drawing/2014/main" id="{40D17DAD-6AC6-D9CF-694D-2BD8B4EA225C}"/>
              </a:ext>
            </a:extLst>
          </p:cNvPr>
          <p:cNvGrpSpPr/>
          <p:nvPr/>
        </p:nvGrpSpPr>
        <p:grpSpPr>
          <a:xfrm>
            <a:off x="366482" y="1462807"/>
            <a:ext cx="144517" cy="144517"/>
            <a:chOff x="7559921" y="1772797"/>
            <a:chExt cx="142772" cy="142772"/>
          </a:xfrm>
        </p:grpSpPr>
        <p:sp>
          <p:nvSpPr>
            <p:cNvPr id="21" name="Oval 20">
              <a:extLst>
                <a:ext uri="{FF2B5EF4-FFF2-40B4-BE49-F238E27FC236}">
                  <a16:creationId xmlns:a16="http://schemas.microsoft.com/office/drawing/2014/main" id="{45A932A2-B6D9-9A91-6209-33E5EEC3FB14}"/>
                </a:ext>
              </a:extLst>
            </p:cNvPr>
            <p:cNvSpPr/>
            <p:nvPr/>
          </p:nvSpPr>
          <p:spPr>
            <a:xfrm>
              <a:off x="7559921" y="1772797"/>
              <a:ext cx="142772" cy="142772"/>
            </a:xfrm>
            <a:prstGeom prst="ellipse">
              <a:avLst/>
            </a:prstGeom>
            <a:solidFill>
              <a:srgbClr val="B8D4E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2" name="Oval 21">
              <a:extLst>
                <a:ext uri="{FF2B5EF4-FFF2-40B4-BE49-F238E27FC236}">
                  <a16:creationId xmlns:a16="http://schemas.microsoft.com/office/drawing/2014/main" id="{0A27A88B-59A6-8611-3197-0CAD308FDB78}"/>
                </a:ext>
              </a:extLst>
            </p:cNvPr>
            <p:cNvSpPr/>
            <p:nvPr/>
          </p:nvSpPr>
          <p:spPr>
            <a:xfrm>
              <a:off x="7597477" y="1810353"/>
              <a:ext cx="67660" cy="67660"/>
            </a:xfrm>
            <a:prstGeom prst="ellipse">
              <a:avLst/>
            </a:prstGeom>
            <a:solidFill>
              <a:schemeClr val="bg1"/>
            </a:solidFill>
            <a:ln>
              <a:noFill/>
            </a:ln>
            <a:effectLst>
              <a:outerShdw blurRad="12700" sx="102000" sy="102000" algn="ctr" rotWithShape="0">
                <a:prstClr val="black">
                  <a:alpha val="66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03" name="Group 102">
            <a:extLst>
              <a:ext uri="{FF2B5EF4-FFF2-40B4-BE49-F238E27FC236}">
                <a16:creationId xmlns:a16="http://schemas.microsoft.com/office/drawing/2014/main" id="{21CA8FCE-8173-9942-7328-77246AE9877A}"/>
              </a:ext>
            </a:extLst>
          </p:cNvPr>
          <p:cNvGrpSpPr/>
          <p:nvPr/>
        </p:nvGrpSpPr>
        <p:grpSpPr>
          <a:xfrm>
            <a:off x="366482" y="1924649"/>
            <a:ext cx="144517" cy="144517"/>
            <a:chOff x="7559921" y="1772797"/>
            <a:chExt cx="142772" cy="142772"/>
          </a:xfrm>
        </p:grpSpPr>
        <p:sp>
          <p:nvSpPr>
            <p:cNvPr id="109" name="Oval 108">
              <a:extLst>
                <a:ext uri="{FF2B5EF4-FFF2-40B4-BE49-F238E27FC236}">
                  <a16:creationId xmlns:a16="http://schemas.microsoft.com/office/drawing/2014/main" id="{FC46F0FD-ED25-D892-435E-726CADD27332}"/>
                </a:ext>
              </a:extLst>
            </p:cNvPr>
            <p:cNvSpPr/>
            <p:nvPr/>
          </p:nvSpPr>
          <p:spPr>
            <a:xfrm>
              <a:off x="7559921" y="1772797"/>
              <a:ext cx="142772" cy="142772"/>
            </a:xfrm>
            <a:prstGeom prst="ellipse">
              <a:avLst/>
            </a:prstGeom>
            <a:solidFill>
              <a:srgbClr val="B8D4E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23" name="Oval 122">
              <a:extLst>
                <a:ext uri="{FF2B5EF4-FFF2-40B4-BE49-F238E27FC236}">
                  <a16:creationId xmlns:a16="http://schemas.microsoft.com/office/drawing/2014/main" id="{0068A8C6-0399-58B4-4D97-6FA1BEFE3535}"/>
                </a:ext>
              </a:extLst>
            </p:cNvPr>
            <p:cNvSpPr/>
            <p:nvPr/>
          </p:nvSpPr>
          <p:spPr>
            <a:xfrm>
              <a:off x="7597477" y="1810353"/>
              <a:ext cx="67660" cy="67660"/>
            </a:xfrm>
            <a:prstGeom prst="ellipse">
              <a:avLst/>
            </a:prstGeom>
            <a:solidFill>
              <a:schemeClr val="bg1"/>
            </a:solidFill>
            <a:ln>
              <a:noFill/>
            </a:ln>
            <a:effectLst>
              <a:outerShdw blurRad="12700" sx="102000" sy="102000" algn="ctr" rotWithShape="0">
                <a:prstClr val="black">
                  <a:alpha val="66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107" name="TextBox 106">
            <a:extLst>
              <a:ext uri="{FF2B5EF4-FFF2-40B4-BE49-F238E27FC236}">
                <a16:creationId xmlns:a16="http://schemas.microsoft.com/office/drawing/2014/main" id="{13583BD8-511D-DD1E-6686-8810BC214570}"/>
              </a:ext>
            </a:extLst>
          </p:cNvPr>
          <p:cNvSpPr txBox="1"/>
          <p:nvPr/>
        </p:nvSpPr>
        <p:spPr>
          <a:xfrm>
            <a:off x="490995" y="1755256"/>
            <a:ext cx="5307570" cy="707886"/>
          </a:xfrm>
          <a:prstGeom prst="rect">
            <a:avLst/>
          </a:prstGeom>
          <a:noFill/>
        </p:spPr>
        <p:txBody>
          <a:bodyPr wrap="square" rtlCol="0" anchor="ctr">
            <a:spAutoFit/>
          </a:bodyPr>
          <a:lstStyle/>
          <a:p>
            <a:pPr lvl="0">
              <a:defRPr/>
            </a:pPr>
            <a:r>
              <a:rPr lang="en-US" sz="1000" b="1" dirty="0">
                <a:solidFill>
                  <a:srgbClr val="404040"/>
                </a:solidFill>
              </a:rPr>
              <a:t>Domestic Formulations </a:t>
            </a:r>
            <a:r>
              <a:rPr lang="en-US" sz="1000" dirty="0">
                <a:solidFill>
                  <a:srgbClr val="404040"/>
                </a:solidFill>
              </a:rPr>
              <a:t>continues attract strong interest across M&amp;A, ECM and Private trade; the threshold for transactable assets has gone up significantly</a:t>
            </a:r>
          </a:p>
          <a:p>
            <a:pPr marL="685800" lvl="1" indent="-228600">
              <a:lnSpc>
                <a:spcPts val="1150"/>
              </a:lnSpc>
              <a:buFont typeface="Wingdings" panose="05000000000000000000" pitchFamily="2" charset="2"/>
              <a:buChar char="Ø"/>
              <a:defRPr/>
            </a:pPr>
            <a:r>
              <a:rPr lang="en-US" sz="1000" dirty="0">
                <a:solidFill>
                  <a:srgbClr val="404040"/>
                </a:solidFill>
              </a:rPr>
              <a:t>In FY25, M&amp;A deal value crossed </a:t>
            </a:r>
            <a:r>
              <a:rPr lang="en-IN" sz="1000" b="1" dirty="0"/>
              <a:t>₹</a:t>
            </a:r>
            <a:r>
              <a:rPr lang="en-US" sz="1000" b="1" dirty="0">
                <a:solidFill>
                  <a:srgbClr val="404040"/>
                </a:solidFill>
              </a:rPr>
              <a:t>15,000 crores </a:t>
            </a:r>
            <a:r>
              <a:rPr lang="en-US" sz="1000" dirty="0">
                <a:solidFill>
                  <a:srgbClr val="404040"/>
                </a:solidFill>
              </a:rPr>
              <a:t>while ECM mobilized </a:t>
            </a:r>
            <a:r>
              <a:rPr lang="en-IN" sz="1000" b="1" dirty="0"/>
              <a:t>₹ </a:t>
            </a:r>
            <a:r>
              <a:rPr lang="en-US" sz="1000" b="1" dirty="0">
                <a:solidFill>
                  <a:srgbClr val="404040"/>
                </a:solidFill>
              </a:rPr>
              <a:t>6,734 crores</a:t>
            </a:r>
          </a:p>
        </p:txBody>
      </p:sp>
      <p:grpSp>
        <p:nvGrpSpPr>
          <p:cNvPr id="125" name="Group 124">
            <a:extLst>
              <a:ext uri="{FF2B5EF4-FFF2-40B4-BE49-F238E27FC236}">
                <a16:creationId xmlns:a16="http://schemas.microsoft.com/office/drawing/2014/main" id="{96AD0136-DEB1-F86D-6041-FD32E7C0D70F}"/>
              </a:ext>
            </a:extLst>
          </p:cNvPr>
          <p:cNvGrpSpPr/>
          <p:nvPr/>
        </p:nvGrpSpPr>
        <p:grpSpPr>
          <a:xfrm>
            <a:off x="366482" y="2549329"/>
            <a:ext cx="144517" cy="144517"/>
            <a:chOff x="7559921" y="1772797"/>
            <a:chExt cx="142772" cy="142772"/>
          </a:xfrm>
        </p:grpSpPr>
        <p:sp>
          <p:nvSpPr>
            <p:cNvPr id="127" name="Oval 126">
              <a:extLst>
                <a:ext uri="{FF2B5EF4-FFF2-40B4-BE49-F238E27FC236}">
                  <a16:creationId xmlns:a16="http://schemas.microsoft.com/office/drawing/2014/main" id="{226EB091-7F58-E17A-F192-BE4BE1F3326B}"/>
                </a:ext>
              </a:extLst>
            </p:cNvPr>
            <p:cNvSpPr/>
            <p:nvPr/>
          </p:nvSpPr>
          <p:spPr>
            <a:xfrm>
              <a:off x="7559921" y="1772797"/>
              <a:ext cx="142772" cy="142772"/>
            </a:xfrm>
            <a:prstGeom prst="ellipse">
              <a:avLst/>
            </a:prstGeom>
            <a:solidFill>
              <a:srgbClr val="B8D4E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28" name="Oval 127">
              <a:extLst>
                <a:ext uri="{FF2B5EF4-FFF2-40B4-BE49-F238E27FC236}">
                  <a16:creationId xmlns:a16="http://schemas.microsoft.com/office/drawing/2014/main" id="{54204F2A-1880-0BD6-8EE5-03C671216290}"/>
                </a:ext>
              </a:extLst>
            </p:cNvPr>
            <p:cNvSpPr/>
            <p:nvPr/>
          </p:nvSpPr>
          <p:spPr>
            <a:xfrm>
              <a:off x="7597477" y="1810353"/>
              <a:ext cx="67660" cy="67660"/>
            </a:xfrm>
            <a:prstGeom prst="ellipse">
              <a:avLst/>
            </a:prstGeom>
            <a:solidFill>
              <a:schemeClr val="bg1"/>
            </a:solidFill>
            <a:ln>
              <a:noFill/>
            </a:ln>
            <a:effectLst>
              <a:outerShdw blurRad="12700" sx="102000" sy="102000" algn="ctr" rotWithShape="0">
                <a:prstClr val="black">
                  <a:alpha val="66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126" name="TextBox 125">
            <a:extLst>
              <a:ext uri="{FF2B5EF4-FFF2-40B4-BE49-F238E27FC236}">
                <a16:creationId xmlns:a16="http://schemas.microsoft.com/office/drawing/2014/main" id="{8887FE62-B2B7-FC9F-EC67-14D6797A1AFC}"/>
              </a:ext>
            </a:extLst>
          </p:cNvPr>
          <p:cNvSpPr txBox="1"/>
          <p:nvPr/>
        </p:nvSpPr>
        <p:spPr>
          <a:xfrm>
            <a:off x="490995" y="2467157"/>
            <a:ext cx="5307570" cy="400110"/>
          </a:xfrm>
          <a:prstGeom prst="rect">
            <a:avLst/>
          </a:prstGeom>
          <a:noFill/>
        </p:spPr>
        <p:txBody>
          <a:bodyPr wrap="square" rtlCol="0" anchor="ctr">
            <a:spAutoFit/>
          </a:bodyPr>
          <a:lstStyle/>
          <a:p>
            <a:pPr lvl="0">
              <a:defRPr/>
            </a:pPr>
            <a:r>
              <a:rPr lang="en-US" sz="1000" b="1" dirty="0">
                <a:solidFill>
                  <a:srgbClr val="404040"/>
                </a:solidFill>
              </a:rPr>
              <a:t>APIs </a:t>
            </a:r>
            <a:r>
              <a:rPr lang="en-US" sz="1000" dirty="0">
                <a:solidFill>
                  <a:srgbClr val="404040"/>
                </a:solidFill>
              </a:rPr>
              <a:t>face headwinds as pricing pressures and new product launches significantly limit the scalability; many are </a:t>
            </a:r>
            <a:r>
              <a:rPr lang="en-US" sz="1000" b="1" dirty="0">
                <a:solidFill>
                  <a:srgbClr val="404040"/>
                </a:solidFill>
              </a:rPr>
              <a:t>reorienting</a:t>
            </a:r>
            <a:r>
              <a:rPr lang="en-US" sz="1000" dirty="0">
                <a:solidFill>
                  <a:srgbClr val="404040"/>
                </a:solidFill>
              </a:rPr>
              <a:t> </a:t>
            </a:r>
            <a:r>
              <a:rPr lang="en-US" sz="1000" b="1" dirty="0">
                <a:solidFill>
                  <a:srgbClr val="404040"/>
                </a:solidFill>
              </a:rPr>
              <a:t>towards CDMO</a:t>
            </a:r>
          </a:p>
        </p:txBody>
      </p:sp>
      <p:grpSp>
        <p:nvGrpSpPr>
          <p:cNvPr id="130" name="Group 129">
            <a:extLst>
              <a:ext uri="{FF2B5EF4-FFF2-40B4-BE49-F238E27FC236}">
                <a16:creationId xmlns:a16="http://schemas.microsoft.com/office/drawing/2014/main" id="{9E0EC9F0-CD3A-2B2B-5FCE-B5EDA37AF7A3}"/>
              </a:ext>
            </a:extLst>
          </p:cNvPr>
          <p:cNvGrpSpPr/>
          <p:nvPr/>
        </p:nvGrpSpPr>
        <p:grpSpPr>
          <a:xfrm>
            <a:off x="366482" y="3036223"/>
            <a:ext cx="144517" cy="144517"/>
            <a:chOff x="7559921" y="1772797"/>
            <a:chExt cx="142772" cy="142772"/>
          </a:xfrm>
        </p:grpSpPr>
        <p:sp>
          <p:nvSpPr>
            <p:cNvPr id="132" name="Oval 131">
              <a:extLst>
                <a:ext uri="{FF2B5EF4-FFF2-40B4-BE49-F238E27FC236}">
                  <a16:creationId xmlns:a16="http://schemas.microsoft.com/office/drawing/2014/main" id="{6FC5F64D-A475-B68C-B00C-A37BF18EA824}"/>
                </a:ext>
              </a:extLst>
            </p:cNvPr>
            <p:cNvSpPr/>
            <p:nvPr/>
          </p:nvSpPr>
          <p:spPr>
            <a:xfrm>
              <a:off x="7559921" y="1772797"/>
              <a:ext cx="142772" cy="142772"/>
            </a:xfrm>
            <a:prstGeom prst="ellipse">
              <a:avLst/>
            </a:prstGeom>
            <a:solidFill>
              <a:srgbClr val="B8D4E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33" name="Oval 132">
              <a:extLst>
                <a:ext uri="{FF2B5EF4-FFF2-40B4-BE49-F238E27FC236}">
                  <a16:creationId xmlns:a16="http://schemas.microsoft.com/office/drawing/2014/main" id="{5CEB21AB-938E-5735-7030-CEC5E332E0DE}"/>
                </a:ext>
              </a:extLst>
            </p:cNvPr>
            <p:cNvSpPr/>
            <p:nvPr/>
          </p:nvSpPr>
          <p:spPr>
            <a:xfrm>
              <a:off x="7597477" y="1810353"/>
              <a:ext cx="67660" cy="67660"/>
            </a:xfrm>
            <a:prstGeom prst="ellipse">
              <a:avLst/>
            </a:prstGeom>
            <a:solidFill>
              <a:schemeClr val="bg1"/>
            </a:solidFill>
            <a:ln>
              <a:noFill/>
            </a:ln>
            <a:effectLst>
              <a:outerShdw blurRad="12700" sx="102000" sy="102000" algn="ctr" rotWithShape="0">
                <a:prstClr val="black">
                  <a:alpha val="66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131" name="TextBox 130">
            <a:extLst>
              <a:ext uri="{FF2B5EF4-FFF2-40B4-BE49-F238E27FC236}">
                <a16:creationId xmlns:a16="http://schemas.microsoft.com/office/drawing/2014/main" id="{111EE4D1-3AB6-928D-2A6A-5D1A30598908}"/>
              </a:ext>
            </a:extLst>
          </p:cNvPr>
          <p:cNvSpPr txBox="1"/>
          <p:nvPr/>
        </p:nvSpPr>
        <p:spPr>
          <a:xfrm>
            <a:off x="490995" y="4084197"/>
            <a:ext cx="5307570" cy="400110"/>
          </a:xfrm>
          <a:prstGeom prst="rect">
            <a:avLst/>
          </a:prstGeom>
          <a:noFill/>
        </p:spPr>
        <p:txBody>
          <a:bodyPr wrap="square" rtlCol="0" anchor="ctr">
            <a:spAutoFit/>
          </a:bodyPr>
          <a:lstStyle/>
          <a:p>
            <a:pPr lvl="0">
              <a:defRPr/>
            </a:pPr>
            <a:r>
              <a:rPr lang="en-US" sz="1000" dirty="0">
                <a:solidFill>
                  <a:srgbClr val="404040"/>
                </a:solidFill>
              </a:rPr>
              <a:t>India still playing catch up in </a:t>
            </a:r>
            <a:r>
              <a:rPr lang="en-US" sz="1000" b="1" dirty="0">
                <a:solidFill>
                  <a:srgbClr val="404040"/>
                </a:solidFill>
              </a:rPr>
              <a:t>Biologics as China and South Korea race ahead; </a:t>
            </a:r>
            <a:r>
              <a:rPr lang="en-US" sz="1000" dirty="0">
                <a:solidFill>
                  <a:srgbClr val="404040"/>
                </a:solidFill>
              </a:rPr>
              <a:t>Indian players will opt for partnership route to commercialization</a:t>
            </a:r>
            <a:endParaRPr lang="en-IN" sz="1000" b="1" dirty="0">
              <a:solidFill>
                <a:srgbClr val="404040"/>
              </a:solidFill>
            </a:endParaRPr>
          </a:p>
        </p:txBody>
      </p:sp>
      <p:grpSp>
        <p:nvGrpSpPr>
          <p:cNvPr id="135" name="Group 134">
            <a:extLst>
              <a:ext uri="{FF2B5EF4-FFF2-40B4-BE49-F238E27FC236}">
                <a16:creationId xmlns:a16="http://schemas.microsoft.com/office/drawing/2014/main" id="{5D8BD71A-02D5-569F-EB7C-15126181F5AD}"/>
              </a:ext>
            </a:extLst>
          </p:cNvPr>
          <p:cNvGrpSpPr/>
          <p:nvPr/>
        </p:nvGrpSpPr>
        <p:grpSpPr>
          <a:xfrm>
            <a:off x="366482" y="3660905"/>
            <a:ext cx="144517" cy="144517"/>
            <a:chOff x="7559921" y="1772797"/>
            <a:chExt cx="142772" cy="142772"/>
          </a:xfrm>
        </p:grpSpPr>
        <p:sp>
          <p:nvSpPr>
            <p:cNvPr id="137" name="Oval 136">
              <a:extLst>
                <a:ext uri="{FF2B5EF4-FFF2-40B4-BE49-F238E27FC236}">
                  <a16:creationId xmlns:a16="http://schemas.microsoft.com/office/drawing/2014/main" id="{6E386618-2727-341B-C0A7-5F58388B30AD}"/>
                </a:ext>
              </a:extLst>
            </p:cNvPr>
            <p:cNvSpPr/>
            <p:nvPr/>
          </p:nvSpPr>
          <p:spPr>
            <a:xfrm>
              <a:off x="7559921" y="1772797"/>
              <a:ext cx="142772" cy="142772"/>
            </a:xfrm>
            <a:prstGeom prst="ellipse">
              <a:avLst/>
            </a:prstGeom>
            <a:solidFill>
              <a:srgbClr val="B8D4E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38" name="Oval 137">
              <a:extLst>
                <a:ext uri="{FF2B5EF4-FFF2-40B4-BE49-F238E27FC236}">
                  <a16:creationId xmlns:a16="http://schemas.microsoft.com/office/drawing/2014/main" id="{B7B6568C-D0C1-A20A-579B-391034C750C8}"/>
                </a:ext>
              </a:extLst>
            </p:cNvPr>
            <p:cNvSpPr/>
            <p:nvPr/>
          </p:nvSpPr>
          <p:spPr>
            <a:xfrm>
              <a:off x="7597477" y="1810353"/>
              <a:ext cx="67660" cy="67660"/>
            </a:xfrm>
            <a:prstGeom prst="ellipse">
              <a:avLst/>
            </a:prstGeom>
            <a:solidFill>
              <a:schemeClr val="bg1"/>
            </a:solidFill>
            <a:ln>
              <a:noFill/>
            </a:ln>
            <a:effectLst>
              <a:outerShdw blurRad="12700" sx="102000" sy="102000" algn="ctr" rotWithShape="0">
                <a:prstClr val="black">
                  <a:alpha val="66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1" name="Group 10">
            <a:extLst>
              <a:ext uri="{FF2B5EF4-FFF2-40B4-BE49-F238E27FC236}">
                <a16:creationId xmlns:a16="http://schemas.microsoft.com/office/drawing/2014/main" id="{6826465C-2402-1997-EA36-1F7DE631E901}"/>
              </a:ext>
            </a:extLst>
          </p:cNvPr>
          <p:cNvGrpSpPr/>
          <p:nvPr/>
        </p:nvGrpSpPr>
        <p:grpSpPr>
          <a:xfrm>
            <a:off x="344487" y="4426653"/>
            <a:ext cx="5454078" cy="397622"/>
            <a:chOff x="344487" y="3593135"/>
            <a:chExt cx="5454078" cy="397622"/>
          </a:xfrm>
        </p:grpSpPr>
        <p:cxnSp>
          <p:nvCxnSpPr>
            <p:cNvPr id="6" name="Straight Connector 5">
              <a:extLst>
                <a:ext uri="{FF2B5EF4-FFF2-40B4-BE49-F238E27FC236}">
                  <a16:creationId xmlns:a16="http://schemas.microsoft.com/office/drawing/2014/main" id="{2FA288F4-F6CF-B14C-1BB0-57EBF76E90E3}"/>
                </a:ext>
              </a:extLst>
            </p:cNvPr>
            <p:cNvCxnSpPr>
              <a:cxnSpLocks/>
            </p:cNvCxnSpPr>
            <p:nvPr/>
          </p:nvCxnSpPr>
          <p:spPr>
            <a:xfrm>
              <a:off x="398565" y="3962873"/>
              <a:ext cx="5400000" cy="0"/>
            </a:xfrm>
            <a:prstGeom prst="line">
              <a:avLst/>
            </a:prstGeom>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11E0B1A6-FF1C-522F-63A4-31715FC35A51}"/>
                </a:ext>
              </a:extLst>
            </p:cNvPr>
            <p:cNvSpPr/>
            <p:nvPr/>
          </p:nvSpPr>
          <p:spPr>
            <a:xfrm>
              <a:off x="344487" y="3934989"/>
              <a:ext cx="545724" cy="55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385723"/>
                </a:solidFill>
                <a:effectLst/>
                <a:uLnTx/>
                <a:uFillTx/>
                <a:latin typeface="Segoe UI"/>
                <a:ea typeface="+mn-ea"/>
                <a:cs typeface="+mn-cs"/>
              </a:endParaRPr>
            </a:p>
          </p:txBody>
        </p:sp>
        <p:sp>
          <p:nvSpPr>
            <p:cNvPr id="14" name="TextBox 13">
              <a:extLst>
                <a:ext uri="{FF2B5EF4-FFF2-40B4-BE49-F238E27FC236}">
                  <a16:creationId xmlns:a16="http://schemas.microsoft.com/office/drawing/2014/main" id="{C8C35012-41F9-D538-A235-9EC61AFDBB45}"/>
                </a:ext>
              </a:extLst>
            </p:cNvPr>
            <p:cNvSpPr txBox="1"/>
            <p:nvPr/>
          </p:nvSpPr>
          <p:spPr>
            <a:xfrm>
              <a:off x="357186" y="3593135"/>
              <a:ext cx="5441379" cy="357771"/>
            </a:xfrm>
            <a:prstGeom prst="rect">
              <a:avLst/>
            </a:prstGeom>
            <a:noFill/>
          </p:spPr>
          <p:txBody>
            <a:bodyPr wrap="square" lIns="0" tIns="0" rIns="0" bIns="0" anchor="ctr">
              <a:noAutofit/>
            </a:bodyPr>
            <a:lstStyle/>
            <a:p>
              <a:pPr marL="0" marR="0" lvl="0" indent="0" algn="l" defTabSz="958983"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385723"/>
                  </a:solidFill>
                  <a:effectLst/>
                  <a:uLnTx/>
                  <a:uFillTx/>
                  <a:latin typeface="Segoe UI"/>
                  <a:ea typeface="Verdana" panose="020B0604030504040204" pitchFamily="34" charset="0"/>
                  <a:cs typeface="Verdana" panose="020B0604030504040204" pitchFamily="34" charset="0"/>
                </a:rPr>
                <a:t>Key challenges</a:t>
              </a:r>
            </a:p>
          </p:txBody>
        </p:sp>
      </p:grpSp>
      <p:sp>
        <p:nvSpPr>
          <p:cNvPr id="20" name="Rectangle: Rounded Corners 19">
            <a:extLst>
              <a:ext uri="{FF2B5EF4-FFF2-40B4-BE49-F238E27FC236}">
                <a16:creationId xmlns:a16="http://schemas.microsoft.com/office/drawing/2014/main" id="{B3D6484A-9B8A-A9A4-7B5F-69EF00061899}"/>
              </a:ext>
            </a:extLst>
          </p:cNvPr>
          <p:cNvSpPr/>
          <p:nvPr/>
        </p:nvSpPr>
        <p:spPr>
          <a:xfrm>
            <a:off x="6004195" y="1307363"/>
            <a:ext cx="1248375" cy="821546"/>
          </a:xfrm>
          <a:prstGeom prst="roundRect">
            <a:avLst>
              <a:gd name="adj" fmla="val 12903"/>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D7E2DC">
                    <a:lumMod val="50000"/>
                  </a:srgbClr>
                </a:solidFill>
                <a:effectLst/>
                <a:uLnTx/>
                <a:uFillTx/>
                <a:latin typeface="Segoe UI"/>
                <a:ea typeface="+mn-ea"/>
                <a:cs typeface="+mn-cs"/>
              </a:rPr>
              <a:t>PE Exits</a:t>
            </a:r>
            <a:endParaRPr kumimoji="0" lang="en-IN" sz="1050" b="1" i="0" u="none" strike="noStrike" kern="1200" cap="none" spc="0" normalizeH="0" baseline="0" noProof="0" dirty="0">
              <a:ln>
                <a:noFill/>
              </a:ln>
              <a:solidFill>
                <a:srgbClr val="D7E2DC">
                  <a:lumMod val="50000"/>
                </a:srgbClr>
              </a:solidFill>
              <a:effectLst/>
              <a:uLnTx/>
              <a:uFillTx/>
              <a:latin typeface="Segoe UI"/>
              <a:ea typeface="+mn-ea"/>
              <a:cs typeface="+mn-cs"/>
            </a:endParaRPr>
          </a:p>
        </p:txBody>
      </p:sp>
      <p:sp>
        <p:nvSpPr>
          <p:cNvPr id="26" name="Rectangle: Rounded Corners 25">
            <a:extLst>
              <a:ext uri="{FF2B5EF4-FFF2-40B4-BE49-F238E27FC236}">
                <a16:creationId xmlns:a16="http://schemas.microsoft.com/office/drawing/2014/main" id="{905C0D9F-A5D3-311A-0B68-9B27E417B587}"/>
              </a:ext>
            </a:extLst>
          </p:cNvPr>
          <p:cNvSpPr/>
          <p:nvPr/>
        </p:nvSpPr>
        <p:spPr>
          <a:xfrm>
            <a:off x="6004195" y="2182695"/>
            <a:ext cx="1248375" cy="821546"/>
          </a:xfrm>
          <a:prstGeom prst="roundRect">
            <a:avLst>
              <a:gd name="adj" fmla="val 12903"/>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D7E2DC">
                    <a:lumMod val="50000"/>
                  </a:srgbClr>
                </a:solidFill>
                <a:effectLst/>
                <a:uLnTx/>
                <a:uFillTx/>
                <a:latin typeface="Segoe UI"/>
                <a:ea typeface="+mn-ea"/>
                <a:cs typeface="+mn-cs"/>
              </a:rPr>
              <a:t>Capital allocation</a:t>
            </a:r>
            <a:endParaRPr kumimoji="0" lang="en-IN" sz="1050" b="1" i="0" u="none" strike="noStrike" kern="1200" cap="none" spc="0" normalizeH="0" baseline="0" noProof="0" dirty="0">
              <a:ln>
                <a:noFill/>
              </a:ln>
              <a:solidFill>
                <a:srgbClr val="D7E2DC">
                  <a:lumMod val="50000"/>
                </a:srgbClr>
              </a:solidFill>
              <a:effectLst/>
              <a:uLnTx/>
              <a:uFillTx/>
              <a:latin typeface="Segoe UI"/>
              <a:ea typeface="+mn-ea"/>
              <a:cs typeface="+mn-cs"/>
            </a:endParaRPr>
          </a:p>
        </p:txBody>
      </p:sp>
      <p:sp>
        <p:nvSpPr>
          <p:cNvPr id="27" name="Rectangle: Rounded Corners 26">
            <a:extLst>
              <a:ext uri="{FF2B5EF4-FFF2-40B4-BE49-F238E27FC236}">
                <a16:creationId xmlns:a16="http://schemas.microsoft.com/office/drawing/2014/main" id="{F5EC8C67-E62D-2B56-4CDC-593AA114479C}"/>
              </a:ext>
            </a:extLst>
          </p:cNvPr>
          <p:cNvSpPr/>
          <p:nvPr/>
        </p:nvSpPr>
        <p:spPr>
          <a:xfrm>
            <a:off x="6004195" y="3058027"/>
            <a:ext cx="1248375" cy="821546"/>
          </a:xfrm>
          <a:prstGeom prst="roundRect">
            <a:avLst>
              <a:gd name="adj" fmla="val 12903"/>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D7E2DC">
                    <a:lumMod val="50000"/>
                  </a:srgbClr>
                </a:solidFill>
                <a:effectLst/>
                <a:uLnTx/>
                <a:uFillTx/>
                <a:latin typeface="Segoe UI"/>
                <a:ea typeface="+mn-ea"/>
                <a:cs typeface="+mn-cs"/>
              </a:rPr>
              <a:t>Outbound acquisitions</a:t>
            </a:r>
            <a:endParaRPr kumimoji="0" lang="en-IN" sz="1050" b="1" i="0" u="none" strike="noStrike" kern="1200" cap="none" spc="0" normalizeH="0" baseline="0" noProof="0" dirty="0">
              <a:ln>
                <a:noFill/>
              </a:ln>
              <a:solidFill>
                <a:srgbClr val="D7E2DC">
                  <a:lumMod val="50000"/>
                </a:srgbClr>
              </a:solidFill>
              <a:effectLst/>
              <a:uLnTx/>
              <a:uFillTx/>
              <a:latin typeface="Segoe UI"/>
              <a:ea typeface="+mn-ea"/>
              <a:cs typeface="+mn-cs"/>
            </a:endParaRPr>
          </a:p>
        </p:txBody>
      </p:sp>
      <p:sp>
        <p:nvSpPr>
          <p:cNvPr id="28" name="Rectangle: Rounded Corners 27">
            <a:extLst>
              <a:ext uri="{FF2B5EF4-FFF2-40B4-BE49-F238E27FC236}">
                <a16:creationId xmlns:a16="http://schemas.microsoft.com/office/drawing/2014/main" id="{7708E75B-7734-EBBB-08CE-C5E0060C544E}"/>
              </a:ext>
            </a:extLst>
          </p:cNvPr>
          <p:cNvSpPr/>
          <p:nvPr/>
        </p:nvSpPr>
        <p:spPr>
          <a:xfrm>
            <a:off x="6004195" y="3933359"/>
            <a:ext cx="1248375" cy="821546"/>
          </a:xfrm>
          <a:prstGeom prst="roundRect">
            <a:avLst>
              <a:gd name="adj" fmla="val 12903"/>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D7E2DC">
                    <a:lumMod val="50000"/>
                  </a:srgbClr>
                </a:solidFill>
                <a:effectLst/>
                <a:uLnTx/>
                <a:uFillTx/>
                <a:latin typeface="Segoe UI"/>
                <a:ea typeface="+mn-ea"/>
                <a:cs typeface="+mn-cs"/>
              </a:rPr>
              <a:t>Sector consolidation</a:t>
            </a:r>
            <a:endParaRPr kumimoji="0" lang="en-IN" sz="1050" b="1" i="0" u="none" strike="noStrike" kern="1200" cap="none" spc="0" normalizeH="0" baseline="0" noProof="0" dirty="0">
              <a:ln>
                <a:noFill/>
              </a:ln>
              <a:solidFill>
                <a:srgbClr val="D7E2DC">
                  <a:lumMod val="50000"/>
                </a:srgbClr>
              </a:solidFill>
              <a:effectLst/>
              <a:uLnTx/>
              <a:uFillTx/>
              <a:latin typeface="Segoe UI"/>
              <a:ea typeface="+mn-ea"/>
              <a:cs typeface="+mn-cs"/>
            </a:endParaRPr>
          </a:p>
        </p:txBody>
      </p:sp>
      <p:sp>
        <p:nvSpPr>
          <p:cNvPr id="29" name="Rectangle: Rounded Corners 28">
            <a:extLst>
              <a:ext uri="{FF2B5EF4-FFF2-40B4-BE49-F238E27FC236}">
                <a16:creationId xmlns:a16="http://schemas.microsoft.com/office/drawing/2014/main" id="{B33DB7C4-1F40-262A-E155-CE1CF2A9F8BB}"/>
              </a:ext>
            </a:extLst>
          </p:cNvPr>
          <p:cNvSpPr/>
          <p:nvPr/>
        </p:nvSpPr>
        <p:spPr>
          <a:xfrm>
            <a:off x="6004195" y="4808691"/>
            <a:ext cx="1248375" cy="821546"/>
          </a:xfrm>
          <a:prstGeom prst="roundRect">
            <a:avLst>
              <a:gd name="adj" fmla="val 12903"/>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D7E2DC">
                    <a:lumMod val="50000"/>
                  </a:srgbClr>
                </a:solidFill>
                <a:effectLst/>
                <a:uLnTx/>
                <a:uFillTx/>
                <a:latin typeface="Segoe UI"/>
                <a:ea typeface="+mn-ea"/>
                <a:cs typeface="+mn-cs"/>
              </a:rPr>
              <a:t>Valuation arbitrage</a:t>
            </a:r>
            <a:endParaRPr kumimoji="0" lang="en-IN" sz="1050" b="1" i="0" u="none" strike="noStrike" kern="1200" cap="none" spc="0" normalizeH="0" baseline="0" noProof="0" dirty="0">
              <a:ln>
                <a:noFill/>
              </a:ln>
              <a:solidFill>
                <a:srgbClr val="D7E2DC">
                  <a:lumMod val="50000"/>
                </a:srgbClr>
              </a:solidFill>
              <a:effectLst/>
              <a:uLnTx/>
              <a:uFillTx/>
              <a:latin typeface="Segoe UI"/>
              <a:ea typeface="+mn-ea"/>
              <a:cs typeface="+mn-cs"/>
            </a:endParaRPr>
          </a:p>
        </p:txBody>
      </p:sp>
      <p:sp>
        <p:nvSpPr>
          <p:cNvPr id="30" name="Rectangle: Rounded Corners 29">
            <a:extLst>
              <a:ext uri="{FF2B5EF4-FFF2-40B4-BE49-F238E27FC236}">
                <a16:creationId xmlns:a16="http://schemas.microsoft.com/office/drawing/2014/main" id="{2FE7D3C0-F0A5-C21C-B089-42851F21FCFA}"/>
              </a:ext>
            </a:extLst>
          </p:cNvPr>
          <p:cNvSpPr/>
          <p:nvPr/>
        </p:nvSpPr>
        <p:spPr>
          <a:xfrm>
            <a:off x="6004195" y="5684024"/>
            <a:ext cx="1248375" cy="821546"/>
          </a:xfrm>
          <a:prstGeom prst="roundRect">
            <a:avLst>
              <a:gd name="adj" fmla="val 12903"/>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D7E2DC">
                    <a:lumMod val="50000"/>
                  </a:srgbClr>
                </a:solidFill>
                <a:effectLst/>
                <a:uLnTx/>
                <a:uFillTx/>
                <a:latin typeface="Segoe UI"/>
                <a:ea typeface="+mn-ea"/>
                <a:cs typeface="+mn-cs"/>
              </a:rPr>
              <a:t>Platform</a:t>
            </a:r>
            <a:endParaRPr kumimoji="0" lang="en-IN" sz="1050" b="1" i="0" u="none" strike="noStrike" kern="1200" cap="none" spc="0" normalizeH="0" baseline="0" noProof="0" dirty="0">
              <a:ln>
                <a:noFill/>
              </a:ln>
              <a:solidFill>
                <a:srgbClr val="D7E2DC">
                  <a:lumMod val="50000"/>
                </a:srgbClr>
              </a:solidFill>
              <a:effectLst/>
              <a:uLnTx/>
              <a:uFillTx/>
              <a:latin typeface="Segoe UI"/>
              <a:ea typeface="+mn-ea"/>
              <a:cs typeface="+mn-cs"/>
            </a:endParaRPr>
          </a:p>
        </p:txBody>
      </p:sp>
      <p:sp>
        <p:nvSpPr>
          <p:cNvPr id="10" name="TextBox 9">
            <a:extLst>
              <a:ext uri="{FF2B5EF4-FFF2-40B4-BE49-F238E27FC236}">
                <a16:creationId xmlns:a16="http://schemas.microsoft.com/office/drawing/2014/main" id="{36660068-F7E8-3FC3-F2D1-A1F5A2D4836D}"/>
              </a:ext>
            </a:extLst>
          </p:cNvPr>
          <p:cNvSpPr txBox="1"/>
          <p:nvPr/>
        </p:nvSpPr>
        <p:spPr>
          <a:xfrm>
            <a:off x="490995" y="2896420"/>
            <a:ext cx="5307570" cy="553998"/>
          </a:xfrm>
          <a:prstGeom prst="rect">
            <a:avLst/>
          </a:prstGeom>
          <a:noFill/>
        </p:spPr>
        <p:txBody>
          <a:bodyPr wrap="square" rtlCol="0" anchor="ctr">
            <a:spAutoFit/>
          </a:bodyPr>
          <a:lstStyle/>
          <a:p>
            <a:pPr lvl="0">
              <a:defRPr/>
            </a:pPr>
            <a:r>
              <a:rPr lang="en-US" sz="1000" dirty="0">
                <a:solidFill>
                  <a:srgbClr val="404040"/>
                </a:solidFill>
              </a:rPr>
              <a:t>CDMO shines among all transaction types </a:t>
            </a:r>
            <a:r>
              <a:rPr lang="en-US" sz="1000" b="1" dirty="0">
                <a:solidFill>
                  <a:srgbClr val="404040"/>
                </a:solidFill>
              </a:rPr>
              <a:t>with stellar listing for Anthem and Sai. </a:t>
            </a:r>
            <a:r>
              <a:rPr lang="en-US" sz="1000" dirty="0">
                <a:solidFill>
                  <a:srgbClr val="404040"/>
                </a:solidFill>
              </a:rPr>
              <a:t>Expect more </a:t>
            </a:r>
            <a:r>
              <a:rPr lang="en-US" sz="1000" b="1" dirty="0">
                <a:solidFill>
                  <a:srgbClr val="404040"/>
                </a:solidFill>
              </a:rPr>
              <a:t>CDMO IPOs </a:t>
            </a:r>
            <a:r>
              <a:rPr lang="en-US" sz="1000" dirty="0">
                <a:solidFill>
                  <a:srgbClr val="404040"/>
                </a:solidFill>
              </a:rPr>
              <a:t>as companies look to </a:t>
            </a:r>
            <a:r>
              <a:rPr lang="en-US" sz="1000" b="1" dirty="0">
                <a:solidFill>
                  <a:srgbClr val="404040"/>
                </a:solidFill>
              </a:rPr>
              <a:t>unlock value</a:t>
            </a:r>
          </a:p>
          <a:p>
            <a:pPr marL="685800" lvl="1" indent="-228600">
              <a:lnSpc>
                <a:spcPts val="1100"/>
              </a:lnSpc>
              <a:buFont typeface="Wingdings" panose="05000000000000000000" pitchFamily="2" charset="2"/>
              <a:buChar char="Ø"/>
              <a:defRPr/>
            </a:pPr>
            <a:r>
              <a:rPr lang="en-IN" sz="1000" dirty="0">
                <a:solidFill>
                  <a:srgbClr val="404040"/>
                </a:solidFill>
              </a:rPr>
              <a:t>ECM activity mopped </a:t>
            </a:r>
            <a:r>
              <a:rPr lang="en-IN" sz="1000" b="1" dirty="0"/>
              <a:t>₹</a:t>
            </a:r>
            <a:r>
              <a:rPr lang="en-US" sz="1000" b="1" dirty="0">
                <a:solidFill>
                  <a:srgbClr val="404040"/>
                </a:solidFill>
              </a:rPr>
              <a:t>5,300 crores </a:t>
            </a:r>
            <a:r>
              <a:rPr lang="en-US" sz="1000" dirty="0">
                <a:solidFill>
                  <a:srgbClr val="404040"/>
                </a:solidFill>
              </a:rPr>
              <a:t>for FY25</a:t>
            </a:r>
          </a:p>
        </p:txBody>
      </p:sp>
      <p:sp>
        <p:nvSpPr>
          <p:cNvPr id="12" name="TextBox 11">
            <a:extLst>
              <a:ext uri="{FF2B5EF4-FFF2-40B4-BE49-F238E27FC236}">
                <a16:creationId xmlns:a16="http://schemas.microsoft.com/office/drawing/2014/main" id="{5C2C7D7A-FE1D-3733-9A9A-3E8BF6661C34}"/>
              </a:ext>
            </a:extLst>
          </p:cNvPr>
          <p:cNvSpPr txBox="1"/>
          <p:nvPr/>
        </p:nvSpPr>
        <p:spPr>
          <a:xfrm>
            <a:off x="490995" y="3505850"/>
            <a:ext cx="5307570" cy="541174"/>
          </a:xfrm>
          <a:prstGeom prst="rect">
            <a:avLst/>
          </a:prstGeom>
          <a:noFill/>
        </p:spPr>
        <p:txBody>
          <a:bodyPr wrap="square" rtlCol="0" anchor="ctr">
            <a:spAutoFit/>
          </a:bodyPr>
          <a:lstStyle/>
          <a:p>
            <a:pPr lvl="0">
              <a:defRPr/>
            </a:pPr>
            <a:r>
              <a:rPr lang="en-US" sz="1000" dirty="0">
                <a:solidFill>
                  <a:srgbClr val="404040"/>
                </a:solidFill>
              </a:rPr>
              <a:t>Pharmaceuticals expected to see </a:t>
            </a:r>
            <a:r>
              <a:rPr lang="en-US" sz="1000" b="1" dirty="0">
                <a:solidFill>
                  <a:srgbClr val="404040"/>
                </a:solidFill>
              </a:rPr>
              <a:t>intense M&amp;A/ buyout and IPOs/QIPs</a:t>
            </a:r>
            <a:r>
              <a:rPr lang="en-US" sz="1000" dirty="0">
                <a:solidFill>
                  <a:srgbClr val="404040"/>
                </a:solidFill>
              </a:rPr>
              <a:t> as consolidation across sub-segments plays out</a:t>
            </a:r>
          </a:p>
          <a:p>
            <a:pPr marL="685800" lvl="1" indent="-228600">
              <a:lnSpc>
                <a:spcPts val="1100"/>
              </a:lnSpc>
              <a:buFont typeface="Wingdings" panose="05000000000000000000" pitchFamily="2" charset="2"/>
              <a:buChar char="Ø"/>
              <a:defRPr/>
            </a:pPr>
            <a:r>
              <a:rPr lang="en-US" sz="1000" dirty="0">
                <a:solidFill>
                  <a:srgbClr val="404040"/>
                </a:solidFill>
              </a:rPr>
              <a:t>ECM is expected to exceed </a:t>
            </a:r>
            <a:r>
              <a:rPr lang="en-IN" sz="1000" dirty="0"/>
              <a:t>₹</a:t>
            </a:r>
            <a:r>
              <a:rPr lang="en-US" sz="1000" b="1" dirty="0">
                <a:solidFill>
                  <a:srgbClr val="404040"/>
                </a:solidFill>
              </a:rPr>
              <a:t>13,000 crores </a:t>
            </a:r>
            <a:r>
              <a:rPr lang="en-US" sz="1000" dirty="0">
                <a:solidFill>
                  <a:srgbClr val="404040"/>
                </a:solidFill>
              </a:rPr>
              <a:t>over the next 3 years</a:t>
            </a:r>
            <a:endParaRPr lang="en-IN" sz="1000" dirty="0">
              <a:solidFill>
                <a:srgbClr val="404040"/>
              </a:solidFill>
            </a:endParaRPr>
          </a:p>
        </p:txBody>
      </p:sp>
      <p:grpSp>
        <p:nvGrpSpPr>
          <p:cNvPr id="13" name="Group 12">
            <a:extLst>
              <a:ext uri="{FF2B5EF4-FFF2-40B4-BE49-F238E27FC236}">
                <a16:creationId xmlns:a16="http://schemas.microsoft.com/office/drawing/2014/main" id="{8AC1A788-8B44-04A6-B956-AB7357DC4407}"/>
              </a:ext>
            </a:extLst>
          </p:cNvPr>
          <p:cNvGrpSpPr/>
          <p:nvPr/>
        </p:nvGrpSpPr>
        <p:grpSpPr>
          <a:xfrm>
            <a:off x="366482" y="4230348"/>
            <a:ext cx="144517" cy="144517"/>
            <a:chOff x="7559921" y="1772797"/>
            <a:chExt cx="142772" cy="142772"/>
          </a:xfrm>
        </p:grpSpPr>
        <p:sp>
          <p:nvSpPr>
            <p:cNvPr id="15" name="Oval 14">
              <a:extLst>
                <a:ext uri="{FF2B5EF4-FFF2-40B4-BE49-F238E27FC236}">
                  <a16:creationId xmlns:a16="http://schemas.microsoft.com/office/drawing/2014/main" id="{EB308D38-DAB4-E7C5-4218-DD6DEE1A943B}"/>
                </a:ext>
              </a:extLst>
            </p:cNvPr>
            <p:cNvSpPr/>
            <p:nvPr/>
          </p:nvSpPr>
          <p:spPr>
            <a:xfrm>
              <a:off x="7559921" y="1772797"/>
              <a:ext cx="142772" cy="142772"/>
            </a:xfrm>
            <a:prstGeom prst="ellipse">
              <a:avLst/>
            </a:prstGeom>
            <a:solidFill>
              <a:srgbClr val="B8D4E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6" name="Oval 15">
              <a:extLst>
                <a:ext uri="{FF2B5EF4-FFF2-40B4-BE49-F238E27FC236}">
                  <a16:creationId xmlns:a16="http://schemas.microsoft.com/office/drawing/2014/main" id="{03E877AD-5DA9-F2D1-CFD7-9C1EED76D7E8}"/>
                </a:ext>
              </a:extLst>
            </p:cNvPr>
            <p:cNvSpPr/>
            <p:nvPr/>
          </p:nvSpPr>
          <p:spPr>
            <a:xfrm>
              <a:off x="7597477" y="1810353"/>
              <a:ext cx="67660" cy="67660"/>
            </a:xfrm>
            <a:prstGeom prst="ellipse">
              <a:avLst/>
            </a:prstGeom>
            <a:solidFill>
              <a:schemeClr val="bg1"/>
            </a:solidFill>
            <a:ln>
              <a:noFill/>
            </a:ln>
            <a:effectLst>
              <a:outerShdw blurRad="12700" sx="102000" sy="102000" algn="ctr" rotWithShape="0">
                <a:prstClr val="black">
                  <a:alpha val="66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67" name="Group 66">
            <a:extLst>
              <a:ext uri="{FF2B5EF4-FFF2-40B4-BE49-F238E27FC236}">
                <a16:creationId xmlns:a16="http://schemas.microsoft.com/office/drawing/2014/main" id="{9D7602B2-7729-EDAA-62CB-34C76F213E36}"/>
              </a:ext>
            </a:extLst>
          </p:cNvPr>
          <p:cNvGrpSpPr/>
          <p:nvPr/>
        </p:nvGrpSpPr>
        <p:grpSpPr>
          <a:xfrm>
            <a:off x="7290148" y="1299651"/>
            <a:ext cx="4695426" cy="814726"/>
            <a:chOff x="7290148" y="1299651"/>
            <a:chExt cx="4695426" cy="814726"/>
          </a:xfrm>
        </p:grpSpPr>
        <p:sp>
          <p:nvSpPr>
            <p:cNvPr id="18" name="Rectangle: Rounded Corners 17">
              <a:extLst>
                <a:ext uri="{FF2B5EF4-FFF2-40B4-BE49-F238E27FC236}">
                  <a16:creationId xmlns:a16="http://schemas.microsoft.com/office/drawing/2014/main" id="{FBDA6322-8AC8-D7B0-B28B-A0B25CDBED64}"/>
                </a:ext>
              </a:extLst>
            </p:cNvPr>
            <p:cNvSpPr/>
            <p:nvPr/>
          </p:nvSpPr>
          <p:spPr>
            <a:xfrm>
              <a:off x="7290148" y="1299651"/>
              <a:ext cx="1500341" cy="814726"/>
            </a:xfrm>
            <a:prstGeom prst="roundRect">
              <a:avLst>
                <a:gd name="adj" fmla="val 4646"/>
              </a:avLst>
            </a:prstGeom>
            <a:solidFill>
              <a:schemeClr val="accent4">
                <a:lumMod val="50000"/>
              </a:schemeClr>
            </a:solidFill>
            <a:ln>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9" name="Rectangle: Rounded Corners 18">
              <a:extLst>
                <a:ext uri="{FF2B5EF4-FFF2-40B4-BE49-F238E27FC236}">
                  <a16:creationId xmlns:a16="http://schemas.microsoft.com/office/drawing/2014/main" id="{751D973E-5313-4DFD-9C5D-3ECD22290FF0}"/>
                </a:ext>
              </a:extLst>
            </p:cNvPr>
            <p:cNvSpPr/>
            <p:nvPr/>
          </p:nvSpPr>
          <p:spPr>
            <a:xfrm>
              <a:off x="7290148" y="1302279"/>
              <a:ext cx="1500341" cy="778242"/>
            </a:xfrm>
            <a:prstGeom prst="roundRect">
              <a:avLst>
                <a:gd name="adj" fmla="val 4646"/>
              </a:avLst>
            </a:prstGeom>
            <a:solidFill>
              <a:schemeClr val="bg1"/>
            </a:solidFill>
            <a:ln>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srgbClr val="385723"/>
                </a:solidFill>
                <a:effectLst/>
                <a:uLnTx/>
                <a:uFillTx/>
                <a:latin typeface="Segoe UI"/>
                <a:ea typeface="+mn-ea"/>
                <a:cs typeface="+mn-cs"/>
              </a:endParaRPr>
            </a:p>
          </p:txBody>
        </p:sp>
        <p:sp>
          <p:nvSpPr>
            <p:cNvPr id="59" name="Rectangle: Rounded Corners 58">
              <a:extLst>
                <a:ext uri="{FF2B5EF4-FFF2-40B4-BE49-F238E27FC236}">
                  <a16:creationId xmlns:a16="http://schemas.microsoft.com/office/drawing/2014/main" id="{E0C1086E-B09E-BEB4-EC56-A05E3D6AA780}"/>
                </a:ext>
              </a:extLst>
            </p:cNvPr>
            <p:cNvSpPr/>
            <p:nvPr/>
          </p:nvSpPr>
          <p:spPr>
            <a:xfrm>
              <a:off x="8887691" y="1299651"/>
              <a:ext cx="1500341" cy="814726"/>
            </a:xfrm>
            <a:prstGeom prst="roundRect">
              <a:avLst>
                <a:gd name="adj" fmla="val 4646"/>
              </a:avLst>
            </a:prstGeom>
            <a:solidFill>
              <a:schemeClr val="accent4">
                <a:lumMod val="50000"/>
              </a:schemeClr>
            </a:solidFill>
            <a:ln>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63" name="Rectangle: Rounded Corners 62">
              <a:extLst>
                <a:ext uri="{FF2B5EF4-FFF2-40B4-BE49-F238E27FC236}">
                  <a16:creationId xmlns:a16="http://schemas.microsoft.com/office/drawing/2014/main" id="{0EC3D4E3-8BC4-DCC1-7D09-228970E59C13}"/>
                </a:ext>
              </a:extLst>
            </p:cNvPr>
            <p:cNvSpPr/>
            <p:nvPr/>
          </p:nvSpPr>
          <p:spPr>
            <a:xfrm>
              <a:off x="8887691" y="1302279"/>
              <a:ext cx="1500341" cy="778242"/>
            </a:xfrm>
            <a:prstGeom prst="roundRect">
              <a:avLst>
                <a:gd name="adj" fmla="val 4646"/>
              </a:avLst>
            </a:prstGeom>
            <a:solidFill>
              <a:schemeClr val="bg1"/>
            </a:solidFill>
            <a:ln>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srgbClr val="385723"/>
                </a:solidFill>
                <a:effectLst/>
                <a:uLnTx/>
                <a:uFillTx/>
                <a:latin typeface="Segoe UI"/>
                <a:ea typeface="+mn-ea"/>
                <a:cs typeface="+mn-cs"/>
              </a:endParaRPr>
            </a:p>
          </p:txBody>
        </p:sp>
        <p:sp>
          <p:nvSpPr>
            <p:cNvPr id="65" name="Rectangle: Rounded Corners 64">
              <a:extLst>
                <a:ext uri="{FF2B5EF4-FFF2-40B4-BE49-F238E27FC236}">
                  <a16:creationId xmlns:a16="http://schemas.microsoft.com/office/drawing/2014/main" id="{EA95ED0D-CF20-0961-5987-598761F26E90}"/>
                </a:ext>
              </a:extLst>
            </p:cNvPr>
            <p:cNvSpPr/>
            <p:nvPr/>
          </p:nvSpPr>
          <p:spPr>
            <a:xfrm>
              <a:off x="10485233" y="1299651"/>
              <a:ext cx="1500341" cy="814726"/>
            </a:xfrm>
            <a:prstGeom prst="roundRect">
              <a:avLst>
                <a:gd name="adj" fmla="val 4646"/>
              </a:avLst>
            </a:prstGeom>
            <a:solidFill>
              <a:schemeClr val="accent4">
                <a:lumMod val="50000"/>
              </a:schemeClr>
            </a:solidFill>
            <a:ln>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66" name="Rectangle: Rounded Corners 65">
              <a:extLst>
                <a:ext uri="{FF2B5EF4-FFF2-40B4-BE49-F238E27FC236}">
                  <a16:creationId xmlns:a16="http://schemas.microsoft.com/office/drawing/2014/main" id="{4C8559BD-E877-A62C-56D7-4F20F05E4062}"/>
                </a:ext>
              </a:extLst>
            </p:cNvPr>
            <p:cNvSpPr/>
            <p:nvPr/>
          </p:nvSpPr>
          <p:spPr>
            <a:xfrm>
              <a:off x="10485233" y="1302279"/>
              <a:ext cx="1500341" cy="778242"/>
            </a:xfrm>
            <a:prstGeom prst="roundRect">
              <a:avLst>
                <a:gd name="adj" fmla="val 4646"/>
              </a:avLst>
            </a:prstGeom>
            <a:solidFill>
              <a:schemeClr val="bg1"/>
            </a:solidFill>
            <a:ln>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srgbClr val="385723"/>
                </a:solidFill>
                <a:effectLst/>
                <a:uLnTx/>
                <a:uFillTx/>
                <a:latin typeface="Segoe UI"/>
                <a:ea typeface="+mn-ea"/>
                <a:cs typeface="+mn-cs"/>
              </a:endParaRPr>
            </a:p>
          </p:txBody>
        </p:sp>
      </p:grpSp>
      <p:grpSp>
        <p:nvGrpSpPr>
          <p:cNvPr id="75" name="Group 74">
            <a:extLst>
              <a:ext uri="{FF2B5EF4-FFF2-40B4-BE49-F238E27FC236}">
                <a16:creationId xmlns:a16="http://schemas.microsoft.com/office/drawing/2014/main" id="{9793A2D3-8531-65A7-B0A9-D71F2F226F09}"/>
              </a:ext>
            </a:extLst>
          </p:cNvPr>
          <p:cNvGrpSpPr/>
          <p:nvPr/>
        </p:nvGrpSpPr>
        <p:grpSpPr>
          <a:xfrm>
            <a:off x="7290148" y="3070908"/>
            <a:ext cx="4695426" cy="814726"/>
            <a:chOff x="7290148" y="1299651"/>
            <a:chExt cx="4695426" cy="814726"/>
          </a:xfrm>
        </p:grpSpPr>
        <p:sp>
          <p:nvSpPr>
            <p:cNvPr id="76" name="Rectangle: Rounded Corners 75">
              <a:extLst>
                <a:ext uri="{FF2B5EF4-FFF2-40B4-BE49-F238E27FC236}">
                  <a16:creationId xmlns:a16="http://schemas.microsoft.com/office/drawing/2014/main" id="{F24EB9E3-5A57-F698-075D-E63EBCED1241}"/>
                </a:ext>
              </a:extLst>
            </p:cNvPr>
            <p:cNvSpPr/>
            <p:nvPr/>
          </p:nvSpPr>
          <p:spPr>
            <a:xfrm>
              <a:off x="7290148" y="1299651"/>
              <a:ext cx="1500341" cy="814726"/>
            </a:xfrm>
            <a:prstGeom prst="roundRect">
              <a:avLst>
                <a:gd name="adj" fmla="val 4646"/>
              </a:avLst>
            </a:prstGeom>
            <a:solidFill>
              <a:schemeClr val="accent4">
                <a:lumMod val="50000"/>
              </a:schemeClr>
            </a:solidFill>
            <a:ln>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77" name="Rectangle: Rounded Corners 76">
              <a:extLst>
                <a:ext uri="{FF2B5EF4-FFF2-40B4-BE49-F238E27FC236}">
                  <a16:creationId xmlns:a16="http://schemas.microsoft.com/office/drawing/2014/main" id="{6B37DEEE-1A4A-EC57-D773-D01716780ACE}"/>
                </a:ext>
              </a:extLst>
            </p:cNvPr>
            <p:cNvSpPr/>
            <p:nvPr/>
          </p:nvSpPr>
          <p:spPr>
            <a:xfrm>
              <a:off x="7290148" y="1302279"/>
              <a:ext cx="1500341" cy="778242"/>
            </a:xfrm>
            <a:prstGeom prst="roundRect">
              <a:avLst>
                <a:gd name="adj" fmla="val 4646"/>
              </a:avLst>
            </a:prstGeom>
            <a:solidFill>
              <a:schemeClr val="bg1"/>
            </a:solidFill>
            <a:ln>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srgbClr val="385723"/>
                </a:solidFill>
                <a:effectLst/>
                <a:uLnTx/>
                <a:uFillTx/>
                <a:latin typeface="Segoe UI"/>
                <a:ea typeface="+mn-ea"/>
                <a:cs typeface="+mn-cs"/>
              </a:endParaRPr>
            </a:p>
          </p:txBody>
        </p:sp>
        <p:sp>
          <p:nvSpPr>
            <p:cNvPr id="78" name="Rectangle: Rounded Corners 77">
              <a:extLst>
                <a:ext uri="{FF2B5EF4-FFF2-40B4-BE49-F238E27FC236}">
                  <a16:creationId xmlns:a16="http://schemas.microsoft.com/office/drawing/2014/main" id="{6CEC2BF1-DB97-909A-88D5-F3C2C3AF556C}"/>
                </a:ext>
              </a:extLst>
            </p:cNvPr>
            <p:cNvSpPr/>
            <p:nvPr/>
          </p:nvSpPr>
          <p:spPr>
            <a:xfrm>
              <a:off x="8887691" y="1299651"/>
              <a:ext cx="1500341" cy="814726"/>
            </a:xfrm>
            <a:prstGeom prst="roundRect">
              <a:avLst>
                <a:gd name="adj" fmla="val 4646"/>
              </a:avLst>
            </a:prstGeom>
            <a:solidFill>
              <a:schemeClr val="accent4">
                <a:lumMod val="50000"/>
              </a:schemeClr>
            </a:solidFill>
            <a:ln>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79" name="Rectangle: Rounded Corners 78">
              <a:extLst>
                <a:ext uri="{FF2B5EF4-FFF2-40B4-BE49-F238E27FC236}">
                  <a16:creationId xmlns:a16="http://schemas.microsoft.com/office/drawing/2014/main" id="{57F2BB1F-DD90-7776-932D-67E7E1D811D1}"/>
                </a:ext>
              </a:extLst>
            </p:cNvPr>
            <p:cNvSpPr/>
            <p:nvPr/>
          </p:nvSpPr>
          <p:spPr>
            <a:xfrm>
              <a:off x="8887691" y="1302279"/>
              <a:ext cx="1500341" cy="778242"/>
            </a:xfrm>
            <a:prstGeom prst="roundRect">
              <a:avLst>
                <a:gd name="adj" fmla="val 4646"/>
              </a:avLst>
            </a:prstGeom>
            <a:solidFill>
              <a:schemeClr val="bg1"/>
            </a:solidFill>
            <a:ln>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srgbClr val="385723"/>
                </a:solidFill>
                <a:effectLst/>
                <a:uLnTx/>
                <a:uFillTx/>
                <a:latin typeface="Segoe UI"/>
                <a:ea typeface="+mn-ea"/>
                <a:cs typeface="+mn-cs"/>
              </a:endParaRPr>
            </a:p>
          </p:txBody>
        </p:sp>
        <p:sp>
          <p:nvSpPr>
            <p:cNvPr id="80" name="Rectangle: Rounded Corners 79">
              <a:extLst>
                <a:ext uri="{FF2B5EF4-FFF2-40B4-BE49-F238E27FC236}">
                  <a16:creationId xmlns:a16="http://schemas.microsoft.com/office/drawing/2014/main" id="{F9237914-26C4-3901-A3F9-8BFFF8F95344}"/>
                </a:ext>
              </a:extLst>
            </p:cNvPr>
            <p:cNvSpPr/>
            <p:nvPr/>
          </p:nvSpPr>
          <p:spPr>
            <a:xfrm>
              <a:off x="10485233" y="1299651"/>
              <a:ext cx="1500341" cy="814726"/>
            </a:xfrm>
            <a:prstGeom prst="roundRect">
              <a:avLst>
                <a:gd name="adj" fmla="val 4646"/>
              </a:avLst>
            </a:prstGeom>
            <a:solidFill>
              <a:schemeClr val="accent4">
                <a:lumMod val="50000"/>
              </a:schemeClr>
            </a:solidFill>
            <a:ln>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81" name="Rectangle: Rounded Corners 80">
              <a:extLst>
                <a:ext uri="{FF2B5EF4-FFF2-40B4-BE49-F238E27FC236}">
                  <a16:creationId xmlns:a16="http://schemas.microsoft.com/office/drawing/2014/main" id="{27A89189-9AD8-FDE3-E55F-FE52FB1FB43B}"/>
                </a:ext>
              </a:extLst>
            </p:cNvPr>
            <p:cNvSpPr/>
            <p:nvPr/>
          </p:nvSpPr>
          <p:spPr>
            <a:xfrm>
              <a:off x="10485233" y="1302279"/>
              <a:ext cx="1500341" cy="778242"/>
            </a:xfrm>
            <a:prstGeom prst="roundRect">
              <a:avLst>
                <a:gd name="adj" fmla="val 4646"/>
              </a:avLst>
            </a:prstGeom>
            <a:solidFill>
              <a:schemeClr val="bg1"/>
            </a:solidFill>
            <a:ln>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srgbClr val="385723"/>
                </a:solidFill>
                <a:effectLst/>
                <a:uLnTx/>
                <a:uFillTx/>
                <a:latin typeface="Segoe UI"/>
                <a:ea typeface="+mn-ea"/>
                <a:cs typeface="+mn-cs"/>
              </a:endParaRPr>
            </a:p>
          </p:txBody>
        </p:sp>
      </p:grpSp>
      <p:grpSp>
        <p:nvGrpSpPr>
          <p:cNvPr id="82" name="Group 81">
            <a:extLst>
              <a:ext uri="{FF2B5EF4-FFF2-40B4-BE49-F238E27FC236}">
                <a16:creationId xmlns:a16="http://schemas.microsoft.com/office/drawing/2014/main" id="{94C443C6-5F2B-D354-D848-BC25B7F526E1}"/>
              </a:ext>
            </a:extLst>
          </p:cNvPr>
          <p:cNvGrpSpPr/>
          <p:nvPr/>
        </p:nvGrpSpPr>
        <p:grpSpPr>
          <a:xfrm>
            <a:off x="7290148" y="3958940"/>
            <a:ext cx="4695426" cy="814726"/>
            <a:chOff x="7290148" y="1299651"/>
            <a:chExt cx="4695426" cy="814726"/>
          </a:xfrm>
        </p:grpSpPr>
        <p:sp>
          <p:nvSpPr>
            <p:cNvPr id="83" name="Rectangle: Rounded Corners 82">
              <a:extLst>
                <a:ext uri="{FF2B5EF4-FFF2-40B4-BE49-F238E27FC236}">
                  <a16:creationId xmlns:a16="http://schemas.microsoft.com/office/drawing/2014/main" id="{C73FDE2B-3B4D-1C71-5531-8C7E7478AE1B}"/>
                </a:ext>
              </a:extLst>
            </p:cNvPr>
            <p:cNvSpPr/>
            <p:nvPr/>
          </p:nvSpPr>
          <p:spPr>
            <a:xfrm>
              <a:off x="7290148" y="1299651"/>
              <a:ext cx="1500341" cy="814726"/>
            </a:xfrm>
            <a:prstGeom prst="roundRect">
              <a:avLst>
                <a:gd name="adj" fmla="val 4646"/>
              </a:avLst>
            </a:prstGeom>
            <a:solidFill>
              <a:schemeClr val="accent4">
                <a:lumMod val="50000"/>
              </a:schemeClr>
            </a:solidFill>
            <a:ln>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84" name="Rectangle: Rounded Corners 83">
              <a:extLst>
                <a:ext uri="{FF2B5EF4-FFF2-40B4-BE49-F238E27FC236}">
                  <a16:creationId xmlns:a16="http://schemas.microsoft.com/office/drawing/2014/main" id="{EFDF8CDD-73FA-FD2F-E632-BDE8827D6ACF}"/>
                </a:ext>
              </a:extLst>
            </p:cNvPr>
            <p:cNvSpPr/>
            <p:nvPr/>
          </p:nvSpPr>
          <p:spPr>
            <a:xfrm>
              <a:off x="7290148" y="1302279"/>
              <a:ext cx="1500341" cy="778242"/>
            </a:xfrm>
            <a:prstGeom prst="roundRect">
              <a:avLst>
                <a:gd name="adj" fmla="val 4646"/>
              </a:avLst>
            </a:prstGeom>
            <a:solidFill>
              <a:schemeClr val="bg1"/>
            </a:solidFill>
            <a:ln>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srgbClr val="385723"/>
                </a:solidFill>
                <a:effectLst/>
                <a:uLnTx/>
                <a:uFillTx/>
                <a:latin typeface="Segoe UI"/>
                <a:ea typeface="+mn-ea"/>
                <a:cs typeface="+mn-cs"/>
              </a:endParaRPr>
            </a:p>
          </p:txBody>
        </p:sp>
        <p:sp>
          <p:nvSpPr>
            <p:cNvPr id="85" name="Rectangle: Rounded Corners 84">
              <a:extLst>
                <a:ext uri="{FF2B5EF4-FFF2-40B4-BE49-F238E27FC236}">
                  <a16:creationId xmlns:a16="http://schemas.microsoft.com/office/drawing/2014/main" id="{F0DD5B72-A3A3-423F-1F09-967D6E1F07E0}"/>
                </a:ext>
              </a:extLst>
            </p:cNvPr>
            <p:cNvSpPr/>
            <p:nvPr/>
          </p:nvSpPr>
          <p:spPr>
            <a:xfrm>
              <a:off x="8887691" y="1299651"/>
              <a:ext cx="1500341" cy="814726"/>
            </a:xfrm>
            <a:prstGeom prst="roundRect">
              <a:avLst>
                <a:gd name="adj" fmla="val 4646"/>
              </a:avLst>
            </a:prstGeom>
            <a:solidFill>
              <a:schemeClr val="accent4">
                <a:lumMod val="50000"/>
              </a:schemeClr>
            </a:solidFill>
            <a:ln>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86" name="Rectangle: Rounded Corners 85">
              <a:extLst>
                <a:ext uri="{FF2B5EF4-FFF2-40B4-BE49-F238E27FC236}">
                  <a16:creationId xmlns:a16="http://schemas.microsoft.com/office/drawing/2014/main" id="{BAD554F3-6EC7-C2C8-B5C3-8F6D362B6D6F}"/>
                </a:ext>
              </a:extLst>
            </p:cNvPr>
            <p:cNvSpPr/>
            <p:nvPr/>
          </p:nvSpPr>
          <p:spPr>
            <a:xfrm>
              <a:off x="8887691" y="1302279"/>
              <a:ext cx="1500341" cy="778242"/>
            </a:xfrm>
            <a:prstGeom prst="roundRect">
              <a:avLst>
                <a:gd name="adj" fmla="val 4646"/>
              </a:avLst>
            </a:prstGeom>
            <a:solidFill>
              <a:schemeClr val="bg1"/>
            </a:solidFill>
            <a:ln>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srgbClr val="385723"/>
                </a:solidFill>
                <a:effectLst/>
                <a:uLnTx/>
                <a:uFillTx/>
                <a:latin typeface="Segoe UI"/>
                <a:ea typeface="+mn-ea"/>
                <a:cs typeface="+mn-cs"/>
              </a:endParaRPr>
            </a:p>
          </p:txBody>
        </p:sp>
        <p:sp>
          <p:nvSpPr>
            <p:cNvPr id="87" name="Rectangle: Rounded Corners 86">
              <a:extLst>
                <a:ext uri="{FF2B5EF4-FFF2-40B4-BE49-F238E27FC236}">
                  <a16:creationId xmlns:a16="http://schemas.microsoft.com/office/drawing/2014/main" id="{7363A307-606B-5A48-EEB8-74C5080E574D}"/>
                </a:ext>
              </a:extLst>
            </p:cNvPr>
            <p:cNvSpPr/>
            <p:nvPr/>
          </p:nvSpPr>
          <p:spPr>
            <a:xfrm>
              <a:off x="10485233" y="1299651"/>
              <a:ext cx="1500341" cy="814726"/>
            </a:xfrm>
            <a:prstGeom prst="roundRect">
              <a:avLst>
                <a:gd name="adj" fmla="val 4646"/>
              </a:avLst>
            </a:prstGeom>
            <a:solidFill>
              <a:schemeClr val="accent4">
                <a:lumMod val="50000"/>
              </a:schemeClr>
            </a:solidFill>
            <a:ln>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88" name="Rectangle: Rounded Corners 87">
              <a:extLst>
                <a:ext uri="{FF2B5EF4-FFF2-40B4-BE49-F238E27FC236}">
                  <a16:creationId xmlns:a16="http://schemas.microsoft.com/office/drawing/2014/main" id="{A40DFAAE-718B-064C-FD26-67D4787B4C98}"/>
                </a:ext>
              </a:extLst>
            </p:cNvPr>
            <p:cNvSpPr/>
            <p:nvPr/>
          </p:nvSpPr>
          <p:spPr>
            <a:xfrm>
              <a:off x="10485233" y="1302279"/>
              <a:ext cx="1500341" cy="778242"/>
            </a:xfrm>
            <a:prstGeom prst="roundRect">
              <a:avLst>
                <a:gd name="adj" fmla="val 4646"/>
              </a:avLst>
            </a:prstGeom>
            <a:solidFill>
              <a:schemeClr val="bg1"/>
            </a:solidFill>
            <a:ln>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srgbClr val="385723"/>
                </a:solidFill>
                <a:effectLst/>
                <a:uLnTx/>
                <a:uFillTx/>
                <a:latin typeface="Segoe UI"/>
                <a:ea typeface="+mn-ea"/>
                <a:cs typeface="+mn-cs"/>
              </a:endParaRPr>
            </a:p>
          </p:txBody>
        </p:sp>
      </p:grpSp>
      <p:grpSp>
        <p:nvGrpSpPr>
          <p:cNvPr id="89" name="Group 88">
            <a:extLst>
              <a:ext uri="{FF2B5EF4-FFF2-40B4-BE49-F238E27FC236}">
                <a16:creationId xmlns:a16="http://schemas.microsoft.com/office/drawing/2014/main" id="{7537647C-5A96-8A58-F418-9932712E81A5}"/>
              </a:ext>
            </a:extLst>
          </p:cNvPr>
          <p:cNvGrpSpPr/>
          <p:nvPr/>
        </p:nvGrpSpPr>
        <p:grpSpPr>
          <a:xfrm>
            <a:off x="7290148" y="4823539"/>
            <a:ext cx="4695426" cy="814726"/>
            <a:chOff x="7290148" y="1299651"/>
            <a:chExt cx="4695426" cy="814726"/>
          </a:xfrm>
        </p:grpSpPr>
        <p:sp>
          <p:nvSpPr>
            <p:cNvPr id="90" name="Rectangle: Rounded Corners 89">
              <a:extLst>
                <a:ext uri="{FF2B5EF4-FFF2-40B4-BE49-F238E27FC236}">
                  <a16:creationId xmlns:a16="http://schemas.microsoft.com/office/drawing/2014/main" id="{E12D196B-938B-D57D-629D-31EE324BF274}"/>
                </a:ext>
              </a:extLst>
            </p:cNvPr>
            <p:cNvSpPr/>
            <p:nvPr/>
          </p:nvSpPr>
          <p:spPr>
            <a:xfrm>
              <a:off x="7290148" y="1299651"/>
              <a:ext cx="1500341" cy="814726"/>
            </a:xfrm>
            <a:prstGeom prst="roundRect">
              <a:avLst>
                <a:gd name="adj" fmla="val 4646"/>
              </a:avLst>
            </a:prstGeom>
            <a:solidFill>
              <a:schemeClr val="accent4">
                <a:lumMod val="50000"/>
              </a:schemeClr>
            </a:solidFill>
            <a:ln>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91" name="Rectangle: Rounded Corners 90">
              <a:extLst>
                <a:ext uri="{FF2B5EF4-FFF2-40B4-BE49-F238E27FC236}">
                  <a16:creationId xmlns:a16="http://schemas.microsoft.com/office/drawing/2014/main" id="{4B59FCC0-E4E3-32EC-1679-2FD9EA8D436A}"/>
                </a:ext>
              </a:extLst>
            </p:cNvPr>
            <p:cNvSpPr/>
            <p:nvPr/>
          </p:nvSpPr>
          <p:spPr>
            <a:xfrm>
              <a:off x="7290148" y="1302279"/>
              <a:ext cx="1500341" cy="778242"/>
            </a:xfrm>
            <a:prstGeom prst="roundRect">
              <a:avLst>
                <a:gd name="adj" fmla="val 4646"/>
              </a:avLst>
            </a:prstGeom>
            <a:solidFill>
              <a:schemeClr val="bg1"/>
            </a:solidFill>
            <a:ln>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srgbClr val="385723"/>
                </a:solidFill>
                <a:effectLst/>
                <a:uLnTx/>
                <a:uFillTx/>
                <a:latin typeface="Segoe UI"/>
                <a:ea typeface="+mn-ea"/>
                <a:cs typeface="+mn-cs"/>
              </a:endParaRPr>
            </a:p>
          </p:txBody>
        </p:sp>
        <p:sp>
          <p:nvSpPr>
            <p:cNvPr id="92" name="Rectangle: Rounded Corners 91">
              <a:extLst>
                <a:ext uri="{FF2B5EF4-FFF2-40B4-BE49-F238E27FC236}">
                  <a16:creationId xmlns:a16="http://schemas.microsoft.com/office/drawing/2014/main" id="{F4DDA09E-A4FF-FD78-9F34-2A401DF13351}"/>
                </a:ext>
              </a:extLst>
            </p:cNvPr>
            <p:cNvSpPr/>
            <p:nvPr/>
          </p:nvSpPr>
          <p:spPr>
            <a:xfrm>
              <a:off x="8887691" y="1299651"/>
              <a:ext cx="1500341" cy="814726"/>
            </a:xfrm>
            <a:prstGeom prst="roundRect">
              <a:avLst>
                <a:gd name="adj" fmla="val 4646"/>
              </a:avLst>
            </a:prstGeom>
            <a:solidFill>
              <a:schemeClr val="accent4">
                <a:lumMod val="50000"/>
              </a:schemeClr>
            </a:solidFill>
            <a:ln>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93" name="Rectangle: Rounded Corners 92">
              <a:extLst>
                <a:ext uri="{FF2B5EF4-FFF2-40B4-BE49-F238E27FC236}">
                  <a16:creationId xmlns:a16="http://schemas.microsoft.com/office/drawing/2014/main" id="{D2949479-C276-1089-69F0-F1F203BD807B}"/>
                </a:ext>
              </a:extLst>
            </p:cNvPr>
            <p:cNvSpPr/>
            <p:nvPr/>
          </p:nvSpPr>
          <p:spPr>
            <a:xfrm>
              <a:off x="8887691" y="1302279"/>
              <a:ext cx="1500341" cy="778242"/>
            </a:xfrm>
            <a:prstGeom prst="roundRect">
              <a:avLst>
                <a:gd name="adj" fmla="val 4646"/>
              </a:avLst>
            </a:prstGeom>
            <a:solidFill>
              <a:schemeClr val="bg1"/>
            </a:solidFill>
            <a:ln>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srgbClr val="385723"/>
                </a:solidFill>
                <a:effectLst/>
                <a:uLnTx/>
                <a:uFillTx/>
                <a:latin typeface="Segoe UI"/>
                <a:ea typeface="+mn-ea"/>
                <a:cs typeface="+mn-cs"/>
              </a:endParaRPr>
            </a:p>
          </p:txBody>
        </p:sp>
        <p:sp>
          <p:nvSpPr>
            <p:cNvPr id="94" name="Rectangle: Rounded Corners 93">
              <a:extLst>
                <a:ext uri="{FF2B5EF4-FFF2-40B4-BE49-F238E27FC236}">
                  <a16:creationId xmlns:a16="http://schemas.microsoft.com/office/drawing/2014/main" id="{30C27F4B-09E9-AA88-28B9-231289D997E6}"/>
                </a:ext>
              </a:extLst>
            </p:cNvPr>
            <p:cNvSpPr/>
            <p:nvPr/>
          </p:nvSpPr>
          <p:spPr>
            <a:xfrm>
              <a:off x="10485233" y="1299651"/>
              <a:ext cx="1500341" cy="814726"/>
            </a:xfrm>
            <a:prstGeom prst="roundRect">
              <a:avLst>
                <a:gd name="adj" fmla="val 4646"/>
              </a:avLst>
            </a:prstGeom>
            <a:solidFill>
              <a:schemeClr val="accent4">
                <a:lumMod val="50000"/>
              </a:schemeClr>
            </a:solidFill>
            <a:ln>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95" name="Rectangle: Rounded Corners 94">
              <a:extLst>
                <a:ext uri="{FF2B5EF4-FFF2-40B4-BE49-F238E27FC236}">
                  <a16:creationId xmlns:a16="http://schemas.microsoft.com/office/drawing/2014/main" id="{BEF0B2DC-67F7-D74B-C6DD-55597DC04561}"/>
                </a:ext>
              </a:extLst>
            </p:cNvPr>
            <p:cNvSpPr/>
            <p:nvPr/>
          </p:nvSpPr>
          <p:spPr>
            <a:xfrm>
              <a:off x="10485233" y="1302279"/>
              <a:ext cx="1500341" cy="778242"/>
            </a:xfrm>
            <a:prstGeom prst="roundRect">
              <a:avLst>
                <a:gd name="adj" fmla="val 4646"/>
              </a:avLst>
            </a:prstGeom>
            <a:solidFill>
              <a:schemeClr val="bg1"/>
            </a:solidFill>
            <a:ln>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srgbClr val="385723"/>
                </a:solidFill>
                <a:effectLst/>
                <a:uLnTx/>
                <a:uFillTx/>
                <a:latin typeface="Segoe UI"/>
                <a:ea typeface="+mn-ea"/>
                <a:cs typeface="+mn-cs"/>
              </a:endParaRPr>
            </a:p>
          </p:txBody>
        </p:sp>
      </p:grpSp>
      <p:grpSp>
        <p:nvGrpSpPr>
          <p:cNvPr id="96" name="Group 95">
            <a:extLst>
              <a:ext uri="{FF2B5EF4-FFF2-40B4-BE49-F238E27FC236}">
                <a16:creationId xmlns:a16="http://schemas.microsoft.com/office/drawing/2014/main" id="{3EDC6F6D-2EE4-C243-CED3-6EA27424D505}"/>
              </a:ext>
            </a:extLst>
          </p:cNvPr>
          <p:cNvGrpSpPr/>
          <p:nvPr/>
        </p:nvGrpSpPr>
        <p:grpSpPr>
          <a:xfrm>
            <a:off x="7290148" y="5698464"/>
            <a:ext cx="4695426" cy="814726"/>
            <a:chOff x="7290148" y="1299651"/>
            <a:chExt cx="4695426" cy="814726"/>
          </a:xfrm>
        </p:grpSpPr>
        <p:sp>
          <p:nvSpPr>
            <p:cNvPr id="97" name="Rectangle: Rounded Corners 96">
              <a:extLst>
                <a:ext uri="{FF2B5EF4-FFF2-40B4-BE49-F238E27FC236}">
                  <a16:creationId xmlns:a16="http://schemas.microsoft.com/office/drawing/2014/main" id="{CCF7D08A-6E7D-2866-02BD-D419CACA6DE8}"/>
                </a:ext>
              </a:extLst>
            </p:cNvPr>
            <p:cNvSpPr/>
            <p:nvPr/>
          </p:nvSpPr>
          <p:spPr>
            <a:xfrm>
              <a:off x="7290148" y="1299651"/>
              <a:ext cx="1500341" cy="814726"/>
            </a:xfrm>
            <a:prstGeom prst="roundRect">
              <a:avLst>
                <a:gd name="adj" fmla="val 4646"/>
              </a:avLst>
            </a:prstGeom>
            <a:solidFill>
              <a:schemeClr val="accent4">
                <a:lumMod val="50000"/>
              </a:schemeClr>
            </a:solidFill>
            <a:ln>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98" name="Rectangle: Rounded Corners 97">
              <a:extLst>
                <a:ext uri="{FF2B5EF4-FFF2-40B4-BE49-F238E27FC236}">
                  <a16:creationId xmlns:a16="http://schemas.microsoft.com/office/drawing/2014/main" id="{759C3339-D9F7-08A4-22DE-C4CFC75790D2}"/>
                </a:ext>
              </a:extLst>
            </p:cNvPr>
            <p:cNvSpPr/>
            <p:nvPr/>
          </p:nvSpPr>
          <p:spPr>
            <a:xfrm>
              <a:off x="7290148" y="1302279"/>
              <a:ext cx="1500341" cy="778242"/>
            </a:xfrm>
            <a:prstGeom prst="roundRect">
              <a:avLst>
                <a:gd name="adj" fmla="val 4646"/>
              </a:avLst>
            </a:prstGeom>
            <a:solidFill>
              <a:schemeClr val="bg1"/>
            </a:solidFill>
            <a:ln>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srgbClr val="385723"/>
                </a:solidFill>
                <a:effectLst/>
                <a:uLnTx/>
                <a:uFillTx/>
                <a:latin typeface="Segoe UI"/>
                <a:ea typeface="+mn-ea"/>
                <a:cs typeface="+mn-cs"/>
              </a:endParaRPr>
            </a:p>
          </p:txBody>
        </p:sp>
        <p:sp>
          <p:nvSpPr>
            <p:cNvPr id="99" name="Rectangle: Rounded Corners 98">
              <a:extLst>
                <a:ext uri="{FF2B5EF4-FFF2-40B4-BE49-F238E27FC236}">
                  <a16:creationId xmlns:a16="http://schemas.microsoft.com/office/drawing/2014/main" id="{B1F67DE2-44C2-E7DF-3A18-CD30888E0985}"/>
                </a:ext>
              </a:extLst>
            </p:cNvPr>
            <p:cNvSpPr/>
            <p:nvPr/>
          </p:nvSpPr>
          <p:spPr>
            <a:xfrm>
              <a:off x="8887691" y="1299651"/>
              <a:ext cx="1500341" cy="814726"/>
            </a:xfrm>
            <a:prstGeom prst="roundRect">
              <a:avLst>
                <a:gd name="adj" fmla="val 4646"/>
              </a:avLst>
            </a:prstGeom>
            <a:solidFill>
              <a:schemeClr val="accent4">
                <a:lumMod val="50000"/>
              </a:schemeClr>
            </a:solidFill>
            <a:ln>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00" name="Rectangle: Rounded Corners 99">
              <a:extLst>
                <a:ext uri="{FF2B5EF4-FFF2-40B4-BE49-F238E27FC236}">
                  <a16:creationId xmlns:a16="http://schemas.microsoft.com/office/drawing/2014/main" id="{40C5A5EB-F033-343F-5FC9-AB25F102F61D}"/>
                </a:ext>
              </a:extLst>
            </p:cNvPr>
            <p:cNvSpPr/>
            <p:nvPr/>
          </p:nvSpPr>
          <p:spPr>
            <a:xfrm>
              <a:off x="8887691" y="1302279"/>
              <a:ext cx="1500341" cy="778242"/>
            </a:xfrm>
            <a:prstGeom prst="roundRect">
              <a:avLst>
                <a:gd name="adj" fmla="val 4646"/>
              </a:avLst>
            </a:prstGeom>
            <a:solidFill>
              <a:schemeClr val="bg1"/>
            </a:solidFill>
            <a:ln>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srgbClr val="385723"/>
                </a:solidFill>
                <a:effectLst/>
                <a:uLnTx/>
                <a:uFillTx/>
                <a:latin typeface="Segoe UI"/>
                <a:ea typeface="+mn-ea"/>
                <a:cs typeface="+mn-cs"/>
              </a:endParaRPr>
            </a:p>
          </p:txBody>
        </p:sp>
        <p:sp>
          <p:nvSpPr>
            <p:cNvPr id="101" name="Rectangle: Rounded Corners 100">
              <a:extLst>
                <a:ext uri="{FF2B5EF4-FFF2-40B4-BE49-F238E27FC236}">
                  <a16:creationId xmlns:a16="http://schemas.microsoft.com/office/drawing/2014/main" id="{C55607F6-8E35-9B6E-B000-A83BA8768016}"/>
                </a:ext>
              </a:extLst>
            </p:cNvPr>
            <p:cNvSpPr/>
            <p:nvPr/>
          </p:nvSpPr>
          <p:spPr>
            <a:xfrm>
              <a:off x="10485233" y="1299651"/>
              <a:ext cx="1500341" cy="814726"/>
            </a:xfrm>
            <a:prstGeom prst="roundRect">
              <a:avLst>
                <a:gd name="adj" fmla="val 4646"/>
              </a:avLst>
            </a:prstGeom>
            <a:solidFill>
              <a:schemeClr val="accent4">
                <a:lumMod val="50000"/>
              </a:schemeClr>
            </a:solidFill>
            <a:ln>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02" name="Rectangle: Rounded Corners 101">
              <a:extLst>
                <a:ext uri="{FF2B5EF4-FFF2-40B4-BE49-F238E27FC236}">
                  <a16:creationId xmlns:a16="http://schemas.microsoft.com/office/drawing/2014/main" id="{432EBB7D-AAA2-BB59-BCF9-EA3F0597A358}"/>
                </a:ext>
              </a:extLst>
            </p:cNvPr>
            <p:cNvSpPr/>
            <p:nvPr/>
          </p:nvSpPr>
          <p:spPr>
            <a:xfrm>
              <a:off x="10485233" y="1302279"/>
              <a:ext cx="1500341" cy="778242"/>
            </a:xfrm>
            <a:prstGeom prst="roundRect">
              <a:avLst>
                <a:gd name="adj" fmla="val 4646"/>
              </a:avLst>
            </a:prstGeom>
            <a:solidFill>
              <a:schemeClr val="bg1"/>
            </a:solidFill>
            <a:ln>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srgbClr val="385723"/>
                </a:solidFill>
                <a:effectLst/>
                <a:uLnTx/>
                <a:uFillTx/>
                <a:latin typeface="Segoe UI"/>
                <a:ea typeface="+mn-ea"/>
                <a:cs typeface="+mn-cs"/>
              </a:endParaRPr>
            </a:p>
          </p:txBody>
        </p:sp>
      </p:grpSp>
      <p:pic>
        <p:nvPicPr>
          <p:cNvPr id="104" name="Picture 4">
            <a:extLst>
              <a:ext uri="{FF2B5EF4-FFF2-40B4-BE49-F238E27FC236}">
                <a16:creationId xmlns:a16="http://schemas.microsoft.com/office/drawing/2014/main" id="{EB9EA0B9-9AB2-90FD-5967-9BC41E3E38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37430" y="1641604"/>
            <a:ext cx="545724" cy="135824"/>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4" descr="JB Pharma inks Rs 1,089 cr pacts with ...">
            <a:extLst>
              <a:ext uri="{FF2B5EF4-FFF2-40B4-BE49-F238E27FC236}">
                <a16:creationId xmlns:a16="http://schemas.microsoft.com/office/drawing/2014/main" id="{F6B0748A-8CC7-52EA-66F3-BEA5B18FA016}"/>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102290" y="1519226"/>
            <a:ext cx="679607" cy="380580"/>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32" descr="Arrow Left Symbol PNG Transparent ...">
            <a:extLst>
              <a:ext uri="{FF2B5EF4-FFF2-40B4-BE49-F238E27FC236}">
                <a16:creationId xmlns:a16="http://schemas.microsoft.com/office/drawing/2014/main" id="{0D79F816-669B-DEC7-CC9A-BB31CCF09A7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0334" t="32967" r="8677" b="33008"/>
          <a:stretch>
            <a:fillRect/>
          </a:stretch>
        </p:blipFill>
        <p:spPr bwMode="auto">
          <a:xfrm rot="10800000">
            <a:off x="11220369" y="1638237"/>
            <a:ext cx="249473" cy="151946"/>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2" descr="InvAscent Portfolio Investments ...">
            <a:extLst>
              <a:ext uri="{FF2B5EF4-FFF2-40B4-BE49-F238E27FC236}">
                <a16:creationId xmlns:a16="http://schemas.microsoft.com/office/drawing/2014/main" id="{FD8D541F-8CB9-946A-4058-857629CD079E}"/>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507513" y="1619054"/>
            <a:ext cx="727432" cy="193982"/>
          </a:xfrm>
          <a:prstGeom prst="rect">
            <a:avLst/>
          </a:prstGeom>
          <a:noFill/>
          <a:extLst>
            <a:ext uri="{909E8E84-426E-40DD-AFC4-6F175D3DCCD1}">
              <a14:hiddenFill xmlns:a14="http://schemas.microsoft.com/office/drawing/2010/main">
                <a:solidFill>
                  <a:srgbClr val="FFFFFF"/>
                </a:solidFill>
              </a14:hiddenFill>
            </a:ext>
          </a:extLst>
        </p:spPr>
      </p:pic>
      <p:pic>
        <p:nvPicPr>
          <p:cNvPr id="110" name="Picture 4" descr="Intron">
            <a:extLst>
              <a:ext uri="{FF2B5EF4-FFF2-40B4-BE49-F238E27FC236}">
                <a16:creationId xmlns:a16="http://schemas.microsoft.com/office/drawing/2014/main" id="{F5573411-583E-425F-8A9F-292A1739A126}"/>
              </a:ext>
            </a:extLst>
          </p:cNvPr>
          <p:cNvPicPr>
            <a:picLocks noChangeAspect="1" noChangeArrowheads="1"/>
          </p:cNvPicPr>
          <p:nvPr/>
        </p:nvPicPr>
        <p:blipFill>
          <a:blip r:embed="rId6">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11513859" y="1632671"/>
            <a:ext cx="455830" cy="157512"/>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32" descr="Arrow Left Symbol PNG Transparent ...">
            <a:extLst>
              <a:ext uri="{FF2B5EF4-FFF2-40B4-BE49-F238E27FC236}">
                <a16:creationId xmlns:a16="http://schemas.microsoft.com/office/drawing/2014/main" id="{BF56CFD8-6014-ED7A-67C6-CC0B43261451}"/>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0334" t="32967" r="8677" b="33008"/>
          <a:stretch>
            <a:fillRect/>
          </a:stretch>
        </p:blipFill>
        <p:spPr bwMode="auto">
          <a:xfrm rot="10800000">
            <a:off x="7951478" y="1638237"/>
            <a:ext cx="249473" cy="151946"/>
          </a:xfrm>
          <a:prstGeom prst="rect">
            <a:avLst/>
          </a:prstGeom>
          <a:noFill/>
          <a:extLst>
            <a:ext uri="{909E8E84-426E-40DD-AFC4-6F175D3DCCD1}">
              <a14:hiddenFill xmlns:a14="http://schemas.microsoft.com/office/drawing/2010/main">
                <a:solidFill>
                  <a:srgbClr val="FFFFFF"/>
                </a:solidFill>
              </a14:hiddenFill>
            </a:ext>
          </a:extLst>
        </p:spPr>
      </p:pic>
      <p:pic>
        <p:nvPicPr>
          <p:cNvPr id="112" name="Picture 36" descr="Bharat Serums and Vaccines Limited ...">
            <a:extLst>
              <a:ext uri="{FF2B5EF4-FFF2-40B4-BE49-F238E27FC236}">
                <a16:creationId xmlns:a16="http://schemas.microsoft.com/office/drawing/2014/main" id="{F3293171-CCF3-FA44-2EF2-D07952F79E53}"/>
              </a:ext>
            </a:extLst>
          </p:cNvPr>
          <p:cNvPicPr>
            <a:picLocks noChangeAspect="1" noChangeArrowheads="1"/>
          </p:cNvPicPr>
          <p:nvPr/>
        </p:nvPicPr>
        <p:blipFill rotWithShape="1">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t="30366" b="32443"/>
          <a:stretch>
            <a:fillRect/>
          </a:stretch>
        </p:blipFill>
        <p:spPr bwMode="auto">
          <a:xfrm>
            <a:off x="9779158" y="1583140"/>
            <a:ext cx="679607" cy="252751"/>
          </a:xfrm>
          <a:prstGeom prst="rect">
            <a:avLst/>
          </a:prstGeom>
          <a:noFill/>
          <a:extLst>
            <a:ext uri="{909E8E84-426E-40DD-AFC4-6F175D3DCCD1}">
              <a14:hiddenFill xmlns:a14="http://schemas.microsoft.com/office/drawing/2010/main">
                <a:solidFill>
                  <a:srgbClr val="FFFFFF"/>
                </a:solidFill>
              </a14:hiddenFill>
            </a:ext>
          </a:extLst>
        </p:spPr>
      </p:pic>
      <p:pic>
        <p:nvPicPr>
          <p:cNvPr id="113" name="Picture 32" descr="Arrow Left Symbol PNG Transparent ...">
            <a:extLst>
              <a:ext uri="{FF2B5EF4-FFF2-40B4-BE49-F238E27FC236}">
                <a16:creationId xmlns:a16="http://schemas.microsoft.com/office/drawing/2014/main" id="{0EB8DD5A-D9F3-851A-F2AA-14082AACA9B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0334" t="32967" r="8677" b="33008"/>
          <a:stretch>
            <a:fillRect/>
          </a:stretch>
        </p:blipFill>
        <p:spPr bwMode="auto">
          <a:xfrm rot="10800000">
            <a:off x="9568619" y="1638237"/>
            <a:ext cx="249473" cy="15194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Advent International 2024 Logo PNG Vector (SVG) Free Download">
            <a:extLst>
              <a:ext uri="{FF2B5EF4-FFF2-40B4-BE49-F238E27FC236}">
                <a16:creationId xmlns:a16="http://schemas.microsoft.com/office/drawing/2014/main" id="{C1B7DCD5-C75E-DB59-4902-2FB52F8602BE}"/>
              </a:ext>
            </a:extLst>
          </p:cNvPr>
          <p:cNvPicPr>
            <a:picLocks noChangeAspect="1" noChangeArrowheads="1"/>
          </p:cNvPicPr>
          <p:nvPr/>
        </p:nvPicPr>
        <p:blipFill rotWithShape="1">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t="34387" b="20518"/>
          <a:stretch>
            <a:fillRect/>
          </a:stretch>
        </p:blipFill>
        <p:spPr bwMode="auto">
          <a:xfrm>
            <a:off x="8895131" y="1641604"/>
            <a:ext cx="649852" cy="175833"/>
          </a:xfrm>
          <a:prstGeom prst="rect">
            <a:avLst/>
          </a:prstGeom>
          <a:noFill/>
          <a:extLst>
            <a:ext uri="{909E8E84-426E-40DD-AFC4-6F175D3DCCD1}">
              <a14:hiddenFill xmlns:a14="http://schemas.microsoft.com/office/drawing/2010/main">
                <a:solidFill>
                  <a:srgbClr val="FFFFFF"/>
                </a:solidFill>
              </a14:hiddenFill>
            </a:ext>
          </a:extLst>
        </p:spPr>
      </p:pic>
      <p:grpSp>
        <p:nvGrpSpPr>
          <p:cNvPr id="1054" name="Group 1053">
            <a:extLst>
              <a:ext uri="{FF2B5EF4-FFF2-40B4-BE49-F238E27FC236}">
                <a16:creationId xmlns:a16="http://schemas.microsoft.com/office/drawing/2014/main" id="{7B913C24-A743-CD90-7220-04703FB43A3D}"/>
              </a:ext>
            </a:extLst>
          </p:cNvPr>
          <p:cNvGrpSpPr/>
          <p:nvPr/>
        </p:nvGrpSpPr>
        <p:grpSpPr>
          <a:xfrm>
            <a:off x="7295363" y="2189515"/>
            <a:ext cx="2304000" cy="814726"/>
            <a:chOff x="9292546" y="1515445"/>
            <a:chExt cx="1771695" cy="2475312"/>
          </a:xfrm>
        </p:grpSpPr>
        <p:sp>
          <p:nvSpPr>
            <p:cNvPr id="1056" name="Rectangle: Rounded Corners 1055">
              <a:extLst>
                <a:ext uri="{FF2B5EF4-FFF2-40B4-BE49-F238E27FC236}">
                  <a16:creationId xmlns:a16="http://schemas.microsoft.com/office/drawing/2014/main" id="{6A4284E3-A750-124E-49E6-68D662462E25}"/>
                </a:ext>
              </a:extLst>
            </p:cNvPr>
            <p:cNvSpPr/>
            <p:nvPr/>
          </p:nvSpPr>
          <p:spPr>
            <a:xfrm>
              <a:off x="9292546" y="1515445"/>
              <a:ext cx="1771695" cy="2475312"/>
            </a:xfrm>
            <a:prstGeom prst="roundRect">
              <a:avLst>
                <a:gd name="adj" fmla="val 4646"/>
              </a:avLst>
            </a:prstGeom>
            <a:solidFill>
              <a:schemeClr val="accent4">
                <a:lumMod val="50000"/>
              </a:schemeClr>
            </a:solidFill>
            <a:ln>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058" name="Rectangle: Rounded Corners 1057">
              <a:extLst>
                <a:ext uri="{FF2B5EF4-FFF2-40B4-BE49-F238E27FC236}">
                  <a16:creationId xmlns:a16="http://schemas.microsoft.com/office/drawing/2014/main" id="{3ED79D82-E87D-F81E-D024-736AA35FA345}"/>
                </a:ext>
              </a:extLst>
            </p:cNvPr>
            <p:cNvSpPr/>
            <p:nvPr/>
          </p:nvSpPr>
          <p:spPr>
            <a:xfrm>
              <a:off x="9292546" y="1523430"/>
              <a:ext cx="1771695" cy="2364467"/>
            </a:xfrm>
            <a:prstGeom prst="roundRect">
              <a:avLst>
                <a:gd name="adj" fmla="val 4646"/>
              </a:avLst>
            </a:prstGeom>
            <a:solidFill>
              <a:schemeClr val="bg1"/>
            </a:solidFill>
            <a:ln>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srgbClr val="385723"/>
                </a:solidFill>
                <a:effectLst/>
                <a:uLnTx/>
                <a:uFillTx/>
                <a:latin typeface="Segoe UI"/>
                <a:ea typeface="+mn-ea"/>
                <a:cs typeface="+mn-cs"/>
              </a:endParaRPr>
            </a:p>
          </p:txBody>
        </p:sp>
      </p:grpSp>
      <p:grpSp>
        <p:nvGrpSpPr>
          <p:cNvPr id="1060" name="Group 1059">
            <a:extLst>
              <a:ext uri="{FF2B5EF4-FFF2-40B4-BE49-F238E27FC236}">
                <a16:creationId xmlns:a16="http://schemas.microsoft.com/office/drawing/2014/main" id="{2A0DFCC1-38F4-61FA-5196-10D1BAFBBC65}"/>
              </a:ext>
            </a:extLst>
          </p:cNvPr>
          <p:cNvGrpSpPr/>
          <p:nvPr/>
        </p:nvGrpSpPr>
        <p:grpSpPr>
          <a:xfrm>
            <a:off x="9688573" y="2189515"/>
            <a:ext cx="2304000" cy="814726"/>
            <a:chOff x="9292546" y="1515445"/>
            <a:chExt cx="1771695" cy="2475312"/>
          </a:xfrm>
        </p:grpSpPr>
        <p:sp>
          <p:nvSpPr>
            <p:cNvPr id="1062" name="Rectangle: Rounded Corners 1061">
              <a:extLst>
                <a:ext uri="{FF2B5EF4-FFF2-40B4-BE49-F238E27FC236}">
                  <a16:creationId xmlns:a16="http://schemas.microsoft.com/office/drawing/2014/main" id="{480DB6CF-8F5C-A6BC-2D3E-C7FBFFA10FF0}"/>
                </a:ext>
              </a:extLst>
            </p:cNvPr>
            <p:cNvSpPr/>
            <p:nvPr/>
          </p:nvSpPr>
          <p:spPr>
            <a:xfrm>
              <a:off x="9292546" y="1515445"/>
              <a:ext cx="1771695" cy="2475312"/>
            </a:xfrm>
            <a:prstGeom prst="roundRect">
              <a:avLst>
                <a:gd name="adj" fmla="val 4646"/>
              </a:avLst>
            </a:prstGeom>
            <a:solidFill>
              <a:schemeClr val="accent4">
                <a:lumMod val="50000"/>
              </a:schemeClr>
            </a:solidFill>
            <a:ln>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064" name="Rectangle: Rounded Corners 1063">
              <a:extLst>
                <a:ext uri="{FF2B5EF4-FFF2-40B4-BE49-F238E27FC236}">
                  <a16:creationId xmlns:a16="http://schemas.microsoft.com/office/drawing/2014/main" id="{4A45CD8E-D850-F86F-BE74-A5453CAF4611}"/>
                </a:ext>
              </a:extLst>
            </p:cNvPr>
            <p:cNvSpPr/>
            <p:nvPr/>
          </p:nvSpPr>
          <p:spPr>
            <a:xfrm>
              <a:off x="9292546" y="1523430"/>
              <a:ext cx="1771695" cy="2364467"/>
            </a:xfrm>
            <a:prstGeom prst="roundRect">
              <a:avLst>
                <a:gd name="adj" fmla="val 4646"/>
              </a:avLst>
            </a:prstGeom>
            <a:solidFill>
              <a:schemeClr val="bg1"/>
            </a:solidFill>
            <a:ln>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srgbClr val="385723"/>
                </a:solidFill>
                <a:effectLst/>
                <a:uLnTx/>
                <a:uFillTx/>
                <a:latin typeface="Segoe UI"/>
                <a:ea typeface="+mn-ea"/>
                <a:cs typeface="+mn-cs"/>
              </a:endParaRPr>
            </a:p>
          </p:txBody>
        </p:sp>
      </p:grpSp>
      <p:pic>
        <p:nvPicPr>
          <p:cNvPr id="1066" name="Picture 10" descr="Sequent Scientific Share Price Today ...">
            <a:extLst>
              <a:ext uri="{FF2B5EF4-FFF2-40B4-BE49-F238E27FC236}">
                <a16:creationId xmlns:a16="http://schemas.microsoft.com/office/drawing/2014/main" id="{58BED41B-80D8-209F-2569-6CDA3232DF46}"/>
              </a:ext>
            </a:extLst>
          </p:cNvPr>
          <p:cNvPicPr>
            <a:picLocks noChangeAspect="1" noChangeArrowheads="1"/>
          </p:cNvPicPr>
          <p:nvPr/>
        </p:nvPicPr>
        <p:blipFill rotWithShape="1">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t="27283" b="27733"/>
          <a:stretch>
            <a:fillRect/>
          </a:stretch>
        </p:blipFill>
        <p:spPr bwMode="auto">
          <a:xfrm>
            <a:off x="8733930" y="2634386"/>
            <a:ext cx="555039" cy="249678"/>
          </a:xfrm>
          <a:prstGeom prst="rect">
            <a:avLst/>
          </a:prstGeom>
          <a:noFill/>
          <a:extLst>
            <a:ext uri="{909E8E84-426E-40DD-AFC4-6F175D3DCCD1}">
              <a14:hiddenFill xmlns:a14="http://schemas.microsoft.com/office/drawing/2010/main">
                <a:solidFill>
                  <a:srgbClr val="FFFFFF"/>
                </a:solidFill>
              </a14:hiddenFill>
            </a:ext>
          </a:extLst>
        </p:spPr>
      </p:pic>
      <p:pic>
        <p:nvPicPr>
          <p:cNvPr id="1070" name="Picture 12" descr="The Carlyle Group Logo PNG Vector (PDF ...">
            <a:extLst>
              <a:ext uri="{FF2B5EF4-FFF2-40B4-BE49-F238E27FC236}">
                <a16:creationId xmlns:a16="http://schemas.microsoft.com/office/drawing/2014/main" id="{BA84A93A-9566-B3D2-BA44-74321AEA3BCF}"/>
              </a:ext>
            </a:extLst>
          </p:cNvPr>
          <p:cNvPicPr>
            <a:picLocks noChangeAspect="1" noChangeArrowheads="1"/>
          </p:cNvPicPr>
          <p:nvPr/>
        </p:nvPicPr>
        <p:blipFill rotWithShape="1">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t="35942" b="36378"/>
          <a:stretch>
            <a:fillRect/>
          </a:stretch>
        </p:blipFill>
        <p:spPr bwMode="auto">
          <a:xfrm>
            <a:off x="8688978" y="2287458"/>
            <a:ext cx="644945" cy="178522"/>
          </a:xfrm>
          <a:prstGeom prst="rect">
            <a:avLst/>
          </a:prstGeom>
          <a:noFill/>
          <a:extLst>
            <a:ext uri="{909E8E84-426E-40DD-AFC4-6F175D3DCCD1}">
              <a14:hiddenFill xmlns:a14="http://schemas.microsoft.com/office/drawing/2010/main">
                <a:solidFill>
                  <a:srgbClr val="FFFFFF"/>
                </a:solidFill>
              </a14:hiddenFill>
            </a:ext>
          </a:extLst>
        </p:spPr>
      </p:pic>
      <p:pic>
        <p:nvPicPr>
          <p:cNvPr id="1072" name="Picture 32" descr="Arrow Left Symbol PNG Transparent ...">
            <a:extLst>
              <a:ext uri="{FF2B5EF4-FFF2-40B4-BE49-F238E27FC236}">
                <a16:creationId xmlns:a16="http://schemas.microsoft.com/office/drawing/2014/main" id="{F5C0889A-A6C4-AAA9-B4F4-743D86CDA735}"/>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0334" t="32967" r="8677" b="33008"/>
          <a:stretch>
            <a:fillRect/>
          </a:stretch>
        </p:blipFill>
        <p:spPr bwMode="auto">
          <a:xfrm rot="10800000">
            <a:off x="8289680" y="2486849"/>
            <a:ext cx="249473" cy="151946"/>
          </a:xfrm>
          <a:prstGeom prst="rect">
            <a:avLst/>
          </a:prstGeom>
          <a:noFill/>
          <a:extLst>
            <a:ext uri="{909E8E84-426E-40DD-AFC4-6F175D3DCCD1}">
              <a14:hiddenFill xmlns:a14="http://schemas.microsoft.com/office/drawing/2010/main">
                <a:solidFill>
                  <a:srgbClr val="FFFFFF"/>
                </a:solidFill>
              </a14:hiddenFill>
            </a:ext>
          </a:extLst>
        </p:spPr>
      </p:pic>
      <p:sp>
        <p:nvSpPr>
          <p:cNvPr id="117" name="TextBox 116">
            <a:extLst>
              <a:ext uri="{FF2B5EF4-FFF2-40B4-BE49-F238E27FC236}">
                <a16:creationId xmlns:a16="http://schemas.microsoft.com/office/drawing/2014/main" id="{AE319C87-E9BA-D1EB-D331-55A80C2BFFA6}"/>
              </a:ext>
            </a:extLst>
          </p:cNvPr>
          <p:cNvSpPr txBox="1"/>
          <p:nvPr/>
        </p:nvSpPr>
        <p:spPr>
          <a:xfrm>
            <a:off x="7348432" y="2362767"/>
            <a:ext cx="903670" cy="40011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04040"/>
                </a:solidFill>
                <a:effectLst/>
                <a:uLnTx/>
                <a:uFillTx/>
                <a:latin typeface="Segoe UI"/>
                <a:ea typeface="+mn-ea"/>
                <a:cs typeface="+mn-cs"/>
              </a:rPr>
              <a:t>Arun Kumar and family</a:t>
            </a:r>
            <a:endParaRPr kumimoji="0" lang="en-IN" sz="1000" b="1" i="0" u="none" strike="noStrike" kern="1200" cap="none" spc="0" normalizeH="0" baseline="0" noProof="0" dirty="0">
              <a:ln>
                <a:noFill/>
              </a:ln>
              <a:solidFill>
                <a:srgbClr val="404040"/>
              </a:solidFill>
              <a:effectLst/>
              <a:uLnTx/>
              <a:uFillTx/>
              <a:latin typeface="Segoe UI"/>
              <a:ea typeface="+mn-ea"/>
              <a:cs typeface="+mn-cs"/>
            </a:endParaRPr>
          </a:p>
        </p:txBody>
      </p:sp>
      <p:pic>
        <p:nvPicPr>
          <p:cNvPr id="1082" name="Picture 32" descr="Arrow Left Symbol PNG Transparent ...">
            <a:extLst>
              <a:ext uri="{FF2B5EF4-FFF2-40B4-BE49-F238E27FC236}">
                <a16:creationId xmlns:a16="http://schemas.microsoft.com/office/drawing/2014/main" id="{9153D6EE-A625-9091-E136-A16CC4EDB030}"/>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0334" t="32967" r="8677" b="33008"/>
          <a:stretch>
            <a:fillRect/>
          </a:stretch>
        </p:blipFill>
        <p:spPr bwMode="auto">
          <a:xfrm rot="10800000">
            <a:off x="10645592" y="2486849"/>
            <a:ext cx="249473" cy="151946"/>
          </a:xfrm>
          <a:prstGeom prst="rect">
            <a:avLst/>
          </a:prstGeom>
          <a:noFill/>
          <a:extLst>
            <a:ext uri="{909E8E84-426E-40DD-AFC4-6F175D3DCCD1}">
              <a14:hiddenFill xmlns:a14="http://schemas.microsoft.com/office/drawing/2010/main">
                <a:solidFill>
                  <a:srgbClr val="FFFFFF"/>
                </a:solidFill>
              </a14:hiddenFill>
            </a:ext>
          </a:extLst>
        </p:spPr>
      </p:pic>
      <p:pic>
        <p:nvPicPr>
          <p:cNvPr id="1085" name="Picture 16">
            <a:extLst>
              <a:ext uri="{FF2B5EF4-FFF2-40B4-BE49-F238E27FC236}">
                <a16:creationId xmlns:a16="http://schemas.microsoft.com/office/drawing/2014/main" id="{F5CB9591-50BC-492C-16A6-8D8A898B0334}"/>
              </a:ext>
            </a:extLst>
          </p:cNvPr>
          <p:cNvPicPr>
            <a:picLocks noChangeAspect="1" noChangeArrowheads="1"/>
          </p:cNvPicPr>
          <p:nvPr/>
        </p:nvPicPr>
        <p:blipFill rotWithShape="1">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b="21797"/>
          <a:stretch>
            <a:fillRect/>
          </a:stretch>
        </p:blipFill>
        <p:spPr bwMode="auto">
          <a:xfrm>
            <a:off x="9815751" y="2400743"/>
            <a:ext cx="721723" cy="324156"/>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18" descr="Zenex Animal Health Pvt ...">
            <a:extLst>
              <a:ext uri="{FF2B5EF4-FFF2-40B4-BE49-F238E27FC236}">
                <a16:creationId xmlns:a16="http://schemas.microsoft.com/office/drawing/2014/main" id="{739505AD-AECD-C51A-FC57-82394CED1705}"/>
              </a:ext>
            </a:extLst>
          </p:cNvPr>
          <p:cNvPicPr>
            <a:picLocks noChangeAspect="1" noChangeArrowheads="1"/>
          </p:cNvPicPr>
          <p:nvPr/>
        </p:nvPicPr>
        <p:blipFill rotWithShape="1">
          <a:blip r:embed="rId12">
            <a:clrChange>
              <a:clrFrom>
                <a:srgbClr val="FEFEFE"/>
              </a:clrFrom>
              <a:clrTo>
                <a:srgbClr val="FEFEFE">
                  <a:alpha val="0"/>
                </a:srgbClr>
              </a:clrTo>
            </a:clrChange>
            <a:extLst>
              <a:ext uri="{28A0092B-C50C-407E-A947-70E740481C1C}">
                <a14:useLocalDpi xmlns:a14="http://schemas.microsoft.com/office/drawing/2010/main" val="0"/>
              </a:ext>
            </a:extLst>
          </a:blip>
          <a:srcRect l="50181" t="10193" b="32574"/>
          <a:stretch>
            <a:fillRect/>
          </a:stretch>
        </p:blipFill>
        <p:spPr bwMode="auto">
          <a:xfrm>
            <a:off x="11159523" y="2436854"/>
            <a:ext cx="598867" cy="253569"/>
          </a:xfrm>
          <a:prstGeom prst="rect">
            <a:avLst/>
          </a:prstGeom>
          <a:noFill/>
          <a:extLst>
            <a:ext uri="{909E8E84-426E-40DD-AFC4-6F175D3DCCD1}">
              <a14:hiddenFill xmlns:a14="http://schemas.microsoft.com/office/drawing/2010/main">
                <a:solidFill>
                  <a:srgbClr val="FFFFFF"/>
                </a:solidFill>
              </a14:hiddenFill>
            </a:ext>
          </a:extLst>
        </p:spPr>
      </p:pic>
      <p:pic>
        <p:nvPicPr>
          <p:cNvPr id="140" name="Picture 22" descr="Aurobindo Pharma - Wikipedia">
            <a:extLst>
              <a:ext uri="{FF2B5EF4-FFF2-40B4-BE49-F238E27FC236}">
                <a16:creationId xmlns:a16="http://schemas.microsoft.com/office/drawing/2014/main" id="{760FE648-98D7-55E1-72C0-69FB03BFBE4B}"/>
              </a:ext>
            </a:extLst>
          </p:cNvPr>
          <p:cNvPicPr>
            <a:picLocks noChangeAspect="1" noChangeArrowheads="1"/>
          </p:cNvPicPr>
          <p:nvPr/>
        </p:nvPicPr>
        <p:blipFill>
          <a:blip r:embed="rId1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565949" y="3349724"/>
            <a:ext cx="653891" cy="288255"/>
          </a:xfrm>
          <a:prstGeom prst="rect">
            <a:avLst/>
          </a:prstGeom>
          <a:noFill/>
          <a:extLst>
            <a:ext uri="{909E8E84-426E-40DD-AFC4-6F175D3DCCD1}">
              <a14:hiddenFill xmlns:a14="http://schemas.microsoft.com/office/drawing/2010/main">
                <a:solidFill>
                  <a:srgbClr val="FFFFFF"/>
                </a:solidFill>
              </a14:hiddenFill>
            </a:ext>
          </a:extLst>
        </p:spPr>
      </p:pic>
      <p:pic>
        <p:nvPicPr>
          <p:cNvPr id="141" name="Picture 24" descr="Apotex Europe | Medicines for Europe">
            <a:extLst>
              <a:ext uri="{FF2B5EF4-FFF2-40B4-BE49-F238E27FC236}">
                <a16:creationId xmlns:a16="http://schemas.microsoft.com/office/drawing/2014/main" id="{B6D2C8AE-4121-6035-ECEF-12DD6B7462BB}"/>
              </a:ext>
            </a:extLst>
          </p:cNvPr>
          <p:cNvPicPr>
            <a:picLocks noChangeAspect="1" noChangeArrowheads="1"/>
          </p:cNvPicPr>
          <p:nvPr/>
        </p:nvPicPr>
        <p:blipFill rotWithShape="1">
          <a:blip r:embed="rId14">
            <a:clrChange>
              <a:clrFrom>
                <a:srgbClr val="FFFFFF"/>
              </a:clrFrom>
              <a:clrTo>
                <a:srgbClr val="FFFFFF">
                  <a:alpha val="0"/>
                </a:srgbClr>
              </a:clrTo>
            </a:clrChange>
            <a:extLst>
              <a:ext uri="{28A0092B-C50C-407E-A947-70E740481C1C}">
                <a14:useLocalDpi xmlns:a14="http://schemas.microsoft.com/office/drawing/2010/main" val="0"/>
              </a:ext>
            </a:extLst>
          </a:blip>
          <a:srcRect b="24089"/>
          <a:stretch>
            <a:fillRect/>
          </a:stretch>
        </p:blipFill>
        <p:spPr bwMode="auto">
          <a:xfrm>
            <a:off x="11494894" y="3472529"/>
            <a:ext cx="473863" cy="79016"/>
          </a:xfrm>
          <a:prstGeom prst="rect">
            <a:avLst/>
          </a:prstGeom>
          <a:noFill/>
          <a:extLst>
            <a:ext uri="{909E8E84-426E-40DD-AFC4-6F175D3DCCD1}">
              <a14:hiddenFill xmlns:a14="http://schemas.microsoft.com/office/drawing/2010/main">
                <a:solidFill>
                  <a:srgbClr val="FFFFFF"/>
                </a:solidFill>
              </a14:hiddenFill>
            </a:ext>
          </a:extLst>
        </p:spPr>
      </p:pic>
      <p:pic>
        <p:nvPicPr>
          <p:cNvPr id="142" name="Picture 32" descr="Arrow Left Symbol PNG Transparent ...">
            <a:extLst>
              <a:ext uri="{FF2B5EF4-FFF2-40B4-BE49-F238E27FC236}">
                <a16:creationId xmlns:a16="http://schemas.microsoft.com/office/drawing/2014/main" id="{6DF69894-A585-73F9-D9CB-36DEACF41330}"/>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0334" t="32967" r="8677" b="33008"/>
          <a:stretch>
            <a:fillRect/>
          </a:stretch>
        </p:blipFill>
        <p:spPr bwMode="auto">
          <a:xfrm rot="10800000">
            <a:off x="11220369" y="3436064"/>
            <a:ext cx="249473" cy="151946"/>
          </a:xfrm>
          <a:prstGeom prst="rect">
            <a:avLst/>
          </a:prstGeom>
          <a:noFill/>
          <a:extLst>
            <a:ext uri="{909E8E84-426E-40DD-AFC4-6F175D3DCCD1}">
              <a14:hiddenFill xmlns:a14="http://schemas.microsoft.com/office/drawing/2010/main">
                <a:solidFill>
                  <a:srgbClr val="FFFFFF"/>
                </a:solidFill>
              </a14:hiddenFill>
            </a:ext>
          </a:extLst>
        </p:spPr>
      </p:pic>
      <p:pic>
        <p:nvPicPr>
          <p:cNvPr id="143" name="Picture 32" descr="Arrow Left Symbol PNG Transparent ...">
            <a:extLst>
              <a:ext uri="{FF2B5EF4-FFF2-40B4-BE49-F238E27FC236}">
                <a16:creationId xmlns:a16="http://schemas.microsoft.com/office/drawing/2014/main" id="{8BC475C7-4A58-0A9F-6A16-BAD4760744F4}"/>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0334" t="32967" r="8677" b="33008"/>
          <a:stretch>
            <a:fillRect/>
          </a:stretch>
        </p:blipFill>
        <p:spPr bwMode="auto">
          <a:xfrm rot="10800000">
            <a:off x="7951478" y="3427768"/>
            <a:ext cx="249473" cy="151946"/>
          </a:xfrm>
          <a:prstGeom prst="rect">
            <a:avLst/>
          </a:prstGeom>
          <a:noFill/>
          <a:extLst>
            <a:ext uri="{909E8E84-426E-40DD-AFC4-6F175D3DCCD1}">
              <a14:hiddenFill xmlns:a14="http://schemas.microsoft.com/office/drawing/2010/main">
                <a:solidFill>
                  <a:srgbClr val="FFFFFF"/>
                </a:solidFill>
              </a14:hiddenFill>
            </a:ext>
          </a:extLst>
        </p:spPr>
      </p:pic>
      <p:pic>
        <p:nvPicPr>
          <p:cNvPr id="144" name="Picture 32" descr="Arrow Left Symbol PNG Transparent ...">
            <a:extLst>
              <a:ext uri="{FF2B5EF4-FFF2-40B4-BE49-F238E27FC236}">
                <a16:creationId xmlns:a16="http://schemas.microsoft.com/office/drawing/2014/main" id="{B47CBB60-0416-2E56-423A-6CA35A610D7F}"/>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0334" t="32967" r="8677" b="33008"/>
          <a:stretch>
            <a:fillRect/>
          </a:stretch>
        </p:blipFill>
        <p:spPr bwMode="auto">
          <a:xfrm rot="10800000">
            <a:off x="9568619" y="3427768"/>
            <a:ext cx="249473" cy="151946"/>
          </a:xfrm>
          <a:prstGeom prst="rect">
            <a:avLst/>
          </a:prstGeom>
          <a:noFill/>
          <a:extLst>
            <a:ext uri="{909E8E84-426E-40DD-AFC4-6F175D3DCCD1}">
              <a14:hiddenFill xmlns:a14="http://schemas.microsoft.com/office/drawing/2010/main">
                <a:solidFill>
                  <a:srgbClr val="FFFFFF"/>
                </a:solidFill>
              </a14:hiddenFill>
            </a:ext>
          </a:extLst>
        </p:spPr>
      </p:pic>
      <p:pic>
        <p:nvPicPr>
          <p:cNvPr id="145" name="Picture 8" descr="Intas and Accord BioPharma Acquire ...">
            <a:extLst>
              <a:ext uri="{FF2B5EF4-FFF2-40B4-BE49-F238E27FC236}">
                <a16:creationId xmlns:a16="http://schemas.microsoft.com/office/drawing/2014/main" id="{5995008B-48B9-52F8-DCEF-C44785730758}"/>
              </a:ext>
            </a:extLst>
          </p:cNvPr>
          <p:cNvPicPr>
            <a:picLocks noChangeAspect="1" noChangeArrowheads="1"/>
          </p:cNvPicPr>
          <p:nvPr/>
        </p:nvPicPr>
        <p:blipFill rotWithShape="1">
          <a:blip r:embed="rId15">
            <a:clrChange>
              <a:clrFrom>
                <a:srgbClr val="FFFFFF"/>
              </a:clrFrom>
              <a:clrTo>
                <a:srgbClr val="FFFFFF">
                  <a:alpha val="0"/>
                </a:srgbClr>
              </a:clrTo>
            </a:clrChange>
            <a:extLst>
              <a:ext uri="{28A0092B-C50C-407E-A947-70E740481C1C}">
                <a14:useLocalDpi xmlns:a14="http://schemas.microsoft.com/office/drawing/2010/main" val="0"/>
              </a:ext>
            </a:extLst>
          </a:blip>
          <a:srcRect l="49149" t="12301" r="8362" b="38350"/>
          <a:stretch>
            <a:fillRect/>
          </a:stretch>
        </p:blipFill>
        <p:spPr bwMode="auto">
          <a:xfrm>
            <a:off x="8252102" y="3335270"/>
            <a:ext cx="564115" cy="353295"/>
          </a:xfrm>
          <a:prstGeom prst="rect">
            <a:avLst/>
          </a:prstGeom>
          <a:noFill/>
          <a:extLst>
            <a:ext uri="{909E8E84-426E-40DD-AFC4-6F175D3DCCD1}">
              <a14:hiddenFill xmlns:a14="http://schemas.microsoft.com/office/drawing/2010/main">
                <a:solidFill>
                  <a:srgbClr val="FFFFFF"/>
                </a:solidFill>
              </a14:hiddenFill>
            </a:ext>
          </a:extLst>
        </p:spPr>
      </p:pic>
      <p:pic>
        <p:nvPicPr>
          <p:cNvPr id="146" name="Picture 8" descr="Intas and Accord BioPharma Acquire ...">
            <a:extLst>
              <a:ext uri="{FF2B5EF4-FFF2-40B4-BE49-F238E27FC236}">
                <a16:creationId xmlns:a16="http://schemas.microsoft.com/office/drawing/2014/main" id="{8B5CF949-B272-F01E-A256-227A286335F8}"/>
              </a:ext>
            </a:extLst>
          </p:cNvPr>
          <p:cNvPicPr>
            <a:picLocks noChangeAspect="1" noChangeArrowheads="1"/>
          </p:cNvPicPr>
          <p:nvPr/>
        </p:nvPicPr>
        <p:blipFill rotWithShape="1">
          <a:blip r:embed="rId15">
            <a:clrChange>
              <a:clrFrom>
                <a:srgbClr val="FFFFFF"/>
              </a:clrFrom>
              <a:clrTo>
                <a:srgbClr val="FFFFFF">
                  <a:alpha val="0"/>
                </a:srgbClr>
              </a:clrTo>
            </a:clrChange>
            <a:extLst>
              <a:ext uri="{28A0092B-C50C-407E-A947-70E740481C1C}">
                <a14:useLocalDpi xmlns:a14="http://schemas.microsoft.com/office/drawing/2010/main" val="0"/>
              </a:ext>
            </a:extLst>
          </a:blip>
          <a:srcRect l="8263" t="22512" r="50768" b="51701"/>
          <a:stretch>
            <a:fillRect/>
          </a:stretch>
        </p:blipFill>
        <p:spPr bwMode="auto">
          <a:xfrm>
            <a:off x="7337430" y="3424447"/>
            <a:ext cx="603591" cy="204855"/>
          </a:xfrm>
          <a:prstGeom prst="rect">
            <a:avLst/>
          </a:prstGeom>
          <a:noFill/>
          <a:extLst>
            <a:ext uri="{909E8E84-426E-40DD-AFC4-6F175D3DCCD1}">
              <a14:hiddenFill xmlns:a14="http://schemas.microsoft.com/office/drawing/2010/main">
                <a:solidFill>
                  <a:srgbClr val="FFFFFF"/>
                </a:solidFill>
              </a14:hiddenFill>
            </a:ext>
          </a:extLst>
        </p:spPr>
      </p:pic>
      <p:pic>
        <p:nvPicPr>
          <p:cNvPr id="147" name="Picture 10" descr="Sun Pharma - Wikipedia">
            <a:extLst>
              <a:ext uri="{FF2B5EF4-FFF2-40B4-BE49-F238E27FC236}">
                <a16:creationId xmlns:a16="http://schemas.microsoft.com/office/drawing/2014/main" id="{599231DB-D25B-9D39-C1B0-AD076A516EAD}"/>
              </a:ext>
            </a:extLst>
          </p:cNvPr>
          <p:cNvPicPr>
            <a:picLocks noChangeAspect="1" noChangeArrowheads="1"/>
          </p:cNvPicPr>
          <p:nvPr/>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047063" y="3251279"/>
            <a:ext cx="339288" cy="458375"/>
          </a:xfrm>
          <a:prstGeom prst="rect">
            <a:avLst/>
          </a:prstGeom>
          <a:noFill/>
          <a:extLst>
            <a:ext uri="{909E8E84-426E-40DD-AFC4-6F175D3DCCD1}">
              <a14:hiddenFill xmlns:a14="http://schemas.microsoft.com/office/drawing/2010/main">
                <a:solidFill>
                  <a:srgbClr val="FFFFFF"/>
                </a:solidFill>
              </a14:hiddenFill>
            </a:ext>
          </a:extLst>
        </p:spPr>
      </p:pic>
      <p:pic>
        <p:nvPicPr>
          <p:cNvPr id="148" name="Picture 12" descr="Acquire Checkpoint Therapeutics ...">
            <a:extLst>
              <a:ext uri="{FF2B5EF4-FFF2-40B4-BE49-F238E27FC236}">
                <a16:creationId xmlns:a16="http://schemas.microsoft.com/office/drawing/2014/main" id="{BC708BCA-3BAE-C5B0-5DB6-5906D243A8A2}"/>
              </a:ext>
            </a:extLst>
          </p:cNvPr>
          <p:cNvPicPr>
            <a:picLocks noChangeAspect="1" noChangeArrowheads="1"/>
          </p:cNvPicPr>
          <p:nvPr/>
        </p:nvPicPr>
        <p:blipFill>
          <a:blip r:embed="rId1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853188" y="3421501"/>
            <a:ext cx="530515" cy="200030"/>
          </a:xfrm>
          <a:prstGeom prst="rect">
            <a:avLst/>
          </a:prstGeom>
          <a:noFill/>
          <a:extLst>
            <a:ext uri="{909E8E84-426E-40DD-AFC4-6F175D3DCCD1}">
              <a14:hiddenFill xmlns:a14="http://schemas.microsoft.com/office/drawing/2010/main">
                <a:solidFill>
                  <a:srgbClr val="FFFFFF"/>
                </a:solidFill>
              </a14:hiddenFill>
            </a:ext>
          </a:extLst>
        </p:spPr>
      </p:pic>
      <p:pic>
        <p:nvPicPr>
          <p:cNvPr id="149" name="Picture 4" descr="JB Pharma inks Rs 1,089 cr pacts with ...">
            <a:extLst>
              <a:ext uri="{FF2B5EF4-FFF2-40B4-BE49-F238E27FC236}">
                <a16:creationId xmlns:a16="http://schemas.microsoft.com/office/drawing/2014/main" id="{5B087873-E693-34EB-922B-64F58F5A19F9}"/>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102290" y="4135161"/>
            <a:ext cx="679607" cy="380580"/>
          </a:xfrm>
          <a:prstGeom prst="rect">
            <a:avLst/>
          </a:prstGeom>
          <a:noFill/>
          <a:extLst>
            <a:ext uri="{909E8E84-426E-40DD-AFC4-6F175D3DCCD1}">
              <a14:hiddenFill xmlns:a14="http://schemas.microsoft.com/office/drawing/2010/main">
                <a:solidFill>
                  <a:srgbClr val="FFFFFF"/>
                </a:solidFill>
              </a14:hiddenFill>
            </a:ext>
          </a:extLst>
        </p:spPr>
      </p:pic>
      <p:pic>
        <p:nvPicPr>
          <p:cNvPr id="151" name="Picture 32" descr="Arrow Left Symbol PNG Transparent ...">
            <a:extLst>
              <a:ext uri="{FF2B5EF4-FFF2-40B4-BE49-F238E27FC236}">
                <a16:creationId xmlns:a16="http://schemas.microsoft.com/office/drawing/2014/main" id="{40DA908E-3EE4-1C56-0009-DA26C7766B0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0334" t="32967" r="8677" b="33008"/>
          <a:stretch>
            <a:fillRect/>
          </a:stretch>
        </p:blipFill>
        <p:spPr bwMode="auto">
          <a:xfrm rot="10800000">
            <a:off x="9568619" y="4254172"/>
            <a:ext cx="249473" cy="151946"/>
          </a:xfrm>
          <a:prstGeom prst="rect">
            <a:avLst/>
          </a:prstGeom>
          <a:noFill/>
          <a:extLst>
            <a:ext uri="{909E8E84-426E-40DD-AFC4-6F175D3DCCD1}">
              <a14:hiddenFill xmlns:a14="http://schemas.microsoft.com/office/drawing/2010/main">
                <a:solidFill>
                  <a:srgbClr val="FFFFFF"/>
                </a:solidFill>
              </a14:hiddenFill>
            </a:ext>
          </a:extLst>
        </p:spPr>
      </p:pic>
      <p:pic>
        <p:nvPicPr>
          <p:cNvPr id="152" name="Picture 14" descr="Torrent Pharma Logo &amp; Brand Assets (SVG ...">
            <a:extLst>
              <a:ext uri="{FF2B5EF4-FFF2-40B4-BE49-F238E27FC236}">
                <a16:creationId xmlns:a16="http://schemas.microsoft.com/office/drawing/2014/main" id="{3E33CD02-9031-0CC6-C280-4487675590B8}"/>
              </a:ext>
            </a:extLst>
          </p:cNvPr>
          <p:cNvPicPr>
            <a:picLocks noChangeAspect="1" noChangeArrowheads="1"/>
          </p:cNvPicPr>
          <p:nvPr/>
        </p:nvPicPr>
        <p:blipFill rotWithShape="1">
          <a:blip r:embed="rId18">
            <a:clrChange>
              <a:clrFrom>
                <a:srgbClr val="FFFDFF"/>
              </a:clrFrom>
              <a:clrTo>
                <a:srgbClr val="FFFDFF">
                  <a:alpha val="0"/>
                </a:srgbClr>
              </a:clrTo>
            </a:clrChange>
            <a:extLst>
              <a:ext uri="{28A0092B-C50C-407E-A947-70E740481C1C}">
                <a14:useLocalDpi xmlns:a14="http://schemas.microsoft.com/office/drawing/2010/main" val="0"/>
              </a:ext>
            </a:extLst>
          </a:blip>
          <a:srcRect t="27941" b="30180"/>
          <a:stretch>
            <a:fillRect/>
          </a:stretch>
        </p:blipFill>
        <p:spPr bwMode="auto">
          <a:xfrm>
            <a:off x="7316015" y="4219631"/>
            <a:ext cx="625006" cy="261744"/>
          </a:xfrm>
          <a:prstGeom prst="rect">
            <a:avLst/>
          </a:prstGeom>
          <a:noFill/>
          <a:extLst>
            <a:ext uri="{909E8E84-426E-40DD-AFC4-6F175D3DCCD1}">
              <a14:hiddenFill xmlns:a14="http://schemas.microsoft.com/office/drawing/2010/main">
                <a:solidFill>
                  <a:srgbClr val="FFFFFF"/>
                </a:solidFill>
              </a14:hiddenFill>
            </a:ext>
          </a:extLst>
        </p:spPr>
      </p:pic>
      <p:pic>
        <p:nvPicPr>
          <p:cNvPr id="154" name="Picture 40" descr="Download HD Mandap Layout - Eris ...">
            <a:extLst>
              <a:ext uri="{FF2B5EF4-FFF2-40B4-BE49-F238E27FC236}">
                <a16:creationId xmlns:a16="http://schemas.microsoft.com/office/drawing/2014/main" id="{58EC5B1B-6AA2-4CEF-D2BD-E96D3E84B509}"/>
              </a:ext>
            </a:extLst>
          </p:cNvPr>
          <p:cNvPicPr>
            <a:picLocks noChangeAspect="1" noChangeArrowheads="1"/>
          </p:cNvPicPr>
          <p:nvPr/>
        </p:nvPicPr>
        <p:blipFill>
          <a:blip r:embed="rId1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343130" y="5132793"/>
            <a:ext cx="475155" cy="169789"/>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154">
            <a:extLst>
              <a:ext uri="{FF2B5EF4-FFF2-40B4-BE49-F238E27FC236}">
                <a16:creationId xmlns:a16="http://schemas.microsoft.com/office/drawing/2014/main" id="{F90674F2-57A5-CF24-DB3A-5C3FEBA33286}"/>
              </a:ext>
            </a:extLst>
          </p:cNvPr>
          <p:cNvPicPr>
            <a:picLocks noChangeAspect="1"/>
          </p:cNvPicPr>
          <p:nvPr/>
        </p:nvPicPr>
        <p:blipFill>
          <a:blip r:embed="rId20">
            <a:clrChange>
              <a:clrFrom>
                <a:srgbClr val="DADADA"/>
              </a:clrFrom>
              <a:clrTo>
                <a:srgbClr val="DADADA">
                  <a:alpha val="0"/>
                </a:srgbClr>
              </a:clrTo>
            </a:clrChange>
          </a:blip>
          <a:stretch>
            <a:fillRect/>
          </a:stretch>
        </p:blipFill>
        <p:spPr>
          <a:xfrm>
            <a:off x="8187784" y="5123219"/>
            <a:ext cx="619846" cy="205528"/>
          </a:xfrm>
          <a:prstGeom prst="rect">
            <a:avLst/>
          </a:prstGeom>
        </p:spPr>
      </p:pic>
      <p:pic>
        <p:nvPicPr>
          <p:cNvPr id="156" name="Picture 32" descr="Arrow Left Symbol PNG Transparent ...">
            <a:extLst>
              <a:ext uri="{FF2B5EF4-FFF2-40B4-BE49-F238E27FC236}">
                <a16:creationId xmlns:a16="http://schemas.microsoft.com/office/drawing/2014/main" id="{932A1A8B-BCB6-2F44-8445-534587AFBA1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0334" t="32967" r="8677" b="33008"/>
          <a:stretch>
            <a:fillRect/>
          </a:stretch>
        </p:blipFill>
        <p:spPr bwMode="auto">
          <a:xfrm rot="10800000">
            <a:off x="7951478" y="5166486"/>
            <a:ext cx="249473" cy="151946"/>
          </a:xfrm>
          <a:prstGeom prst="rect">
            <a:avLst/>
          </a:prstGeom>
          <a:noFill/>
          <a:extLst>
            <a:ext uri="{909E8E84-426E-40DD-AFC4-6F175D3DCCD1}">
              <a14:hiddenFill xmlns:a14="http://schemas.microsoft.com/office/drawing/2010/main">
                <a:solidFill>
                  <a:srgbClr val="FFFFFF"/>
                </a:solidFill>
              </a14:hiddenFill>
            </a:ext>
          </a:extLst>
        </p:spPr>
      </p:pic>
      <p:pic>
        <p:nvPicPr>
          <p:cNvPr id="157" name="Picture 48" descr="Sekhmet Pharmaventures">
            <a:extLst>
              <a:ext uri="{FF2B5EF4-FFF2-40B4-BE49-F238E27FC236}">
                <a16:creationId xmlns:a16="http://schemas.microsoft.com/office/drawing/2014/main" id="{AED11292-DD1F-AB29-C6EF-33A936256CD1}"/>
              </a:ext>
            </a:extLst>
          </p:cNvPr>
          <p:cNvPicPr>
            <a:picLocks noChangeAspect="1" noChangeArrowheads="1"/>
          </p:cNvPicPr>
          <p:nvPr/>
        </p:nvPicPr>
        <p:blipFill>
          <a:blip r:embed="rId2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348432" y="6000460"/>
            <a:ext cx="437802" cy="224478"/>
          </a:xfrm>
          <a:prstGeom prst="rect">
            <a:avLst/>
          </a:prstGeom>
          <a:noFill/>
          <a:extLst>
            <a:ext uri="{909E8E84-426E-40DD-AFC4-6F175D3DCCD1}">
              <a14:hiddenFill xmlns:a14="http://schemas.microsoft.com/office/drawing/2010/main">
                <a:solidFill>
                  <a:srgbClr val="FFFFFF"/>
                </a:solidFill>
              </a14:hiddenFill>
            </a:ext>
          </a:extLst>
        </p:spPr>
      </p:pic>
      <p:pic>
        <p:nvPicPr>
          <p:cNvPr id="158" name="Picture 32" descr="Arrow Left Symbol PNG Transparent ...">
            <a:extLst>
              <a:ext uri="{FF2B5EF4-FFF2-40B4-BE49-F238E27FC236}">
                <a16:creationId xmlns:a16="http://schemas.microsoft.com/office/drawing/2014/main" id="{EFBFE07C-BFE1-4BBB-3B3D-E327961F8F1B}"/>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0334" t="32967" r="8677" b="33008"/>
          <a:stretch>
            <a:fillRect/>
          </a:stretch>
        </p:blipFill>
        <p:spPr bwMode="auto">
          <a:xfrm rot="10800000">
            <a:off x="7951478" y="6018231"/>
            <a:ext cx="249473" cy="151946"/>
          </a:xfrm>
          <a:prstGeom prst="rect">
            <a:avLst/>
          </a:prstGeom>
          <a:noFill/>
          <a:extLst>
            <a:ext uri="{909E8E84-426E-40DD-AFC4-6F175D3DCCD1}">
              <a14:hiddenFill xmlns:a14="http://schemas.microsoft.com/office/drawing/2010/main">
                <a:solidFill>
                  <a:srgbClr val="FFFFFF"/>
                </a:solidFill>
              </a14:hiddenFill>
            </a:ext>
          </a:extLst>
        </p:spPr>
      </p:pic>
      <p:pic>
        <p:nvPicPr>
          <p:cNvPr id="159" name="Picture 6">
            <a:extLst>
              <a:ext uri="{FF2B5EF4-FFF2-40B4-BE49-F238E27FC236}">
                <a16:creationId xmlns:a16="http://schemas.microsoft.com/office/drawing/2014/main" id="{F887F6D1-8C82-968C-0609-058FE076A72A}"/>
              </a:ext>
            </a:extLst>
          </p:cNvPr>
          <p:cNvPicPr>
            <a:picLocks noChangeAspect="1" noChangeArrowheads="1"/>
          </p:cNvPicPr>
          <p:nvPr/>
        </p:nvPicPr>
        <p:blipFill>
          <a:blip r:embed="rId2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11134" y="5710308"/>
            <a:ext cx="382497" cy="188858"/>
          </a:xfrm>
          <a:prstGeom prst="rect">
            <a:avLst/>
          </a:prstGeom>
          <a:noFill/>
          <a:extLst>
            <a:ext uri="{909E8E84-426E-40DD-AFC4-6F175D3DCCD1}">
              <a14:hiddenFill xmlns:a14="http://schemas.microsoft.com/office/drawing/2010/main">
                <a:solidFill>
                  <a:srgbClr val="FFFFFF"/>
                </a:solidFill>
              </a14:hiddenFill>
            </a:ext>
          </a:extLst>
        </p:spPr>
      </p:pic>
      <p:pic>
        <p:nvPicPr>
          <p:cNvPr id="160" name="Picture 8" descr="CX Partners | LinkedIn">
            <a:extLst>
              <a:ext uri="{FF2B5EF4-FFF2-40B4-BE49-F238E27FC236}">
                <a16:creationId xmlns:a16="http://schemas.microsoft.com/office/drawing/2014/main" id="{B0E509EE-53A4-3394-AC96-E340EDDEFD5D}"/>
              </a:ext>
            </a:extLst>
          </p:cNvPr>
          <p:cNvPicPr>
            <a:picLocks noChangeAspect="1" noChangeArrowheads="1"/>
          </p:cNvPicPr>
          <p:nvPr/>
        </p:nvPicPr>
        <p:blipFill rotWithShape="1">
          <a:blip r:embed="rId23">
            <a:clrChange>
              <a:clrFrom>
                <a:srgbClr val="FFFFFF"/>
              </a:clrFrom>
              <a:clrTo>
                <a:srgbClr val="FFFFFF">
                  <a:alpha val="0"/>
                </a:srgbClr>
              </a:clrTo>
            </a:clrChange>
            <a:extLst>
              <a:ext uri="{28A0092B-C50C-407E-A947-70E740481C1C}">
                <a14:useLocalDpi xmlns:a14="http://schemas.microsoft.com/office/drawing/2010/main" val="0"/>
              </a:ext>
            </a:extLst>
          </a:blip>
          <a:srcRect t="35576" b="29619"/>
          <a:stretch>
            <a:fillRect/>
          </a:stretch>
        </p:blipFill>
        <p:spPr bwMode="auto">
          <a:xfrm>
            <a:off x="8238814" y="6018812"/>
            <a:ext cx="517786" cy="180215"/>
          </a:xfrm>
          <a:prstGeom prst="rect">
            <a:avLst/>
          </a:prstGeom>
          <a:noFill/>
          <a:extLst>
            <a:ext uri="{909E8E84-426E-40DD-AFC4-6F175D3DCCD1}">
              <a14:hiddenFill xmlns:a14="http://schemas.microsoft.com/office/drawing/2010/main">
                <a:solidFill>
                  <a:srgbClr val="FFFFFF"/>
                </a:solidFill>
              </a14:hiddenFill>
            </a:ext>
          </a:extLst>
        </p:spPr>
      </p:pic>
      <p:pic>
        <p:nvPicPr>
          <p:cNvPr id="161" name="Picture 10" descr="VN_Press Release 1">
            <a:extLst>
              <a:ext uri="{FF2B5EF4-FFF2-40B4-BE49-F238E27FC236}">
                <a16:creationId xmlns:a16="http://schemas.microsoft.com/office/drawing/2014/main" id="{88F7C89C-C96A-E830-DBB7-ECB76EC62D02}"/>
              </a:ext>
            </a:extLst>
          </p:cNvPr>
          <p:cNvPicPr>
            <a:picLocks noChangeAspect="1" noChangeArrowheads="1"/>
          </p:cNvPicPr>
          <p:nvPr/>
        </p:nvPicPr>
        <p:blipFill>
          <a:blip r:embed="rId2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219915" y="6296944"/>
            <a:ext cx="497503" cy="151947"/>
          </a:xfrm>
          <a:prstGeom prst="rect">
            <a:avLst/>
          </a:prstGeom>
          <a:noFill/>
          <a:extLst>
            <a:ext uri="{909E8E84-426E-40DD-AFC4-6F175D3DCCD1}">
              <a14:hiddenFill xmlns:a14="http://schemas.microsoft.com/office/drawing/2010/main">
                <a:solidFill>
                  <a:srgbClr val="FFFFFF"/>
                </a:solidFill>
              </a14:hiddenFill>
            </a:ext>
          </a:extLst>
        </p:spPr>
      </p:pic>
      <p:pic>
        <p:nvPicPr>
          <p:cNvPr id="170" name="Picture 32" descr="Arrow Left Symbol PNG Transparent ...">
            <a:extLst>
              <a:ext uri="{FF2B5EF4-FFF2-40B4-BE49-F238E27FC236}">
                <a16:creationId xmlns:a16="http://schemas.microsoft.com/office/drawing/2014/main" id="{69DAD6B0-04A1-0B29-30D4-2D03BBEE14A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0334" t="32967" r="8677" b="33008"/>
          <a:stretch>
            <a:fillRect/>
          </a:stretch>
        </p:blipFill>
        <p:spPr bwMode="auto">
          <a:xfrm rot="10800000">
            <a:off x="9564228" y="6018231"/>
            <a:ext cx="249473" cy="151946"/>
          </a:xfrm>
          <a:prstGeom prst="rect">
            <a:avLst/>
          </a:prstGeom>
          <a:noFill/>
          <a:extLst>
            <a:ext uri="{909E8E84-426E-40DD-AFC4-6F175D3DCCD1}">
              <a14:hiddenFill xmlns:a14="http://schemas.microsoft.com/office/drawing/2010/main">
                <a:solidFill>
                  <a:srgbClr val="FFFFFF"/>
                </a:solidFill>
              </a14:hiddenFill>
            </a:ext>
          </a:extLst>
        </p:spPr>
      </p:pic>
      <p:pic>
        <p:nvPicPr>
          <p:cNvPr id="171" name="Picture 32" descr="Arrow Left Symbol PNG Transparent ...">
            <a:extLst>
              <a:ext uri="{FF2B5EF4-FFF2-40B4-BE49-F238E27FC236}">
                <a16:creationId xmlns:a16="http://schemas.microsoft.com/office/drawing/2014/main" id="{FAD534C6-3ACF-328C-D456-8B4E84C822F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0334" t="32967" r="8677" b="33008"/>
          <a:stretch>
            <a:fillRect/>
          </a:stretch>
        </p:blipFill>
        <p:spPr bwMode="auto">
          <a:xfrm rot="10800000">
            <a:off x="11201662" y="6018231"/>
            <a:ext cx="249473" cy="151946"/>
          </a:xfrm>
          <a:prstGeom prst="rect">
            <a:avLst/>
          </a:prstGeom>
          <a:noFill/>
          <a:extLst>
            <a:ext uri="{909E8E84-426E-40DD-AFC4-6F175D3DCCD1}">
              <a14:hiddenFill xmlns:a14="http://schemas.microsoft.com/office/drawing/2010/main">
                <a:solidFill>
                  <a:srgbClr val="FFFFFF"/>
                </a:solidFill>
              </a14:hiddenFill>
            </a:ext>
          </a:extLst>
        </p:spPr>
      </p:pic>
      <p:pic>
        <p:nvPicPr>
          <p:cNvPr id="174" name="Picture 12" descr="The Carlyle Group Logo PNG Vector (PDF ...">
            <a:extLst>
              <a:ext uri="{FF2B5EF4-FFF2-40B4-BE49-F238E27FC236}">
                <a16:creationId xmlns:a16="http://schemas.microsoft.com/office/drawing/2014/main" id="{2961FB5C-C04F-2693-2A38-AB462F0BAF37}"/>
              </a:ext>
            </a:extLst>
          </p:cNvPr>
          <p:cNvPicPr>
            <a:picLocks noChangeAspect="1" noChangeArrowheads="1"/>
          </p:cNvPicPr>
          <p:nvPr/>
        </p:nvPicPr>
        <p:blipFill rotWithShape="1">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t="35942" b="36378"/>
          <a:stretch>
            <a:fillRect/>
          </a:stretch>
        </p:blipFill>
        <p:spPr bwMode="auto">
          <a:xfrm>
            <a:off x="10548080" y="6009313"/>
            <a:ext cx="644945" cy="178522"/>
          </a:xfrm>
          <a:prstGeom prst="rect">
            <a:avLst/>
          </a:prstGeom>
          <a:noFill/>
          <a:extLst>
            <a:ext uri="{909E8E84-426E-40DD-AFC4-6F175D3DCCD1}">
              <a14:hiddenFill xmlns:a14="http://schemas.microsoft.com/office/drawing/2010/main">
                <a:solidFill>
                  <a:srgbClr val="FFFFFF"/>
                </a:solidFill>
              </a14:hiddenFill>
            </a:ext>
          </a:extLst>
        </p:spPr>
      </p:pic>
      <p:pic>
        <p:nvPicPr>
          <p:cNvPr id="175" name="Picture 10" descr="Sequent Scientific Share Price Today ...">
            <a:extLst>
              <a:ext uri="{FF2B5EF4-FFF2-40B4-BE49-F238E27FC236}">
                <a16:creationId xmlns:a16="http://schemas.microsoft.com/office/drawing/2014/main" id="{257BF603-1DDE-7541-1EBE-8BA45DF179BB}"/>
              </a:ext>
            </a:extLst>
          </p:cNvPr>
          <p:cNvPicPr>
            <a:picLocks noChangeAspect="1" noChangeArrowheads="1"/>
          </p:cNvPicPr>
          <p:nvPr/>
        </p:nvPicPr>
        <p:blipFill rotWithShape="1">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t="27283" b="27733"/>
          <a:stretch>
            <a:fillRect/>
          </a:stretch>
        </p:blipFill>
        <p:spPr bwMode="auto">
          <a:xfrm>
            <a:off x="11494894" y="5873467"/>
            <a:ext cx="380288" cy="171068"/>
          </a:xfrm>
          <a:prstGeom prst="rect">
            <a:avLst/>
          </a:prstGeom>
          <a:noFill/>
          <a:extLst>
            <a:ext uri="{909E8E84-426E-40DD-AFC4-6F175D3DCCD1}">
              <a14:hiddenFill xmlns:a14="http://schemas.microsoft.com/office/drawing/2010/main">
                <a:solidFill>
                  <a:srgbClr val="FFFFFF"/>
                </a:solidFill>
              </a14:hiddenFill>
            </a:ext>
          </a:extLst>
        </p:spPr>
      </p:pic>
      <p:pic>
        <p:nvPicPr>
          <p:cNvPr id="176" name="Picture 14" descr="Viyash Life Sciences PVT LTD | LinkedIn">
            <a:extLst>
              <a:ext uri="{FF2B5EF4-FFF2-40B4-BE49-F238E27FC236}">
                <a16:creationId xmlns:a16="http://schemas.microsoft.com/office/drawing/2014/main" id="{A3584418-7863-930E-8A9E-59A72BE8B9AE}"/>
              </a:ext>
            </a:extLst>
          </p:cNvPr>
          <p:cNvPicPr>
            <a:picLocks noChangeAspect="1" noChangeArrowheads="1"/>
          </p:cNvPicPr>
          <p:nvPr/>
        </p:nvPicPr>
        <p:blipFill rotWithShape="1">
          <a:blip r:embed="rId25">
            <a:clrChange>
              <a:clrFrom>
                <a:srgbClr val="FFFFFF"/>
              </a:clrFrom>
              <a:clrTo>
                <a:srgbClr val="FFFFFF">
                  <a:alpha val="0"/>
                </a:srgbClr>
              </a:clrTo>
            </a:clrChange>
            <a:extLst>
              <a:ext uri="{28A0092B-C50C-407E-A947-70E740481C1C}">
                <a14:useLocalDpi xmlns:a14="http://schemas.microsoft.com/office/drawing/2010/main" val="0"/>
              </a:ext>
            </a:extLst>
          </a:blip>
          <a:srcRect t="24501" b="27391"/>
          <a:stretch>
            <a:fillRect/>
          </a:stretch>
        </p:blipFill>
        <p:spPr bwMode="auto">
          <a:xfrm>
            <a:off x="11490315" y="6187360"/>
            <a:ext cx="380287" cy="182947"/>
          </a:xfrm>
          <a:prstGeom prst="rect">
            <a:avLst/>
          </a:prstGeom>
          <a:noFill/>
          <a:extLst>
            <a:ext uri="{909E8E84-426E-40DD-AFC4-6F175D3DCCD1}">
              <a14:hiddenFill xmlns:a14="http://schemas.microsoft.com/office/drawing/2010/main">
                <a:solidFill>
                  <a:srgbClr val="FFFFFF"/>
                </a:solidFill>
              </a14:hiddenFill>
            </a:ext>
          </a:extLst>
        </p:spPr>
      </p:pic>
      <p:pic>
        <p:nvPicPr>
          <p:cNvPr id="177" name="Picture 6" descr="Advent International 2024 Logo PNG Vector (SVG) Free Download">
            <a:extLst>
              <a:ext uri="{FF2B5EF4-FFF2-40B4-BE49-F238E27FC236}">
                <a16:creationId xmlns:a16="http://schemas.microsoft.com/office/drawing/2014/main" id="{B2DAE077-B4F0-7F1A-A444-7C5B418BB8F4}"/>
              </a:ext>
            </a:extLst>
          </p:cNvPr>
          <p:cNvPicPr>
            <a:picLocks noChangeAspect="1" noChangeArrowheads="1"/>
          </p:cNvPicPr>
          <p:nvPr/>
        </p:nvPicPr>
        <p:blipFill rotWithShape="1">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t="34387" b="20518"/>
          <a:stretch>
            <a:fillRect/>
          </a:stretch>
        </p:blipFill>
        <p:spPr bwMode="auto">
          <a:xfrm>
            <a:off x="8895131" y="6011001"/>
            <a:ext cx="649852" cy="175833"/>
          </a:xfrm>
          <a:prstGeom prst="rect">
            <a:avLst/>
          </a:prstGeom>
          <a:noFill/>
          <a:extLst>
            <a:ext uri="{909E8E84-426E-40DD-AFC4-6F175D3DCCD1}">
              <a14:hiddenFill xmlns:a14="http://schemas.microsoft.com/office/drawing/2010/main">
                <a:solidFill>
                  <a:srgbClr val="FFFFFF"/>
                </a:solidFill>
              </a14:hiddenFill>
            </a:ext>
          </a:extLst>
        </p:spPr>
      </p:pic>
      <p:pic>
        <p:nvPicPr>
          <p:cNvPr id="178" name="Picture 16" descr="Suven Pharmaceuticals | LinkedIn">
            <a:extLst>
              <a:ext uri="{FF2B5EF4-FFF2-40B4-BE49-F238E27FC236}">
                <a16:creationId xmlns:a16="http://schemas.microsoft.com/office/drawing/2014/main" id="{31C7FFA6-6928-5A29-1410-E4A3FC01E3D6}"/>
              </a:ext>
            </a:extLst>
          </p:cNvPr>
          <p:cNvPicPr>
            <a:picLocks noChangeAspect="1" noChangeArrowheads="1"/>
          </p:cNvPicPr>
          <p:nvPr/>
        </p:nvPicPr>
        <p:blipFill>
          <a:blip r:embed="rId2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732397" y="5787679"/>
            <a:ext cx="692834" cy="692834"/>
          </a:xfrm>
          <a:prstGeom prst="rect">
            <a:avLst/>
          </a:prstGeom>
          <a:noFill/>
          <a:extLst>
            <a:ext uri="{909E8E84-426E-40DD-AFC4-6F175D3DCCD1}">
              <a14:hiddenFill xmlns:a14="http://schemas.microsoft.com/office/drawing/2010/main">
                <a:solidFill>
                  <a:srgbClr val="FFFFFF"/>
                </a:solidFill>
              </a14:hiddenFill>
            </a:ext>
          </a:extLst>
        </p:spPr>
      </p:pic>
      <p:pic>
        <p:nvPicPr>
          <p:cNvPr id="179" name="Picture 36" descr="Bharat Serums and Vaccines Limited ...">
            <a:extLst>
              <a:ext uri="{FF2B5EF4-FFF2-40B4-BE49-F238E27FC236}">
                <a16:creationId xmlns:a16="http://schemas.microsoft.com/office/drawing/2014/main" id="{CB6A018A-D79C-DC07-A454-AFBC8A1A5591}"/>
              </a:ext>
            </a:extLst>
          </p:cNvPr>
          <p:cNvPicPr>
            <a:picLocks noChangeAspect="1" noChangeArrowheads="1"/>
          </p:cNvPicPr>
          <p:nvPr/>
        </p:nvPicPr>
        <p:blipFill rotWithShape="1">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t="30366" b="32443"/>
          <a:stretch>
            <a:fillRect/>
          </a:stretch>
        </p:blipFill>
        <p:spPr bwMode="auto">
          <a:xfrm>
            <a:off x="9779158" y="4215985"/>
            <a:ext cx="679607" cy="252751"/>
          </a:xfrm>
          <a:prstGeom prst="rect">
            <a:avLst/>
          </a:prstGeom>
          <a:noFill/>
          <a:extLst>
            <a:ext uri="{909E8E84-426E-40DD-AFC4-6F175D3DCCD1}">
              <a14:hiddenFill xmlns:a14="http://schemas.microsoft.com/office/drawing/2010/main">
                <a:solidFill>
                  <a:srgbClr val="FFFFFF"/>
                </a:solidFill>
              </a14:hiddenFill>
            </a:ext>
          </a:extLst>
        </p:spPr>
      </p:pic>
      <p:pic>
        <p:nvPicPr>
          <p:cNvPr id="180" name="Picture 2" descr="Mankind Pharma Acquisition: Mankind ...">
            <a:extLst>
              <a:ext uri="{FF2B5EF4-FFF2-40B4-BE49-F238E27FC236}">
                <a16:creationId xmlns:a16="http://schemas.microsoft.com/office/drawing/2014/main" id="{672FC45B-1F34-4780-8B3A-FB8A5FB68928}"/>
              </a:ext>
            </a:extLst>
          </p:cNvPr>
          <p:cNvPicPr>
            <a:picLocks noChangeAspect="1" noChangeArrowheads="1"/>
          </p:cNvPicPr>
          <p:nvPr/>
        </p:nvPicPr>
        <p:blipFill>
          <a:blip r:embed="rId2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073767" y="4181255"/>
            <a:ext cx="451909" cy="338495"/>
          </a:xfrm>
          <a:prstGeom prst="rect">
            <a:avLst/>
          </a:prstGeom>
          <a:noFill/>
          <a:extLst>
            <a:ext uri="{909E8E84-426E-40DD-AFC4-6F175D3DCCD1}">
              <a14:hiddenFill xmlns:a14="http://schemas.microsoft.com/office/drawing/2010/main">
                <a:solidFill>
                  <a:srgbClr val="FFFFFF"/>
                </a:solidFill>
              </a14:hiddenFill>
            </a:ext>
          </a:extLst>
        </p:spPr>
      </p:pic>
      <p:pic>
        <p:nvPicPr>
          <p:cNvPr id="181" name="Picture 32" descr="Arrow Left Symbol PNG Transparent ...">
            <a:extLst>
              <a:ext uri="{FF2B5EF4-FFF2-40B4-BE49-F238E27FC236}">
                <a16:creationId xmlns:a16="http://schemas.microsoft.com/office/drawing/2014/main" id="{AD7CB25D-1EE2-8290-0AED-AF6F18AE496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0334" t="32967" r="8677" b="33008"/>
          <a:stretch>
            <a:fillRect/>
          </a:stretch>
        </p:blipFill>
        <p:spPr bwMode="auto">
          <a:xfrm rot="10800000">
            <a:off x="7951478" y="4254172"/>
            <a:ext cx="249473" cy="151946"/>
          </a:xfrm>
          <a:prstGeom prst="rect">
            <a:avLst/>
          </a:prstGeom>
          <a:noFill/>
          <a:extLst>
            <a:ext uri="{909E8E84-426E-40DD-AFC4-6F175D3DCCD1}">
              <a14:hiddenFill xmlns:a14="http://schemas.microsoft.com/office/drawing/2010/main">
                <a:solidFill>
                  <a:srgbClr val="FFFFFF"/>
                </a:solidFill>
              </a14:hiddenFill>
            </a:ext>
          </a:extLst>
        </p:spPr>
      </p:pic>
      <p:pic>
        <p:nvPicPr>
          <p:cNvPr id="182" name="Picture 14" descr="Torrent Pharma Logo &amp; Brand Assets (SVG ...">
            <a:extLst>
              <a:ext uri="{FF2B5EF4-FFF2-40B4-BE49-F238E27FC236}">
                <a16:creationId xmlns:a16="http://schemas.microsoft.com/office/drawing/2014/main" id="{D54F8BAE-8B32-5B66-3C40-AE0C7B1EE4D3}"/>
              </a:ext>
            </a:extLst>
          </p:cNvPr>
          <p:cNvPicPr>
            <a:picLocks noChangeAspect="1" noChangeArrowheads="1"/>
          </p:cNvPicPr>
          <p:nvPr/>
        </p:nvPicPr>
        <p:blipFill rotWithShape="1">
          <a:blip r:embed="rId18">
            <a:clrChange>
              <a:clrFrom>
                <a:srgbClr val="FFFDFF"/>
              </a:clrFrom>
              <a:clrTo>
                <a:srgbClr val="FFFDFF">
                  <a:alpha val="0"/>
                </a:srgbClr>
              </a:clrTo>
            </a:clrChange>
            <a:extLst>
              <a:ext uri="{28A0092B-C50C-407E-A947-70E740481C1C}">
                <a14:useLocalDpi xmlns:a14="http://schemas.microsoft.com/office/drawing/2010/main" val="0"/>
              </a:ext>
            </a:extLst>
          </a:blip>
          <a:srcRect t="27941" b="30180"/>
          <a:stretch>
            <a:fillRect/>
          </a:stretch>
        </p:blipFill>
        <p:spPr bwMode="auto">
          <a:xfrm>
            <a:off x="10534517" y="4219631"/>
            <a:ext cx="625006" cy="261744"/>
          </a:xfrm>
          <a:prstGeom prst="rect">
            <a:avLst/>
          </a:prstGeom>
          <a:noFill/>
          <a:extLst>
            <a:ext uri="{909E8E84-426E-40DD-AFC4-6F175D3DCCD1}">
              <a14:hiddenFill xmlns:a14="http://schemas.microsoft.com/office/drawing/2010/main">
                <a:solidFill>
                  <a:srgbClr val="FFFFFF"/>
                </a:solidFill>
              </a14:hiddenFill>
            </a:ext>
          </a:extLst>
        </p:spPr>
      </p:pic>
      <p:pic>
        <p:nvPicPr>
          <p:cNvPr id="183" name="Picture 32" descr="Arrow Left Symbol PNG Transparent ...">
            <a:extLst>
              <a:ext uri="{FF2B5EF4-FFF2-40B4-BE49-F238E27FC236}">
                <a16:creationId xmlns:a16="http://schemas.microsoft.com/office/drawing/2014/main" id="{C90E661A-37BF-AA6F-089F-D1C92CB3A3AB}"/>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0334" t="32967" r="8677" b="33008"/>
          <a:stretch>
            <a:fillRect/>
          </a:stretch>
        </p:blipFill>
        <p:spPr bwMode="auto">
          <a:xfrm rot="10800000">
            <a:off x="11220369" y="4254173"/>
            <a:ext cx="249473" cy="151946"/>
          </a:xfrm>
          <a:prstGeom prst="rect">
            <a:avLst/>
          </a:prstGeom>
          <a:noFill/>
          <a:extLst>
            <a:ext uri="{909E8E84-426E-40DD-AFC4-6F175D3DCCD1}">
              <a14:hiddenFill xmlns:a14="http://schemas.microsoft.com/office/drawing/2010/main">
                <a:solidFill>
                  <a:srgbClr val="FFFFFF"/>
                </a:solidFill>
              </a14:hiddenFill>
            </a:ext>
          </a:extLst>
        </p:spPr>
      </p:pic>
      <p:pic>
        <p:nvPicPr>
          <p:cNvPr id="184" name="Picture 18" descr="Curatio Healthcare Private Limited ...">
            <a:extLst>
              <a:ext uri="{FF2B5EF4-FFF2-40B4-BE49-F238E27FC236}">
                <a16:creationId xmlns:a16="http://schemas.microsoft.com/office/drawing/2014/main" id="{5F288DC5-2245-718D-896B-4AB21A12F46C}"/>
              </a:ext>
            </a:extLst>
          </p:cNvPr>
          <p:cNvPicPr>
            <a:picLocks noChangeAspect="1" noChangeArrowheads="1"/>
          </p:cNvPicPr>
          <p:nvPr/>
        </p:nvPicPr>
        <p:blipFill rotWithShape="1">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t="32557" b="39893"/>
          <a:stretch>
            <a:fillRect/>
          </a:stretch>
        </p:blipFill>
        <p:spPr bwMode="auto">
          <a:xfrm>
            <a:off x="11524061" y="4272304"/>
            <a:ext cx="417659" cy="115061"/>
          </a:xfrm>
          <a:prstGeom prst="rect">
            <a:avLst/>
          </a:prstGeom>
          <a:noFill/>
          <a:extLst>
            <a:ext uri="{909E8E84-426E-40DD-AFC4-6F175D3DCCD1}">
              <a14:hiddenFill xmlns:a14="http://schemas.microsoft.com/office/drawing/2010/main">
                <a:solidFill>
                  <a:srgbClr val="FFFFFF"/>
                </a:solidFill>
              </a14:hiddenFill>
            </a:ext>
          </a:extLst>
        </p:spPr>
      </p:pic>
      <p:pic>
        <p:nvPicPr>
          <p:cNvPr id="185" name="Picture 10" descr="Sun Pharma - Wikipedia">
            <a:extLst>
              <a:ext uri="{FF2B5EF4-FFF2-40B4-BE49-F238E27FC236}">
                <a16:creationId xmlns:a16="http://schemas.microsoft.com/office/drawing/2014/main" id="{E518A5DC-4C8D-A5A3-CD34-4080E8233C8D}"/>
              </a:ext>
            </a:extLst>
          </p:cNvPr>
          <p:cNvPicPr>
            <a:picLocks noChangeAspect="1" noChangeArrowheads="1"/>
          </p:cNvPicPr>
          <p:nvPr/>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047063" y="5040266"/>
            <a:ext cx="339288" cy="458375"/>
          </a:xfrm>
          <a:prstGeom prst="rect">
            <a:avLst/>
          </a:prstGeom>
          <a:noFill/>
          <a:extLst>
            <a:ext uri="{909E8E84-426E-40DD-AFC4-6F175D3DCCD1}">
              <a14:hiddenFill xmlns:a14="http://schemas.microsoft.com/office/drawing/2010/main">
                <a:solidFill>
                  <a:srgbClr val="FFFFFF"/>
                </a:solidFill>
              </a14:hiddenFill>
            </a:ext>
          </a:extLst>
        </p:spPr>
      </p:pic>
      <p:pic>
        <p:nvPicPr>
          <p:cNvPr id="186" name="Picture 32" descr="Arrow Left Symbol PNG Transparent ...">
            <a:extLst>
              <a:ext uri="{FF2B5EF4-FFF2-40B4-BE49-F238E27FC236}">
                <a16:creationId xmlns:a16="http://schemas.microsoft.com/office/drawing/2014/main" id="{9922FE38-2C3F-C5E3-A1A5-848AB259AD45}"/>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0334" t="32967" r="8677" b="33008"/>
          <a:stretch>
            <a:fillRect/>
          </a:stretch>
        </p:blipFill>
        <p:spPr bwMode="auto">
          <a:xfrm rot="10800000">
            <a:off x="9568619" y="5166486"/>
            <a:ext cx="249473" cy="151946"/>
          </a:xfrm>
          <a:prstGeom prst="rect">
            <a:avLst/>
          </a:prstGeom>
          <a:noFill/>
          <a:extLst>
            <a:ext uri="{909E8E84-426E-40DD-AFC4-6F175D3DCCD1}">
              <a14:hiddenFill xmlns:a14="http://schemas.microsoft.com/office/drawing/2010/main">
                <a:solidFill>
                  <a:srgbClr val="FFFFFF"/>
                </a:solidFill>
              </a14:hiddenFill>
            </a:ext>
          </a:extLst>
        </p:spPr>
      </p:pic>
      <p:pic>
        <p:nvPicPr>
          <p:cNvPr id="188" name="Picture 187">
            <a:extLst>
              <a:ext uri="{FF2B5EF4-FFF2-40B4-BE49-F238E27FC236}">
                <a16:creationId xmlns:a16="http://schemas.microsoft.com/office/drawing/2014/main" id="{EB5BA1F1-FFD6-CDEC-3FF6-4E8152CDFDD8}"/>
              </a:ext>
            </a:extLst>
          </p:cNvPr>
          <p:cNvPicPr>
            <a:picLocks noChangeAspect="1"/>
          </p:cNvPicPr>
          <p:nvPr/>
        </p:nvPicPr>
        <p:blipFill>
          <a:blip r:embed="rId29">
            <a:clrChange>
              <a:clrFrom>
                <a:srgbClr val="FBFBF9"/>
              </a:clrFrom>
              <a:clrTo>
                <a:srgbClr val="FBFBF9">
                  <a:alpha val="0"/>
                </a:srgbClr>
              </a:clrTo>
            </a:clrChange>
          </a:blip>
          <a:stretch>
            <a:fillRect/>
          </a:stretch>
        </p:blipFill>
        <p:spPr>
          <a:xfrm>
            <a:off x="9842945" y="5163416"/>
            <a:ext cx="540758" cy="174951"/>
          </a:xfrm>
          <a:prstGeom prst="rect">
            <a:avLst/>
          </a:prstGeom>
        </p:spPr>
      </p:pic>
      <p:pic>
        <p:nvPicPr>
          <p:cNvPr id="189" name="Picture 32" descr="Arrow Left Symbol PNG Transparent ...">
            <a:extLst>
              <a:ext uri="{FF2B5EF4-FFF2-40B4-BE49-F238E27FC236}">
                <a16:creationId xmlns:a16="http://schemas.microsoft.com/office/drawing/2014/main" id="{1A0EAAB6-7946-1565-4CC0-1BA071150062}"/>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0334" t="32967" r="8677" b="33008"/>
          <a:stretch>
            <a:fillRect/>
          </a:stretch>
        </p:blipFill>
        <p:spPr bwMode="auto">
          <a:xfrm rot="10800000">
            <a:off x="11220369" y="5166486"/>
            <a:ext cx="249473" cy="151946"/>
          </a:xfrm>
          <a:prstGeom prst="rect">
            <a:avLst/>
          </a:prstGeom>
          <a:noFill/>
          <a:extLst>
            <a:ext uri="{909E8E84-426E-40DD-AFC4-6F175D3DCCD1}">
              <a14:hiddenFill xmlns:a14="http://schemas.microsoft.com/office/drawing/2010/main">
                <a:solidFill>
                  <a:srgbClr val="FFFFFF"/>
                </a:solidFill>
              </a14:hiddenFill>
            </a:ext>
          </a:extLst>
        </p:spPr>
      </p:pic>
      <p:pic>
        <p:nvPicPr>
          <p:cNvPr id="190" name="Picture 16">
            <a:extLst>
              <a:ext uri="{FF2B5EF4-FFF2-40B4-BE49-F238E27FC236}">
                <a16:creationId xmlns:a16="http://schemas.microsoft.com/office/drawing/2014/main" id="{D43425FF-5208-D10C-D9E2-95F7B467EAE8}"/>
              </a:ext>
            </a:extLst>
          </p:cNvPr>
          <p:cNvPicPr>
            <a:picLocks noChangeAspect="1" noChangeArrowheads="1"/>
          </p:cNvPicPr>
          <p:nvPr/>
        </p:nvPicPr>
        <p:blipFill rotWithShape="1">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b="21797"/>
          <a:stretch>
            <a:fillRect/>
          </a:stretch>
        </p:blipFill>
        <p:spPr bwMode="auto">
          <a:xfrm>
            <a:off x="10569516" y="5118810"/>
            <a:ext cx="555379" cy="249444"/>
          </a:xfrm>
          <a:prstGeom prst="rect">
            <a:avLst/>
          </a:prstGeom>
          <a:noFill/>
          <a:extLst>
            <a:ext uri="{909E8E84-426E-40DD-AFC4-6F175D3DCCD1}">
              <a14:hiddenFill xmlns:a14="http://schemas.microsoft.com/office/drawing/2010/main">
                <a:solidFill>
                  <a:srgbClr val="FFFFFF"/>
                </a:solidFill>
              </a14:hiddenFill>
            </a:ext>
          </a:extLst>
        </p:spPr>
      </p:pic>
      <p:pic>
        <p:nvPicPr>
          <p:cNvPr id="191" name="Picture 20">
            <a:extLst>
              <a:ext uri="{FF2B5EF4-FFF2-40B4-BE49-F238E27FC236}">
                <a16:creationId xmlns:a16="http://schemas.microsoft.com/office/drawing/2014/main" id="{9CA1D847-45B4-C6AC-D043-B70DD7E9732E}"/>
              </a:ext>
            </a:extLst>
          </p:cNvPr>
          <p:cNvPicPr>
            <a:picLocks noChangeAspect="1" noChangeArrowheads="1"/>
          </p:cNvPicPr>
          <p:nvPr/>
        </p:nvPicPr>
        <p:blipFill rotWithShape="1">
          <a:blip r:embed="rId30">
            <a:clrChange>
              <a:clrFrom>
                <a:srgbClr val="FFFFFF"/>
              </a:clrFrom>
              <a:clrTo>
                <a:srgbClr val="FFFFFF">
                  <a:alpha val="0"/>
                </a:srgbClr>
              </a:clrTo>
            </a:clrChange>
            <a:extLst>
              <a:ext uri="{28A0092B-C50C-407E-A947-70E740481C1C}">
                <a14:useLocalDpi xmlns:a14="http://schemas.microsoft.com/office/drawing/2010/main" val="0"/>
              </a:ext>
            </a:extLst>
          </a:blip>
          <a:srcRect t="27133" b="29602"/>
          <a:stretch>
            <a:fillRect/>
          </a:stretch>
        </p:blipFill>
        <p:spPr bwMode="auto">
          <a:xfrm>
            <a:off x="11442294" y="5123219"/>
            <a:ext cx="526463" cy="227773"/>
          </a:xfrm>
          <a:prstGeom prst="rect">
            <a:avLst/>
          </a:prstGeom>
          <a:noFill/>
          <a:extLst>
            <a:ext uri="{909E8E84-426E-40DD-AFC4-6F175D3DCCD1}">
              <a14:hiddenFill xmlns:a14="http://schemas.microsoft.com/office/drawing/2010/main">
                <a:solidFill>
                  <a:srgbClr val="FFFFFF"/>
                </a:solidFill>
              </a14:hiddenFill>
            </a:ext>
          </a:extLst>
        </p:spPr>
      </p:pic>
      <p:sp>
        <p:nvSpPr>
          <p:cNvPr id="116" name="TextBox 115">
            <a:extLst>
              <a:ext uri="{FF2B5EF4-FFF2-40B4-BE49-F238E27FC236}">
                <a16:creationId xmlns:a16="http://schemas.microsoft.com/office/drawing/2014/main" id="{DE1EFC8F-C845-CC63-9F09-165A3750F05F}"/>
              </a:ext>
            </a:extLst>
          </p:cNvPr>
          <p:cNvSpPr txBox="1"/>
          <p:nvPr/>
        </p:nvSpPr>
        <p:spPr>
          <a:xfrm>
            <a:off x="317937" y="4824362"/>
            <a:ext cx="5480628" cy="400110"/>
          </a:xfrm>
          <a:prstGeom prst="rect">
            <a:avLst/>
          </a:prstGeom>
          <a:noFill/>
        </p:spPr>
        <p:txBody>
          <a:bodyPr wrap="square" rtlCol="0" anchor="ctr">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000" b="1" i="0" u="none" strike="noStrike" kern="1200" cap="none" spc="0" normalizeH="0" baseline="0" noProof="0" dirty="0">
                <a:ln>
                  <a:noFill/>
                </a:ln>
                <a:solidFill>
                  <a:srgbClr val="404040"/>
                </a:solidFill>
                <a:effectLst/>
                <a:uLnTx/>
                <a:uFillTx/>
                <a:latin typeface="Segoe UI"/>
                <a:ea typeface="+mn-ea"/>
                <a:cs typeface="+mn-cs"/>
              </a:rPr>
              <a:t>Jan-</a:t>
            </a:r>
            <a:r>
              <a:rPr kumimoji="0" lang="en-US" sz="1000" b="1" i="0" u="none" strike="noStrike" kern="1200" cap="none" spc="0" normalizeH="0" baseline="0" noProof="0" dirty="0" err="1">
                <a:ln>
                  <a:noFill/>
                </a:ln>
                <a:solidFill>
                  <a:srgbClr val="404040"/>
                </a:solidFill>
                <a:effectLst/>
                <a:uLnTx/>
                <a:uFillTx/>
                <a:latin typeface="Segoe UI"/>
                <a:ea typeface="+mn-ea"/>
                <a:cs typeface="+mn-cs"/>
              </a:rPr>
              <a:t>aushadhi</a:t>
            </a:r>
            <a:r>
              <a:rPr kumimoji="0" lang="en-US" sz="1000" b="1" i="0" u="none" strike="noStrike" kern="1200" cap="none" spc="0" normalizeH="0" baseline="0" noProof="0" dirty="0">
                <a:ln>
                  <a:noFill/>
                </a:ln>
                <a:solidFill>
                  <a:srgbClr val="404040"/>
                </a:solidFill>
                <a:effectLst/>
                <a:uLnTx/>
                <a:uFillTx/>
                <a:latin typeface="Segoe UI"/>
                <a:ea typeface="+mn-ea"/>
                <a:cs typeface="+mn-cs"/>
              </a:rPr>
              <a:t> </a:t>
            </a:r>
            <a:r>
              <a:rPr kumimoji="0" lang="en-US" sz="1000" i="0" u="none" strike="noStrike" kern="1200" cap="none" spc="0" normalizeH="0" baseline="0" noProof="0" dirty="0">
                <a:ln>
                  <a:noFill/>
                </a:ln>
                <a:solidFill>
                  <a:srgbClr val="404040"/>
                </a:solidFill>
                <a:effectLst/>
                <a:uLnTx/>
                <a:uFillTx/>
                <a:latin typeface="Segoe UI"/>
                <a:ea typeface="+mn-ea"/>
                <a:cs typeface="+mn-cs"/>
              </a:rPr>
              <a:t>continues to </a:t>
            </a:r>
            <a:r>
              <a:rPr lang="en-US" sz="1000" dirty="0">
                <a:solidFill>
                  <a:srgbClr val="404040"/>
                </a:solidFill>
                <a:latin typeface="Segoe UI"/>
              </a:rPr>
              <a:t>hurt </a:t>
            </a:r>
            <a:r>
              <a:rPr lang="en-US" sz="1000" b="1" dirty="0">
                <a:solidFill>
                  <a:srgbClr val="404040"/>
                </a:solidFill>
                <a:latin typeface="Segoe UI"/>
              </a:rPr>
              <a:t>volume growth in acute segment </a:t>
            </a:r>
            <a:r>
              <a:rPr lang="en-US" sz="1000" dirty="0">
                <a:solidFill>
                  <a:srgbClr val="404040"/>
                </a:solidFill>
                <a:latin typeface="Segoe UI"/>
              </a:rPr>
              <a:t>in domestic formulations coupled with high growth in </a:t>
            </a:r>
            <a:r>
              <a:rPr lang="en-US" sz="1000" b="1" dirty="0">
                <a:solidFill>
                  <a:srgbClr val="404040"/>
                </a:solidFill>
                <a:latin typeface="Segoe UI"/>
              </a:rPr>
              <a:t>trade generics</a:t>
            </a:r>
            <a:endParaRPr kumimoji="0" lang="en-US" sz="1000" b="0" i="0" u="none" strike="noStrike" kern="1200" cap="none" spc="0" normalizeH="0" baseline="0" noProof="0" dirty="0">
              <a:ln>
                <a:noFill/>
              </a:ln>
              <a:solidFill>
                <a:srgbClr val="404040"/>
              </a:solidFill>
              <a:effectLst/>
              <a:uLnTx/>
              <a:uFillTx/>
              <a:latin typeface="Segoe UI"/>
              <a:ea typeface="+mn-ea"/>
              <a:cs typeface="+mn-cs"/>
            </a:endParaRPr>
          </a:p>
        </p:txBody>
      </p:sp>
      <p:sp>
        <p:nvSpPr>
          <p:cNvPr id="118" name="TextBox 117">
            <a:extLst>
              <a:ext uri="{FF2B5EF4-FFF2-40B4-BE49-F238E27FC236}">
                <a16:creationId xmlns:a16="http://schemas.microsoft.com/office/drawing/2014/main" id="{C20D6B8F-349A-B5C5-C990-B4D4B794B715}"/>
              </a:ext>
            </a:extLst>
          </p:cNvPr>
          <p:cNvSpPr txBox="1"/>
          <p:nvPr/>
        </p:nvSpPr>
        <p:spPr>
          <a:xfrm>
            <a:off x="317937" y="5274720"/>
            <a:ext cx="5480628" cy="400110"/>
          </a:xfrm>
          <a:prstGeom prst="rect">
            <a:avLst/>
          </a:prstGeom>
          <a:noFill/>
        </p:spPr>
        <p:txBody>
          <a:bodyPr wrap="square" rtlCol="0" anchor="ctr">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000" b="1" i="0" u="none" strike="noStrike" kern="1200" cap="none" spc="0" normalizeH="0" baseline="0" noProof="0" dirty="0">
                <a:ln>
                  <a:noFill/>
                </a:ln>
                <a:solidFill>
                  <a:srgbClr val="404040"/>
                </a:solidFill>
                <a:effectLst/>
                <a:uLnTx/>
                <a:uFillTx/>
                <a:latin typeface="Segoe UI"/>
                <a:ea typeface="+mn-ea"/>
                <a:cs typeface="+mn-cs"/>
              </a:rPr>
              <a:t>US market </a:t>
            </a:r>
            <a:r>
              <a:rPr kumimoji="0" lang="en-US" sz="1000" i="0" u="none" strike="noStrike" kern="1200" cap="none" spc="0" normalizeH="0" baseline="0" noProof="0" dirty="0">
                <a:ln>
                  <a:noFill/>
                </a:ln>
                <a:solidFill>
                  <a:srgbClr val="404040"/>
                </a:solidFill>
                <a:effectLst/>
                <a:uLnTx/>
                <a:uFillTx/>
                <a:latin typeface="Segoe UI"/>
                <a:ea typeface="+mn-ea"/>
                <a:cs typeface="+mn-cs"/>
              </a:rPr>
              <a:t>witnessed </a:t>
            </a:r>
            <a:r>
              <a:rPr kumimoji="0" lang="en-US" sz="1000" b="1" i="0" u="none" strike="noStrike" kern="1200" cap="none" spc="0" normalizeH="0" baseline="0" noProof="0" dirty="0">
                <a:ln>
                  <a:noFill/>
                </a:ln>
                <a:solidFill>
                  <a:srgbClr val="404040"/>
                </a:solidFill>
                <a:effectLst/>
                <a:uLnTx/>
                <a:uFillTx/>
                <a:latin typeface="Segoe UI"/>
                <a:ea typeface="+mn-ea"/>
                <a:cs typeface="+mn-cs"/>
              </a:rPr>
              <a:t>persistent price erosion </a:t>
            </a:r>
            <a:r>
              <a:rPr kumimoji="0" lang="en-US" sz="1000" i="0" u="none" strike="noStrike" kern="1200" cap="none" spc="0" normalizeH="0" baseline="0" noProof="0" dirty="0">
                <a:ln>
                  <a:noFill/>
                </a:ln>
                <a:solidFill>
                  <a:srgbClr val="404040"/>
                </a:solidFill>
                <a:effectLst/>
                <a:uLnTx/>
                <a:uFillTx/>
                <a:latin typeface="Segoe UI"/>
                <a:ea typeface="+mn-ea"/>
                <a:cs typeface="+mn-cs"/>
              </a:rPr>
              <a:t>coupled with </a:t>
            </a:r>
            <a:r>
              <a:rPr kumimoji="0" lang="en-US" sz="1000" b="1" i="0" u="none" strike="noStrike" kern="1200" cap="none" spc="0" normalizeH="0" baseline="0" noProof="0" dirty="0">
                <a:ln>
                  <a:noFill/>
                </a:ln>
                <a:solidFill>
                  <a:srgbClr val="404040"/>
                </a:solidFill>
                <a:effectLst/>
                <a:uLnTx/>
                <a:uFillTx/>
                <a:latin typeface="Segoe UI"/>
                <a:ea typeface="+mn-ea"/>
                <a:cs typeface="+mn-cs"/>
              </a:rPr>
              <a:t>high regulatory costs</a:t>
            </a:r>
            <a:r>
              <a:rPr lang="en-US" sz="1000" dirty="0">
                <a:solidFill>
                  <a:srgbClr val="404040"/>
                </a:solidFill>
                <a:latin typeface="Segoe UI"/>
              </a:rPr>
              <a:t>; </a:t>
            </a:r>
            <a:r>
              <a:rPr lang="en-US" sz="1000" b="1" dirty="0">
                <a:solidFill>
                  <a:srgbClr val="404040"/>
                </a:solidFill>
                <a:latin typeface="Segoe UI"/>
              </a:rPr>
              <a:t>Tariffs </a:t>
            </a:r>
            <a:r>
              <a:rPr lang="en-US" sz="1000" dirty="0">
                <a:solidFill>
                  <a:srgbClr val="404040"/>
                </a:solidFill>
                <a:latin typeface="Segoe UI"/>
              </a:rPr>
              <a:t>might</a:t>
            </a:r>
            <a:r>
              <a:rPr lang="en-US" sz="1000" b="1" dirty="0">
                <a:solidFill>
                  <a:srgbClr val="404040"/>
                </a:solidFill>
                <a:latin typeface="Segoe UI"/>
              </a:rPr>
              <a:t> </a:t>
            </a:r>
            <a:r>
              <a:rPr lang="en-US" sz="1000" dirty="0">
                <a:solidFill>
                  <a:srgbClr val="404040"/>
                </a:solidFill>
                <a:latin typeface="Segoe UI"/>
              </a:rPr>
              <a:t>pose additional challenge for Indian Gx companies</a:t>
            </a:r>
            <a:r>
              <a:rPr kumimoji="0" lang="en-US" sz="1000" b="0" i="0" u="none" strike="noStrike" kern="1200" cap="none" spc="0" normalizeH="0" baseline="0" noProof="0" dirty="0">
                <a:ln>
                  <a:noFill/>
                </a:ln>
                <a:solidFill>
                  <a:srgbClr val="404040"/>
                </a:solidFill>
                <a:effectLst/>
                <a:uLnTx/>
                <a:uFillTx/>
                <a:latin typeface="Segoe UI"/>
                <a:ea typeface="+mn-ea"/>
                <a:cs typeface="+mn-cs"/>
              </a:rPr>
              <a:t> </a:t>
            </a:r>
          </a:p>
        </p:txBody>
      </p:sp>
      <p:sp>
        <p:nvSpPr>
          <p:cNvPr id="119" name="TextBox 118">
            <a:extLst>
              <a:ext uri="{FF2B5EF4-FFF2-40B4-BE49-F238E27FC236}">
                <a16:creationId xmlns:a16="http://schemas.microsoft.com/office/drawing/2014/main" id="{9C7EAEF9-C7FE-30AF-DA0B-3C87C9779E77}"/>
              </a:ext>
            </a:extLst>
          </p:cNvPr>
          <p:cNvSpPr txBox="1"/>
          <p:nvPr/>
        </p:nvSpPr>
        <p:spPr>
          <a:xfrm>
            <a:off x="317937" y="6318014"/>
            <a:ext cx="5480628" cy="246221"/>
          </a:xfrm>
          <a:prstGeom prst="rect">
            <a:avLst/>
          </a:prstGeom>
          <a:noFill/>
        </p:spPr>
        <p:txBody>
          <a:bodyPr wrap="square" rtlCol="0" anchor="ctr">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000" b="1" i="0" u="none" strike="noStrike" kern="1200" cap="none" spc="0" normalizeH="0" baseline="0" noProof="0" dirty="0">
                <a:ln>
                  <a:noFill/>
                </a:ln>
                <a:solidFill>
                  <a:srgbClr val="404040"/>
                </a:solidFill>
                <a:effectLst/>
                <a:uLnTx/>
                <a:uFillTx/>
                <a:latin typeface="Segoe UI"/>
                <a:ea typeface="+mn-ea"/>
                <a:cs typeface="+mn-cs"/>
              </a:rPr>
              <a:t>Momentum in APIs platforms has subsided </a:t>
            </a:r>
            <a:r>
              <a:rPr kumimoji="0" lang="en-US" sz="1000" b="0" i="0" u="none" strike="noStrike" kern="1200" cap="none" spc="0" normalizeH="0" baseline="0" noProof="0" dirty="0">
                <a:ln>
                  <a:noFill/>
                </a:ln>
                <a:solidFill>
                  <a:srgbClr val="404040"/>
                </a:solidFill>
                <a:effectLst/>
                <a:uLnTx/>
                <a:uFillTx/>
                <a:latin typeface="Segoe UI"/>
                <a:ea typeface="+mn-ea"/>
                <a:cs typeface="+mn-cs"/>
              </a:rPr>
              <a:t>with growth challenges and pricing pressures</a:t>
            </a:r>
            <a:endParaRPr kumimoji="0" lang="en-IN" sz="1000" b="0" i="0" u="none" strike="noStrike" kern="1200" cap="none" spc="0" normalizeH="0" baseline="0" noProof="0" dirty="0">
              <a:ln>
                <a:noFill/>
              </a:ln>
              <a:solidFill>
                <a:srgbClr val="404040"/>
              </a:solidFill>
              <a:effectLst/>
              <a:uLnTx/>
              <a:uFillTx/>
              <a:latin typeface="Segoe UI"/>
              <a:ea typeface="+mn-ea"/>
              <a:cs typeface="+mn-cs"/>
            </a:endParaRPr>
          </a:p>
        </p:txBody>
      </p:sp>
      <p:sp>
        <p:nvSpPr>
          <p:cNvPr id="120" name="TextBox 119">
            <a:extLst>
              <a:ext uri="{FF2B5EF4-FFF2-40B4-BE49-F238E27FC236}">
                <a16:creationId xmlns:a16="http://schemas.microsoft.com/office/drawing/2014/main" id="{9F92BB3E-053F-D500-DF4F-525C3C147259}"/>
              </a:ext>
            </a:extLst>
          </p:cNvPr>
          <p:cNvSpPr txBox="1"/>
          <p:nvPr/>
        </p:nvSpPr>
        <p:spPr>
          <a:xfrm>
            <a:off x="317937" y="5725078"/>
            <a:ext cx="5480628" cy="246221"/>
          </a:xfrm>
          <a:prstGeom prst="rect">
            <a:avLst/>
          </a:prstGeom>
          <a:noFill/>
        </p:spPr>
        <p:txBody>
          <a:bodyPr wrap="square" rtlCol="0" anchor="ctr">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000" b="1" i="0" u="none" strike="noStrike" kern="1200" cap="none" spc="0" normalizeH="0" baseline="0" noProof="0" dirty="0">
                <a:ln>
                  <a:noFill/>
                </a:ln>
                <a:solidFill>
                  <a:srgbClr val="404040"/>
                </a:solidFill>
                <a:effectLst/>
                <a:uLnTx/>
                <a:uFillTx/>
                <a:latin typeface="Segoe UI"/>
                <a:ea typeface="+mn-ea"/>
                <a:cs typeface="+mn-cs"/>
              </a:rPr>
              <a:t>Injectables, complex generics</a:t>
            </a:r>
            <a:r>
              <a:rPr kumimoji="0" lang="en-US" sz="1000" i="0" u="none" strike="noStrike" kern="1200" cap="none" spc="0" normalizeH="0" baseline="0" noProof="0" dirty="0">
                <a:ln>
                  <a:noFill/>
                </a:ln>
                <a:solidFill>
                  <a:srgbClr val="404040"/>
                </a:solidFill>
                <a:effectLst/>
                <a:uLnTx/>
                <a:uFillTx/>
                <a:latin typeface="Segoe UI"/>
                <a:ea typeface="+mn-ea"/>
                <a:cs typeface="+mn-cs"/>
              </a:rPr>
              <a:t> remain </a:t>
            </a:r>
            <a:r>
              <a:rPr kumimoji="0" lang="en-US" sz="1000" b="1" i="0" u="none" strike="noStrike" kern="1200" cap="none" spc="0" normalizeH="0" baseline="0" noProof="0" dirty="0">
                <a:ln>
                  <a:noFill/>
                </a:ln>
                <a:solidFill>
                  <a:srgbClr val="404040"/>
                </a:solidFill>
                <a:effectLst/>
                <a:uLnTx/>
                <a:uFillTx/>
                <a:latin typeface="Segoe UI"/>
                <a:ea typeface="+mn-ea"/>
                <a:cs typeface="+mn-cs"/>
              </a:rPr>
              <a:t>islands of profitability</a:t>
            </a:r>
            <a:r>
              <a:rPr kumimoji="0" lang="en-US" sz="1000" i="0" u="none" strike="noStrike" kern="1200" cap="none" spc="0" normalizeH="0" baseline="0" noProof="0" dirty="0">
                <a:ln>
                  <a:noFill/>
                </a:ln>
                <a:solidFill>
                  <a:srgbClr val="404040"/>
                </a:solidFill>
                <a:effectLst/>
                <a:uLnTx/>
                <a:uFillTx/>
                <a:latin typeface="Segoe UI"/>
                <a:ea typeface="+mn-ea"/>
                <a:cs typeface="+mn-cs"/>
              </a:rPr>
              <a:t> in the US market</a:t>
            </a:r>
          </a:p>
        </p:txBody>
      </p:sp>
      <p:sp>
        <p:nvSpPr>
          <p:cNvPr id="121" name="TextBox 120">
            <a:extLst>
              <a:ext uri="{FF2B5EF4-FFF2-40B4-BE49-F238E27FC236}">
                <a16:creationId xmlns:a16="http://schemas.microsoft.com/office/drawing/2014/main" id="{8FD4A827-EEE9-EFBC-16F5-D300FE64AEF4}"/>
              </a:ext>
            </a:extLst>
          </p:cNvPr>
          <p:cNvSpPr txBox="1"/>
          <p:nvPr/>
        </p:nvSpPr>
        <p:spPr>
          <a:xfrm>
            <a:off x="317937" y="6021547"/>
            <a:ext cx="5480628" cy="246221"/>
          </a:xfrm>
          <a:prstGeom prst="rect">
            <a:avLst/>
          </a:prstGeom>
          <a:noFill/>
        </p:spPr>
        <p:txBody>
          <a:bodyPr wrap="square" rtlCol="0" anchor="ctr">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000" b="1" i="0" u="none" strike="noStrike" kern="1200" cap="none" spc="0" normalizeH="0" baseline="0" noProof="0" dirty="0">
                <a:ln>
                  <a:noFill/>
                </a:ln>
                <a:solidFill>
                  <a:srgbClr val="404040"/>
                </a:solidFill>
                <a:effectLst/>
                <a:uLnTx/>
                <a:uFillTx/>
                <a:latin typeface="Segoe UI"/>
                <a:ea typeface="+mn-ea"/>
                <a:cs typeface="+mn-cs"/>
              </a:rPr>
              <a:t>Consistent growth </a:t>
            </a:r>
            <a:r>
              <a:rPr kumimoji="0" lang="en-US" sz="1000" i="0" u="none" strike="noStrike" kern="1200" cap="none" spc="0" normalizeH="0" baseline="0" noProof="0" dirty="0">
                <a:ln>
                  <a:noFill/>
                </a:ln>
                <a:solidFill>
                  <a:srgbClr val="404040"/>
                </a:solidFill>
                <a:effectLst/>
                <a:uLnTx/>
                <a:uFillTx/>
                <a:latin typeface="Segoe UI"/>
                <a:ea typeface="+mn-ea"/>
                <a:cs typeface="+mn-cs"/>
              </a:rPr>
              <a:t>remains a challenge in </a:t>
            </a:r>
            <a:r>
              <a:rPr kumimoji="0" lang="en-US" sz="1000" i="0" u="none" strike="noStrike" kern="1200" cap="none" spc="0" normalizeH="0" baseline="0" noProof="0" dirty="0" err="1">
                <a:ln>
                  <a:noFill/>
                </a:ln>
                <a:solidFill>
                  <a:srgbClr val="404040"/>
                </a:solidFill>
                <a:effectLst/>
                <a:uLnTx/>
                <a:uFillTx/>
                <a:latin typeface="Segoe UI"/>
                <a:ea typeface="+mn-ea"/>
                <a:cs typeface="+mn-cs"/>
              </a:rPr>
              <a:t>RoW</a:t>
            </a:r>
            <a:r>
              <a:rPr kumimoji="0" lang="en-US" sz="1000" i="0" u="none" strike="noStrike" kern="1200" cap="none" spc="0" normalizeH="0" baseline="0" noProof="0" dirty="0">
                <a:ln>
                  <a:noFill/>
                </a:ln>
                <a:solidFill>
                  <a:srgbClr val="404040"/>
                </a:solidFill>
                <a:effectLst/>
                <a:uLnTx/>
                <a:uFillTx/>
                <a:latin typeface="Segoe UI"/>
                <a:ea typeface="+mn-ea"/>
                <a:cs typeface="+mn-cs"/>
              </a:rPr>
              <a:t> markets</a:t>
            </a:r>
          </a:p>
        </p:txBody>
      </p:sp>
    </p:spTree>
    <p:extLst>
      <p:ext uri="{BB962C8B-B14F-4D97-AF65-F5344CB8AC3E}">
        <p14:creationId xmlns:p14="http://schemas.microsoft.com/office/powerpoint/2010/main" val="5453928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FBE4CC-E8D3-9F0F-2603-1FA70F95268B}"/>
            </a:ext>
          </a:extLst>
        </p:cNvPr>
        <p:cNvGrpSpPr/>
        <p:nvPr/>
      </p:nvGrpSpPr>
      <p:grpSpPr>
        <a:xfrm>
          <a:off x="0" y="0"/>
          <a:ext cx="0" cy="0"/>
          <a:chOff x="0" y="0"/>
          <a:chExt cx="0" cy="0"/>
        </a:xfrm>
      </p:grpSpPr>
      <p:grpSp>
        <p:nvGrpSpPr>
          <p:cNvPr id="1051" name="Group 1050">
            <a:extLst>
              <a:ext uri="{FF2B5EF4-FFF2-40B4-BE49-F238E27FC236}">
                <a16:creationId xmlns:a16="http://schemas.microsoft.com/office/drawing/2014/main" id="{ED6BE194-B70C-6C1C-5E4E-E45E088CCDF7}"/>
              </a:ext>
            </a:extLst>
          </p:cNvPr>
          <p:cNvGrpSpPr/>
          <p:nvPr/>
        </p:nvGrpSpPr>
        <p:grpSpPr>
          <a:xfrm>
            <a:off x="7295363" y="2189515"/>
            <a:ext cx="2304000" cy="814726"/>
            <a:chOff x="9292546" y="1515445"/>
            <a:chExt cx="1771695" cy="2475312"/>
          </a:xfrm>
        </p:grpSpPr>
        <p:sp>
          <p:nvSpPr>
            <p:cNvPr id="1052" name="Rectangle: Rounded Corners 1051">
              <a:extLst>
                <a:ext uri="{FF2B5EF4-FFF2-40B4-BE49-F238E27FC236}">
                  <a16:creationId xmlns:a16="http://schemas.microsoft.com/office/drawing/2014/main" id="{4B7FFF23-E212-8806-1652-7385C809E65A}"/>
                </a:ext>
              </a:extLst>
            </p:cNvPr>
            <p:cNvSpPr/>
            <p:nvPr/>
          </p:nvSpPr>
          <p:spPr>
            <a:xfrm>
              <a:off x="9292546" y="1515445"/>
              <a:ext cx="1771695" cy="2475312"/>
            </a:xfrm>
            <a:prstGeom prst="roundRect">
              <a:avLst>
                <a:gd name="adj" fmla="val 4646"/>
              </a:avLst>
            </a:prstGeom>
            <a:solidFill>
              <a:schemeClr val="accent4">
                <a:lumMod val="50000"/>
              </a:schemeClr>
            </a:solidFill>
            <a:ln>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053" name="Rectangle: Rounded Corners 1052">
              <a:extLst>
                <a:ext uri="{FF2B5EF4-FFF2-40B4-BE49-F238E27FC236}">
                  <a16:creationId xmlns:a16="http://schemas.microsoft.com/office/drawing/2014/main" id="{BD7507EF-25C6-5503-40CF-E4D6770C5E1C}"/>
                </a:ext>
              </a:extLst>
            </p:cNvPr>
            <p:cNvSpPr/>
            <p:nvPr/>
          </p:nvSpPr>
          <p:spPr>
            <a:xfrm>
              <a:off x="9292546" y="1523430"/>
              <a:ext cx="1771695" cy="2364467"/>
            </a:xfrm>
            <a:prstGeom prst="roundRect">
              <a:avLst>
                <a:gd name="adj" fmla="val 4646"/>
              </a:avLst>
            </a:prstGeom>
            <a:solidFill>
              <a:schemeClr val="bg1"/>
            </a:solidFill>
            <a:ln>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srgbClr val="385723"/>
                </a:solidFill>
                <a:effectLst/>
                <a:uLnTx/>
                <a:uFillTx/>
                <a:latin typeface="Segoe UI"/>
                <a:ea typeface="+mn-ea"/>
                <a:cs typeface="+mn-cs"/>
              </a:endParaRPr>
            </a:p>
          </p:txBody>
        </p:sp>
      </p:grpSp>
      <p:grpSp>
        <p:nvGrpSpPr>
          <p:cNvPr id="1054" name="Group 1053">
            <a:extLst>
              <a:ext uri="{FF2B5EF4-FFF2-40B4-BE49-F238E27FC236}">
                <a16:creationId xmlns:a16="http://schemas.microsoft.com/office/drawing/2014/main" id="{F202461E-F68B-C7C5-A7F2-0C7C2492A156}"/>
              </a:ext>
            </a:extLst>
          </p:cNvPr>
          <p:cNvGrpSpPr/>
          <p:nvPr/>
        </p:nvGrpSpPr>
        <p:grpSpPr>
          <a:xfrm>
            <a:off x="9688573" y="2189515"/>
            <a:ext cx="2304000" cy="814726"/>
            <a:chOff x="9292546" y="1515445"/>
            <a:chExt cx="1771695" cy="2475312"/>
          </a:xfrm>
        </p:grpSpPr>
        <p:sp>
          <p:nvSpPr>
            <p:cNvPr id="1055" name="Rectangle: Rounded Corners 1054">
              <a:extLst>
                <a:ext uri="{FF2B5EF4-FFF2-40B4-BE49-F238E27FC236}">
                  <a16:creationId xmlns:a16="http://schemas.microsoft.com/office/drawing/2014/main" id="{24975004-9277-5302-384F-801D5FC89069}"/>
                </a:ext>
              </a:extLst>
            </p:cNvPr>
            <p:cNvSpPr/>
            <p:nvPr/>
          </p:nvSpPr>
          <p:spPr>
            <a:xfrm>
              <a:off x="9292546" y="1515445"/>
              <a:ext cx="1771695" cy="2475312"/>
            </a:xfrm>
            <a:prstGeom prst="roundRect">
              <a:avLst>
                <a:gd name="adj" fmla="val 4646"/>
              </a:avLst>
            </a:prstGeom>
            <a:solidFill>
              <a:schemeClr val="accent4">
                <a:lumMod val="50000"/>
              </a:schemeClr>
            </a:solidFill>
            <a:ln>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056" name="Rectangle: Rounded Corners 1055">
              <a:extLst>
                <a:ext uri="{FF2B5EF4-FFF2-40B4-BE49-F238E27FC236}">
                  <a16:creationId xmlns:a16="http://schemas.microsoft.com/office/drawing/2014/main" id="{C629B55B-F687-5B7D-A12C-8E7F2D477243}"/>
                </a:ext>
              </a:extLst>
            </p:cNvPr>
            <p:cNvSpPr/>
            <p:nvPr/>
          </p:nvSpPr>
          <p:spPr>
            <a:xfrm>
              <a:off x="9292546" y="1523430"/>
              <a:ext cx="1771695" cy="2364467"/>
            </a:xfrm>
            <a:prstGeom prst="roundRect">
              <a:avLst>
                <a:gd name="adj" fmla="val 4646"/>
              </a:avLst>
            </a:prstGeom>
            <a:solidFill>
              <a:schemeClr val="bg1"/>
            </a:solidFill>
            <a:ln>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srgbClr val="385723"/>
                </a:solidFill>
                <a:effectLst/>
                <a:uLnTx/>
                <a:uFillTx/>
                <a:latin typeface="Segoe UI"/>
                <a:ea typeface="+mn-ea"/>
                <a:cs typeface="+mn-cs"/>
              </a:endParaRPr>
            </a:p>
          </p:txBody>
        </p:sp>
      </p:grpSp>
      <p:sp>
        <p:nvSpPr>
          <p:cNvPr id="1024" name="TextBox 1023">
            <a:extLst>
              <a:ext uri="{FF2B5EF4-FFF2-40B4-BE49-F238E27FC236}">
                <a16:creationId xmlns:a16="http://schemas.microsoft.com/office/drawing/2014/main" id="{714A4C31-8F5A-263B-DA13-25DF96AEB98A}"/>
              </a:ext>
            </a:extLst>
          </p:cNvPr>
          <p:cNvSpPr txBox="1"/>
          <p:nvPr/>
        </p:nvSpPr>
        <p:spPr>
          <a:xfrm>
            <a:off x="568457" y="2276103"/>
            <a:ext cx="5228018" cy="400110"/>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04040"/>
                </a:solidFill>
                <a:effectLst/>
                <a:uLnTx/>
                <a:uFillTx/>
                <a:latin typeface="Segoe UI"/>
                <a:ea typeface="+mn-ea"/>
                <a:cs typeface="+mn-cs"/>
              </a:rPr>
              <a:t>Diagnostic chains continue to absorb local/ regional chains </a:t>
            </a:r>
            <a:r>
              <a:rPr kumimoji="0" lang="en-US" sz="1000" b="0" i="0" u="none" strike="noStrike" kern="1200" cap="none" spc="0" normalizeH="0" baseline="0" noProof="0" dirty="0">
                <a:ln>
                  <a:noFill/>
                </a:ln>
                <a:solidFill>
                  <a:srgbClr val="404040"/>
                </a:solidFill>
                <a:effectLst/>
                <a:uLnTx/>
                <a:uFillTx/>
                <a:latin typeface="Segoe UI"/>
                <a:ea typeface="+mn-ea"/>
                <a:cs typeface="+mn-cs"/>
              </a:rPr>
              <a:t>to scale and penetrate deep into Tier II and III towns and cities</a:t>
            </a:r>
            <a:endParaRPr kumimoji="0" lang="en-IN" sz="1000" b="0" i="0" u="none" strike="noStrike" kern="1200" cap="none" spc="0" normalizeH="0" baseline="0" noProof="0" dirty="0">
              <a:ln>
                <a:noFill/>
              </a:ln>
              <a:solidFill>
                <a:srgbClr val="404040"/>
              </a:solidFill>
              <a:effectLst/>
              <a:uLnTx/>
              <a:uFillTx/>
              <a:latin typeface="Segoe UI"/>
              <a:ea typeface="+mn-ea"/>
              <a:cs typeface="+mn-cs"/>
            </a:endParaRPr>
          </a:p>
        </p:txBody>
      </p:sp>
      <p:sp>
        <p:nvSpPr>
          <p:cNvPr id="9" name="TextBox 8">
            <a:extLst>
              <a:ext uri="{FF2B5EF4-FFF2-40B4-BE49-F238E27FC236}">
                <a16:creationId xmlns:a16="http://schemas.microsoft.com/office/drawing/2014/main" id="{4719FF24-0CED-1B09-C66A-792CE1830F9B}"/>
              </a:ext>
            </a:extLst>
          </p:cNvPr>
          <p:cNvSpPr txBox="1"/>
          <p:nvPr/>
        </p:nvSpPr>
        <p:spPr>
          <a:xfrm>
            <a:off x="6004195" y="863060"/>
            <a:ext cx="5441379" cy="357771"/>
          </a:xfrm>
          <a:prstGeom prst="rect">
            <a:avLst/>
          </a:prstGeom>
          <a:noFill/>
        </p:spPr>
        <p:txBody>
          <a:bodyPr wrap="square" lIns="0" tIns="0" rIns="0" bIns="0" anchor="ctr">
            <a:noAutofit/>
          </a:bodyPr>
          <a:lstStyle/>
          <a:p>
            <a:pPr marL="0" marR="0" lvl="0" indent="0" algn="l" defTabSz="958983"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385723"/>
                </a:solidFill>
                <a:effectLst/>
                <a:uLnTx/>
                <a:uFillTx/>
                <a:latin typeface="Segoe UI"/>
                <a:ea typeface="Verdana" panose="020B0604030504040204" pitchFamily="34" charset="0"/>
                <a:cs typeface="Verdana" panose="020B0604030504040204" pitchFamily="34" charset="0"/>
              </a:rPr>
              <a:t>M&amp;A themes</a:t>
            </a:r>
          </a:p>
        </p:txBody>
      </p:sp>
      <p:sp>
        <p:nvSpPr>
          <p:cNvPr id="139" name="Rectangle: Rounded Corners 138">
            <a:extLst>
              <a:ext uri="{FF2B5EF4-FFF2-40B4-BE49-F238E27FC236}">
                <a16:creationId xmlns:a16="http://schemas.microsoft.com/office/drawing/2014/main" id="{76CB8387-095D-7ACB-DE37-8B437F5D400B}"/>
              </a:ext>
            </a:extLst>
          </p:cNvPr>
          <p:cNvSpPr/>
          <p:nvPr/>
        </p:nvSpPr>
        <p:spPr>
          <a:xfrm>
            <a:off x="502055" y="1400822"/>
            <a:ext cx="30116" cy="3060000"/>
          </a:xfrm>
          <a:prstGeom prst="roundRect">
            <a:avLst>
              <a:gd name="adj" fmla="val 50000"/>
            </a:avLst>
          </a:prstGeom>
          <a:solidFill>
            <a:schemeClr val="accent4">
              <a:lumMod val="90000"/>
            </a:schemeClr>
          </a:solidFill>
          <a:ln>
            <a:solidFill>
              <a:schemeClr val="accent4">
                <a:lumMod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 name="Title 1">
            <a:extLst>
              <a:ext uri="{FF2B5EF4-FFF2-40B4-BE49-F238E27FC236}">
                <a16:creationId xmlns:a16="http://schemas.microsoft.com/office/drawing/2014/main" id="{7CCCE864-F855-8AF5-F0E9-1F3DEA466932}"/>
              </a:ext>
            </a:extLst>
          </p:cNvPr>
          <p:cNvSpPr>
            <a:spLocks noGrp="1"/>
          </p:cNvSpPr>
          <p:nvPr>
            <p:ph type="title"/>
          </p:nvPr>
        </p:nvSpPr>
        <p:spPr>
          <a:xfrm>
            <a:off x="344487" y="138940"/>
            <a:ext cx="11504613" cy="408795"/>
          </a:xfrm>
        </p:spPr>
        <p:txBody>
          <a:bodyPr/>
          <a:lstStyle/>
          <a:p>
            <a:r>
              <a:rPr lang="en-IN" dirty="0"/>
              <a:t>Key trends in healthcare</a:t>
            </a:r>
          </a:p>
        </p:txBody>
      </p:sp>
      <p:sp>
        <p:nvSpPr>
          <p:cNvPr id="3" name="Text Placeholder 2">
            <a:extLst>
              <a:ext uri="{FF2B5EF4-FFF2-40B4-BE49-F238E27FC236}">
                <a16:creationId xmlns:a16="http://schemas.microsoft.com/office/drawing/2014/main" id="{EE532146-CACE-5164-D8C1-97DE5746E28B}"/>
              </a:ext>
            </a:extLst>
          </p:cNvPr>
          <p:cNvSpPr>
            <a:spLocks noGrp="1"/>
          </p:cNvSpPr>
          <p:nvPr>
            <p:ph type="body" sz="quarter" idx="10"/>
          </p:nvPr>
        </p:nvSpPr>
        <p:spPr>
          <a:xfrm>
            <a:off x="344488" y="487848"/>
            <a:ext cx="11504612" cy="281861"/>
          </a:xfrm>
        </p:spPr>
        <p:txBody>
          <a:bodyPr/>
          <a:lstStyle/>
          <a:p>
            <a:endParaRPr lang="en-US" dirty="0"/>
          </a:p>
        </p:txBody>
      </p:sp>
      <p:sp>
        <p:nvSpPr>
          <p:cNvPr id="4" name="Text Placeholder 3">
            <a:extLst>
              <a:ext uri="{FF2B5EF4-FFF2-40B4-BE49-F238E27FC236}">
                <a16:creationId xmlns:a16="http://schemas.microsoft.com/office/drawing/2014/main" id="{EC1A4CA3-7C13-BAFC-4A29-ACFE13C6F957}"/>
              </a:ext>
            </a:extLst>
          </p:cNvPr>
          <p:cNvSpPr>
            <a:spLocks noGrp="1"/>
          </p:cNvSpPr>
          <p:nvPr>
            <p:ph type="body" sz="quarter" idx="11"/>
          </p:nvPr>
        </p:nvSpPr>
        <p:spPr/>
        <p:txBody>
          <a:bodyPr/>
          <a:lstStyle/>
          <a:p>
            <a:r>
              <a:rPr lang="en-US" dirty="0"/>
              <a:t>Source: </a:t>
            </a:r>
            <a:r>
              <a:rPr lang="en-US" dirty="0" err="1"/>
              <a:t>Equirus</a:t>
            </a:r>
            <a:r>
              <a:rPr lang="en-US" dirty="0"/>
              <a:t> analysis.</a:t>
            </a:r>
          </a:p>
        </p:txBody>
      </p:sp>
      <p:cxnSp>
        <p:nvCxnSpPr>
          <p:cNvPr id="61" name="Straight Connector 60">
            <a:extLst>
              <a:ext uri="{FF2B5EF4-FFF2-40B4-BE49-F238E27FC236}">
                <a16:creationId xmlns:a16="http://schemas.microsoft.com/office/drawing/2014/main" id="{7F7522DA-4ADF-2544-F4B4-6DBEC88A8ED2}"/>
              </a:ext>
            </a:extLst>
          </p:cNvPr>
          <p:cNvCxnSpPr>
            <a:cxnSpLocks/>
          </p:cNvCxnSpPr>
          <p:nvPr/>
        </p:nvCxnSpPr>
        <p:spPr>
          <a:xfrm>
            <a:off x="398565" y="1232798"/>
            <a:ext cx="5400000" cy="0"/>
          </a:xfrm>
          <a:prstGeom prst="line">
            <a:avLst/>
          </a:prstGeom>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1CB1AD01-E53D-EFF9-7CCF-F07AE294E3CA}"/>
              </a:ext>
            </a:extLst>
          </p:cNvPr>
          <p:cNvSpPr/>
          <p:nvPr/>
        </p:nvSpPr>
        <p:spPr>
          <a:xfrm>
            <a:off x="344487" y="1204914"/>
            <a:ext cx="545724" cy="55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385723"/>
              </a:solidFill>
              <a:effectLst/>
              <a:uLnTx/>
              <a:uFillTx/>
              <a:latin typeface="Segoe UI"/>
              <a:ea typeface="+mn-ea"/>
              <a:cs typeface="+mn-cs"/>
            </a:endParaRPr>
          </a:p>
        </p:txBody>
      </p:sp>
      <p:sp>
        <p:nvSpPr>
          <p:cNvPr id="60" name="TextBox 59">
            <a:extLst>
              <a:ext uri="{FF2B5EF4-FFF2-40B4-BE49-F238E27FC236}">
                <a16:creationId xmlns:a16="http://schemas.microsoft.com/office/drawing/2014/main" id="{05CBA27E-B47D-6E33-6A4A-88DC951968DF}"/>
              </a:ext>
            </a:extLst>
          </p:cNvPr>
          <p:cNvSpPr txBox="1"/>
          <p:nvPr/>
        </p:nvSpPr>
        <p:spPr>
          <a:xfrm>
            <a:off x="357186" y="863060"/>
            <a:ext cx="5441379" cy="357771"/>
          </a:xfrm>
          <a:prstGeom prst="rect">
            <a:avLst/>
          </a:prstGeom>
          <a:noFill/>
        </p:spPr>
        <p:txBody>
          <a:bodyPr wrap="square" lIns="0" tIns="0" rIns="0" bIns="0" anchor="ctr">
            <a:noAutofit/>
          </a:bodyPr>
          <a:lstStyle/>
          <a:p>
            <a:pPr marL="0" marR="0" lvl="0" indent="0" algn="l" defTabSz="958983"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385723"/>
                </a:solidFill>
                <a:effectLst/>
                <a:uLnTx/>
                <a:uFillTx/>
                <a:latin typeface="Segoe UI"/>
                <a:ea typeface="Verdana" panose="020B0604030504040204" pitchFamily="34" charset="0"/>
                <a:cs typeface="Verdana" panose="020B0604030504040204" pitchFamily="34" charset="0"/>
              </a:rPr>
              <a:t>Key Trends</a:t>
            </a:r>
          </a:p>
        </p:txBody>
      </p:sp>
      <p:cxnSp>
        <p:nvCxnSpPr>
          <p:cNvPr id="5" name="Straight Connector 4">
            <a:extLst>
              <a:ext uri="{FF2B5EF4-FFF2-40B4-BE49-F238E27FC236}">
                <a16:creationId xmlns:a16="http://schemas.microsoft.com/office/drawing/2014/main" id="{22F9CF8E-186A-C62C-C84C-587998F8D89C}"/>
              </a:ext>
            </a:extLst>
          </p:cNvPr>
          <p:cNvCxnSpPr>
            <a:cxnSpLocks/>
          </p:cNvCxnSpPr>
          <p:nvPr/>
        </p:nvCxnSpPr>
        <p:spPr>
          <a:xfrm>
            <a:off x="6045574" y="1219735"/>
            <a:ext cx="5940000" cy="0"/>
          </a:xfrm>
          <a:prstGeom prst="line">
            <a:avLst/>
          </a:prstGeom>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B9B709D0-E008-C465-2E32-23A66EFDA629}"/>
              </a:ext>
            </a:extLst>
          </p:cNvPr>
          <p:cNvSpPr/>
          <p:nvPr/>
        </p:nvSpPr>
        <p:spPr>
          <a:xfrm>
            <a:off x="5991496" y="1191851"/>
            <a:ext cx="545724" cy="55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385723"/>
              </a:solidFill>
              <a:effectLst/>
              <a:uLnTx/>
              <a:uFillTx/>
              <a:latin typeface="Segoe UI"/>
              <a:ea typeface="+mn-ea"/>
              <a:cs typeface="+mn-cs"/>
            </a:endParaRPr>
          </a:p>
        </p:txBody>
      </p:sp>
      <p:grpSp>
        <p:nvGrpSpPr>
          <p:cNvPr id="17" name="Group 16">
            <a:extLst>
              <a:ext uri="{FF2B5EF4-FFF2-40B4-BE49-F238E27FC236}">
                <a16:creationId xmlns:a16="http://schemas.microsoft.com/office/drawing/2014/main" id="{AF6111FF-7332-6B16-F592-421D8611B92C}"/>
              </a:ext>
            </a:extLst>
          </p:cNvPr>
          <p:cNvGrpSpPr/>
          <p:nvPr/>
        </p:nvGrpSpPr>
        <p:grpSpPr>
          <a:xfrm>
            <a:off x="444860" y="1439366"/>
            <a:ext cx="144517" cy="144517"/>
            <a:chOff x="7559921" y="1772797"/>
            <a:chExt cx="142772" cy="142772"/>
          </a:xfrm>
        </p:grpSpPr>
        <p:sp>
          <p:nvSpPr>
            <p:cNvPr id="21" name="Oval 20">
              <a:extLst>
                <a:ext uri="{FF2B5EF4-FFF2-40B4-BE49-F238E27FC236}">
                  <a16:creationId xmlns:a16="http://schemas.microsoft.com/office/drawing/2014/main" id="{C7022812-4070-5B0D-8D51-1DBE666D0A18}"/>
                </a:ext>
              </a:extLst>
            </p:cNvPr>
            <p:cNvSpPr/>
            <p:nvPr/>
          </p:nvSpPr>
          <p:spPr>
            <a:xfrm>
              <a:off x="7559921" y="1772797"/>
              <a:ext cx="142772" cy="142772"/>
            </a:xfrm>
            <a:prstGeom prst="ellipse">
              <a:avLst/>
            </a:prstGeom>
            <a:solidFill>
              <a:srgbClr val="B8D4E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2" name="Oval 21">
              <a:extLst>
                <a:ext uri="{FF2B5EF4-FFF2-40B4-BE49-F238E27FC236}">
                  <a16:creationId xmlns:a16="http://schemas.microsoft.com/office/drawing/2014/main" id="{2464A0F2-031E-FE30-3AFC-6AA9C0CD525E}"/>
                </a:ext>
              </a:extLst>
            </p:cNvPr>
            <p:cNvSpPr/>
            <p:nvPr/>
          </p:nvSpPr>
          <p:spPr>
            <a:xfrm>
              <a:off x="7597477" y="1810353"/>
              <a:ext cx="67660" cy="67660"/>
            </a:xfrm>
            <a:prstGeom prst="ellipse">
              <a:avLst/>
            </a:prstGeom>
            <a:solidFill>
              <a:schemeClr val="bg1"/>
            </a:solidFill>
            <a:ln>
              <a:noFill/>
            </a:ln>
            <a:effectLst>
              <a:outerShdw blurRad="12700" sx="102000" sy="102000" algn="ctr" rotWithShape="0">
                <a:prstClr val="black">
                  <a:alpha val="66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03" name="Group 102">
            <a:extLst>
              <a:ext uri="{FF2B5EF4-FFF2-40B4-BE49-F238E27FC236}">
                <a16:creationId xmlns:a16="http://schemas.microsoft.com/office/drawing/2014/main" id="{68BBC3E3-C990-7D16-834B-2C72822988EB}"/>
              </a:ext>
            </a:extLst>
          </p:cNvPr>
          <p:cNvGrpSpPr/>
          <p:nvPr/>
        </p:nvGrpSpPr>
        <p:grpSpPr>
          <a:xfrm>
            <a:off x="444860" y="2376406"/>
            <a:ext cx="144517" cy="144517"/>
            <a:chOff x="7559921" y="1772797"/>
            <a:chExt cx="142772" cy="142772"/>
          </a:xfrm>
        </p:grpSpPr>
        <p:sp>
          <p:nvSpPr>
            <p:cNvPr id="109" name="Oval 108">
              <a:extLst>
                <a:ext uri="{FF2B5EF4-FFF2-40B4-BE49-F238E27FC236}">
                  <a16:creationId xmlns:a16="http://schemas.microsoft.com/office/drawing/2014/main" id="{6BB36BD4-EE8D-780B-46FD-C61287637428}"/>
                </a:ext>
              </a:extLst>
            </p:cNvPr>
            <p:cNvSpPr/>
            <p:nvPr/>
          </p:nvSpPr>
          <p:spPr>
            <a:xfrm>
              <a:off x="7559921" y="1772797"/>
              <a:ext cx="142772" cy="142772"/>
            </a:xfrm>
            <a:prstGeom prst="ellipse">
              <a:avLst/>
            </a:prstGeom>
            <a:solidFill>
              <a:srgbClr val="B8D4E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23" name="Oval 122">
              <a:extLst>
                <a:ext uri="{FF2B5EF4-FFF2-40B4-BE49-F238E27FC236}">
                  <a16:creationId xmlns:a16="http://schemas.microsoft.com/office/drawing/2014/main" id="{556E272B-D73C-26FB-5F7F-2DFF0900C933}"/>
                </a:ext>
              </a:extLst>
            </p:cNvPr>
            <p:cNvSpPr/>
            <p:nvPr/>
          </p:nvSpPr>
          <p:spPr>
            <a:xfrm>
              <a:off x="7597477" y="1810353"/>
              <a:ext cx="67660" cy="67660"/>
            </a:xfrm>
            <a:prstGeom prst="ellipse">
              <a:avLst/>
            </a:prstGeom>
            <a:solidFill>
              <a:schemeClr val="bg1"/>
            </a:solidFill>
            <a:ln>
              <a:noFill/>
            </a:ln>
            <a:effectLst>
              <a:outerShdw blurRad="12700" sx="102000" sy="102000" algn="ctr" rotWithShape="0">
                <a:prstClr val="black">
                  <a:alpha val="66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25" name="Group 124">
            <a:extLst>
              <a:ext uri="{FF2B5EF4-FFF2-40B4-BE49-F238E27FC236}">
                <a16:creationId xmlns:a16="http://schemas.microsoft.com/office/drawing/2014/main" id="{676EC18F-8085-AA01-4BF8-314CEA045974}"/>
              </a:ext>
            </a:extLst>
          </p:cNvPr>
          <p:cNvGrpSpPr/>
          <p:nvPr/>
        </p:nvGrpSpPr>
        <p:grpSpPr>
          <a:xfrm>
            <a:off x="444860" y="2832266"/>
            <a:ext cx="144517" cy="144517"/>
            <a:chOff x="7559921" y="1772797"/>
            <a:chExt cx="142772" cy="142772"/>
          </a:xfrm>
        </p:grpSpPr>
        <p:sp>
          <p:nvSpPr>
            <p:cNvPr id="127" name="Oval 126">
              <a:extLst>
                <a:ext uri="{FF2B5EF4-FFF2-40B4-BE49-F238E27FC236}">
                  <a16:creationId xmlns:a16="http://schemas.microsoft.com/office/drawing/2014/main" id="{9AEB8AB5-D998-DB2B-585B-5412355F5D9A}"/>
                </a:ext>
              </a:extLst>
            </p:cNvPr>
            <p:cNvSpPr/>
            <p:nvPr/>
          </p:nvSpPr>
          <p:spPr>
            <a:xfrm>
              <a:off x="7559921" y="1772797"/>
              <a:ext cx="142772" cy="142772"/>
            </a:xfrm>
            <a:prstGeom prst="ellipse">
              <a:avLst/>
            </a:prstGeom>
            <a:solidFill>
              <a:srgbClr val="B8D4E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28" name="Oval 127">
              <a:extLst>
                <a:ext uri="{FF2B5EF4-FFF2-40B4-BE49-F238E27FC236}">
                  <a16:creationId xmlns:a16="http://schemas.microsoft.com/office/drawing/2014/main" id="{67718F94-6F10-0239-40D2-42443D4713B0}"/>
                </a:ext>
              </a:extLst>
            </p:cNvPr>
            <p:cNvSpPr/>
            <p:nvPr/>
          </p:nvSpPr>
          <p:spPr>
            <a:xfrm>
              <a:off x="7597477" y="1810353"/>
              <a:ext cx="67660" cy="67660"/>
            </a:xfrm>
            <a:prstGeom prst="ellipse">
              <a:avLst/>
            </a:prstGeom>
            <a:solidFill>
              <a:schemeClr val="bg1"/>
            </a:solidFill>
            <a:ln>
              <a:noFill/>
            </a:ln>
            <a:effectLst>
              <a:outerShdw blurRad="12700" sx="102000" sy="102000" algn="ctr" rotWithShape="0">
                <a:prstClr val="black">
                  <a:alpha val="66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35" name="Group 134">
            <a:extLst>
              <a:ext uri="{FF2B5EF4-FFF2-40B4-BE49-F238E27FC236}">
                <a16:creationId xmlns:a16="http://schemas.microsoft.com/office/drawing/2014/main" id="{B05BB184-25D0-7F42-4F8C-80D667BCD3B3}"/>
              </a:ext>
            </a:extLst>
          </p:cNvPr>
          <p:cNvGrpSpPr/>
          <p:nvPr/>
        </p:nvGrpSpPr>
        <p:grpSpPr>
          <a:xfrm>
            <a:off x="444860" y="3355985"/>
            <a:ext cx="144517" cy="144517"/>
            <a:chOff x="7559921" y="1772797"/>
            <a:chExt cx="142772" cy="142772"/>
          </a:xfrm>
        </p:grpSpPr>
        <p:sp>
          <p:nvSpPr>
            <p:cNvPr id="137" name="Oval 136">
              <a:extLst>
                <a:ext uri="{FF2B5EF4-FFF2-40B4-BE49-F238E27FC236}">
                  <a16:creationId xmlns:a16="http://schemas.microsoft.com/office/drawing/2014/main" id="{2A72F1E2-191D-A93D-7482-CED45CF612BD}"/>
                </a:ext>
              </a:extLst>
            </p:cNvPr>
            <p:cNvSpPr/>
            <p:nvPr/>
          </p:nvSpPr>
          <p:spPr>
            <a:xfrm>
              <a:off x="7559921" y="1772797"/>
              <a:ext cx="142772" cy="142772"/>
            </a:xfrm>
            <a:prstGeom prst="ellipse">
              <a:avLst/>
            </a:prstGeom>
            <a:solidFill>
              <a:srgbClr val="B8D4E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38" name="Oval 137">
              <a:extLst>
                <a:ext uri="{FF2B5EF4-FFF2-40B4-BE49-F238E27FC236}">
                  <a16:creationId xmlns:a16="http://schemas.microsoft.com/office/drawing/2014/main" id="{501B55B4-0DA7-3AA3-DC2C-7E664076D667}"/>
                </a:ext>
              </a:extLst>
            </p:cNvPr>
            <p:cNvSpPr/>
            <p:nvPr/>
          </p:nvSpPr>
          <p:spPr>
            <a:xfrm>
              <a:off x="7597477" y="1810353"/>
              <a:ext cx="67660" cy="67660"/>
            </a:xfrm>
            <a:prstGeom prst="ellipse">
              <a:avLst/>
            </a:prstGeom>
            <a:solidFill>
              <a:schemeClr val="bg1"/>
            </a:solidFill>
            <a:ln>
              <a:noFill/>
            </a:ln>
            <a:effectLst>
              <a:outerShdw blurRad="12700" sx="102000" sy="102000" algn="ctr" rotWithShape="0">
                <a:prstClr val="black">
                  <a:alpha val="66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0" name="Rectangle: Rounded Corners 19">
            <a:extLst>
              <a:ext uri="{FF2B5EF4-FFF2-40B4-BE49-F238E27FC236}">
                <a16:creationId xmlns:a16="http://schemas.microsoft.com/office/drawing/2014/main" id="{5D26EC04-C075-D844-2A92-3A33CE001A72}"/>
              </a:ext>
            </a:extLst>
          </p:cNvPr>
          <p:cNvSpPr/>
          <p:nvPr/>
        </p:nvSpPr>
        <p:spPr>
          <a:xfrm>
            <a:off x="6004195" y="1307363"/>
            <a:ext cx="1249200" cy="821546"/>
          </a:xfrm>
          <a:prstGeom prst="roundRect">
            <a:avLst>
              <a:gd name="adj" fmla="val 12903"/>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D7E2DC">
                    <a:lumMod val="50000"/>
                  </a:srgbClr>
                </a:solidFill>
                <a:effectLst/>
                <a:uLnTx/>
                <a:uFillTx/>
                <a:latin typeface="Segoe UI"/>
                <a:ea typeface="+mn-ea"/>
                <a:cs typeface="+mn-cs"/>
              </a:rPr>
              <a:t>Exit for PE</a:t>
            </a:r>
            <a:endParaRPr kumimoji="0" lang="en-IN" sz="1050" b="1" i="0" u="none" strike="noStrike" kern="1200" cap="none" spc="0" normalizeH="0" baseline="0" noProof="0" dirty="0">
              <a:ln>
                <a:noFill/>
              </a:ln>
              <a:solidFill>
                <a:srgbClr val="D7E2DC">
                  <a:lumMod val="50000"/>
                </a:srgbClr>
              </a:solidFill>
              <a:effectLst/>
              <a:uLnTx/>
              <a:uFillTx/>
              <a:latin typeface="Segoe UI"/>
              <a:ea typeface="+mn-ea"/>
              <a:cs typeface="+mn-cs"/>
            </a:endParaRPr>
          </a:p>
        </p:txBody>
      </p:sp>
      <p:sp>
        <p:nvSpPr>
          <p:cNvPr id="26" name="Rectangle: Rounded Corners 25">
            <a:extLst>
              <a:ext uri="{FF2B5EF4-FFF2-40B4-BE49-F238E27FC236}">
                <a16:creationId xmlns:a16="http://schemas.microsoft.com/office/drawing/2014/main" id="{F9F95DD9-EFB0-96E2-2D52-43194EA33E9B}"/>
              </a:ext>
            </a:extLst>
          </p:cNvPr>
          <p:cNvSpPr/>
          <p:nvPr/>
        </p:nvSpPr>
        <p:spPr>
          <a:xfrm>
            <a:off x="6004195" y="2182695"/>
            <a:ext cx="1249200" cy="821546"/>
          </a:xfrm>
          <a:prstGeom prst="roundRect">
            <a:avLst>
              <a:gd name="adj" fmla="val 12903"/>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D7E2DC">
                    <a:lumMod val="50000"/>
                  </a:srgbClr>
                </a:solidFill>
                <a:effectLst/>
                <a:uLnTx/>
                <a:uFillTx/>
                <a:latin typeface="Segoe UI"/>
                <a:ea typeface="+mn-ea"/>
                <a:cs typeface="+mn-cs"/>
              </a:rPr>
              <a:t>Better capital allocation</a:t>
            </a:r>
            <a:endParaRPr kumimoji="0" lang="en-IN" sz="1050" b="1" i="0" u="none" strike="noStrike" kern="1200" cap="none" spc="0" normalizeH="0" baseline="0" noProof="0" dirty="0">
              <a:ln>
                <a:noFill/>
              </a:ln>
              <a:solidFill>
                <a:srgbClr val="D7E2DC">
                  <a:lumMod val="50000"/>
                </a:srgbClr>
              </a:solidFill>
              <a:effectLst/>
              <a:uLnTx/>
              <a:uFillTx/>
              <a:latin typeface="Segoe UI"/>
              <a:ea typeface="+mn-ea"/>
              <a:cs typeface="+mn-cs"/>
            </a:endParaRPr>
          </a:p>
        </p:txBody>
      </p:sp>
      <p:sp>
        <p:nvSpPr>
          <p:cNvPr id="27" name="Rectangle: Rounded Corners 26">
            <a:extLst>
              <a:ext uri="{FF2B5EF4-FFF2-40B4-BE49-F238E27FC236}">
                <a16:creationId xmlns:a16="http://schemas.microsoft.com/office/drawing/2014/main" id="{040EF13F-804B-8DC0-BF07-5A40807EECCC}"/>
              </a:ext>
            </a:extLst>
          </p:cNvPr>
          <p:cNvSpPr/>
          <p:nvPr/>
        </p:nvSpPr>
        <p:spPr>
          <a:xfrm>
            <a:off x="6004195" y="3058027"/>
            <a:ext cx="1249200" cy="821546"/>
          </a:xfrm>
          <a:prstGeom prst="roundRect">
            <a:avLst>
              <a:gd name="adj" fmla="val 12903"/>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D7E2DC">
                    <a:lumMod val="50000"/>
                  </a:srgbClr>
                </a:solidFill>
                <a:effectLst/>
                <a:uLnTx/>
                <a:uFillTx/>
                <a:latin typeface="Segoe UI"/>
                <a:ea typeface="+mn-ea"/>
                <a:cs typeface="+mn-cs"/>
              </a:rPr>
              <a:t>Outbound acquisitions</a:t>
            </a:r>
            <a:endParaRPr kumimoji="0" lang="en-IN" sz="1050" b="1" i="0" u="none" strike="noStrike" kern="1200" cap="none" spc="0" normalizeH="0" baseline="0" noProof="0" dirty="0">
              <a:ln>
                <a:noFill/>
              </a:ln>
              <a:solidFill>
                <a:srgbClr val="D7E2DC">
                  <a:lumMod val="50000"/>
                </a:srgbClr>
              </a:solidFill>
              <a:effectLst/>
              <a:uLnTx/>
              <a:uFillTx/>
              <a:latin typeface="Segoe UI"/>
              <a:ea typeface="+mn-ea"/>
              <a:cs typeface="+mn-cs"/>
            </a:endParaRPr>
          </a:p>
        </p:txBody>
      </p:sp>
      <p:sp>
        <p:nvSpPr>
          <p:cNvPr id="28" name="Rectangle: Rounded Corners 27">
            <a:extLst>
              <a:ext uri="{FF2B5EF4-FFF2-40B4-BE49-F238E27FC236}">
                <a16:creationId xmlns:a16="http://schemas.microsoft.com/office/drawing/2014/main" id="{63466F05-EBFF-D066-1435-8C65C04F5F02}"/>
              </a:ext>
            </a:extLst>
          </p:cNvPr>
          <p:cNvSpPr/>
          <p:nvPr/>
        </p:nvSpPr>
        <p:spPr>
          <a:xfrm>
            <a:off x="6004195" y="3933359"/>
            <a:ext cx="1249200" cy="821546"/>
          </a:xfrm>
          <a:prstGeom prst="roundRect">
            <a:avLst>
              <a:gd name="adj" fmla="val 12903"/>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D7E2DC">
                    <a:lumMod val="50000"/>
                  </a:srgbClr>
                </a:solidFill>
                <a:effectLst/>
                <a:uLnTx/>
                <a:uFillTx/>
                <a:latin typeface="Segoe UI"/>
                <a:ea typeface="+mn-ea"/>
                <a:cs typeface="+mn-cs"/>
              </a:rPr>
              <a:t>Regional consolidation</a:t>
            </a:r>
            <a:endParaRPr kumimoji="0" lang="en-IN" sz="1050" b="1" i="0" u="none" strike="noStrike" kern="1200" cap="none" spc="0" normalizeH="0" baseline="0" noProof="0" dirty="0">
              <a:ln>
                <a:noFill/>
              </a:ln>
              <a:solidFill>
                <a:srgbClr val="D7E2DC">
                  <a:lumMod val="50000"/>
                </a:srgbClr>
              </a:solidFill>
              <a:effectLst/>
              <a:uLnTx/>
              <a:uFillTx/>
              <a:latin typeface="Segoe UI"/>
              <a:ea typeface="+mn-ea"/>
              <a:cs typeface="+mn-cs"/>
            </a:endParaRPr>
          </a:p>
        </p:txBody>
      </p:sp>
      <p:sp>
        <p:nvSpPr>
          <p:cNvPr id="29" name="Rectangle: Rounded Corners 28">
            <a:extLst>
              <a:ext uri="{FF2B5EF4-FFF2-40B4-BE49-F238E27FC236}">
                <a16:creationId xmlns:a16="http://schemas.microsoft.com/office/drawing/2014/main" id="{34C8B333-C1EF-C3FC-CCA9-2B9ADD527563}"/>
              </a:ext>
            </a:extLst>
          </p:cNvPr>
          <p:cNvSpPr/>
          <p:nvPr/>
        </p:nvSpPr>
        <p:spPr>
          <a:xfrm>
            <a:off x="6004195" y="4808691"/>
            <a:ext cx="1249200" cy="821546"/>
          </a:xfrm>
          <a:prstGeom prst="roundRect">
            <a:avLst>
              <a:gd name="adj" fmla="val 12903"/>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D7E2DC">
                    <a:lumMod val="50000"/>
                  </a:srgbClr>
                </a:solidFill>
                <a:effectLst/>
                <a:uLnTx/>
                <a:uFillTx/>
                <a:latin typeface="Segoe UI"/>
                <a:ea typeface="+mn-ea"/>
                <a:cs typeface="+mn-cs"/>
              </a:rPr>
              <a:t>Valuation arbitrage</a:t>
            </a:r>
            <a:endParaRPr kumimoji="0" lang="en-IN" sz="1050" b="1" i="0" u="none" strike="noStrike" kern="1200" cap="none" spc="0" normalizeH="0" baseline="0" noProof="0" dirty="0">
              <a:ln>
                <a:noFill/>
              </a:ln>
              <a:solidFill>
                <a:srgbClr val="D7E2DC">
                  <a:lumMod val="50000"/>
                </a:srgbClr>
              </a:solidFill>
              <a:effectLst/>
              <a:uLnTx/>
              <a:uFillTx/>
              <a:latin typeface="Segoe UI"/>
              <a:ea typeface="+mn-ea"/>
              <a:cs typeface="+mn-cs"/>
            </a:endParaRPr>
          </a:p>
        </p:txBody>
      </p:sp>
      <p:sp>
        <p:nvSpPr>
          <p:cNvPr id="30" name="Rectangle: Rounded Corners 29">
            <a:extLst>
              <a:ext uri="{FF2B5EF4-FFF2-40B4-BE49-F238E27FC236}">
                <a16:creationId xmlns:a16="http://schemas.microsoft.com/office/drawing/2014/main" id="{9109BB8A-DCB0-6C18-FAD6-4A1A2374D7C9}"/>
              </a:ext>
            </a:extLst>
          </p:cNvPr>
          <p:cNvSpPr/>
          <p:nvPr/>
        </p:nvSpPr>
        <p:spPr>
          <a:xfrm>
            <a:off x="6004195" y="5684024"/>
            <a:ext cx="1249200" cy="821546"/>
          </a:xfrm>
          <a:prstGeom prst="roundRect">
            <a:avLst>
              <a:gd name="adj" fmla="val 12903"/>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D7E2DC">
                    <a:lumMod val="50000"/>
                  </a:srgbClr>
                </a:solidFill>
                <a:effectLst/>
                <a:uLnTx/>
                <a:uFillTx/>
                <a:latin typeface="Segoe UI"/>
                <a:ea typeface="+mn-ea"/>
                <a:cs typeface="+mn-cs"/>
              </a:rPr>
              <a:t>Platform</a:t>
            </a:r>
            <a:endParaRPr kumimoji="0" lang="en-IN" sz="1050" b="1" i="0" u="none" strike="noStrike" kern="1200" cap="none" spc="0" normalizeH="0" baseline="0" noProof="0" dirty="0">
              <a:ln>
                <a:noFill/>
              </a:ln>
              <a:solidFill>
                <a:srgbClr val="D7E2DC">
                  <a:lumMod val="50000"/>
                </a:srgbClr>
              </a:solidFill>
              <a:effectLst/>
              <a:uLnTx/>
              <a:uFillTx/>
              <a:latin typeface="Segoe UI"/>
              <a:ea typeface="+mn-ea"/>
              <a:cs typeface="+mn-cs"/>
            </a:endParaRPr>
          </a:p>
        </p:txBody>
      </p:sp>
      <p:grpSp>
        <p:nvGrpSpPr>
          <p:cNvPr id="97" name="Group 96">
            <a:extLst>
              <a:ext uri="{FF2B5EF4-FFF2-40B4-BE49-F238E27FC236}">
                <a16:creationId xmlns:a16="http://schemas.microsoft.com/office/drawing/2014/main" id="{BE13ECCA-4CBF-F6F8-6218-C12664156F5A}"/>
              </a:ext>
            </a:extLst>
          </p:cNvPr>
          <p:cNvGrpSpPr/>
          <p:nvPr/>
        </p:nvGrpSpPr>
        <p:grpSpPr>
          <a:xfrm>
            <a:off x="344487" y="4389075"/>
            <a:ext cx="5454078" cy="397622"/>
            <a:chOff x="344487" y="3593135"/>
            <a:chExt cx="5454078" cy="397622"/>
          </a:xfrm>
        </p:grpSpPr>
        <p:cxnSp>
          <p:nvCxnSpPr>
            <p:cNvPr id="98" name="Straight Connector 97">
              <a:extLst>
                <a:ext uri="{FF2B5EF4-FFF2-40B4-BE49-F238E27FC236}">
                  <a16:creationId xmlns:a16="http://schemas.microsoft.com/office/drawing/2014/main" id="{68E63C1C-C6D7-E0DA-EEE1-E2682032BBF7}"/>
                </a:ext>
              </a:extLst>
            </p:cNvPr>
            <p:cNvCxnSpPr>
              <a:cxnSpLocks/>
            </p:cNvCxnSpPr>
            <p:nvPr/>
          </p:nvCxnSpPr>
          <p:spPr>
            <a:xfrm>
              <a:off x="398565" y="3962873"/>
              <a:ext cx="5400000" cy="0"/>
            </a:xfrm>
            <a:prstGeom prst="line">
              <a:avLst/>
            </a:prstGeom>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9" name="Rectangle 98">
              <a:extLst>
                <a:ext uri="{FF2B5EF4-FFF2-40B4-BE49-F238E27FC236}">
                  <a16:creationId xmlns:a16="http://schemas.microsoft.com/office/drawing/2014/main" id="{A1B3EFE6-0F4F-758D-CA82-02EF5CE55786}"/>
                </a:ext>
              </a:extLst>
            </p:cNvPr>
            <p:cNvSpPr/>
            <p:nvPr/>
          </p:nvSpPr>
          <p:spPr>
            <a:xfrm>
              <a:off x="344487" y="3934989"/>
              <a:ext cx="545724" cy="55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385723"/>
                </a:solidFill>
                <a:effectLst/>
                <a:uLnTx/>
                <a:uFillTx/>
                <a:latin typeface="Segoe UI"/>
                <a:ea typeface="+mn-ea"/>
                <a:cs typeface="+mn-cs"/>
              </a:endParaRPr>
            </a:p>
          </p:txBody>
        </p:sp>
        <p:sp>
          <p:nvSpPr>
            <p:cNvPr id="100" name="TextBox 99">
              <a:extLst>
                <a:ext uri="{FF2B5EF4-FFF2-40B4-BE49-F238E27FC236}">
                  <a16:creationId xmlns:a16="http://schemas.microsoft.com/office/drawing/2014/main" id="{0F0E81B8-88F2-97C9-F87A-8BD285165206}"/>
                </a:ext>
              </a:extLst>
            </p:cNvPr>
            <p:cNvSpPr txBox="1"/>
            <p:nvPr/>
          </p:nvSpPr>
          <p:spPr>
            <a:xfrm>
              <a:off x="357186" y="3593135"/>
              <a:ext cx="5441379" cy="357771"/>
            </a:xfrm>
            <a:prstGeom prst="rect">
              <a:avLst/>
            </a:prstGeom>
            <a:noFill/>
          </p:spPr>
          <p:txBody>
            <a:bodyPr wrap="square" lIns="0" tIns="0" rIns="0" bIns="0" anchor="ctr">
              <a:noAutofit/>
            </a:bodyPr>
            <a:lstStyle/>
            <a:p>
              <a:pPr marL="0" marR="0" lvl="0" indent="0" algn="l" defTabSz="958983"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385723"/>
                  </a:solidFill>
                  <a:effectLst/>
                  <a:uLnTx/>
                  <a:uFillTx/>
                  <a:latin typeface="Segoe UI"/>
                  <a:ea typeface="Verdana" panose="020B0604030504040204" pitchFamily="34" charset="0"/>
                  <a:cs typeface="Verdana" panose="020B0604030504040204" pitchFamily="34" charset="0"/>
                </a:rPr>
                <a:t>Key challenges</a:t>
              </a:r>
            </a:p>
          </p:txBody>
        </p:sp>
      </p:grpSp>
      <p:sp>
        <p:nvSpPr>
          <p:cNvPr id="101" name="TextBox 100">
            <a:extLst>
              <a:ext uri="{FF2B5EF4-FFF2-40B4-BE49-F238E27FC236}">
                <a16:creationId xmlns:a16="http://schemas.microsoft.com/office/drawing/2014/main" id="{C588959F-0053-D24C-AA0A-67B677C09010}"/>
              </a:ext>
            </a:extLst>
          </p:cNvPr>
          <p:cNvSpPr txBox="1"/>
          <p:nvPr/>
        </p:nvSpPr>
        <p:spPr>
          <a:xfrm>
            <a:off x="568457" y="1837478"/>
            <a:ext cx="5228018" cy="400110"/>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04040"/>
                </a:solidFill>
                <a:effectLst/>
                <a:uLnTx/>
                <a:uFillTx/>
                <a:latin typeface="Segoe UI"/>
                <a:ea typeface="+mn-ea"/>
                <a:cs typeface="+mn-cs"/>
              </a:rPr>
              <a:t>PE looking to build platforms </a:t>
            </a:r>
            <a:r>
              <a:rPr kumimoji="0" lang="en-US" sz="1000" b="0" i="0" u="none" strike="noStrike" kern="1200" cap="none" spc="0" normalizeH="0" baseline="0" noProof="0" dirty="0">
                <a:ln>
                  <a:noFill/>
                </a:ln>
                <a:solidFill>
                  <a:srgbClr val="404040"/>
                </a:solidFill>
                <a:effectLst/>
                <a:uLnTx/>
                <a:uFillTx/>
                <a:latin typeface="Segoe UI"/>
                <a:ea typeface="+mn-ea"/>
                <a:cs typeface="+mn-cs"/>
              </a:rPr>
              <a:t>– the trend is likely to continue as the Healthcare delivery space is still fragmented at a national level</a:t>
            </a:r>
            <a:endParaRPr kumimoji="0" lang="en-IN" sz="1000" b="0" i="0" u="none" strike="noStrike" kern="1200" cap="none" spc="0" normalizeH="0" baseline="0" noProof="0" dirty="0">
              <a:ln>
                <a:noFill/>
              </a:ln>
              <a:solidFill>
                <a:srgbClr val="404040"/>
              </a:solidFill>
              <a:effectLst/>
              <a:uLnTx/>
              <a:uFillTx/>
              <a:latin typeface="Segoe UI"/>
              <a:ea typeface="+mn-ea"/>
              <a:cs typeface="+mn-cs"/>
            </a:endParaRPr>
          </a:p>
        </p:txBody>
      </p:sp>
      <p:sp>
        <p:nvSpPr>
          <p:cNvPr id="102" name="TextBox 101">
            <a:extLst>
              <a:ext uri="{FF2B5EF4-FFF2-40B4-BE49-F238E27FC236}">
                <a16:creationId xmlns:a16="http://schemas.microsoft.com/office/drawing/2014/main" id="{7D0B3930-E773-0D00-E9EB-6ED31BE60FAC}"/>
              </a:ext>
            </a:extLst>
          </p:cNvPr>
          <p:cNvSpPr txBox="1"/>
          <p:nvPr/>
        </p:nvSpPr>
        <p:spPr>
          <a:xfrm>
            <a:off x="568457" y="2686100"/>
            <a:ext cx="5228018" cy="553998"/>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04040"/>
                </a:solidFill>
                <a:effectLst/>
                <a:uLnTx/>
                <a:uFillTx/>
                <a:latin typeface="Segoe UI"/>
                <a:ea typeface="+mn-ea"/>
                <a:cs typeface="+mn-cs"/>
              </a:rPr>
              <a:t>Increased capital market activity fueled by expansion and PE exits</a:t>
            </a:r>
          </a:p>
          <a:p>
            <a:pPr marL="685800" marR="0" lvl="1" indent="-228600" fontAlgn="auto">
              <a:lnSpc>
                <a:spcPts val="1150"/>
              </a:lnSpc>
              <a:spcBef>
                <a:spcPts val="0"/>
              </a:spcBef>
              <a:spcAft>
                <a:spcPts val="0"/>
              </a:spcAft>
              <a:buClrTx/>
              <a:buSzTx/>
              <a:buFont typeface="Wingdings" panose="05000000000000000000" pitchFamily="2" charset="2"/>
              <a:buChar char="Ø"/>
              <a:tabLst/>
              <a:defRPr/>
            </a:pPr>
            <a:r>
              <a:rPr lang="en-US" sz="1000" dirty="0">
                <a:solidFill>
                  <a:srgbClr val="404040"/>
                </a:solidFill>
              </a:rPr>
              <a:t>Significant</a:t>
            </a:r>
            <a:r>
              <a:rPr lang="en-US" sz="1000" b="1" dirty="0">
                <a:solidFill>
                  <a:srgbClr val="404040"/>
                </a:solidFill>
              </a:rPr>
              <a:t> uptick in ECM activity with ~4,500 crores raised in </a:t>
            </a:r>
            <a:r>
              <a:rPr lang="en-US" sz="1000" dirty="0">
                <a:solidFill>
                  <a:srgbClr val="404040"/>
                </a:solidFill>
              </a:rPr>
              <a:t>FY25 as compared to </a:t>
            </a:r>
            <a:r>
              <a:rPr lang="en-US" sz="1000" b="1" dirty="0">
                <a:solidFill>
                  <a:srgbClr val="404040"/>
                </a:solidFill>
              </a:rPr>
              <a:t>~1,200 crores in FY20</a:t>
            </a:r>
            <a:endParaRPr lang="en-IN" sz="1000" b="1" dirty="0">
              <a:solidFill>
                <a:srgbClr val="404040"/>
              </a:solidFill>
            </a:endParaRPr>
          </a:p>
        </p:txBody>
      </p:sp>
      <p:grpSp>
        <p:nvGrpSpPr>
          <p:cNvPr id="106" name="Group 105">
            <a:extLst>
              <a:ext uri="{FF2B5EF4-FFF2-40B4-BE49-F238E27FC236}">
                <a16:creationId xmlns:a16="http://schemas.microsoft.com/office/drawing/2014/main" id="{C3499F74-DC75-1FD0-B08C-9FFC06F65A36}"/>
              </a:ext>
            </a:extLst>
          </p:cNvPr>
          <p:cNvGrpSpPr/>
          <p:nvPr/>
        </p:nvGrpSpPr>
        <p:grpSpPr>
          <a:xfrm>
            <a:off x="444860" y="3735056"/>
            <a:ext cx="144517" cy="144517"/>
            <a:chOff x="7559921" y="1772797"/>
            <a:chExt cx="142772" cy="142772"/>
          </a:xfrm>
        </p:grpSpPr>
        <p:sp>
          <p:nvSpPr>
            <p:cNvPr id="108" name="Oval 107">
              <a:extLst>
                <a:ext uri="{FF2B5EF4-FFF2-40B4-BE49-F238E27FC236}">
                  <a16:creationId xmlns:a16="http://schemas.microsoft.com/office/drawing/2014/main" id="{F90ABBFA-4B75-B61E-17D1-1DBC6695ADFE}"/>
                </a:ext>
              </a:extLst>
            </p:cNvPr>
            <p:cNvSpPr/>
            <p:nvPr/>
          </p:nvSpPr>
          <p:spPr>
            <a:xfrm>
              <a:off x="7559921" y="1772797"/>
              <a:ext cx="142772" cy="142772"/>
            </a:xfrm>
            <a:prstGeom prst="ellipse">
              <a:avLst/>
            </a:prstGeom>
            <a:solidFill>
              <a:srgbClr val="B8D4E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10" name="Oval 109">
              <a:extLst>
                <a:ext uri="{FF2B5EF4-FFF2-40B4-BE49-F238E27FC236}">
                  <a16:creationId xmlns:a16="http://schemas.microsoft.com/office/drawing/2014/main" id="{6F3DC93E-D545-CAD7-FE75-A159509D70B2}"/>
                </a:ext>
              </a:extLst>
            </p:cNvPr>
            <p:cNvSpPr/>
            <p:nvPr/>
          </p:nvSpPr>
          <p:spPr>
            <a:xfrm>
              <a:off x="7597477" y="1810353"/>
              <a:ext cx="67660" cy="67660"/>
            </a:xfrm>
            <a:prstGeom prst="ellipse">
              <a:avLst/>
            </a:prstGeom>
            <a:solidFill>
              <a:schemeClr val="bg1"/>
            </a:solidFill>
            <a:ln>
              <a:noFill/>
            </a:ln>
            <a:effectLst>
              <a:outerShdw blurRad="12700" sx="102000" sy="102000" algn="ctr" rotWithShape="0">
                <a:prstClr val="black">
                  <a:alpha val="66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111" name="TextBox 110">
            <a:extLst>
              <a:ext uri="{FF2B5EF4-FFF2-40B4-BE49-F238E27FC236}">
                <a16:creationId xmlns:a16="http://schemas.microsoft.com/office/drawing/2014/main" id="{EF6F5C02-D61C-CFDF-F47A-04C4BB0FC95D}"/>
              </a:ext>
            </a:extLst>
          </p:cNvPr>
          <p:cNvSpPr txBox="1"/>
          <p:nvPr/>
        </p:nvSpPr>
        <p:spPr>
          <a:xfrm>
            <a:off x="317937" y="4797699"/>
            <a:ext cx="5480628" cy="400110"/>
          </a:xfrm>
          <a:prstGeom prst="rect">
            <a:avLst/>
          </a:prstGeom>
          <a:noFill/>
        </p:spPr>
        <p:txBody>
          <a:bodyPr wrap="square" rtlCol="0" anchor="ctr">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000" b="1" i="0" u="none" strike="noStrike" kern="1200" cap="none" spc="0" normalizeH="0" baseline="0" noProof="0" dirty="0">
                <a:ln>
                  <a:noFill/>
                </a:ln>
                <a:solidFill>
                  <a:srgbClr val="404040"/>
                </a:solidFill>
                <a:effectLst/>
                <a:uLnTx/>
                <a:uFillTx/>
                <a:latin typeface="Segoe UI"/>
                <a:ea typeface="+mn-ea"/>
                <a:cs typeface="+mn-cs"/>
              </a:rPr>
              <a:t>Pressure on doctor promoter led single specialty single center models </a:t>
            </a:r>
            <a:r>
              <a:rPr kumimoji="0" lang="en-US" sz="1000" b="0" i="0" u="none" strike="noStrike" kern="1200" cap="none" spc="0" normalizeH="0" baseline="0" noProof="0" dirty="0">
                <a:ln>
                  <a:noFill/>
                </a:ln>
                <a:solidFill>
                  <a:srgbClr val="404040"/>
                </a:solidFill>
                <a:effectLst/>
                <a:uLnTx/>
                <a:uFillTx/>
                <a:latin typeface="Segoe UI"/>
                <a:ea typeface="+mn-ea"/>
                <a:cs typeface="+mn-cs"/>
              </a:rPr>
              <a:t>with constraints on marketing and branding</a:t>
            </a:r>
          </a:p>
        </p:txBody>
      </p:sp>
      <p:sp>
        <p:nvSpPr>
          <p:cNvPr id="112" name="TextBox 111">
            <a:extLst>
              <a:ext uri="{FF2B5EF4-FFF2-40B4-BE49-F238E27FC236}">
                <a16:creationId xmlns:a16="http://schemas.microsoft.com/office/drawing/2014/main" id="{8EE784F7-F8C2-7D31-92E8-9FCEA9E1CF09}"/>
              </a:ext>
            </a:extLst>
          </p:cNvPr>
          <p:cNvSpPr txBox="1"/>
          <p:nvPr/>
        </p:nvSpPr>
        <p:spPr>
          <a:xfrm>
            <a:off x="317937" y="5209713"/>
            <a:ext cx="5480628" cy="400110"/>
          </a:xfrm>
          <a:prstGeom prst="rect">
            <a:avLst/>
          </a:prstGeom>
          <a:noFill/>
        </p:spPr>
        <p:txBody>
          <a:bodyPr wrap="square" rtlCol="0" anchor="ctr">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000" b="0" i="0" u="none" strike="noStrike" kern="1200" cap="none" spc="0" normalizeH="0" baseline="0" noProof="0" dirty="0">
                <a:ln>
                  <a:noFill/>
                </a:ln>
                <a:solidFill>
                  <a:srgbClr val="404040"/>
                </a:solidFill>
                <a:effectLst/>
                <a:uLnTx/>
                <a:uFillTx/>
                <a:latin typeface="Segoe UI"/>
                <a:ea typeface="+mn-ea"/>
                <a:cs typeface="+mn-cs"/>
              </a:rPr>
              <a:t>Hospitals and diagnostic chains modeled on PPP/ B2G business continue to face working capital challenges</a:t>
            </a:r>
          </a:p>
        </p:txBody>
      </p:sp>
      <p:sp>
        <p:nvSpPr>
          <p:cNvPr id="23" name="TextBox 22">
            <a:extLst>
              <a:ext uri="{FF2B5EF4-FFF2-40B4-BE49-F238E27FC236}">
                <a16:creationId xmlns:a16="http://schemas.microsoft.com/office/drawing/2014/main" id="{D068D13B-7967-58BA-B777-B263B3642742}"/>
              </a:ext>
            </a:extLst>
          </p:cNvPr>
          <p:cNvSpPr txBox="1"/>
          <p:nvPr/>
        </p:nvSpPr>
        <p:spPr>
          <a:xfrm>
            <a:off x="568457" y="1309383"/>
            <a:ext cx="5228018" cy="553998"/>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04040"/>
                </a:solidFill>
                <a:effectLst/>
                <a:uLnTx/>
                <a:uFillTx/>
                <a:latin typeface="Segoe UI"/>
                <a:ea typeface="+mn-ea"/>
                <a:cs typeface="+mn-cs"/>
              </a:rPr>
              <a:t>Buyout transactions have outpaced private trades </a:t>
            </a:r>
            <a:r>
              <a:rPr kumimoji="0" lang="en-US" sz="1000" b="0" i="0" u="none" strike="noStrike" kern="1200" cap="none" spc="0" normalizeH="0" baseline="0" noProof="0" dirty="0">
                <a:ln>
                  <a:noFill/>
                </a:ln>
                <a:solidFill>
                  <a:srgbClr val="404040"/>
                </a:solidFill>
                <a:effectLst/>
                <a:uLnTx/>
                <a:uFillTx/>
                <a:latin typeface="Segoe UI"/>
                <a:ea typeface="+mn-ea"/>
                <a:cs typeface="+mn-cs"/>
              </a:rPr>
              <a:t>as assets have scaled up and valuation arbitrage has set in</a:t>
            </a:r>
          </a:p>
          <a:p>
            <a:pPr marL="685800" lvl="1" indent="-228600">
              <a:lnSpc>
                <a:spcPts val="1150"/>
              </a:lnSpc>
              <a:buFont typeface="Wingdings" panose="05000000000000000000" pitchFamily="2" charset="2"/>
              <a:buChar char="Ø"/>
              <a:defRPr/>
            </a:pPr>
            <a:r>
              <a:rPr lang="en-US" sz="1000" b="1" dirty="0">
                <a:solidFill>
                  <a:srgbClr val="404040"/>
                </a:solidFill>
              </a:rPr>
              <a:t>Buyouts worth </a:t>
            </a:r>
            <a:r>
              <a:rPr lang="en-IN" sz="1000" b="1" dirty="0">
                <a:solidFill>
                  <a:srgbClr val="404040"/>
                </a:solidFill>
              </a:rPr>
              <a:t>₹7,963 </a:t>
            </a:r>
            <a:r>
              <a:rPr lang="en-IN" sz="1000" dirty="0">
                <a:solidFill>
                  <a:srgbClr val="404040"/>
                </a:solidFill>
              </a:rPr>
              <a:t>crore </a:t>
            </a:r>
            <a:r>
              <a:rPr lang="en-US" sz="1000" dirty="0">
                <a:solidFill>
                  <a:srgbClr val="404040"/>
                </a:solidFill>
              </a:rPr>
              <a:t>took place in FY25</a:t>
            </a:r>
            <a:endParaRPr lang="en-IN" sz="1000" dirty="0">
              <a:solidFill>
                <a:srgbClr val="404040"/>
              </a:solidFill>
            </a:endParaRPr>
          </a:p>
        </p:txBody>
      </p:sp>
      <p:grpSp>
        <p:nvGrpSpPr>
          <p:cNvPr id="31" name="Group 30">
            <a:extLst>
              <a:ext uri="{FF2B5EF4-FFF2-40B4-BE49-F238E27FC236}">
                <a16:creationId xmlns:a16="http://schemas.microsoft.com/office/drawing/2014/main" id="{EE6D315F-A8AC-032F-15DA-76029C02C575}"/>
              </a:ext>
            </a:extLst>
          </p:cNvPr>
          <p:cNvGrpSpPr/>
          <p:nvPr/>
        </p:nvGrpSpPr>
        <p:grpSpPr>
          <a:xfrm>
            <a:off x="444860" y="1946532"/>
            <a:ext cx="144517" cy="144517"/>
            <a:chOff x="7559921" y="1772797"/>
            <a:chExt cx="142772" cy="142772"/>
          </a:xfrm>
        </p:grpSpPr>
        <p:sp>
          <p:nvSpPr>
            <p:cNvPr id="39" name="Oval 38">
              <a:extLst>
                <a:ext uri="{FF2B5EF4-FFF2-40B4-BE49-F238E27FC236}">
                  <a16:creationId xmlns:a16="http://schemas.microsoft.com/office/drawing/2014/main" id="{E300B45A-155A-C67C-D598-30CE9D89C001}"/>
                </a:ext>
              </a:extLst>
            </p:cNvPr>
            <p:cNvSpPr/>
            <p:nvPr/>
          </p:nvSpPr>
          <p:spPr>
            <a:xfrm>
              <a:off x="7559921" y="1772797"/>
              <a:ext cx="142772" cy="142772"/>
            </a:xfrm>
            <a:prstGeom prst="ellipse">
              <a:avLst/>
            </a:prstGeom>
            <a:solidFill>
              <a:srgbClr val="B8D4E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40" name="Oval 39">
              <a:extLst>
                <a:ext uri="{FF2B5EF4-FFF2-40B4-BE49-F238E27FC236}">
                  <a16:creationId xmlns:a16="http://schemas.microsoft.com/office/drawing/2014/main" id="{94552105-1C54-4A76-94CF-BE4F6895E934}"/>
                </a:ext>
              </a:extLst>
            </p:cNvPr>
            <p:cNvSpPr/>
            <p:nvPr/>
          </p:nvSpPr>
          <p:spPr>
            <a:xfrm>
              <a:off x="7597477" y="1810353"/>
              <a:ext cx="67660" cy="67660"/>
            </a:xfrm>
            <a:prstGeom prst="ellipse">
              <a:avLst/>
            </a:prstGeom>
            <a:solidFill>
              <a:schemeClr val="bg1"/>
            </a:solidFill>
            <a:ln>
              <a:noFill/>
            </a:ln>
            <a:effectLst>
              <a:outerShdw blurRad="12700" sx="102000" sy="102000" algn="ctr" rotWithShape="0">
                <a:prstClr val="black">
                  <a:alpha val="66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41" name="Group 40">
            <a:extLst>
              <a:ext uri="{FF2B5EF4-FFF2-40B4-BE49-F238E27FC236}">
                <a16:creationId xmlns:a16="http://schemas.microsoft.com/office/drawing/2014/main" id="{1C67B6E9-5318-FA8D-507C-EF80EA4BCD20}"/>
              </a:ext>
            </a:extLst>
          </p:cNvPr>
          <p:cNvGrpSpPr/>
          <p:nvPr/>
        </p:nvGrpSpPr>
        <p:grpSpPr>
          <a:xfrm>
            <a:off x="7290148" y="1299651"/>
            <a:ext cx="4695426" cy="814726"/>
            <a:chOff x="7290148" y="1299651"/>
            <a:chExt cx="4695426" cy="814726"/>
          </a:xfrm>
        </p:grpSpPr>
        <p:sp>
          <p:nvSpPr>
            <p:cNvPr id="42" name="Rectangle: Rounded Corners 41">
              <a:extLst>
                <a:ext uri="{FF2B5EF4-FFF2-40B4-BE49-F238E27FC236}">
                  <a16:creationId xmlns:a16="http://schemas.microsoft.com/office/drawing/2014/main" id="{F66FB7E6-42FD-FE59-7CB4-0FB2A17C9BBA}"/>
                </a:ext>
              </a:extLst>
            </p:cNvPr>
            <p:cNvSpPr/>
            <p:nvPr/>
          </p:nvSpPr>
          <p:spPr>
            <a:xfrm>
              <a:off x="7290148" y="1299651"/>
              <a:ext cx="1500341" cy="814726"/>
            </a:xfrm>
            <a:prstGeom prst="roundRect">
              <a:avLst>
                <a:gd name="adj" fmla="val 4646"/>
              </a:avLst>
            </a:prstGeom>
            <a:solidFill>
              <a:schemeClr val="accent4">
                <a:lumMod val="50000"/>
              </a:schemeClr>
            </a:solidFill>
            <a:ln>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43" name="Rectangle: Rounded Corners 42">
              <a:extLst>
                <a:ext uri="{FF2B5EF4-FFF2-40B4-BE49-F238E27FC236}">
                  <a16:creationId xmlns:a16="http://schemas.microsoft.com/office/drawing/2014/main" id="{E5E3BA29-8D2D-BF7A-3646-8794D53D68F2}"/>
                </a:ext>
              </a:extLst>
            </p:cNvPr>
            <p:cNvSpPr/>
            <p:nvPr/>
          </p:nvSpPr>
          <p:spPr>
            <a:xfrm>
              <a:off x="7290148" y="1302279"/>
              <a:ext cx="1500341" cy="778242"/>
            </a:xfrm>
            <a:prstGeom prst="roundRect">
              <a:avLst>
                <a:gd name="adj" fmla="val 4646"/>
              </a:avLst>
            </a:prstGeom>
            <a:solidFill>
              <a:schemeClr val="bg1"/>
            </a:solidFill>
            <a:ln>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srgbClr val="385723"/>
                </a:solidFill>
                <a:effectLst/>
                <a:uLnTx/>
                <a:uFillTx/>
                <a:latin typeface="Segoe UI"/>
                <a:ea typeface="+mn-ea"/>
                <a:cs typeface="+mn-cs"/>
              </a:endParaRPr>
            </a:p>
          </p:txBody>
        </p:sp>
        <p:sp>
          <p:nvSpPr>
            <p:cNvPr id="44" name="Rectangle: Rounded Corners 43">
              <a:extLst>
                <a:ext uri="{FF2B5EF4-FFF2-40B4-BE49-F238E27FC236}">
                  <a16:creationId xmlns:a16="http://schemas.microsoft.com/office/drawing/2014/main" id="{25FF8DE3-84BC-49BA-62B3-224A3FEAFAD2}"/>
                </a:ext>
              </a:extLst>
            </p:cNvPr>
            <p:cNvSpPr/>
            <p:nvPr/>
          </p:nvSpPr>
          <p:spPr>
            <a:xfrm>
              <a:off x="8887691" y="1299651"/>
              <a:ext cx="1500341" cy="814726"/>
            </a:xfrm>
            <a:prstGeom prst="roundRect">
              <a:avLst>
                <a:gd name="adj" fmla="val 4646"/>
              </a:avLst>
            </a:prstGeom>
            <a:solidFill>
              <a:schemeClr val="accent4">
                <a:lumMod val="50000"/>
              </a:schemeClr>
            </a:solidFill>
            <a:ln>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45" name="Rectangle: Rounded Corners 44">
              <a:extLst>
                <a:ext uri="{FF2B5EF4-FFF2-40B4-BE49-F238E27FC236}">
                  <a16:creationId xmlns:a16="http://schemas.microsoft.com/office/drawing/2014/main" id="{0254FC17-C2A5-34F7-9350-13AB402D8854}"/>
                </a:ext>
              </a:extLst>
            </p:cNvPr>
            <p:cNvSpPr/>
            <p:nvPr/>
          </p:nvSpPr>
          <p:spPr>
            <a:xfrm>
              <a:off x="8887691" y="1302279"/>
              <a:ext cx="1500341" cy="778242"/>
            </a:xfrm>
            <a:prstGeom prst="roundRect">
              <a:avLst>
                <a:gd name="adj" fmla="val 4646"/>
              </a:avLst>
            </a:prstGeom>
            <a:solidFill>
              <a:schemeClr val="bg1"/>
            </a:solidFill>
            <a:ln>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srgbClr val="385723"/>
                </a:solidFill>
                <a:effectLst/>
                <a:uLnTx/>
                <a:uFillTx/>
                <a:latin typeface="Segoe UI"/>
                <a:ea typeface="+mn-ea"/>
                <a:cs typeface="+mn-cs"/>
              </a:endParaRPr>
            </a:p>
          </p:txBody>
        </p:sp>
        <p:sp>
          <p:nvSpPr>
            <p:cNvPr id="46" name="Rectangle: Rounded Corners 45">
              <a:extLst>
                <a:ext uri="{FF2B5EF4-FFF2-40B4-BE49-F238E27FC236}">
                  <a16:creationId xmlns:a16="http://schemas.microsoft.com/office/drawing/2014/main" id="{84E192F3-36A3-9BB3-0D5E-41B4513405C1}"/>
                </a:ext>
              </a:extLst>
            </p:cNvPr>
            <p:cNvSpPr/>
            <p:nvPr/>
          </p:nvSpPr>
          <p:spPr>
            <a:xfrm>
              <a:off x="10485233" y="1299651"/>
              <a:ext cx="1500341" cy="814726"/>
            </a:xfrm>
            <a:prstGeom prst="roundRect">
              <a:avLst>
                <a:gd name="adj" fmla="val 4646"/>
              </a:avLst>
            </a:prstGeom>
            <a:solidFill>
              <a:schemeClr val="accent4">
                <a:lumMod val="50000"/>
              </a:schemeClr>
            </a:solidFill>
            <a:ln>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47" name="Rectangle: Rounded Corners 46">
              <a:extLst>
                <a:ext uri="{FF2B5EF4-FFF2-40B4-BE49-F238E27FC236}">
                  <a16:creationId xmlns:a16="http://schemas.microsoft.com/office/drawing/2014/main" id="{8EC03A1D-B499-364B-B02D-369B426A6CAB}"/>
                </a:ext>
              </a:extLst>
            </p:cNvPr>
            <p:cNvSpPr/>
            <p:nvPr/>
          </p:nvSpPr>
          <p:spPr>
            <a:xfrm>
              <a:off x="10485233" y="1302279"/>
              <a:ext cx="1500341" cy="778242"/>
            </a:xfrm>
            <a:prstGeom prst="roundRect">
              <a:avLst>
                <a:gd name="adj" fmla="val 4646"/>
              </a:avLst>
            </a:prstGeom>
            <a:solidFill>
              <a:schemeClr val="bg1"/>
            </a:solidFill>
            <a:ln>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srgbClr val="385723"/>
                </a:solidFill>
                <a:effectLst/>
                <a:uLnTx/>
                <a:uFillTx/>
                <a:latin typeface="Segoe UI"/>
                <a:ea typeface="+mn-ea"/>
                <a:cs typeface="+mn-cs"/>
              </a:endParaRPr>
            </a:p>
          </p:txBody>
        </p:sp>
      </p:grpSp>
      <p:grpSp>
        <p:nvGrpSpPr>
          <p:cNvPr id="115" name="Group 114">
            <a:extLst>
              <a:ext uri="{FF2B5EF4-FFF2-40B4-BE49-F238E27FC236}">
                <a16:creationId xmlns:a16="http://schemas.microsoft.com/office/drawing/2014/main" id="{88B530C3-0E86-52A7-2883-9D53BA73FE80}"/>
              </a:ext>
            </a:extLst>
          </p:cNvPr>
          <p:cNvGrpSpPr/>
          <p:nvPr/>
        </p:nvGrpSpPr>
        <p:grpSpPr>
          <a:xfrm>
            <a:off x="7290148" y="3958940"/>
            <a:ext cx="4695426" cy="814726"/>
            <a:chOff x="7290148" y="1299651"/>
            <a:chExt cx="4695426" cy="814726"/>
          </a:xfrm>
        </p:grpSpPr>
        <p:sp>
          <p:nvSpPr>
            <p:cNvPr id="116" name="Rectangle: Rounded Corners 115">
              <a:extLst>
                <a:ext uri="{FF2B5EF4-FFF2-40B4-BE49-F238E27FC236}">
                  <a16:creationId xmlns:a16="http://schemas.microsoft.com/office/drawing/2014/main" id="{C513E325-E6C1-EB22-E2DF-F74F417AF848}"/>
                </a:ext>
              </a:extLst>
            </p:cNvPr>
            <p:cNvSpPr/>
            <p:nvPr/>
          </p:nvSpPr>
          <p:spPr>
            <a:xfrm>
              <a:off x="7290148" y="1299651"/>
              <a:ext cx="1500341" cy="814726"/>
            </a:xfrm>
            <a:prstGeom prst="roundRect">
              <a:avLst>
                <a:gd name="adj" fmla="val 4646"/>
              </a:avLst>
            </a:prstGeom>
            <a:solidFill>
              <a:schemeClr val="accent4">
                <a:lumMod val="50000"/>
              </a:schemeClr>
            </a:solidFill>
            <a:ln>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17" name="Rectangle: Rounded Corners 116">
              <a:extLst>
                <a:ext uri="{FF2B5EF4-FFF2-40B4-BE49-F238E27FC236}">
                  <a16:creationId xmlns:a16="http://schemas.microsoft.com/office/drawing/2014/main" id="{D8ABDE6B-CC92-67B2-D5B4-7D78E89E25DF}"/>
                </a:ext>
              </a:extLst>
            </p:cNvPr>
            <p:cNvSpPr/>
            <p:nvPr/>
          </p:nvSpPr>
          <p:spPr>
            <a:xfrm>
              <a:off x="7290148" y="1302279"/>
              <a:ext cx="1500341" cy="778242"/>
            </a:xfrm>
            <a:prstGeom prst="roundRect">
              <a:avLst>
                <a:gd name="adj" fmla="val 4646"/>
              </a:avLst>
            </a:prstGeom>
            <a:solidFill>
              <a:schemeClr val="bg1"/>
            </a:solidFill>
            <a:ln>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srgbClr val="385723"/>
                </a:solidFill>
                <a:effectLst/>
                <a:uLnTx/>
                <a:uFillTx/>
                <a:latin typeface="Segoe UI"/>
                <a:ea typeface="+mn-ea"/>
                <a:cs typeface="+mn-cs"/>
              </a:endParaRPr>
            </a:p>
          </p:txBody>
        </p:sp>
        <p:sp>
          <p:nvSpPr>
            <p:cNvPr id="118" name="Rectangle: Rounded Corners 117">
              <a:extLst>
                <a:ext uri="{FF2B5EF4-FFF2-40B4-BE49-F238E27FC236}">
                  <a16:creationId xmlns:a16="http://schemas.microsoft.com/office/drawing/2014/main" id="{9104F2A8-89B6-CB59-CBD1-DDC577CFF7C4}"/>
                </a:ext>
              </a:extLst>
            </p:cNvPr>
            <p:cNvSpPr/>
            <p:nvPr/>
          </p:nvSpPr>
          <p:spPr>
            <a:xfrm>
              <a:off x="8887691" y="1299651"/>
              <a:ext cx="1500341" cy="814726"/>
            </a:xfrm>
            <a:prstGeom prst="roundRect">
              <a:avLst>
                <a:gd name="adj" fmla="val 4646"/>
              </a:avLst>
            </a:prstGeom>
            <a:solidFill>
              <a:schemeClr val="accent4">
                <a:lumMod val="50000"/>
              </a:schemeClr>
            </a:solidFill>
            <a:ln>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19" name="Rectangle: Rounded Corners 118">
              <a:extLst>
                <a:ext uri="{FF2B5EF4-FFF2-40B4-BE49-F238E27FC236}">
                  <a16:creationId xmlns:a16="http://schemas.microsoft.com/office/drawing/2014/main" id="{CEA6581F-4883-5FD7-5916-C6AA46808F99}"/>
                </a:ext>
              </a:extLst>
            </p:cNvPr>
            <p:cNvSpPr/>
            <p:nvPr/>
          </p:nvSpPr>
          <p:spPr>
            <a:xfrm>
              <a:off x="8887691" y="1302279"/>
              <a:ext cx="1500341" cy="778242"/>
            </a:xfrm>
            <a:prstGeom prst="roundRect">
              <a:avLst>
                <a:gd name="adj" fmla="val 4646"/>
              </a:avLst>
            </a:prstGeom>
            <a:solidFill>
              <a:schemeClr val="bg1"/>
            </a:solidFill>
            <a:ln>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srgbClr val="385723"/>
                </a:solidFill>
                <a:effectLst/>
                <a:uLnTx/>
                <a:uFillTx/>
                <a:latin typeface="Segoe UI"/>
                <a:ea typeface="+mn-ea"/>
                <a:cs typeface="+mn-cs"/>
              </a:endParaRPr>
            </a:p>
          </p:txBody>
        </p:sp>
        <p:sp>
          <p:nvSpPr>
            <p:cNvPr id="120" name="Rectangle: Rounded Corners 119">
              <a:extLst>
                <a:ext uri="{FF2B5EF4-FFF2-40B4-BE49-F238E27FC236}">
                  <a16:creationId xmlns:a16="http://schemas.microsoft.com/office/drawing/2014/main" id="{F691B223-9015-F823-3D11-401875F26801}"/>
                </a:ext>
              </a:extLst>
            </p:cNvPr>
            <p:cNvSpPr/>
            <p:nvPr/>
          </p:nvSpPr>
          <p:spPr>
            <a:xfrm>
              <a:off x="10485233" y="1299651"/>
              <a:ext cx="1500341" cy="814726"/>
            </a:xfrm>
            <a:prstGeom prst="roundRect">
              <a:avLst>
                <a:gd name="adj" fmla="val 4646"/>
              </a:avLst>
            </a:prstGeom>
            <a:solidFill>
              <a:schemeClr val="accent4">
                <a:lumMod val="50000"/>
              </a:schemeClr>
            </a:solidFill>
            <a:ln>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21" name="Rectangle: Rounded Corners 120">
              <a:extLst>
                <a:ext uri="{FF2B5EF4-FFF2-40B4-BE49-F238E27FC236}">
                  <a16:creationId xmlns:a16="http://schemas.microsoft.com/office/drawing/2014/main" id="{33663F4E-009D-E87D-C674-5DB9D159E74C}"/>
                </a:ext>
              </a:extLst>
            </p:cNvPr>
            <p:cNvSpPr/>
            <p:nvPr/>
          </p:nvSpPr>
          <p:spPr>
            <a:xfrm>
              <a:off x="10485233" y="1302279"/>
              <a:ext cx="1500341" cy="778242"/>
            </a:xfrm>
            <a:prstGeom prst="roundRect">
              <a:avLst>
                <a:gd name="adj" fmla="val 4646"/>
              </a:avLst>
            </a:prstGeom>
            <a:solidFill>
              <a:schemeClr val="bg1"/>
            </a:solidFill>
            <a:ln>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srgbClr val="385723"/>
                </a:solidFill>
                <a:effectLst/>
                <a:uLnTx/>
                <a:uFillTx/>
                <a:latin typeface="Segoe UI"/>
                <a:ea typeface="+mn-ea"/>
                <a:cs typeface="+mn-cs"/>
              </a:endParaRPr>
            </a:p>
          </p:txBody>
        </p:sp>
      </p:grpSp>
      <p:grpSp>
        <p:nvGrpSpPr>
          <p:cNvPr id="129" name="Group 128">
            <a:extLst>
              <a:ext uri="{FF2B5EF4-FFF2-40B4-BE49-F238E27FC236}">
                <a16:creationId xmlns:a16="http://schemas.microsoft.com/office/drawing/2014/main" id="{7BE66701-F2EE-61B5-F24C-A512DCD805CE}"/>
              </a:ext>
            </a:extLst>
          </p:cNvPr>
          <p:cNvGrpSpPr/>
          <p:nvPr/>
        </p:nvGrpSpPr>
        <p:grpSpPr>
          <a:xfrm>
            <a:off x="7290148" y="4823539"/>
            <a:ext cx="4695426" cy="814726"/>
            <a:chOff x="7290148" y="4823539"/>
            <a:chExt cx="1500341" cy="814726"/>
          </a:xfrm>
        </p:grpSpPr>
        <p:sp>
          <p:nvSpPr>
            <p:cNvPr id="124" name="Rectangle: Rounded Corners 123">
              <a:extLst>
                <a:ext uri="{FF2B5EF4-FFF2-40B4-BE49-F238E27FC236}">
                  <a16:creationId xmlns:a16="http://schemas.microsoft.com/office/drawing/2014/main" id="{A3CB0E6D-C842-21B8-55B2-3CC5E3EDC942}"/>
                </a:ext>
              </a:extLst>
            </p:cNvPr>
            <p:cNvSpPr/>
            <p:nvPr/>
          </p:nvSpPr>
          <p:spPr>
            <a:xfrm>
              <a:off x="7290148" y="4823539"/>
              <a:ext cx="1500341" cy="814726"/>
            </a:xfrm>
            <a:prstGeom prst="roundRect">
              <a:avLst>
                <a:gd name="adj" fmla="val 4646"/>
              </a:avLst>
            </a:prstGeom>
            <a:solidFill>
              <a:schemeClr val="accent4">
                <a:lumMod val="50000"/>
              </a:schemeClr>
            </a:solidFill>
            <a:ln>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26" name="Rectangle: Rounded Corners 125">
              <a:extLst>
                <a:ext uri="{FF2B5EF4-FFF2-40B4-BE49-F238E27FC236}">
                  <a16:creationId xmlns:a16="http://schemas.microsoft.com/office/drawing/2014/main" id="{97CB60FE-DE91-6C5E-23EA-DE33E7CA821E}"/>
                </a:ext>
              </a:extLst>
            </p:cNvPr>
            <p:cNvSpPr/>
            <p:nvPr/>
          </p:nvSpPr>
          <p:spPr>
            <a:xfrm>
              <a:off x="7290148" y="4826167"/>
              <a:ext cx="1500341" cy="778242"/>
            </a:xfrm>
            <a:prstGeom prst="roundRect">
              <a:avLst>
                <a:gd name="adj" fmla="val 4646"/>
              </a:avLst>
            </a:prstGeom>
            <a:solidFill>
              <a:schemeClr val="bg1"/>
            </a:solidFill>
            <a:ln>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srgbClr val="385723"/>
                </a:solidFill>
                <a:effectLst/>
                <a:uLnTx/>
                <a:uFillTx/>
                <a:latin typeface="Segoe UI"/>
                <a:ea typeface="+mn-ea"/>
                <a:cs typeface="+mn-cs"/>
              </a:endParaRPr>
            </a:p>
          </p:txBody>
        </p:sp>
      </p:grpSp>
      <p:grpSp>
        <p:nvGrpSpPr>
          <p:cNvPr id="1029" name="Group 1028">
            <a:extLst>
              <a:ext uri="{FF2B5EF4-FFF2-40B4-BE49-F238E27FC236}">
                <a16:creationId xmlns:a16="http://schemas.microsoft.com/office/drawing/2014/main" id="{E951D1F3-C855-5FD7-9B87-DDA62368601D}"/>
              </a:ext>
            </a:extLst>
          </p:cNvPr>
          <p:cNvGrpSpPr/>
          <p:nvPr/>
        </p:nvGrpSpPr>
        <p:grpSpPr>
          <a:xfrm>
            <a:off x="7290148" y="5698464"/>
            <a:ext cx="4695426" cy="814726"/>
            <a:chOff x="7290148" y="1299651"/>
            <a:chExt cx="4695426" cy="814726"/>
          </a:xfrm>
        </p:grpSpPr>
        <p:sp>
          <p:nvSpPr>
            <p:cNvPr id="1030" name="Rectangle: Rounded Corners 1029">
              <a:extLst>
                <a:ext uri="{FF2B5EF4-FFF2-40B4-BE49-F238E27FC236}">
                  <a16:creationId xmlns:a16="http://schemas.microsoft.com/office/drawing/2014/main" id="{39327D6F-E757-9794-CF2F-2CCFA80E5556}"/>
                </a:ext>
              </a:extLst>
            </p:cNvPr>
            <p:cNvSpPr/>
            <p:nvPr/>
          </p:nvSpPr>
          <p:spPr>
            <a:xfrm>
              <a:off x="7290148" y="1299651"/>
              <a:ext cx="1500341" cy="814726"/>
            </a:xfrm>
            <a:prstGeom prst="roundRect">
              <a:avLst>
                <a:gd name="adj" fmla="val 4646"/>
              </a:avLst>
            </a:prstGeom>
            <a:solidFill>
              <a:schemeClr val="accent4">
                <a:lumMod val="50000"/>
              </a:schemeClr>
            </a:solidFill>
            <a:ln>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031" name="Rectangle: Rounded Corners 1030">
              <a:extLst>
                <a:ext uri="{FF2B5EF4-FFF2-40B4-BE49-F238E27FC236}">
                  <a16:creationId xmlns:a16="http://schemas.microsoft.com/office/drawing/2014/main" id="{24D259E6-392C-5C0C-CA61-52802C2F8F27}"/>
                </a:ext>
              </a:extLst>
            </p:cNvPr>
            <p:cNvSpPr/>
            <p:nvPr/>
          </p:nvSpPr>
          <p:spPr>
            <a:xfrm>
              <a:off x="7290148" y="1302279"/>
              <a:ext cx="1500341" cy="778242"/>
            </a:xfrm>
            <a:prstGeom prst="roundRect">
              <a:avLst>
                <a:gd name="adj" fmla="val 4646"/>
              </a:avLst>
            </a:prstGeom>
            <a:solidFill>
              <a:schemeClr val="bg1"/>
            </a:solidFill>
            <a:ln>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srgbClr val="385723"/>
                </a:solidFill>
                <a:effectLst/>
                <a:uLnTx/>
                <a:uFillTx/>
                <a:latin typeface="Segoe UI"/>
                <a:ea typeface="+mn-ea"/>
                <a:cs typeface="+mn-cs"/>
              </a:endParaRPr>
            </a:p>
          </p:txBody>
        </p:sp>
        <p:sp>
          <p:nvSpPr>
            <p:cNvPr id="1032" name="Rectangle: Rounded Corners 1031">
              <a:extLst>
                <a:ext uri="{FF2B5EF4-FFF2-40B4-BE49-F238E27FC236}">
                  <a16:creationId xmlns:a16="http://schemas.microsoft.com/office/drawing/2014/main" id="{9CC37EA3-C290-EAD7-D1F4-07BA0DED5F05}"/>
                </a:ext>
              </a:extLst>
            </p:cNvPr>
            <p:cNvSpPr/>
            <p:nvPr/>
          </p:nvSpPr>
          <p:spPr>
            <a:xfrm>
              <a:off x="8887691" y="1299651"/>
              <a:ext cx="1500341" cy="814726"/>
            </a:xfrm>
            <a:prstGeom prst="roundRect">
              <a:avLst>
                <a:gd name="adj" fmla="val 4646"/>
              </a:avLst>
            </a:prstGeom>
            <a:solidFill>
              <a:schemeClr val="accent4">
                <a:lumMod val="50000"/>
              </a:schemeClr>
            </a:solidFill>
            <a:ln>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033" name="Rectangle: Rounded Corners 1032">
              <a:extLst>
                <a:ext uri="{FF2B5EF4-FFF2-40B4-BE49-F238E27FC236}">
                  <a16:creationId xmlns:a16="http://schemas.microsoft.com/office/drawing/2014/main" id="{5930F5A9-4B35-A650-51D6-CBCBF4887381}"/>
                </a:ext>
              </a:extLst>
            </p:cNvPr>
            <p:cNvSpPr/>
            <p:nvPr/>
          </p:nvSpPr>
          <p:spPr>
            <a:xfrm>
              <a:off x="8887691" y="1302279"/>
              <a:ext cx="1500341" cy="778242"/>
            </a:xfrm>
            <a:prstGeom prst="roundRect">
              <a:avLst>
                <a:gd name="adj" fmla="val 4646"/>
              </a:avLst>
            </a:prstGeom>
            <a:solidFill>
              <a:schemeClr val="bg1"/>
            </a:solidFill>
            <a:ln>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srgbClr val="385723"/>
                </a:solidFill>
                <a:effectLst/>
                <a:uLnTx/>
                <a:uFillTx/>
                <a:latin typeface="Segoe UI"/>
                <a:ea typeface="+mn-ea"/>
                <a:cs typeface="+mn-cs"/>
              </a:endParaRPr>
            </a:p>
          </p:txBody>
        </p:sp>
        <p:sp>
          <p:nvSpPr>
            <p:cNvPr id="1034" name="Rectangle: Rounded Corners 1033">
              <a:extLst>
                <a:ext uri="{FF2B5EF4-FFF2-40B4-BE49-F238E27FC236}">
                  <a16:creationId xmlns:a16="http://schemas.microsoft.com/office/drawing/2014/main" id="{F5BBE30E-A71C-7113-B2C6-AB2CAB07EF2D}"/>
                </a:ext>
              </a:extLst>
            </p:cNvPr>
            <p:cNvSpPr/>
            <p:nvPr/>
          </p:nvSpPr>
          <p:spPr>
            <a:xfrm>
              <a:off x="10485233" y="1299651"/>
              <a:ext cx="1500341" cy="814726"/>
            </a:xfrm>
            <a:prstGeom prst="roundRect">
              <a:avLst>
                <a:gd name="adj" fmla="val 4646"/>
              </a:avLst>
            </a:prstGeom>
            <a:solidFill>
              <a:schemeClr val="accent4">
                <a:lumMod val="50000"/>
              </a:schemeClr>
            </a:solidFill>
            <a:ln>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035" name="Rectangle: Rounded Corners 1034">
              <a:extLst>
                <a:ext uri="{FF2B5EF4-FFF2-40B4-BE49-F238E27FC236}">
                  <a16:creationId xmlns:a16="http://schemas.microsoft.com/office/drawing/2014/main" id="{1E3DCC60-9349-76A2-DF5A-E88E4061AFCE}"/>
                </a:ext>
              </a:extLst>
            </p:cNvPr>
            <p:cNvSpPr/>
            <p:nvPr/>
          </p:nvSpPr>
          <p:spPr>
            <a:xfrm>
              <a:off x="10485233" y="1302279"/>
              <a:ext cx="1500341" cy="778242"/>
            </a:xfrm>
            <a:prstGeom prst="roundRect">
              <a:avLst>
                <a:gd name="adj" fmla="val 4646"/>
              </a:avLst>
            </a:prstGeom>
            <a:solidFill>
              <a:schemeClr val="bg1"/>
            </a:solidFill>
            <a:ln>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srgbClr val="385723"/>
                </a:solidFill>
                <a:effectLst/>
                <a:uLnTx/>
                <a:uFillTx/>
                <a:latin typeface="Segoe UI"/>
                <a:ea typeface="+mn-ea"/>
                <a:cs typeface="+mn-cs"/>
              </a:endParaRPr>
            </a:p>
          </p:txBody>
        </p:sp>
      </p:grpSp>
      <p:pic>
        <p:nvPicPr>
          <p:cNvPr id="1036" name="Picture 32" descr="Arrow Left Symbol PNG Transparent ...">
            <a:extLst>
              <a:ext uri="{FF2B5EF4-FFF2-40B4-BE49-F238E27FC236}">
                <a16:creationId xmlns:a16="http://schemas.microsoft.com/office/drawing/2014/main" id="{34AC3651-2D38-0231-A859-BFA9A8549F3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0334" t="32967" r="8677" b="33008"/>
          <a:stretch>
            <a:fillRect/>
          </a:stretch>
        </p:blipFill>
        <p:spPr bwMode="auto">
          <a:xfrm rot="10800000">
            <a:off x="11220369" y="1638237"/>
            <a:ext cx="249473" cy="151946"/>
          </a:xfrm>
          <a:prstGeom prst="rect">
            <a:avLst/>
          </a:prstGeom>
          <a:noFill/>
          <a:extLst>
            <a:ext uri="{909E8E84-426E-40DD-AFC4-6F175D3DCCD1}">
              <a14:hiddenFill xmlns:a14="http://schemas.microsoft.com/office/drawing/2010/main">
                <a:solidFill>
                  <a:srgbClr val="FFFFFF"/>
                </a:solidFill>
              </a14:hiddenFill>
            </a:ext>
          </a:extLst>
        </p:spPr>
      </p:pic>
      <p:pic>
        <p:nvPicPr>
          <p:cNvPr id="1037" name="Picture 32" descr="Arrow Left Symbol PNG Transparent ...">
            <a:extLst>
              <a:ext uri="{FF2B5EF4-FFF2-40B4-BE49-F238E27FC236}">
                <a16:creationId xmlns:a16="http://schemas.microsoft.com/office/drawing/2014/main" id="{B397FD27-7F74-5E2C-1FB6-19835C9CB318}"/>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0334" t="32967" r="8677" b="33008"/>
          <a:stretch>
            <a:fillRect/>
          </a:stretch>
        </p:blipFill>
        <p:spPr bwMode="auto">
          <a:xfrm rot="10800000">
            <a:off x="7951478" y="1638237"/>
            <a:ext cx="249473" cy="151946"/>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32" descr="Arrow Left Symbol PNG Transparent ...">
            <a:extLst>
              <a:ext uri="{FF2B5EF4-FFF2-40B4-BE49-F238E27FC236}">
                <a16:creationId xmlns:a16="http://schemas.microsoft.com/office/drawing/2014/main" id="{678D88DE-9378-2CFC-97C5-9778F919484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0334" t="32967" r="8677" b="33008"/>
          <a:stretch>
            <a:fillRect/>
          </a:stretch>
        </p:blipFill>
        <p:spPr bwMode="auto">
          <a:xfrm rot="10800000">
            <a:off x="9568619" y="1638237"/>
            <a:ext cx="249473" cy="151946"/>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32" descr="Arrow Left Symbol PNG Transparent ...">
            <a:extLst>
              <a:ext uri="{FF2B5EF4-FFF2-40B4-BE49-F238E27FC236}">
                <a16:creationId xmlns:a16="http://schemas.microsoft.com/office/drawing/2014/main" id="{FC918AC3-CC7D-77D0-7F83-A829226DDAD7}"/>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0334" t="32967" r="8677" b="33008"/>
          <a:stretch>
            <a:fillRect/>
          </a:stretch>
        </p:blipFill>
        <p:spPr bwMode="auto">
          <a:xfrm rot="10800000">
            <a:off x="7951478" y="4254172"/>
            <a:ext cx="249473" cy="151946"/>
          </a:xfrm>
          <a:prstGeom prst="rect">
            <a:avLst/>
          </a:prstGeom>
          <a:noFill/>
          <a:extLst>
            <a:ext uri="{909E8E84-426E-40DD-AFC4-6F175D3DCCD1}">
              <a14:hiddenFill xmlns:a14="http://schemas.microsoft.com/office/drawing/2010/main">
                <a:solidFill>
                  <a:srgbClr val="FFFFFF"/>
                </a:solidFill>
              </a14:hiddenFill>
            </a:ext>
          </a:extLst>
        </p:spPr>
      </p:pic>
      <p:pic>
        <p:nvPicPr>
          <p:cNvPr id="1043" name="Picture 6" descr="Sahyadri Hospitals | Pune">
            <a:extLst>
              <a:ext uri="{FF2B5EF4-FFF2-40B4-BE49-F238E27FC236}">
                <a16:creationId xmlns:a16="http://schemas.microsoft.com/office/drawing/2014/main" id="{CE4BC0FB-E0A3-FCBD-36B4-73FF825FF1DD}"/>
              </a:ext>
            </a:extLst>
          </p:cNvPr>
          <p:cNvPicPr>
            <a:picLocks noChangeAspect="1" noChangeArrowheads="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t="28711" b="22717"/>
          <a:stretch>
            <a:fillRect/>
          </a:stretch>
        </p:blipFill>
        <p:spPr bwMode="auto">
          <a:xfrm>
            <a:off x="8315513" y="1638237"/>
            <a:ext cx="399517" cy="194050"/>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8" descr="Ontario Teachers' Pension Plan - Wikipedia">
            <a:extLst>
              <a:ext uri="{FF2B5EF4-FFF2-40B4-BE49-F238E27FC236}">
                <a16:creationId xmlns:a16="http://schemas.microsoft.com/office/drawing/2014/main" id="{81B467AC-787F-7C8A-700B-6496BA12BFA5}"/>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399726" y="1621810"/>
            <a:ext cx="461716" cy="157512"/>
          </a:xfrm>
          <a:prstGeom prst="rect">
            <a:avLst/>
          </a:prstGeom>
          <a:noFill/>
          <a:extLst>
            <a:ext uri="{909E8E84-426E-40DD-AFC4-6F175D3DCCD1}">
              <a14:hiddenFill xmlns:a14="http://schemas.microsoft.com/office/drawing/2010/main">
                <a:solidFill>
                  <a:srgbClr val="FFFFFF"/>
                </a:solidFill>
              </a14:hiddenFill>
            </a:ext>
          </a:extLst>
        </p:spPr>
      </p:pic>
      <p:pic>
        <p:nvPicPr>
          <p:cNvPr id="1045" name="Picture 2" descr="Growth Investment in Priority Software">
            <a:extLst>
              <a:ext uri="{FF2B5EF4-FFF2-40B4-BE49-F238E27FC236}">
                <a16:creationId xmlns:a16="http://schemas.microsoft.com/office/drawing/2014/main" id="{1EB3EA42-BE93-4367-AB18-DAFF617DEAA3}"/>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928736" y="1621811"/>
            <a:ext cx="607525" cy="176708"/>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4" descr="Indira IVF Hospital Pvt Ltd in Bhandup ...">
            <a:extLst>
              <a:ext uri="{FF2B5EF4-FFF2-40B4-BE49-F238E27FC236}">
                <a16:creationId xmlns:a16="http://schemas.microsoft.com/office/drawing/2014/main" id="{B08A3E55-E404-DBE3-5529-BC66F2E5BA00}"/>
              </a:ext>
            </a:extLst>
          </p:cNvPr>
          <p:cNvPicPr>
            <a:picLocks noChangeAspect="1" noChangeArrowheads="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t="16081" b="17943"/>
          <a:stretch>
            <a:fillRect/>
          </a:stretch>
        </p:blipFill>
        <p:spPr bwMode="auto">
          <a:xfrm>
            <a:off x="9802765" y="1669762"/>
            <a:ext cx="612137" cy="145779"/>
          </a:xfrm>
          <a:prstGeom prst="rect">
            <a:avLst/>
          </a:prstGeom>
          <a:noFill/>
          <a:extLst>
            <a:ext uri="{909E8E84-426E-40DD-AFC4-6F175D3DCCD1}">
              <a14:hiddenFill xmlns:a14="http://schemas.microsoft.com/office/drawing/2010/main">
                <a:solidFill>
                  <a:srgbClr val="FFFFFF"/>
                </a:solidFill>
              </a14:hiddenFill>
            </a:ext>
          </a:extLst>
        </p:spPr>
      </p:pic>
      <p:pic>
        <p:nvPicPr>
          <p:cNvPr id="1047" name="Picture 2" descr="TPG Inc. - Wikipedia">
            <a:extLst>
              <a:ext uri="{FF2B5EF4-FFF2-40B4-BE49-F238E27FC236}">
                <a16:creationId xmlns:a16="http://schemas.microsoft.com/office/drawing/2014/main" id="{DB4D3848-96CF-73C2-3192-B59DA6ED94A7}"/>
              </a:ext>
            </a:extLst>
          </p:cNvPr>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637520" y="1641568"/>
            <a:ext cx="441950" cy="187387"/>
          </a:xfrm>
          <a:prstGeom prst="rect">
            <a:avLst/>
          </a:prstGeom>
          <a:noFill/>
          <a:extLst>
            <a:ext uri="{909E8E84-426E-40DD-AFC4-6F175D3DCCD1}">
              <a14:hiddenFill xmlns:a14="http://schemas.microsoft.com/office/drawing/2010/main">
                <a:solidFill>
                  <a:srgbClr val="FFFFFF"/>
                </a:solidFill>
              </a14:hiddenFill>
            </a:ext>
          </a:extLst>
        </p:spPr>
      </p:pic>
      <p:pic>
        <p:nvPicPr>
          <p:cNvPr id="1048" name="Picture 4" descr="Best Hospital in India -About Us">
            <a:extLst>
              <a:ext uri="{FF2B5EF4-FFF2-40B4-BE49-F238E27FC236}">
                <a16:creationId xmlns:a16="http://schemas.microsoft.com/office/drawing/2014/main" id="{65B92332-7670-4469-94FB-BFED1E49AAFE}"/>
              </a:ext>
            </a:extLst>
          </p:cNvPr>
          <p:cNvPicPr>
            <a:picLocks noChangeAspect="1" noChangeArrowheads="1"/>
          </p:cNvPicPr>
          <p:nvPr/>
        </p:nvPicPr>
        <p:blipFill rotWithShape="1">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l="15789" r="12467"/>
          <a:stretch>
            <a:fillRect/>
          </a:stretch>
        </p:blipFill>
        <p:spPr bwMode="auto">
          <a:xfrm>
            <a:off x="11502637" y="1584442"/>
            <a:ext cx="411571" cy="301638"/>
          </a:xfrm>
          <a:prstGeom prst="rect">
            <a:avLst/>
          </a:prstGeom>
          <a:noFill/>
          <a:extLst>
            <a:ext uri="{909E8E84-426E-40DD-AFC4-6F175D3DCCD1}">
              <a14:hiddenFill xmlns:a14="http://schemas.microsoft.com/office/drawing/2010/main">
                <a:solidFill>
                  <a:srgbClr val="FFFFFF"/>
                </a:solidFill>
              </a14:hiddenFill>
            </a:ext>
          </a:extLst>
        </p:spPr>
      </p:pic>
      <p:pic>
        <p:nvPicPr>
          <p:cNvPr id="1049" name="Picture 18" descr="Fortis Home">
            <a:extLst>
              <a:ext uri="{FF2B5EF4-FFF2-40B4-BE49-F238E27FC236}">
                <a16:creationId xmlns:a16="http://schemas.microsoft.com/office/drawing/2014/main" id="{313F90A8-74B9-6E3E-EA58-402554320E13}"/>
              </a:ext>
            </a:extLst>
          </p:cNvPr>
          <p:cNvPicPr>
            <a:picLocks noChangeAspect="1" noChangeArrowheads="1"/>
          </p:cNvPicPr>
          <p:nvPr/>
        </p:nvPicPr>
        <p:blipFill>
          <a:blip r:embed="rId9">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7476451" y="2361869"/>
            <a:ext cx="769981" cy="407489"/>
          </a:xfrm>
          <a:prstGeom prst="rect">
            <a:avLst/>
          </a:prstGeom>
          <a:noFill/>
          <a:extLst>
            <a:ext uri="{909E8E84-426E-40DD-AFC4-6F175D3DCCD1}">
              <a14:hiddenFill xmlns:a14="http://schemas.microsoft.com/office/drawing/2010/main">
                <a:solidFill>
                  <a:srgbClr val="FFFFFF"/>
                </a:solidFill>
              </a14:hiddenFill>
            </a:ext>
          </a:extLst>
        </p:spPr>
      </p:pic>
      <p:pic>
        <p:nvPicPr>
          <p:cNvPr id="1050" name="Picture 20" descr="MGMHealthcare | Chennai">
            <a:extLst>
              <a:ext uri="{FF2B5EF4-FFF2-40B4-BE49-F238E27FC236}">
                <a16:creationId xmlns:a16="http://schemas.microsoft.com/office/drawing/2014/main" id="{E4C1BD9A-1675-4786-7CC3-BFB54D8D62AE}"/>
              </a:ext>
            </a:extLst>
          </p:cNvPr>
          <p:cNvPicPr>
            <a:picLocks noChangeAspect="1" noChangeArrowheads="1"/>
          </p:cNvPicPr>
          <p:nvPr/>
        </p:nvPicPr>
        <p:blipFill rotWithShape="1">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t="22916" b="19188"/>
          <a:stretch>
            <a:fillRect/>
          </a:stretch>
        </p:blipFill>
        <p:spPr bwMode="auto">
          <a:xfrm>
            <a:off x="8575857" y="2303271"/>
            <a:ext cx="829513" cy="480258"/>
          </a:xfrm>
          <a:prstGeom prst="rect">
            <a:avLst/>
          </a:prstGeom>
          <a:noFill/>
          <a:extLst>
            <a:ext uri="{909E8E84-426E-40DD-AFC4-6F175D3DCCD1}">
              <a14:hiddenFill xmlns:a14="http://schemas.microsoft.com/office/drawing/2010/main">
                <a:solidFill>
                  <a:srgbClr val="FFFFFF"/>
                </a:solidFill>
              </a14:hiddenFill>
            </a:ext>
          </a:extLst>
        </p:spPr>
      </p:pic>
      <p:pic>
        <p:nvPicPr>
          <p:cNvPr id="1057" name="Picture 32" descr="Arrow Left Symbol PNG Transparent ...">
            <a:extLst>
              <a:ext uri="{FF2B5EF4-FFF2-40B4-BE49-F238E27FC236}">
                <a16:creationId xmlns:a16="http://schemas.microsoft.com/office/drawing/2014/main" id="{ABB94A34-D0C6-8376-0EAF-1C26A0EDA6D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0334" t="32967" r="8677" b="33008"/>
          <a:stretch>
            <a:fillRect/>
          </a:stretch>
        </p:blipFill>
        <p:spPr bwMode="auto">
          <a:xfrm rot="10800000">
            <a:off x="8289680" y="2486849"/>
            <a:ext cx="249473" cy="151946"/>
          </a:xfrm>
          <a:prstGeom prst="rect">
            <a:avLst/>
          </a:prstGeom>
          <a:noFill/>
          <a:extLst>
            <a:ext uri="{909E8E84-426E-40DD-AFC4-6F175D3DCCD1}">
              <a14:hiddenFill xmlns:a14="http://schemas.microsoft.com/office/drawing/2010/main">
                <a:solidFill>
                  <a:srgbClr val="FFFFFF"/>
                </a:solidFill>
              </a14:hiddenFill>
            </a:ext>
          </a:extLst>
        </p:spPr>
      </p:pic>
      <p:pic>
        <p:nvPicPr>
          <p:cNvPr id="1058" name="Picture 32" descr="Arrow Left Symbol PNG Transparent ...">
            <a:extLst>
              <a:ext uri="{FF2B5EF4-FFF2-40B4-BE49-F238E27FC236}">
                <a16:creationId xmlns:a16="http://schemas.microsoft.com/office/drawing/2014/main" id="{2AC84418-B27E-8D3E-3BF9-E5632206C82C}"/>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0334" t="32967" r="8677" b="33008"/>
          <a:stretch>
            <a:fillRect/>
          </a:stretch>
        </p:blipFill>
        <p:spPr bwMode="auto">
          <a:xfrm rot="10800000">
            <a:off x="10645592" y="2486849"/>
            <a:ext cx="249473" cy="151946"/>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Apollo Cradle - RBC Worldwide">
            <a:extLst>
              <a:ext uri="{FF2B5EF4-FFF2-40B4-BE49-F238E27FC236}">
                <a16:creationId xmlns:a16="http://schemas.microsoft.com/office/drawing/2014/main" id="{DE188D90-BF04-F4AC-0E0F-F6DA60DB3A3A}"/>
              </a:ext>
            </a:extLst>
          </p:cNvPr>
          <p:cNvPicPr>
            <a:picLocks noChangeAspect="1" noChangeArrowheads="1"/>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095740" y="2361869"/>
            <a:ext cx="746555" cy="351589"/>
          </a:xfrm>
          <a:prstGeom prst="rect">
            <a:avLst/>
          </a:prstGeom>
          <a:noFill/>
          <a:extLst>
            <a:ext uri="{909E8E84-426E-40DD-AFC4-6F175D3DCCD1}">
              <a14:hiddenFill xmlns:a14="http://schemas.microsoft.com/office/drawing/2010/main">
                <a:solidFill>
                  <a:srgbClr val="FFFFFF"/>
                </a:solidFill>
              </a14:hiddenFill>
            </a:ext>
          </a:extLst>
        </p:spPr>
      </p:pic>
      <p:sp>
        <p:nvSpPr>
          <p:cNvPr id="1088" name="TextBox 1087">
            <a:extLst>
              <a:ext uri="{FF2B5EF4-FFF2-40B4-BE49-F238E27FC236}">
                <a16:creationId xmlns:a16="http://schemas.microsoft.com/office/drawing/2014/main" id="{3992C547-D369-4BEB-2282-B5FA4E5B6D7F}"/>
              </a:ext>
            </a:extLst>
          </p:cNvPr>
          <p:cNvSpPr txBox="1"/>
          <p:nvPr/>
        </p:nvSpPr>
        <p:spPr>
          <a:xfrm>
            <a:off x="9868832" y="2750089"/>
            <a:ext cx="1939735"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1" u="none" strike="noStrike" kern="1200" cap="none" spc="0" normalizeH="0" baseline="0" noProof="0" dirty="0">
                <a:ln>
                  <a:noFill/>
                </a:ln>
                <a:solidFill>
                  <a:srgbClr val="404040"/>
                </a:solidFill>
                <a:effectLst/>
                <a:uLnTx/>
                <a:uFillTx/>
                <a:latin typeface="Segoe UI"/>
                <a:ea typeface="+mn-ea"/>
                <a:cs typeface="+mn-cs"/>
              </a:rPr>
              <a:t>(Expected to be closed in FY27)</a:t>
            </a:r>
          </a:p>
        </p:txBody>
      </p:sp>
      <p:pic>
        <p:nvPicPr>
          <p:cNvPr id="2056" name="Picture 8" descr="Apollo Hospital: Book Appointment ...">
            <a:extLst>
              <a:ext uri="{FF2B5EF4-FFF2-40B4-BE49-F238E27FC236}">
                <a16:creationId xmlns:a16="http://schemas.microsoft.com/office/drawing/2014/main" id="{D99934C4-3E7D-73B7-9E0F-BEC0A873DD2F}"/>
              </a:ext>
            </a:extLst>
          </p:cNvPr>
          <p:cNvPicPr>
            <a:picLocks noChangeAspect="1" noChangeArrowheads="1"/>
          </p:cNvPicPr>
          <p:nvPr/>
        </p:nvPicPr>
        <p:blipFill rotWithShape="1">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l="15953" t="24162" r="18020" b="26079"/>
          <a:stretch>
            <a:fillRect/>
          </a:stretch>
        </p:blipFill>
        <p:spPr bwMode="auto">
          <a:xfrm>
            <a:off x="9814805" y="2286021"/>
            <a:ext cx="679230" cy="511882"/>
          </a:xfrm>
          <a:prstGeom prst="rect">
            <a:avLst/>
          </a:prstGeom>
          <a:noFill/>
          <a:extLst>
            <a:ext uri="{909E8E84-426E-40DD-AFC4-6F175D3DCCD1}">
              <a14:hiddenFill xmlns:a14="http://schemas.microsoft.com/office/drawing/2010/main">
                <a:solidFill>
                  <a:srgbClr val="FFFFFF"/>
                </a:solidFill>
              </a14:hiddenFill>
            </a:ext>
          </a:extLst>
        </p:spPr>
      </p:pic>
      <p:grpSp>
        <p:nvGrpSpPr>
          <p:cNvPr id="1059" name="Group 1058">
            <a:extLst>
              <a:ext uri="{FF2B5EF4-FFF2-40B4-BE49-F238E27FC236}">
                <a16:creationId xmlns:a16="http://schemas.microsoft.com/office/drawing/2014/main" id="{D83D46A1-7061-8E35-9655-E3D714A19399}"/>
              </a:ext>
            </a:extLst>
          </p:cNvPr>
          <p:cNvGrpSpPr/>
          <p:nvPr/>
        </p:nvGrpSpPr>
        <p:grpSpPr>
          <a:xfrm>
            <a:off x="7295363" y="3066133"/>
            <a:ext cx="2304000" cy="814726"/>
            <a:chOff x="9292546" y="1515445"/>
            <a:chExt cx="1771695" cy="2475312"/>
          </a:xfrm>
        </p:grpSpPr>
        <p:sp>
          <p:nvSpPr>
            <p:cNvPr id="1060" name="Rectangle: Rounded Corners 1059">
              <a:extLst>
                <a:ext uri="{FF2B5EF4-FFF2-40B4-BE49-F238E27FC236}">
                  <a16:creationId xmlns:a16="http://schemas.microsoft.com/office/drawing/2014/main" id="{6E1A0C6F-9F14-4CDC-A398-9F934E150A89}"/>
                </a:ext>
              </a:extLst>
            </p:cNvPr>
            <p:cNvSpPr/>
            <p:nvPr/>
          </p:nvSpPr>
          <p:spPr>
            <a:xfrm>
              <a:off x="9292546" y="1515445"/>
              <a:ext cx="1771695" cy="2475312"/>
            </a:xfrm>
            <a:prstGeom prst="roundRect">
              <a:avLst>
                <a:gd name="adj" fmla="val 4646"/>
              </a:avLst>
            </a:prstGeom>
            <a:solidFill>
              <a:schemeClr val="accent4">
                <a:lumMod val="50000"/>
              </a:schemeClr>
            </a:solidFill>
            <a:ln>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061" name="Rectangle: Rounded Corners 1060">
              <a:extLst>
                <a:ext uri="{FF2B5EF4-FFF2-40B4-BE49-F238E27FC236}">
                  <a16:creationId xmlns:a16="http://schemas.microsoft.com/office/drawing/2014/main" id="{9F68BA31-F8BB-FB8C-4D55-6E1BE73B1B4F}"/>
                </a:ext>
              </a:extLst>
            </p:cNvPr>
            <p:cNvSpPr/>
            <p:nvPr/>
          </p:nvSpPr>
          <p:spPr>
            <a:xfrm>
              <a:off x="9292546" y="1523430"/>
              <a:ext cx="1771695" cy="2364467"/>
            </a:xfrm>
            <a:prstGeom prst="roundRect">
              <a:avLst>
                <a:gd name="adj" fmla="val 4646"/>
              </a:avLst>
            </a:prstGeom>
            <a:solidFill>
              <a:schemeClr val="bg1"/>
            </a:solidFill>
            <a:ln>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srgbClr val="385723"/>
                </a:solidFill>
                <a:effectLst/>
                <a:uLnTx/>
                <a:uFillTx/>
                <a:latin typeface="Segoe UI"/>
                <a:ea typeface="+mn-ea"/>
                <a:cs typeface="+mn-cs"/>
              </a:endParaRPr>
            </a:p>
          </p:txBody>
        </p:sp>
      </p:grpSp>
      <p:grpSp>
        <p:nvGrpSpPr>
          <p:cNvPr id="1062" name="Group 1061">
            <a:extLst>
              <a:ext uri="{FF2B5EF4-FFF2-40B4-BE49-F238E27FC236}">
                <a16:creationId xmlns:a16="http://schemas.microsoft.com/office/drawing/2014/main" id="{1D497088-1F8F-C2F0-72EB-6C784653FEC5}"/>
              </a:ext>
            </a:extLst>
          </p:cNvPr>
          <p:cNvGrpSpPr/>
          <p:nvPr/>
        </p:nvGrpSpPr>
        <p:grpSpPr>
          <a:xfrm>
            <a:off x="9688573" y="3066133"/>
            <a:ext cx="2304000" cy="814726"/>
            <a:chOff x="9292546" y="1515445"/>
            <a:chExt cx="1771695" cy="2475312"/>
          </a:xfrm>
        </p:grpSpPr>
        <p:sp>
          <p:nvSpPr>
            <p:cNvPr id="1063" name="Rectangle: Rounded Corners 1062">
              <a:extLst>
                <a:ext uri="{FF2B5EF4-FFF2-40B4-BE49-F238E27FC236}">
                  <a16:creationId xmlns:a16="http://schemas.microsoft.com/office/drawing/2014/main" id="{15549DDB-CCF6-6790-E416-D4B6B9A0CD4B}"/>
                </a:ext>
              </a:extLst>
            </p:cNvPr>
            <p:cNvSpPr/>
            <p:nvPr/>
          </p:nvSpPr>
          <p:spPr>
            <a:xfrm>
              <a:off x="9292546" y="1515445"/>
              <a:ext cx="1771695" cy="2475312"/>
            </a:xfrm>
            <a:prstGeom prst="roundRect">
              <a:avLst>
                <a:gd name="adj" fmla="val 4646"/>
              </a:avLst>
            </a:prstGeom>
            <a:solidFill>
              <a:schemeClr val="accent4">
                <a:lumMod val="50000"/>
              </a:schemeClr>
            </a:solidFill>
            <a:ln>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064" name="Rectangle: Rounded Corners 1063">
              <a:extLst>
                <a:ext uri="{FF2B5EF4-FFF2-40B4-BE49-F238E27FC236}">
                  <a16:creationId xmlns:a16="http://schemas.microsoft.com/office/drawing/2014/main" id="{FCCEF05D-7C6E-100B-67DC-D1D3166C73E2}"/>
                </a:ext>
              </a:extLst>
            </p:cNvPr>
            <p:cNvSpPr/>
            <p:nvPr/>
          </p:nvSpPr>
          <p:spPr>
            <a:xfrm>
              <a:off x="9292546" y="1523430"/>
              <a:ext cx="1771695" cy="2364467"/>
            </a:xfrm>
            <a:prstGeom prst="roundRect">
              <a:avLst>
                <a:gd name="adj" fmla="val 4646"/>
              </a:avLst>
            </a:prstGeom>
            <a:solidFill>
              <a:schemeClr val="bg1"/>
            </a:solidFill>
            <a:ln>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srgbClr val="385723"/>
                </a:solidFill>
                <a:effectLst/>
                <a:uLnTx/>
                <a:uFillTx/>
                <a:latin typeface="Segoe UI"/>
                <a:ea typeface="+mn-ea"/>
                <a:cs typeface="+mn-cs"/>
              </a:endParaRPr>
            </a:p>
          </p:txBody>
        </p:sp>
      </p:grpSp>
      <p:pic>
        <p:nvPicPr>
          <p:cNvPr id="1065" name="Picture 32" descr="Arrow Left Symbol PNG Transparent ...">
            <a:extLst>
              <a:ext uri="{FF2B5EF4-FFF2-40B4-BE49-F238E27FC236}">
                <a16:creationId xmlns:a16="http://schemas.microsoft.com/office/drawing/2014/main" id="{F536210D-EC2A-1245-2A72-2F392092ED0C}"/>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0334" t="32967" r="8677" b="33008"/>
          <a:stretch>
            <a:fillRect/>
          </a:stretch>
        </p:blipFill>
        <p:spPr bwMode="auto">
          <a:xfrm rot="10800000">
            <a:off x="8289680" y="3363467"/>
            <a:ext cx="249473" cy="151946"/>
          </a:xfrm>
          <a:prstGeom prst="rect">
            <a:avLst/>
          </a:prstGeom>
          <a:noFill/>
          <a:extLst>
            <a:ext uri="{909E8E84-426E-40DD-AFC4-6F175D3DCCD1}">
              <a14:hiddenFill xmlns:a14="http://schemas.microsoft.com/office/drawing/2010/main">
                <a:solidFill>
                  <a:srgbClr val="FFFFFF"/>
                </a:solidFill>
              </a14:hiddenFill>
            </a:ext>
          </a:extLst>
        </p:spPr>
      </p:pic>
      <p:pic>
        <p:nvPicPr>
          <p:cNvPr id="1066" name="Picture 32" descr="Arrow Left Symbol PNG Transparent ...">
            <a:extLst>
              <a:ext uri="{FF2B5EF4-FFF2-40B4-BE49-F238E27FC236}">
                <a16:creationId xmlns:a16="http://schemas.microsoft.com/office/drawing/2014/main" id="{6E44F719-4AA4-235B-8B6B-7E4E9F13D28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0334" t="32967" r="8677" b="33008"/>
          <a:stretch>
            <a:fillRect/>
          </a:stretch>
        </p:blipFill>
        <p:spPr bwMode="auto">
          <a:xfrm rot="10800000">
            <a:off x="10645592" y="3363467"/>
            <a:ext cx="249473" cy="151946"/>
          </a:xfrm>
          <a:prstGeom prst="rect">
            <a:avLst/>
          </a:prstGeom>
          <a:noFill/>
          <a:extLst>
            <a:ext uri="{909E8E84-426E-40DD-AFC4-6F175D3DCCD1}">
              <a14:hiddenFill xmlns:a14="http://schemas.microsoft.com/office/drawing/2010/main">
                <a:solidFill>
                  <a:srgbClr val="FFFFFF"/>
                </a:solidFill>
              </a14:hiddenFill>
            </a:ext>
          </a:extLst>
        </p:spPr>
      </p:pic>
      <p:pic>
        <p:nvPicPr>
          <p:cNvPr id="1067" name="Picture 16">
            <a:extLst>
              <a:ext uri="{FF2B5EF4-FFF2-40B4-BE49-F238E27FC236}">
                <a16:creationId xmlns:a16="http://schemas.microsoft.com/office/drawing/2014/main" id="{43CF0B07-468E-D629-75E4-7DE64B1D43A1}"/>
              </a:ext>
            </a:extLst>
          </p:cNvPr>
          <p:cNvPicPr>
            <a:picLocks noChangeAspect="1" noChangeArrowheads="1"/>
          </p:cNvPicPr>
          <p:nvPr/>
        </p:nvPicPr>
        <p:blipFill rotWithShape="1">
          <a:blip r:embed="rId13">
            <a:clrChange>
              <a:clrFrom>
                <a:srgbClr val="FFFFFF"/>
              </a:clrFrom>
              <a:clrTo>
                <a:srgbClr val="FFFFFF">
                  <a:alpha val="0"/>
                </a:srgbClr>
              </a:clrTo>
            </a:clrChange>
            <a:extLst>
              <a:ext uri="{28A0092B-C50C-407E-A947-70E740481C1C}">
                <a14:useLocalDpi xmlns:a14="http://schemas.microsoft.com/office/drawing/2010/main" val="0"/>
              </a:ext>
            </a:extLst>
          </a:blip>
          <a:srcRect b="21797"/>
          <a:stretch>
            <a:fillRect/>
          </a:stretch>
        </p:blipFill>
        <p:spPr bwMode="auto">
          <a:xfrm>
            <a:off x="7613048" y="3309321"/>
            <a:ext cx="556459" cy="249929"/>
          </a:xfrm>
          <a:prstGeom prst="rect">
            <a:avLst/>
          </a:prstGeom>
          <a:noFill/>
          <a:extLst>
            <a:ext uri="{909E8E84-426E-40DD-AFC4-6F175D3DCCD1}">
              <a14:hiddenFill xmlns:a14="http://schemas.microsoft.com/office/drawing/2010/main">
                <a:solidFill>
                  <a:srgbClr val="FFFFFF"/>
                </a:solidFill>
              </a14:hiddenFill>
            </a:ext>
          </a:extLst>
        </p:spPr>
      </p:pic>
      <p:pic>
        <p:nvPicPr>
          <p:cNvPr id="1068" name="Picture 20" descr="Amplitude-Surgical.com - Welcome">
            <a:extLst>
              <a:ext uri="{FF2B5EF4-FFF2-40B4-BE49-F238E27FC236}">
                <a16:creationId xmlns:a16="http://schemas.microsoft.com/office/drawing/2014/main" id="{6FD5060D-BBAC-19B8-034E-E177F7D12217}"/>
              </a:ext>
            </a:extLst>
          </p:cNvPr>
          <p:cNvPicPr>
            <a:picLocks noChangeAspect="1" noChangeArrowheads="1"/>
          </p:cNvPicPr>
          <p:nvPr/>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706837" y="3335966"/>
            <a:ext cx="733054" cy="228713"/>
          </a:xfrm>
          <a:prstGeom prst="rect">
            <a:avLst/>
          </a:prstGeom>
          <a:noFill/>
          <a:extLst>
            <a:ext uri="{909E8E84-426E-40DD-AFC4-6F175D3DCCD1}">
              <a14:hiddenFill xmlns:a14="http://schemas.microsoft.com/office/drawing/2010/main">
                <a:solidFill>
                  <a:srgbClr val="FFFFFF"/>
                </a:solidFill>
              </a14:hiddenFill>
            </a:ext>
          </a:extLst>
        </p:spPr>
      </p:pic>
      <p:pic>
        <p:nvPicPr>
          <p:cNvPr id="1069" name="Picture 24" descr="Poly Medicure Limited: Global Supplier ...">
            <a:extLst>
              <a:ext uri="{FF2B5EF4-FFF2-40B4-BE49-F238E27FC236}">
                <a16:creationId xmlns:a16="http://schemas.microsoft.com/office/drawing/2014/main" id="{97416572-EA1D-8F5F-42F5-2146D9DED81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814805" y="3272110"/>
            <a:ext cx="767418" cy="329318"/>
          </a:xfrm>
          <a:prstGeom prst="rect">
            <a:avLst/>
          </a:prstGeom>
          <a:noFill/>
          <a:extLst>
            <a:ext uri="{909E8E84-426E-40DD-AFC4-6F175D3DCCD1}">
              <a14:hiddenFill xmlns:a14="http://schemas.microsoft.com/office/drawing/2010/main">
                <a:solidFill>
                  <a:srgbClr val="FFFFFF"/>
                </a:solidFill>
              </a14:hiddenFill>
            </a:ext>
          </a:extLst>
        </p:spPr>
      </p:pic>
      <p:pic>
        <p:nvPicPr>
          <p:cNvPr id="1070" name="Picture 1069">
            <a:extLst>
              <a:ext uri="{FF2B5EF4-FFF2-40B4-BE49-F238E27FC236}">
                <a16:creationId xmlns:a16="http://schemas.microsoft.com/office/drawing/2014/main" id="{3E3FA0B6-00FC-58D6-B0CD-99BA7F4B15CB}"/>
              </a:ext>
            </a:extLst>
          </p:cNvPr>
          <p:cNvPicPr>
            <a:picLocks noChangeAspect="1"/>
          </p:cNvPicPr>
          <p:nvPr/>
        </p:nvPicPr>
        <p:blipFill>
          <a:blip r:embed="rId16">
            <a:clrChange>
              <a:clrFrom>
                <a:srgbClr val="F7F7F7"/>
              </a:clrFrom>
              <a:clrTo>
                <a:srgbClr val="F7F7F7">
                  <a:alpha val="0"/>
                </a:srgbClr>
              </a:clrTo>
            </a:clrChange>
          </a:blip>
          <a:stretch>
            <a:fillRect/>
          </a:stretch>
        </p:blipFill>
        <p:spPr>
          <a:xfrm>
            <a:off x="11150097" y="3335056"/>
            <a:ext cx="667582" cy="179394"/>
          </a:xfrm>
          <a:prstGeom prst="rect">
            <a:avLst/>
          </a:prstGeom>
        </p:spPr>
      </p:pic>
      <p:pic>
        <p:nvPicPr>
          <p:cNvPr id="1071" name="Picture 28" descr="Manipal Hospital Yeshwanthpur Bangalore ...">
            <a:extLst>
              <a:ext uri="{FF2B5EF4-FFF2-40B4-BE49-F238E27FC236}">
                <a16:creationId xmlns:a16="http://schemas.microsoft.com/office/drawing/2014/main" id="{4BB0C6FD-0A8D-5669-C8AF-B86A74B449CF}"/>
              </a:ext>
            </a:extLst>
          </p:cNvPr>
          <p:cNvPicPr>
            <a:picLocks noChangeAspect="1" noChangeArrowheads="1"/>
          </p:cNvPicPr>
          <p:nvPr/>
        </p:nvPicPr>
        <p:blipFill rotWithShape="1">
          <a:blip r:embed="rId17">
            <a:clrChange>
              <a:clrFrom>
                <a:srgbClr val="FFFFFF"/>
              </a:clrFrom>
              <a:clrTo>
                <a:srgbClr val="FFFFFF">
                  <a:alpha val="0"/>
                </a:srgbClr>
              </a:clrTo>
            </a:clrChange>
            <a:extLst>
              <a:ext uri="{28A0092B-C50C-407E-A947-70E740481C1C}">
                <a14:useLocalDpi xmlns:a14="http://schemas.microsoft.com/office/drawing/2010/main" val="0"/>
              </a:ext>
            </a:extLst>
          </a:blip>
          <a:srcRect t="40565"/>
          <a:stretch>
            <a:fillRect/>
          </a:stretch>
        </p:blipFill>
        <p:spPr bwMode="auto">
          <a:xfrm>
            <a:off x="7322248" y="4189381"/>
            <a:ext cx="590501" cy="350963"/>
          </a:xfrm>
          <a:prstGeom prst="rect">
            <a:avLst/>
          </a:prstGeom>
          <a:noFill/>
          <a:extLst>
            <a:ext uri="{909E8E84-426E-40DD-AFC4-6F175D3DCCD1}">
              <a14:hiddenFill xmlns:a14="http://schemas.microsoft.com/office/drawing/2010/main">
                <a:solidFill>
                  <a:srgbClr val="FFFFFF"/>
                </a:solidFill>
              </a14:hiddenFill>
            </a:ext>
          </a:extLst>
        </p:spPr>
      </p:pic>
      <p:pic>
        <p:nvPicPr>
          <p:cNvPr id="1072" name="Picture 30" descr="Medica Synergie Pvt Ltd in Santoshpur ...">
            <a:extLst>
              <a:ext uri="{FF2B5EF4-FFF2-40B4-BE49-F238E27FC236}">
                <a16:creationId xmlns:a16="http://schemas.microsoft.com/office/drawing/2014/main" id="{1D10139C-3C32-A61A-940B-1F89572ED5BE}"/>
              </a:ext>
            </a:extLst>
          </p:cNvPr>
          <p:cNvPicPr>
            <a:picLocks noChangeAspect="1" noChangeArrowheads="1"/>
          </p:cNvPicPr>
          <p:nvPr/>
        </p:nvPicPr>
        <p:blipFill>
          <a:blip r:embed="rId1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15023" y="4007123"/>
            <a:ext cx="399517" cy="399517"/>
          </a:xfrm>
          <a:prstGeom prst="rect">
            <a:avLst/>
          </a:prstGeom>
          <a:noFill/>
          <a:extLst>
            <a:ext uri="{909E8E84-426E-40DD-AFC4-6F175D3DCCD1}">
              <a14:hiddenFill xmlns:a14="http://schemas.microsoft.com/office/drawing/2010/main">
                <a:solidFill>
                  <a:srgbClr val="FFFFFF"/>
                </a:solidFill>
              </a14:hiddenFill>
            </a:ext>
          </a:extLst>
        </p:spPr>
      </p:pic>
      <p:pic>
        <p:nvPicPr>
          <p:cNvPr id="1073" name="Picture 32" descr="Arrow Left Symbol PNG Transparent ...">
            <a:extLst>
              <a:ext uri="{FF2B5EF4-FFF2-40B4-BE49-F238E27FC236}">
                <a16:creationId xmlns:a16="http://schemas.microsoft.com/office/drawing/2014/main" id="{825EF189-77F7-9B42-CDF4-7235936CD6C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0334" t="32967" r="8677" b="33008"/>
          <a:stretch>
            <a:fillRect/>
          </a:stretch>
        </p:blipFill>
        <p:spPr bwMode="auto">
          <a:xfrm rot="10800000">
            <a:off x="11157739" y="4254172"/>
            <a:ext cx="249473" cy="151946"/>
          </a:xfrm>
          <a:prstGeom prst="rect">
            <a:avLst/>
          </a:prstGeom>
          <a:noFill/>
          <a:extLst>
            <a:ext uri="{909E8E84-426E-40DD-AFC4-6F175D3DCCD1}">
              <a14:hiddenFill xmlns:a14="http://schemas.microsoft.com/office/drawing/2010/main">
                <a:solidFill>
                  <a:srgbClr val="FFFFFF"/>
                </a:solidFill>
              </a14:hiddenFill>
            </a:ext>
          </a:extLst>
        </p:spPr>
      </p:pic>
      <p:pic>
        <p:nvPicPr>
          <p:cNvPr id="1074" name="Picture 32" descr="Arrow Left Symbol PNG Transparent ...">
            <a:extLst>
              <a:ext uri="{FF2B5EF4-FFF2-40B4-BE49-F238E27FC236}">
                <a16:creationId xmlns:a16="http://schemas.microsoft.com/office/drawing/2014/main" id="{60CF113F-795C-6015-0EF3-6E40F485A11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0334" t="32967" r="8677" b="33008"/>
          <a:stretch>
            <a:fillRect/>
          </a:stretch>
        </p:blipFill>
        <p:spPr bwMode="auto">
          <a:xfrm rot="10800000">
            <a:off x="9568619" y="4254172"/>
            <a:ext cx="249473" cy="151946"/>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Dr Lal PathLabs Logo Vector Download ...">
            <a:extLst>
              <a:ext uri="{FF2B5EF4-FFF2-40B4-BE49-F238E27FC236}">
                <a16:creationId xmlns:a16="http://schemas.microsoft.com/office/drawing/2014/main" id="{A767C486-2F8E-A0BE-4744-958397351BDD}"/>
              </a:ext>
            </a:extLst>
          </p:cNvPr>
          <p:cNvPicPr>
            <a:picLocks noChangeAspect="1" noChangeArrowheads="1"/>
          </p:cNvPicPr>
          <p:nvPr/>
        </p:nvPicPr>
        <p:blipFill rotWithShape="1">
          <a:blip r:embed="rId19">
            <a:clrChange>
              <a:clrFrom>
                <a:srgbClr val="FFFFFF"/>
              </a:clrFrom>
              <a:clrTo>
                <a:srgbClr val="FFFFFF">
                  <a:alpha val="0"/>
                </a:srgbClr>
              </a:clrTo>
            </a:clrChange>
            <a:extLst>
              <a:ext uri="{28A0092B-C50C-407E-A947-70E740481C1C}">
                <a14:useLocalDpi xmlns:a14="http://schemas.microsoft.com/office/drawing/2010/main" val="0"/>
              </a:ext>
            </a:extLst>
          </a:blip>
          <a:srcRect l="14182" t="27014" r="10287" b="28759"/>
          <a:stretch>
            <a:fillRect/>
          </a:stretch>
        </p:blipFill>
        <p:spPr bwMode="auto">
          <a:xfrm>
            <a:off x="8934475" y="4187019"/>
            <a:ext cx="652672" cy="286252"/>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Now We are Open in Malad (East)">
            <a:extLst>
              <a:ext uri="{FF2B5EF4-FFF2-40B4-BE49-F238E27FC236}">
                <a16:creationId xmlns:a16="http://schemas.microsoft.com/office/drawing/2014/main" id="{BBCA82E5-8706-B3E1-FE87-A3BB418D32BF}"/>
              </a:ext>
            </a:extLst>
          </p:cNvPr>
          <p:cNvPicPr>
            <a:picLocks noChangeAspect="1" noChangeArrowheads="1"/>
          </p:cNvPicPr>
          <p:nvPr/>
        </p:nvPicPr>
        <p:blipFill rotWithShape="1">
          <a:blip r:embed="rId20">
            <a:clrChange>
              <a:clrFrom>
                <a:srgbClr val="FFFFFF"/>
              </a:clrFrom>
              <a:clrTo>
                <a:srgbClr val="FFFFFF">
                  <a:alpha val="0"/>
                </a:srgbClr>
              </a:clrTo>
            </a:clrChange>
            <a:extLst>
              <a:ext uri="{28A0092B-C50C-407E-A947-70E740481C1C}">
                <a14:useLocalDpi xmlns:a14="http://schemas.microsoft.com/office/drawing/2010/main" val="0"/>
              </a:ext>
            </a:extLst>
          </a:blip>
          <a:srcRect t="8284" b="12787"/>
          <a:stretch>
            <a:fillRect/>
          </a:stretch>
        </p:blipFill>
        <p:spPr bwMode="auto">
          <a:xfrm>
            <a:off x="9843954" y="4108835"/>
            <a:ext cx="529757" cy="418133"/>
          </a:xfrm>
          <a:prstGeom prst="rect">
            <a:avLst/>
          </a:prstGeom>
          <a:noFill/>
          <a:extLst>
            <a:ext uri="{909E8E84-426E-40DD-AFC4-6F175D3DCCD1}">
              <a14:hiddenFill xmlns:a14="http://schemas.microsoft.com/office/drawing/2010/main">
                <a:solidFill>
                  <a:srgbClr val="FFFFFF"/>
                </a:solidFill>
              </a14:hiddenFill>
            </a:ext>
          </a:extLst>
        </p:spPr>
      </p:pic>
      <p:pic>
        <p:nvPicPr>
          <p:cNvPr id="1077" name="Picture 32" descr="Arrow Left Symbol PNG Transparent ...">
            <a:extLst>
              <a:ext uri="{FF2B5EF4-FFF2-40B4-BE49-F238E27FC236}">
                <a16:creationId xmlns:a16="http://schemas.microsoft.com/office/drawing/2014/main" id="{693B30F0-2C33-2DF9-2DD6-CAD087F68543}"/>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0334" t="32967" r="8677" b="33008"/>
          <a:stretch>
            <a:fillRect/>
          </a:stretch>
        </p:blipFill>
        <p:spPr bwMode="auto">
          <a:xfrm rot="10800000">
            <a:off x="7951478" y="6018231"/>
            <a:ext cx="249473" cy="151946"/>
          </a:xfrm>
          <a:prstGeom prst="rect">
            <a:avLst/>
          </a:prstGeom>
          <a:noFill/>
          <a:extLst>
            <a:ext uri="{909E8E84-426E-40DD-AFC4-6F175D3DCCD1}">
              <a14:hiddenFill xmlns:a14="http://schemas.microsoft.com/office/drawing/2010/main">
                <a:solidFill>
                  <a:srgbClr val="FFFFFF"/>
                </a:solidFill>
              </a14:hiddenFill>
            </a:ext>
          </a:extLst>
        </p:spPr>
      </p:pic>
      <p:pic>
        <p:nvPicPr>
          <p:cNvPr id="1078" name="Picture 32" descr="Arrow Left Symbol PNG Transparent ...">
            <a:extLst>
              <a:ext uri="{FF2B5EF4-FFF2-40B4-BE49-F238E27FC236}">
                <a16:creationId xmlns:a16="http://schemas.microsoft.com/office/drawing/2014/main" id="{C841F103-E580-2AF4-E1C4-FFC432E85ED8}"/>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0334" t="32967" r="8677" b="33008"/>
          <a:stretch>
            <a:fillRect/>
          </a:stretch>
        </p:blipFill>
        <p:spPr bwMode="auto">
          <a:xfrm rot="10800000">
            <a:off x="9564228" y="6018231"/>
            <a:ext cx="249473" cy="151946"/>
          </a:xfrm>
          <a:prstGeom prst="rect">
            <a:avLst/>
          </a:prstGeom>
          <a:noFill/>
          <a:extLst>
            <a:ext uri="{909E8E84-426E-40DD-AFC4-6F175D3DCCD1}">
              <a14:hiddenFill xmlns:a14="http://schemas.microsoft.com/office/drawing/2010/main">
                <a:solidFill>
                  <a:srgbClr val="FFFFFF"/>
                </a:solidFill>
              </a14:hiddenFill>
            </a:ext>
          </a:extLst>
        </p:spPr>
      </p:pic>
      <p:pic>
        <p:nvPicPr>
          <p:cNvPr id="1079" name="Picture 32" descr="Arrow Left Symbol PNG Transparent ...">
            <a:extLst>
              <a:ext uri="{FF2B5EF4-FFF2-40B4-BE49-F238E27FC236}">
                <a16:creationId xmlns:a16="http://schemas.microsoft.com/office/drawing/2014/main" id="{60DCBDF4-1485-A57C-B327-A8F7B0E15C38}"/>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0334" t="32967" r="8677" b="33008"/>
          <a:stretch>
            <a:fillRect/>
          </a:stretch>
        </p:blipFill>
        <p:spPr bwMode="auto">
          <a:xfrm rot="10800000">
            <a:off x="11201662" y="6018231"/>
            <a:ext cx="249473" cy="151946"/>
          </a:xfrm>
          <a:prstGeom prst="rect">
            <a:avLst/>
          </a:prstGeom>
          <a:noFill/>
          <a:extLst>
            <a:ext uri="{909E8E84-426E-40DD-AFC4-6F175D3DCCD1}">
              <a14:hiddenFill xmlns:a14="http://schemas.microsoft.com/office/drawing/2010/main">
                <a:solidFill>
                  <a:srgbClr val="FFFFFF"/>
                </a:solidFill>
              </a14:hiddenFill>
            </a:ext>
          </a:extLst>
        </p:spPr>
      </p:pic>
      <p:pic>
        <p:nvPicPr>
          <p:cNvPr id="1080" name="Picture 16" descr="Temasek plans $10B investment in India ...">
            <a:extLst>
              <a:ext uri="{FF2B5EF4-FFF2-40B4-BE49-F238E27FC236}">
                <a16:creationId xmlns:a16="http://schemas.microsoft.com/office/drawing/2014/main" id="{AA72BACF-DC92-3303-F90B-EB6E779F1AE7}"/>
              </a:ext>
            </a:extLst>
          </p:cNvPr>
          <p:cNvPicPr>
            <a:picLocks noChangeAspect="1" noChangeArrowheads="1"/>
          </p:cNvPicPr>
          <p:nvPr/>
        </p:nvPicPr>
        <p:blipFill rotWithShape="1">
          <a:blip r:embed="rId21">
            <a:clrChange>
              <a:clrFrom>
                <a:srgbClr val="FFFFFF"/>
              </a:clrFrom>
              <a:clrTo>
                <a:srgbClr val="FFFFFF">
                  <a:alpha val="0"/>
                </a:srgbClr>
              </a:clrTo>
            </a:clrChange>
            <a:extLst>
              <a:ext uri="{28A0092B-C50C-407E-A947-70E740481C1C}">
                <a14:useLocalDpi xmlns:a14="http://schemas.microsoft.com/office/drawing/2010/main" val="0"/>
              </a:ext>
            </a:extLst>
          </a:blip>
          <a:srcRect t="30478" b="24183"/>
          <a:stretch>
            <a:fillRect/>
          </a:stretch>
        </p:blipFill>
        <p:spPr bwMode="auto">
          <a:xfrm>
            <a:off x="7242783" y="6024079"/>
            <a:ext cx="752300" cy="170543"/>
          </a:xfrm>
          <a:prstGeom prst="rect">
            <a:avLst/>
          </a:prstGeom>
          <a:noFill/>
          <a:extLst>
            <a:ext uri="{909E8E84-426E-40DD-AFC4-6F175D3DCCD1}">
              <a14:hiddenFill xmlns:a14="http://schemas.microsoft.com/office/drawing/2010/main">
                <a:solidFill>
                  <a:srgbClr val="FFFFFF"/>
                </a:solidFill>
              </a14:hiddenFill>
            </a:ext>
          </a:extLst>
        </p:spPr>
      </p:pic>
      <p:pic>
        <p:nvPicPr>
          <p:cNvPr id="1081" name="Picture 18" descr="Blackstone Inc. - Wikipedia">
            <a:extLst>
              <a:ext uri="{FF2B5EF4-FFF2-40B4-BE49-F238E27FC236}">
                <a16:creationId xmlns:a16="http://schemas.microsoft.com/office/drawing/2014/main" id="{125B75C4-3D9C-4EAF-BDD8-93B42AF25871}"/>
              </a:ext>
            </a:extLst>
          </p:cNvPr>
          <p:cNvPicPr>
            <a:picLocks noChangeAspect="1" noChangeArrowheads="1"/>
          </p:cNvPicPr>
          <p:nvPr/>
        </p:nvPicPr>
        <p:blipFill>
          <a:blip r:embed="rId2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978409" y="5994940"/>
            <a:ext cx="498239" cy="195310"/>
          </a:xfrm>
          <a:prstGeom prst="rect">
            <a:avLst/>
          </a:prstGeom>
          <a:noFill/>
          <a:extLst>
            <a:ext uri="{909E8E84-426E-40DD-AFC4-6F175D3DCCD1}">
              <a14:hiddenFill xmlns:a14="http://schemas.microsoft.com/office/drawing/2010/main">
                <a:solidFill>
                  <a:srgbClr val="FFFFFF"/>
                </a:solidFill>
              </a14:hiddenFill>
            </a:ext>
          </a:extLst>
        </p:spPr>
      </p:pic>
      <p:pic>
        <p:nvPicPr>
          <p:cNvPr id="1082" name="Picture 20" descr="Aster DM Healthcare - Wikipedia">
            <a:extLst>
              <a:ext uri="{FF2B5EF4-FFF2-40B4-BE49-F238E27FC236}">
                <a16:creationId xmlns:a16="http://schemas.microsoft.com/office/drawing/2014/main" id="{9687EE6B-3E1A-1AE4-1E01-0A096ED24CF2}"/>
              </a:ext>
            </a:extLst>
          </p:cNvPr>
          <p:cNvPicPr>
            <a:picLocks noChangeAspect="1" noChangeArrowheads="1"/>
          </p:cNvPicPr>
          <p:nvPr/>
        </p:nvPicPr>
        <p:blipFill>
          <a:blip r:embed="rId2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901281" y="5871458"/>
            <a:ext cx="403917" cy="403917"/>
          </a:xfrm>
          <a:prstGeom prst="rect">
            <a:avLst/>
          </a:prstGeom>
          <a:noFill/>
          <a:extLst>
            <a:ext uri="{909E8E84-426E-40DD-AFC4-6F175D3DCCD1}">
              <a14:hiddenFill xmlns:a14="http://schemas.microsoft.com/office/drawing/2010/main">
                <a:solidFill>
                  <a:srgbClr val="FFFFFF"/>
                </a:solidFill>
              </a14:hiddenFill>
            </a:ext>
          </a:extLst>
        </p:spPr>
      </p:pic>
      <p:pic>
        <p:nvPicPr>
          <p:cNvPr id="1083" name="Picture 28" descr="Manipal Hospital Yeshwanthpur Bangalore ...">
            <a:extLst>
              <a:ext uri="{FF2B5EF4-FFF2-40B4-BE49-F238E27FC236}">
                <a16:creationId xmlns:a16="http://schemas.microsoft.com/office/drawing/2014/main" id="{11149688-F90E-6205-F976-1C72EADC439B}"/>
              </a:ext>
            </a:extLst>
          </p:cNvPr>
          <p:cNvPicPr>
            <a:picLocks noChangeAspect="1" noChangeArrowheads="1"/>
          </p:cNvPicPr>
          <p:nvPr/>
        </p:nvPicPr>
        <p:blipFill rotWithShape="1">
          <a:blip r:embed="rId17">
            <a:clrChange>
              <a:clrFrom>
                <a:srgbClr val="FFFFFF"/>
              </a:clrFrom>
              <a:clrTo>
                <a:srgbClr val="FFFFFF">
                  <a:alpha val="0"/>
                </a:srgbClr>
              </a:clrTo>
            </a:clrChange>
            <a:extLst>
              <a:ext uri="{28A0092B-C50C-407E-A947-70E740481C1C}">
                <a14:useLocalDpi xmlns:a14="http://schemas.microsoft.com/office/drawing/2010/main" val="0"/>
              </a:ext>
            </a:extLst>
          </a:blip>
          <a:srcRect t="40565"/>
          <a:stretch>
            <a:fillRect/>
          </a:stretch>
        </p:blipFill>
        <p:spPr bwMode="auto">
          <a:xfrm>
            <a:off x="8220020" y="5943279"/>
            <a:ext cx="590501" cy="350963"/>
          </a:xfrm>
          <a:prstGeom prst="rect">
            <a:avLst/>
          </a:prstGeom>
          <a:noFill/>
          <a:extLst>
            <a:ext uri="{909E8E84-426E-40DD-AFC4-6F175D3DCCD1}">
              <a14:hiddenFill xmlns:a14="http://schemas.microsoft.com/office/drawing/2010/main">
                <a:solidFill>
                  <a:srgbClr val="FFFFFF"/>
                </a:solidFill>
              </a14:hiddenFill>
            </a:ext>
          </a:extLst>
        </p:spPr>
      </p:pic>
      <p:pic>
        <p:nvPicPr>
          <p:cNvPr id="1084" name="Picture 2" descr="TPG Inc. - Wikipedia">
            <a:extLst>
              <a:ext uri="{FF2B5EF4-FFF2-40B4-BE49-F238E27FC236}">
                <a16:creationId xmlns:a16="http://schemas.microsoft.com/office/drawing/2014/main" id="{425E5E93-768B-7506-BEC1-CF80243D3A40}"/>
              </a:ext>
            </a:extLst>
          </p:cNvPr>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683486" y="5825937"/>
            <a:ext cx="441950" cy="187387"/>
          </a:xfrm>
          <a:prstGeom prst="rect">
            <a:avLst/>
          </a:prstGeom>
          <a:noFill/>
          <a:extLst>
            <a:ext uri="{909E8E84-426E-40DD-AFC4-6F175D3DCCD1}">
              <a14:hiddenFill xmlns:a14="http://schemas.microsoft.com/office/drawing/2010/main">
                <a:solidFill>
                  <a:srgbClr val="FFFFFF"/>
                </a:solidFill>
              </a14:hiddenFill>
            </a:ext>
          </a:extLst>
        </p:spPr>
      </p:pic>
      <p:pic>
        <p:nvPicPr>
          <p:cNvPr id="1086" name="Picture 1085">
            <a:extLst>
              <a:ext uri="{FF2B5EF4-FFF2-40B4-BE49-F238E27FC236}">
                <a16:creationId xmlns:a16="http://schemas.microsoft.com/office/drawing/2014/main" id="{34B36E18-2D78-C587-2C48-F90706CE4F54}"/>
              </a:ext>
            </a:extLst>
          </p:cNvPr>
          <p:cNvPicPr>
            <a:picLocks noChangeAspect="1"/>
          </p:cNvPicPr>
          <p:nvPr/>
        </p:nvPicPr>
        <p:blipFill>
          <a:blip r:embed="rId24">
            <a:clrChange>
              <a:clrFrom>
                <a:srgbClr val="FEFEFE"/>
              </a:clrFrom>
              <a:clrTo>
                <a:srgbClr val="FEFEFE">
                  <a:alpha val="0"/>
                </a:srgbClr>
              </a:clrTo>
            </a:clrChange>
          </a:blip>
          <a:stretch>
            <a:fillRect/>
          </a:stretch>
        </p:blipFill>
        <p:spPr>
          <a:xfrm>
            <a:off x="11501374" y="5930319"/>
            <a:ext cx="467619" cy="332669"/>
          </a:xfrm>
          <a:prstGeom prst="rect">
            <a:avLst/>
          </a:prstGeom>
        </p:spPr>
      </p:pic>
      <p:pic>
        <p:nvPicPr>
          <p:cNvPr id="2070" name="Picture 22" descr="GIC Private Limited | IFSWF">
            <a:extLst>
              <a:ext uri="{FF2B5EF4-FFF2-40B4-BE49-F238E27FC236}">
                <a16:creationId xmlns:a16="http://schemas.microsoft.com/office/drawing/2014/main" id="{E35BE2AF-1B0B-914B-F2FF-6C141686EED2}"/>
              </a:ext>
            </a:extLst>
          </p:cNvPr>
          <p:cNvPicPr>
            <a:picLocks noChangeAspect="1" noChangeArrowheads="1"/>
          </p:cNvPicPr>
          <p:nvPr/>
        </p:nvPicPr>
        <p:blipFill rotWithShape="1">
          <a:blip r:embed="rId25">
            <a:clrChange>
              <a:clrFrom>
                <a:srgbClr val="FFFFFF"/>
              </a:clrFrom>
              <a:clrTo>
                <a:srgbClr val="FFFFFF">
                  <a:alpha val="0"/>
                </a:srgbClr>
              </a:clrTo>
            </a:clrChange>
            <a:extLst>
              <a:ext uri="{28A0092B-C50C-407E-A947-70E740481C1C}">
                <a14:useLocalDpi xmlns:a14="http://schemas.microsoft.com/office/drawing/2010/main" val="0"/>
              </a:ext>
            </a:extLst>
          </a:blip>
          <a:srcRect t="20552" b="22599"/>
          <a:stretch>
            <a:fillRect/>
          </a:stretch>
        </p:blipFill>
        <p:spPr bwMode="auto">
          <a:xfrm>
            <a:off x="10664750" y="6173250"/>
            <a:ext cx="467619" cy="265833"/>
          </a:xfrm>
          <a:prstGeom prst="rect">
            <a:avLst/>
          </a:prstGeom>
          <a:noFill/>
          <a:extLst>
            <a:ext uri="{909E8E84-426E-40DD-AFC4-6F175D3DCCD1}">
              <a14:hiddenFill xmlns:a14="http://schemas.microsoft.com/office/drawing/2010/main">
                <a:solidFill>
                  <a:srgbClr val="FFFFFF"/>
                </a:solidFill>
              </a14:hiddenFill>
            </a:ext>
          </a:extLst>
        </p:spPr>
      </p:pic>
      <p:pic>
        <p:nvPicPr>
          <p:cNvPr id="1087" name="Picture 6" descr="Sahyadri Hospitals | Pune">
            <a:extLst>
              <a:ext uri="{FF2B5EF4-FFF2-40B4-BE49-F238E27FC236}">
                <a16:creationId xmlns:a16="http://schemas.microsoft.com/office/drawing/2014/main" id="{E49FF4B9-97F3-43E6-C2B0-E9B70F6E883D}"/>
              </a:ext>
            </a:extLst>
          </p:cNvPr>
          <p:cNvPicPr>
            <a:picLocks noChangeAspect="1" noChangeArrowheads="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t="28711" b="22717"/>
          <a:stretch>
            <a:fillRect/>
          </a:stretch>
        </p:blipFill>
        <p:spPr bwMode="auto">
          <a:xfrm>
            <a:off x="8315513" y="4435653"/>
            <a:ext cx="399517" cy="194050"/>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DE56B585-5FF4-F12E-9860-5DFFA32C563E}"/>
              </a:ext>
            </a:extLst>
          </p:cNvPr>
          <p:cNvSpPr txBox="1"/>
          <p:nvPr/>
        </p:nvSpPr>
        <p:spPr>
          <a:xfrm>
            <a:off x="568457" y="3249984"/>
            <a:ext cx="5480628" cy="400110"/>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04040"/>
                </a:solidFill>
                <a:effectLst/>
                <a:uLnTx/>
                <a:uFillTx/>
                <a:latin typeface="Segoe UI"/>
                <a:ea typeface="+mn-ea"/>
                <a:cs typeface="+mn-cs"/>
              </a:rPr>
              <a:t>PE looking for avenues in Single Specialty and IVD/ Med-tech </a:t>
            </a:r>
            <a:r>
              <a:rPr kumimoji="0" lang="en-US" sz="1000" b="0" i="0" u="none" strike="noStrike" kern="1200" cap="none" spc="0" normalizeH="0" baseline="0" noProof="0" dirty="0">
                <a:ln>
                  <a:noFill/>
                </a:ln>
                <a:solidFill>
                  <a:srgbClr val="404040"/>
                </a:solidFill>
                <a:effectLst/>
                <a:uLnTx/>
                <a:uFillTx/>
                <a:latin typeface="Segoe UI"/>
                <a:ea typeface="+mn-ea"/>
                <a:cs typeface="+mn-cs"/>
              </a:rPr>
              <a:t>segments as the next growth investment frontiers</a:t>
            </a:r>
            <a:endParaRPr kumimoji="0" lang="en-IN" sz="1000" b="0" i="0" u="none" strike="noStrike" kern="1200" cap="none" spc="0" normalizeH="0" baseline="0" noProof="0" dirty="0">
              <a:ln>
                <a:noFill/>
              </a:ln>
              <a:solidFill>
                <a:srgbClr val="404040"/>
              </a:solidFill>
              <a:effectLst/>
              <a:uLnTx/>
              <a:uFillTx/>
              <a:latin typeface="Segoe UI"/>
              <a:ea typeface="+mn-ea"/>
              <a:cs typeface="+mn-cs"/>
            </a:endParaRPr>
          </a:p>
        </p:txBody>
      </p:sp>
      <p:pic>
        <p:nvPicPr>
          <p:cNvPr id="7" name="Picture 8" descr="Apollo Hospital: Book Appointment ...">
            <a:extLst>
              <a:ext uri="{FF2B5EF4-FFF2-40B4-BE49-F238E27FC236}">
                <a16:creationId xmlns:a16="http://schemas.microsoft.com/office/drawing/2014/main" id="{086A43A7-B53B-2DD5-618E-1DF8BB27AD0F}"/>
              </a:ext>
            </a:extLst>
          </p:cNvPr>
          <p:cNvPicPr>
            <a:picLocks noChangeAspect="1" noChangeArrowheads="1"/>
          </p:cNvPicPr>
          <p:nvPr/>
        </p:nvPicPr>
        <p:blipFill rotWithShape="1">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l="15953" t="24162" r="18020" b="26079"/>
          <a:stretch>
            <a:fillRect/>
          </a:stretch>
        </p:blipFill>
        <p:spPr bwMode="auto">
          <a:xfrm>
            <a:off x="8315023" y="4930016"/>
            <a:ext cx="679230" cy="511882"/>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32" descr="Arrow Left Symbol PNG Transparent ...">
            <a:extLst>
              <a:ext uri="{FF2B5EF4-FFF2-40B4-BE49-F238E27FC236}">
                <a16:creationId xmlns:a16="http://schemas.microsoft.com/office/drawing/2014/main" id="{B495393F-AC18-F4DC-4AC7-B46CE127FB6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0334" t="32967" r="8677" b="33008"/>
          <a:stretch>
            <a:fillRect/>
          </a:stretch>
        </p:blipFill>
        <p:spPr bwMode="auto">
          <a:xfrm rot="10800000">
            <a:off x="9323092" y="5127381"/>
            <a:ext cx="249473" cy="151946"/>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Sitemap | Apollo 247 - Apollo Doctors ...">
            <a:extLst>
              <a:ext uri="{FF2B5EF4-FFF2-40B4-BE49-F238E27FC236}">
                <a16:creationId xmlns:a16="http://schemas.microsoft.com/office/drawing/2014/main" id="{46C6D45C-6B58-76C5-9B64-6B256092B36C}"/>
              </a:ext>
            </a:extLst>
          </p:cNvPr>
          <p:cNvPicPr>
            <a:picLocks noChangeAspect="1" noChangeArrowheads="1"/>
          </p:cNvPicPr>
          <p:nvPr/>
        </p:nvPicPr>
        <p:blipFill>
          <a:blip r:embed="rId2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868832" y="4974746"/>
            <a:ext cx="600806" cy="449298"/>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83D6D58D-04E6-785E-8954-8983A2907E12}"/>
              </a:ext>
            </a:extLst>
          </p:cNvPr>
          <p:cNvSpPr txBox="1"/>
          <p:nvPr/>
        </p:nvSpPr>
        <p:spPr>
          <a:xfrm>
            <a:off x="317937" y="5714017"/>
            <a:ext cx="5480628" cy="246221"/>
          </a:xfrm>
          <a:prstGeom prst="rect">
            <a:avLst/>
          </a:prstGeom>
          <a:noFill/>
        </p:spPr>
        <p:txBody>
          <a:bodyPr wrap="square" rtlCol="0" anchor="ctr">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000" b="0" i="0" u="none" strike="noStrike" kern="1200" cap="none" spc="0" normalizeH="0" baseline="0" noProof="0" dirty="0">
                <a:ln>
                  <a:noFill/>
                </a:ln>
                <a:solidFill>
                  <a:srgbClr val="404040"/>
                </a:solidFill>
                <a:effectLst/>
                <a:uLnTx/>
                <a:uFillTx/>
                <a:latin typeface="Segoe UI"/>
                <a:ea typeface="+mn-ea"/>
                <a:cs typeface="+mn-cs"/>
              </a:rPr>
              <a:t>Channel margins impacting med-tech players disproportionately</a:t>
            </a:r>
            <a:endParaRPr kumimoji="0" lang="en-US" sz="1000" b="1" i="0" u="none" strike="noStrike" kern="1200" cap="none" spc="0" normalizeH="0" baseline="0" noProof="0" dirty="0">
              <a:ln>
                <a:noFill/>
              </a:ln>
              <a:solidFill>
                <a:srgbClr val="404040"/>
              </a:solidFill>
              <a:effectLst/>
              <a:uLnTx/>
              <a:uFillTx/>
              <a:latin typeface="Segoe UI"/>
              <a:ea typeface="+mn-ea"/>
              <a:cs typeface="+mn-cs"/>
            </a:endParaRPr>
          </a:p>
        </p:txBody>
      </p:sp>
      <p:sp>
        <p:nvSpPr>
          <p:cNvPr id="12" name="TextBox 11">
            <a:extLst>
              <a:ext uri="{FF2B5EF4-FFF2-40B4-BE49-F238E27FC236}">
                <a16:creationId xmlns:a16="http://schemas.microsoft.com/office/drawing/2014/main" id="{6B6A2119-9749-E157-CFA4-BE2EBBD4F8D1}"/>
              </a:ext>
            </a:extLst>
          </p:cNvPr>
          <p:cNvSpPr txBox="1"/>
          <p:nvPr/>
        </p:nvSpPr>
        <p:spPr>
          <a:xfrm>
            <a:off x="568457" y="3676083"/>
            <a:ext cx="5228018" cy="246221"/>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04040"/>
                </a:solidFill>
                <a:effectLst/>
                <a:uLnTx/>
                <a:uFillTx/>
                <a:latin typeface="Segoe UI"/>
                <a:ea typeface="+mn-ea"/>
                <a:cs typeface="+mn-cs"/>
              </a:rPr>
              <a:t>Scarcity premium in medtech driving higher valuations</a:t>
            </a:r>
            <a:endParaRPr kumimoji="0" lang="en-IN" sz="1000" b="0" i="0" u="none" strike="noStrike" kern="1200" cap="none" spc="0" normalizeH="0" baseline="0" noProof="0" dirty="0">
              <a:ln>
                <a:noFill/>
              </a:ln>
              <a:solidFill>
                <a:srgbClr val="404040"/>
              </a:solidFill>
              <a:effectLst/>
              <a:uLnTx/>
              <a:uFillTx/>
              <a:latin typeface="Segoe UI"/>
              <a:ea typeface="+mn-ea"/>
              <a:cs typeface="+mn-cs"/>
            </a:endParaRPr>
          </a:p>
        </p:txBody>
      </p:sp>
      <p:grpSp>
        <p:nvGrpSpPr>
          <p:cNvPr id="13" name="Group 12">
            <a:extLst>
              <a:ext uri="{FF2B5EF4-FFF2-40B4-BE49-F238E27FC236}">
                <a16:creationId xmlns:a16="http://schemas.microsoft.com/office/drawing/2014/main" id="{85EA9F78-B519-2123-04A6-DA5FE14BCBA0}"/>
              </a:ext>
            </a:extLst>
          </p:cNvPr>
          <p:cNvGrpSpPr/>
          <p:nvPr/>
        </p:nvGrpSpPr>
        <p:grpSpPr>
          <a:xfrm>
            <a:off x="444860" y="4097278"/>
            <a:ext cx="144517" cy="144517"/>
            <a:chOff x="7559921" y="1772797"/>
            <a:chExt cx="142772" cy="142772"/>
          </a:xfrm>
        </p:grpSpPr>
        <p:sp>
          <p:nvSpPr>
            <p:cNvPr id="14" name="Oval 13">
              <a:extLst>
                <a:ext uri="{FF2B5EF4-FFF2-40B4-BE49-F238E27FC236}">
                  <a16:creationId xmlns:a16="http://schemas.microsoft.com/office/drawing/2014/main" id="{75F06F47-ADFC-4567-565A-27B58C3EC64E}"/>
                </a:ext>
              </a:extLst>
            </p:cNvPr>
            <p:cNvSpPr/>
            <p:nvPr/>
          </p:nvSpPr>
          <p:spPr>
            <a:xfrm>
              <a:off x="7559921" y="1772797"/>
              <a:ext cx="142772" cy="142772"/>
            </a:xfrm>
            <a:prstGeom prst="ellipse">
              <a:avLst/>
            </a:prstGeom>
            <a:solidFill>
              <a:srgbClr val="B8D4E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5" name="Oval 14">
              <a:extLst>
                <a:ext uri="{FF2B5EF4-FFF2-40B4-BE49-F238E27FC236}">
                  <a16:creationId xmlns:a16="http://schemas.microsoft.com/office/drawing/2014/main" id="{240002F0-5695-1A62-06AC-53678C5ED742}"/>
                </a:ext>
              </a:extLst>
            </p:cNvPr>
            <p:cNvSpPr/>
            <p:nvPr/>
          </p:nvSpPr>
          <p:spPr>
            <a:xfrm>
              <a:off x="7597477" y="1810353"/>
              <a:ext cx="67660" cy="67660"/>
            </a:xfrm>
            <a:prstGeom prst="ellipse">
              <a:avLst/>
            </a:prstGeom>
            <a:solidFill>
              <a:schemeClr val="bg1"/>
            </a:solidFill>
            <a:ln>
              <a:noFill/>
            </a:ln>
            <a:effectLst>
              <a:outerShdw blurRad="12700" sx="102000" sy="102000" algn="ctr" rotWithShape="0">
                <a:prstClr val="black">
                  <a:alpha val="66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16" name="TextBox 15">
            <a:extLst>
              <a:ext uri="{FF2B5EF4-FFF2-40B4-BE49-F238E27FC236}">
                <a16:creationId xmlns:a16="http://schemas.microsoft.com/office/drawing/2014/main" id="{01C8C655-E6EE-2FC6-EBD3-B0902E938882}"/>
              </a:ext>
            </a:extLst>
          </p:cNvPr>
          <p:cNvSpPr txBox="1"/>
          <p:nvPr/>
        </p:nvSpPr>
        <p:spPr>
          <a:xfrm>
            <a:off x="568457" y="3973343"/>
            <a:ext cx="5228018" cy="400110"/>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04040"/>
                </a:solidFill>
                <a:effectLst/>
                <a:uLnTx/>
                <a:uFillTx/>
                <a:latin typeface="Segoe UI"/>
                <a:ea typeface="+mn-ea"/>
                <a:cs typeface="+mn-cs"/>
              </a:rPr>
              <a:t>Hospitals have moved to asset-light expansion </a:t>
            </a:r>
            <a:r>
              <a:rPr kumimoji="0" lang="en-US" sz="1000" b="0" i="0" u="none" strike="noStrike" kern="1200" cap="none" spc="0" normalizeH="0" baseline="0" noProof="0" dirty="0">
                <a:ln>
                  <a:noFill/>
                </a:ln>
                <a:solidFill>
                  <a:srgbClr val="404040"/>
                </a:solidFill>
                <a:effectLst/>
                <a:uLnTx/>
                <a:uFillTx/>
                <a:latin typeface="Segoe UI"/>
                <a:ea typeface="+mn-ea"/>
                <a:cs typeface="+mn-cs"/>
              </a:rPr>
              <a:t>through leasing, while super specialty is moving to single-specialty models</a:t>
            </a:r>
          </a:p>
        </p:txBody>
      </p:sp>
      <p:sp>
        <p:nvSpPr>
          <p:cNvPr id="18" name="TextBox 17">
            <a:extLst>
              <a:ext uri="{FF2B5EF4-FFF2-40B4-BE49-F238E27FC236}">
                <a16:creationId xmlns:a16="http://schemas.microsoft.com/office/drawing/2014/main" id="{79014F13-7A63-F0D5-07EB-26F8A403CDCE}"/>
              </a:ext>
            </a:extLst>
          </p:cNvPr>
          <p:cNvSpPr txBox="1"/>
          <p:nvPr/>
        </p:nvSpPr>
        <p:spPr>
          <a:xfrm>
            <a:off x="317937" y="6075463"/>
            <a:ext cx="5480628" cy="400110"/>
          </a:xfrm>
          <a:prstGeom prst="rect">
            <a:avLst/>
          </a:prstGeom>
          <a:noFill/>
        </p:spPr>
        <p:txBody>
          <a:bodyPr wrap="square" rtlCol="0" anchor="ctr">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000" i="0" u="none" strike="noStrike" kern="1200" cap="none" spc="0" normalizeH="0" baseline="0" noProof="0" dirty="0">
                <a:ln>
                  <a:noFill/>
                </a:ln>
                <a:solidFill>
                  <a:srgbClr val="404040"/>
                </a:solidFill>
                <a:effectLst/>
                <a:uLnTx/>
                <a:uFillTx/>
                <a:latin typeface="Segoe UI"/>
                <a:ea typeface="+mn-ea"/>
                <a:cs typeface="+mn-cs"/>
              </a:rPr>
              <a:t>Laser sharp focus for growth investments in health-tech companies as profitability becomes a litmus test</a:t>
            </a:r>
          </a:p>
        </p:txBody>
      </p:sp>
      <p:pic>
        <p:nvPicPr>
          <p:cNvPr id="24" name="Picture 4" descr="Best Hospital in India -About Us">
            <a:extLst>
              <a:ext uri="{FF2B5EF4-FFF2-40B4-BE49-F238E27FC236}">
                <a16:creationId xmlns:a16="http://schemas.microsoft.com/office/drawing/2014/main" id="{417293E9-B83F-116B-9BDB-4AAC9D665619}"/>
              </a:ext>
            </a:extLst>
          </p:cNvPr>
          <p:cNvPicPr>
            <a:picLocks noChangeAspect="1" noChangeArrowheads="1"/>
          </p:cNvPicPr>
          <p:nvPr/>
        </p:nvPicPr>
        <p:blipFill rotWithShape="1">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l="15789" r="12467"/>
          <a:stretch>
            <a:fillRect/>
          </a:stretch>
        </p:blipFill>
        <p:spPr bwMode="auto">
          <a:xfrm>
            <a:off x="10664750" y="4167082"/>
            <a:ext cx="411571" cy="301638"/>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Blackstone acquires KIMS Health ...">
            <a:extLst>
              <a:ext uri="{FF2B5EF4-FFF2-40B4-BE49-F238E27FC236}">
                <a16:creationId xmlns:a16="http://schemas.microsoft.com/office/drawing/2014/main" id="{521CE4F4-C3B5-0485-4720-AB8671D6DEA3}"/>
              </a:ext>
            </a:extLst>
          </p:cNvPr>
          <p:cNvPicPr>
            <a:picLocks noChangeAspect="1" noChangeArrowheads="1"/>
          </p:cNvPicPr>
          <p:nvPr/>
        </p:nvPicPr>
        <p:blipFill rotWithShape="1">
          <a:blip r:embed="rId27">
            <a:clrChange>
              <a:clrFrom>
                <a:srgbClr val="FFFFFF"/>
              </a:clrFrom>
              <a:clrTo>
                <a:srgbClr val="FFFFFF">
                  <a:alpha val="0"/>
                </a:srgbClr>
              </a:clrTo>
            </a:clrChange>
            <a:extLst>
              <a:ext uri="{28A0092B-C50C-407E-A947-70E740481C1C}">
                <a14:useLocalDpi xmlns:a14="http://schemas.microsoft.com/office/drawing/2010/main" val="0"/>
              </a:ext>
            </a:extLst>
          </a:blip>
          <a:srcRect l="6866" t="15196" b="12456"/>
          <a:stretch>
            <a:fillRect/>
          </a:stretch>
        </p:blipFill>
        <p:spPr bwMode="auto">
          <a:xfrm>
            <a:off x="11399599" y="4242716"/>
            <a:ext cx="606875" cy="2104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267092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BA1471-60F7-6D67-8751-E0A66E4794F3}"/>
            </a:ext>
          </a:extLst>
        </p:cNvPr>
        <p:cNvGrpSpPr/>
        <p:nvPr/>
      </p:nvGrpSpPr>
      <p:grpSpPr>
        <a:xfrm>
          <a:off x="0" y="0"/>
          <a:ext cx="0" cy="0"/>
          <a:chOff x="0" y="0"/>
          <a:chExt cx="0" cy="0"/>
        </a:xfrm>
      </p:grpSpPr>
      <p:sp>
        <p:nvSpPr>
          <p:cNvPr id="60" name="TextBox 59">
            <a:extLst>
              <a:ext uri="{FF2B5EF4-FFF2-40B4-BE49-F238E27FC236}">
                <a16:creationId xmlns:a16="http://schemas.microsoft.com/office/drawing/2014/main" id="{AA41AD09-5AA6-B688-8D72-3EDD9D43E04E}"/>
              </a:ext>
            </a:extLst>
          </p:cNvPr>
          <p:cNvSpPr txBox="1"/>
          <p:nvPr/>
        </p:nvSpPr>
        <p:spPr>
          <a:xfrm>
            <a:off x="357186" y="863060"/>
            <a:ext cx="5441379" cy="357771"/>
          </a:xfrm>
          <a:prstGeom prst="rect">
            <a:avLst/>
          </a:prstGeom>
          <a:noFill/>
        </p:spPr>
        <p:txBody>
          <a:bodyPr wrap="square" lIns="0" tIns="0" rIns="0" bIns="0" anchor="ctr">
            <a:noAutofit/>
          </a:bodyPr>
          <a:lstStyle/>
          <a:p>
            <a:pPr marL="0" marR="0" lvl="0" indent="0" algn="l" defTabSz="958983"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385723"/>
                </a:solidFill>
                <a:effectLst/>
                <a:uLnTx/>
                <a:uFillTx/>
                <a:latin typeface="Segoe UI"/>
                <a:ea typeface="Verdana" panose="020B0604030504040204" pitchFamily="34" charset="0"/>
                <a:cs typeface="Verdana" panose="020B0604030504040204" pitchFamily="34" charset="0"/>
              </a:rPr>
              <a:t>Sub-sectors in pharmaceuticals: Fundraise breakdown</a:t>
            </a:r>
          </a:p>
        </p:txBody>
      </p:sp>
      <p:sp>
        <p:nvSpPr>
          <p:cNvPr id="2" name="Title 1">
            <a:extLst>
              <a:ext uri="{FF2B5EF4-FFF2-40B4-BE49-F238E27FC236}">
                <a16:creationId xmlns:a16="http://schemas.microsoft.com/office/drawing/2014/main" id="{5CCAACE5-24A9-5219-CA63-32A1D81A9B7B}"/>
              </a:ext>
            </a:extLst>
          </p:cNvPr>
          <p:cNvSpPr>
            <a:spLocks noGrp="1"/>
          </p:cNvSpPr>
          <p:nvPr>
            <p:ph type="title"/>
          </p:nvPr>
        </p:nvSpPr>
        <p:spPr>
          <a:xfrm>
            <a:off x="344487" y="138940"/>
            <a:ext cx="11504613" cy="408795"/>
          </a:xfrm>
        </p:spPr>
        <p:txBody>
          <a:bodyPr/>
          <a:lstStyle/>
          <a:p>
            <a:r>
              <a:rPr lang="en-IN" dirty="0"/>
              <a:t>Pharmaceuticals – CDMOs gaining traction among investors</a:t>
            </a:r>
          </a:p>
        </p:txBody>
      </p:sp>
      <p:sp>
        <p:nvSpPr>
          <p:cNvPr id="3" name="Text Placeholder 2">
            <a:extLst>
              <a:ext uri="{FF2B5EF4-FFF2-40B4-BE49-F238E27FC236}">
                <a16:creationId xmlns:a16="http://schemas.microsoft.com/office/drawing/2014/main" id="{376BCA34-EE05-2D0C-C825-EB86030036E8}"/>
              </a:ext>
            </a:extLst>
          </p:cNvPr>
          <p:cNvSpPr>
            <a:spLocks noGrp="1"/>
          </p:cNvSpPr>
          <p:nvPr>
            <p:ph type="body" sz="quarter" idx="10"/>
          </p:nvPr>
        </p:nvSpPr>
        <p:spPr>
          <a:xfrm>
            <a:off x="344488" y="487848"/>
            <a:ext cx="11504612" cy="281861"/>
          </a:xfrm>
        </p:spPr>
        <p:txBody>
          <a:bodyPr/>
          <a:lstStyle/>
          <a:p>
            <a:endParaRPr lang="en-US" dirty="0"/>
          </a:p>
        </p:txBody>
      </p:sp>
      <p:sp>
        <p:nvSpPr>
          <p:cNvPr id="4" name="Text Placeholder 3">
            <a:extLst>
              <a:ext uri="{FF2B5EF4-FFF2-40B4-BE49-F238E27FC236}">
                <a16:creationId xmlns:a16="http://schemas.microsoft.com/office/drawing/2014/main" id="{43AB49A8-FD7B-6616-1819-B8923C0CFC5F}"/>
              </a:ext>
            </a:extLst>
          </p:cNvPr>
          <p:cNvSpPr>
            <a:spLocks noGrp="1"/>
          </p:cNvSpPr>
          <p:nvPr>
            <p:ph type="body" sz="quarter" idx="11"/>
          </p:nvPr>
        </p:nvSpPr>
        <p:spPr/>
        <p:txBody>
          <a:bodyPr/>
          <a:lstStyle/>
          <a:p>
            <a:r>
              <a:rPr lang="en-US"/>
              <a:t>Source: VCC Edge. Notes: Fundraise includes private equity above INR 80 crores, M&amp;A, IPOs and QIPs. Pharmaceuticals includes Formulations, APIs and CDMOs</a:t>
            </a:r>
          </a:p>
        </p:txBody>
      </p:sp>
      <p:cxnSp>
        <p:nvCxnSpPr>
          <p:cNvPr id="61" name="Straight Connector 60">
            <a:extLst>
              <a:ext uri="{FF2B5EF4-FFF2-40B4-BE49-F238E27FC236}">
                <a16:creationId xmlns:a16="http://schemas.microsoft.com/office/drawing/2014/main" id="{ED914942-D533-85C8-DE76-74D875950F77}"/>
              </a:ext>
            </a:extLst>
          </p:cNvPr>
          <p:cNvCxnSpPr>
            <a:cxnSpLocks/>
          </p:cNvCxnSpPr>
          <p:nvPr/>
        </p:nvCxnSpPr>
        <p:spPr>
          <a:xfrm>
            <a:off x="398565" y="1219735"/>
            <a:ext cx="11160000" cy="0"/>
          </a:xfrm>
          <a:prstGeom prst="line">
            <a:avLst/>
          </a:prstGeom>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C18915BD-49BC-D629-5D43-3429D4DF0545}"/>
              </a:ext>
            </a:extLst>
          </p:cNvPr>
          <p:cNvSpPr/>
          <p:nvPr/>
        </p:nvSpPr>
        <p:spPr>
          <a:xfrm>
            <a:off x="344487" y="1191851"/>
            <a:ext cx="545724" cy="55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385723"/>
              </a:solidFill>
              <a:effectLst/>
              <a:uLnTx/>
              <a:uFillTx/>
              <a:latin typeface="Segoe UI"/>
              <a:ea typeface="+mn-ea"/>
              <a:cs typeface="+mn-cs"/>
            </a:endParaRPr>
          </a:p>
        </p:txBody>
      </p:sp>
      <p:sp>
        <p:nvSpPr>
          <p:cNvPr id="10" name="Rectangle 9">
            <a:extLst>
              <a:ext uri="{FF2B5EF4-FFF2-40B4-BE49-F238E27FC236}">
                <a16:creationId xmlns:a16="http://schemas.microsoft.com/office/drawing/2014/main" id="{305EC02A-F19B-EB3D-8C95-EC750E0D8185}"/>
              </a:ext>
            </a:extLst>
          </p:cNvPr>
          <p:cNvSpPr/>
          <p:nvPr/>
        </p:nvSpPr>
        <p:spPr>
          <a:xfrm>
            <a:off x="357185" y="1306688"/>
            <a:ext cx="5441379" cy="33473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404040"/>
                </a:solidFill>
                <a:effectLst/>
                <a:uLnTx/>
                <a:uFillTx/>
                <a:latin typeface="Segoe UI"/>
                <a:ea typeface="+mn-ea"/>
                <a:cs typeface="+mn-cs"/>
              </a:rPr>
              <a:t>Split by sub-sector (INR Crore)</a:t>
            </a:r>
          </a:p>
        </p:txBody>
      </p:sp>
      <p:sp>
        <p:nvSpPr>
          <p:cNvPr id="11" name="Rectangle 10">
            <a:extLst>
              <a:ext uri="{FF2B5EF4-FFF2-40B4-BE49-F238E27FC236}">
                <a16:creationId xmlns:a16="http://schemas.microsoft.com/office/drawing/2014/main" id="{11F55B88-87DD-8A18-047E-5A958D2399E0}"/>
              </a:ext>
            </a:extLst>
          </p:cNvPr>
          <p:cNvSpPr/>
          <p:nvPr/>
        </p:nvSpPr>
        <p:spPr>
          <a:xfrm>
            <a:off x="357185" y="3906238"/>
            <a:ext cx="5441379" cy="33473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IN" sz="1200" b="1" dirty="0">
                <a:solidFill>
                  <a:srgbClr val="404040"/>
                </a:solidFill>
              </a:rPr>
              <a:t>Split by transaction type (INR Crore)</a:t>
            </a:r>
            <a:endParaRPr kumimoji="0" lang="en-IN" sz="1200" b="1" i="0" u="none" strike="noStrike" kern="1200" cap="none" spc="0" normalizeH="0" baseline="0" noProof="0" dirty="0">
              <a:ln>
                <a:noFill/>
              </a:ln>
              <a:solidFill>
                <a:srgbClr val="404040"/>
              </a:solidFill>
              <a:effectLst/>
              <a:uLnTx/>
              <a:uFillTx/>
              <a:latin typeface="Segoe UI"/>
              <a:ea typeface="+mn-ea"/>
              <a:cs typeface="+mn-cs"/>
            </a:endParaRPr>
          </a:p>
        </p:txBody>
      </p:sp>
      <p:grpSp>
        <p:nvGrpSpPr>
          <p:cNvPr id="12" name="Group 11">
            <a:extLst>
              <a:ext uri="{FF2B5EF4-FFF2-40B4-BE49-F238E27FC236}">
                <a16:creationId xmlns:a16="http://schemas.microsoft.com/office/drawing/2014/main" id="{C7078DB4-DEB6-CED5-0762-DB35C3822230}"/>
              </a:ext>
            </a:extLst>
          </p:cNvPr>
          <p:cNvGrpSpPr/>
          <p:nvPr/>
        </p:nvGrpSpPr>
        <p:grpSpPr>
          <a:xfrm>
            <a:off x="-308513" y="4359115"/>
            <a:ext cx="2894400" cy="1929600"/>
            <a:chOff x="205053" y="4359115"/>
            <a:chExt cx="2894400" cy="1929600"/>
          </a:xfrm>
        </p:grpSpPr>
        <p:graphicFrame>
          <p:nvGraphicFramePr>
            <p:cNvPr id="6" name="Chart 5">
              <a:extLst>
                <a:ext uri="{FF2B5EF4-FFF2-40B4-BE49-F238E27FC236}">
                  <a16:creationId xmlns:a16="http://schemas.microsoft.com/office/drawing/2014/main" id="{62E0685C-FD45-DE46-3D43-6BDCB2FE052C}"/>
                </a:ext>
              </a:extLst>
            </p:cNvPr>
            <p:cNvGraphicFramePr>
              <a:graphicFrameLocks/>
            </p:cNvGraphicFramePr>
            <p:nvPr/>
          </p:nvGraphicFramePr>
          <p:xfrm>
            <a:off x="205053" y="4359115"/>
            <a:ext cx="2894400" cy="1929600"/>
          </p:xfrm>
          <a:graphic>
            <a:graphicData uri="http://schemas.openxmlformats.org/drawingml/2006/chart">
              <c:chart xmlns:c="http://schemas.openxmlformats.org/drawingml/2006/chart" xmlns:r="http://schemas.openxmlformats.org/officeDocument/2006/relationships" r:id="rId2"/>
            </a:graphicData>
          </a:graphic>
        </p:graphicFrame>
        <p:sp>
          <p:nvSpPr>
            <p:cNvPr id="65" name="Oval 64">
              <a:extLst>
                <a:ext uri="{FF2B5EF4-FFF2-40B4-BE49-F238E27FC236}">
                  <a16:creationId xmlns:a16="http://schemas.microsoft.com/office/drawing/2014/main" id="{82A60DD4-9AA1-17AA-5920-05D1BEDB1DC8}"/>
                </a:ext>
              </a:extLst>
            </p:cNvPr>
            <p:cNvSpPr/>
            <p:nvPr/>
          </p:nvSpPr>
          <p:spPr>
            <a:xfrm>
              <a:off x="1229179" y="4909656"/>
              <a:ext cx="850142" cy="85014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sz="800">
                <a:solidFill>
                  <a:schemeClr val="tx2"/>
                </a:solidFill>
              </a:endParaRPr>
            </a:p>
          </p:txBody>
        </p:sp>
        <p:sp>
          <p:nvSpPr>
            <p:cNvPr id="66" name="TextBox 65">
              <a:extLst>
                <a:ext uri="{FF2B5EF4-FFF2-40B4-BE49-F238E27FC236}">
                  <a16:creationId xmlns:a16="http://schemas.microsoft.com/office/drawing/2014/main" id="{9A8D1552-7583-D08B-17CE-3C815222BC33}"/>
                </a:ext>
              </a:extLst>
            </p:cNvPr>
            <p:cNvSpPr txBox="1"/>
            <p:nvPr/>
          </p:nvSpPr>
          <p:spPr>
            <a:xfrm>
              <a:off x="793776" y="5136997"/>
              <a:ext cx="1716066" cy="369332"/>
            </a:xfrm>
            <a:prstGeom prst="rect">
              <a:avLst/>
            </a:prstGeom>
            <a:noFill/>
          </p:spPr>
          <p:txBody>
            <a:bodyPr wrap="square" rtlCol="0">
              <a:spAutoFit/>
            </a:bodyPr>
            <a:lstStyle/>
            <a:p>
              <a:pPr algn="ctr"/>
              <a:r>
                <a:rPr lang="en-IN" sz="900" b="1" dirty="0"/>
                <a:t>FY20:</a:t>
              </a:r>
            </a:p>
            <a:p>
              <a:pPr algn="ctr"/>
              <a:r>
                <a:rPr lang="en-IN" sz="900" b="1" dirty="0"/>
                <a:t>INR 7,097 Cr</a:t>
              </a:r>
            </a:p>
          </p:txBody>
        </p:sp>
      </p:grpSp>
      <p:graphicFrame>
        <p:nvGraphicFramePr>
          <p:cNvPr id="68" name="Chart 67">
            <a:extLst>
              <a:ext uri="{FF2B5EF4-FFF2-40B4-BE49-F238E27FC236}">
                <a16:creationId xmlns:a16="http://schemas.microsoft.com/office/drawing/2014/main" id="{2A253B0C-93C3-A0F1-FBFB-954231194073}"/>
              </a:ext>
            </a:extLst>
          </p:cNvPr>
          <p:cNvGraphicFramePr/>
          <p:nvPr>
            <p:extLst>
              <p:ext uri="{D42A27DB-BD31-4B8C-83A1-F6EECF244321}">
                <p14:modId xmlns:p14="http://schemas.microsoft.com/office/powerpoint/2010/main" val="1394078087"/>
              </p:ext>
            </p:extLst>
          </p:nvPr>
        </p:nvGraphicFramePr>
        <p:xfrm>
          <a:off x="3617091" y="4359115"/>
          <a:ext cx="2893512" cy="1929008"/>
        </p:xfrm>
        <a:graphic>
          <a:graphicData uri="http://schemas.openxmlformats.org/drawingml/2006/chart">
            <c:chart xmlns:c="http://schemas.openxmlformats.org/drawingml/2006/chart" xmlns:r="http://schemas.openxmlformats.org/officeDocument/2006/relationships" r:id="rId3"/>
          </a:graphicData>
        </a:graphic>
      </p:graphicFrame>
      <p:sp>
        <p:nvSpPr>
          <p:cNvPr id="70" name="Oval 69">
            <a:extLst>
              <a:ext uri="{FF2B5EF4-FFF2-40B4-BE49-F238E27FC236}">
                <a16:creationId xmlns:a16="http://schemas.microsoft.com/office/drawing/2014/main" id="{56BE5BF4-5A41-81CB-9B84-038C11D7FD11}"/>
              </a:ext>
            </a:extLst>
          </p:cNvPr>
          <p:cNvSpPr/>
          <p:nvPr/>
        </p:nvSpPr>
        <p:spPr>
          <a:xfrm>
            <a:off x="4641217" y="4909656"/>
            <a:ext cx="850142" cy="85014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sz="800">
              <a:solidFill>
                <a:schemeClr val="tx2"/>
              </a:solidFill>
            </a:endParaRPr>
          </a:p>
        </p:txBody>
      </p:sp>
      <p:sp>
        <p:nvSpPr>
          <p:cNvPr id="71" name="TextBox 70">
            <a:extLst>
              <a:ext uri="{FF2B5EF4-FFF2-40B4-BE49-F238E27FC236}">
                <a16:creationId xmlns:a16="http://schemas.microsoft.com/office/drawing/2014/main" id="{3B56E671-67FF-B42A-C97D-4FAF88B2F94B}"/>
              </a:ext>
            </a:extLst>
          </p:cNvPr>
          <p:cNvSpPr txBox="1"/>
          <p:nvPr/>
        </p:nvSpPr>
        <p:spPr>
          <a:xfrm>
            <a:off x="4205814" y="5136997"/>
            <a:ext cx="1716066" cy="369332"/>
          </a:xfrm>
          <a:prstGeom prst="rect">
            <a:avLst/>
          </a:prstGeom>
          <a:noFill/>
        </p:spPr>
        <p:txBody>
          <a:bodyPr wrap="square" rtlCol="0">
            <a:spAutoFit/>
          </a:bodyPr>
          <a:lstStyle/>
          <a:p>
            <a:pPr algn="ctr"/>
            <a:r>
              <a:rPr lang="en-IN" sz="900" b="1" dirty="0"/>
              <a:t>FY25: </a:t>
            </a:r>
          </a:p>
          <a:p>
            <a:pPr algn="ctr"/>
            <a:r>
              <a:rPr lang="en-IN" sz="900" b="1" dirty="0"/>
              <a:t>INR 31,693 Cr</a:t>
            </a:r>
          </a:p>
        </p:txBody>
      </p:sp>
      <p:sp>
        <p:nvSpPr>
          <p:cNvPr id="13" name="TextBox 12">
            <a:extLst>
              <a:ext uri="{FF2B5EF4-FFF2-40B4-BE49-F238E27FC236}">
                <a16:creationId xmlns:a16="http://schemas.microsoft.com/office/drawing/2014/main" id="{8ACF33D2-5849-F0CD-77E1-D0EE66F3D215}"/>
              </a:ext>
            </a:extLst>
          </p:cNvPr>
          <p:cNvSpPr txBox="1"/>
          <p:nvPr/>
        </p:nvSpPr>
        <p:spPr>
          <a:xfrm>
            <a:off x="1774825" y="6229906"/>
            <a:ext cx="92160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u="none" strike="noStrike" kern="1200" cap="none" spc="0" normalizeH="0" baseline="0" noProof="0">
                <a:ln>
                  <a:noFill/>
                </a:ln>
                <a:solidFill>
                  <a:srgbClr val="404040"/>
                </a:solidFill>
                <a:effectLst/>
                <a:uLnTx/>
                <a:uFillTx/>
                <a:latin typeface="Arial Narrow" panose="020B0606020202030204" pitchFamily="34" charset="0"/>
                <a:ea typeface="+mn-ea"/>
                <a:cs typeface="+mn-cs"/>
              </a:rPr>
              <a:t>Private Equity</a:t>
            </a:r>
          </a:p>
        </p:txBody>
      </p:sp>
      <p:sp>
        <p:nvSpPr>
          <p:cNvPr id="15" name="TextBox 14">
            <a:extLst>
              <a:ext uri="{FF2B5EF4-FFF2-40B4-BE49-F238E27FC236}">
                <a16:creationId xmlns:a16="http://schemas.microsoft.com/office/drawing/2014/main" id="{091448C6-A87C-912F-B383-DD8072E7F777}"/>
              </a:ext>
            </a:extLst>
          </p:cNvPr>
          <p:cNvSpPr txBox="1"/>
          <p:nvPr/>
        </p:nvSpPr>
        <p:spPr>
          <a:xfrm>
            <a:off x="2562754" y="6229965"/>
            <a:ext cx="92160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u="none" strike="noStrike" kern="1200" cap="none" spc="0" normalizeH="0" baseline="0" noProof="0">
                <a:ln>
                  <a:noFill/>
                </a:ln>
                <a:solidFill>
                  <a:srgbClr val="404040"/>
                </a:solidFill>
                <a:effectLst/>
                <a:uLnTx/>
                <a:uFillTx/>
                <a:latin typeface="Arial Narrow" panose="020B0606020202030204" pitchFamily="34" charset="0"/>
                <a:ea typeface="+mn-ea"/>
                <a:cs typeface="+mn-cs"/>
              </a:rPr>
              <a:t>M&amp;A</a:t>
            </a:r>
          </a:p>
        </p:txBody>
      </p:sp>
      <p:sp>
        <p:nvSpPr>
          <p:cNvPr id="16" name="TextBox 15">
            <a:extLst>
              <a:ext uri="{FF2B5EF4-FFF2-40B4-BE49-F238E27FC236}">
                <a16:creationId xmlns:a16="http://schemas.microsoft.com/office/drawing/2014/main" id="{0CD599FB-B648-0BC8-E0DF-1ACA15AD08D9}"/>
              </a:ext>
            </a:extLst>
          </p:cNvPr>
          <p:cNvSpPr txBox="1"/>
          <p:nvPr/>
        </p:nvSpPr>
        <p:spPr>
          <a:xfrm>
            <a:off x="3249388" y="6229906"/>
            <a:ext cx="92160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u="none" strike="noStrike" kern="1200" cap="none" spc="0" normalizeH="0" baseline="0" noProof="0">
                <a:ln>
                  <a:noFill/>
                </a:ln>
                <a:solidFill>
                  <a:srgbClr val="404040"/>
                </a:solidFill>
                <a:effectLst/>
                <a:uLnTx/>
                <a:uFillTx/>
                <a:latin typeface="Arial Narrow" panose="020B0606020202030204" pitchFamily="34" charset="0"/>
                <a:ea typeface="+mn-ea"/>
                <a:cs typeface="+mn-cs"/>
              </a:rPr>
              <a:t>ECM</a:t>
            </a:r>
          </a:p>
        </p:txBody>
      </p:sp>
      <p:sp>
        <p:nvSpPr>
          <p:cNvPr id="17" name="Rectangle 16">
            <a:extLst>
              <a:ext uri="{FF2B5EF4-FFF2-40B4-BE49-F238E27FC236}">
                <a16:creationId xmlns:a16="http://schemas.microsoft.com/office/drawing/2014/main" id="{4C95FE31-B7D9-FA2E-00ED-694738C8B5B6}"/>
              </a:ext>
            </a:extLst>
          </p:cNvPr>
          <p:cNvSpPr/>
          <p:nvPr/>
        </p:nvSpPr>
        <p:spPr>
          <a:xfrm>
            <a:off x="1732563" y="6317756"/>
            <a:ext cx="72000" cy="72000"/>
          </a:xfrm>
          <a:prstGeom prst="rect">
            <a:avLst/>
          </a:prstGeom>
          <a:solidFill>
            <a:srgbClr val="ABD29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1" name="Rectangle 20">
            <a:extLst>
              <a:ext uri="{FF2B5EF4-FFF2-40B4-BE49-F238E27FC236}">
                <a16:creationId xmlns:a16="http://schemas.microsoft.com/office/drawing/2014/main" id="{C2E7AFE9-2AAB-A0BA-01AE-69C458E07C7F}"/>
              </a:ext>
            </a:extLst>
          </p:cNvPr>
          <p:cNvSpPr/>
          <p:nvPr/>
        </p:nvSpPr>
        <p:spPr>
          <a:xfrm>
            <a:off x="2743516" y="6317756"/>
            <a:ext cx="72000" cy="72000"/>
          </a:xfrm>
          <a:prstGeom prst="rect">
            <a:avLst/>
          </a:prstGeom>
          <a:solidFill>
            <a:srgbClr val="C0CFB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2" name="Rectangle 21">
            <a:extLst>
              <a:ext uri="{FF2B5EF4-FFF2-40B4-BE49-F238E27FC236}">
                <a16:creationId xmlns:a16="http://schemas.microsoft.com/office/drawing/2014/main" id="{2DAB7FDB-935B-8A88-4C0C-D7EE90FA21D4}"/>
              </a:ext>
            </a:extLst>
          </p:cNvPr>
          <p:cNvSpPr/>
          <p:nvPr/>
        </p:nvSpPr>
        <p:spPr>
          <a:xfrm>
            <a:off x="3297270" y="6317756"/>
            <a:ext cx="72000" cy="72000"/>
          </a:xfrm>
          <a:prstGeom prst="rect">
            <a:avLst/>
          </a:prstGeom>
          <a:solidFill>
            <a:srgbClr val="E4F1D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7" name="Group 6">
            <a:extLst>
              <a:ext uri="{FF2B5EF4-FFF2-40B4-BE49-F238E27FC236}">
                <a16:creationId xmlns:a16="http://schemas.microsoft.com/office/drawing/2014/main" id="{0CBBBCD7-CA20-45E6-A110-C75060AAC657}"/>
              </a:ext>
            </a:extLst>
          </p:cNvPr>
          <p:cNvGrpSpPr/>
          <p:nvPr/>
        </p:nvGrpSpPr>
        <p:grpSpPr>
          <a:xfrm>
            <a:off x="-297155" y="1745632"/>
            <a:ext cx="2894400" cy="1929600"/>
            <a:chOff x="216411" y="1745632"/>
            <a:chExt cx="2894400" cy="1929600"/>
          </a:xfrm>
        </p:grpSpPr>
        <p:graphicFrame>
          <p:nvGraphicFramePr>
            <p:cNvPr id="103" name="Chart 102">
              <a:extLst>
                <a:ext uri="{FF2B5EF4-FFF2-40B4-BE49-F238E27FC236}">
                  <a16:creationId xmlns:a16="http://schemas.microsoft.com/office/drawing/2014/main" id="{D2A9153A-C944-4A93-F680-42C66DF7E18A}"/>
                </a:ext>
              </a:extLst>
            </p:cNvPr>
            <p:cNvGraphicFramePr>
              <a:graphicFrameLocks/>
            </p:cNvGraphicFramePr>
            <p:nvPr/>
          </p:nvGraphicFramePr>
          <p:xfrm>
            <a:off x="216411" y="1745632"/>
            <a:ext cx="2894400" cy="1929600"/>
          </p:xfrm>
          <a:graphic>
            <a:graphicData uri="http://schemas.openxmlformats.org/drawingml/2006/chart">
              <c:chart xmlns:c="http://schemas.openxmlformats.org/drawingml/2006/chart" xmlns:r="http://schemas.openxmlformats.org/officeDocument/2006/relationships" r:id="rId4"/>
            </a:graphicData>
          </a:graphic>
        </p:graphicFrame>
        <p:sp>
          <p:nvSpPr>
            <p:cNvPr id="91" name="Oval 90">
              <a:extLst>
                <a:ext uri="{FF2B5EF4-FFF2-40B4-BE49-F238E27FC236}">
                  <a16:creationId xmlns:a16="http://schemas.microsoft.com/office/drawing/2014/main" id="{73F9FA41-8035-CE01-0E90-0A1BBDB005B6}"/>
                </a:ext>
              </a:extLst>
            </p:cNvPr>
            <p:cNvSpPr/>
            <p:nvPr/>
          </p:nvSpPr>
          <p:spPr>
            <a:xfrm>
              <a:off x="1229179" y="2283495"/>
              <a:ext cx="850142" cy="85014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sz="800">
                <a:solidFill>
                  <a:schemeClr val="tx2"/>
                </a:solidFill>
              </a:endParaRPr>
            </a:p>
          </p:txBody>
        </p:sp>
        <p:sp>
          <p:nvSpPr>
            <p:cNvPr id="92" name="TextBox 91">
              <a:extLst>
                <a:ext uri="{FF2B5EF4-FFF2-40B4-BE49-F238E27FC236}">
                  <a16:creationId xmlns:a16="http://schemas.microsoft.com/office/drawing/2014/main" id="{20DA02A0-FC58-4BFA-EABB-662DB849CF77}"/>
                </a:ext>
              </a:extLst>
            </p:cNvPr>
            <p:cNvSpPr txBox="1"/>
            <p:nvPr/>
          </p:nvSpPr>
          <p:spPr>
            <a:xfrm>
              <a:off x="793776" y="2510836"/>
              <a:ext cx="1716066" cy="369332"/>
            </a:xfrm>
            <a:prstGeom prst="rect">
              <a:avLst/>
            </a:prstGeom>
            <a:noFill/>
          </p:spPr>
          <p:txBody>
            <a:bodyPr wrap="square" rtlCol="0">
              <a:spAutoFit/>
            </a:bodyPr>
            <a:lstStyle/>
            <a:p>
              <a:pPr algn="ctr"/>
              <a:r>
                <a:rPr lang="en-IN" sz="900" b="1" dirty="0"/>
                <a:t>FY20:</a:t>
              </a:r>
            </a:p>
            <a:p>
              <a:pPr algn="ctr"/>
              <a:r>
                <a:rPr lang="en-IN" sz="900" b="1" dirty="0"/>
                <a:t>INR 7,097 Cr</a:t>
              </a:r>
            </a:p>
          </p:txBody>
        </p:sp>
      </p:grpSp>
      <p:graphicFrame>
        <p:nvGraphicFramePr>
          <p:cNvPr id="93" name="Chart 92">
            <a:extLst>
              <a:ext uri="{FF2B5EF4-FFF2-40B4-BE49-F238E27FC236}">
                <a16:creationId xmlns:a16="http://schemas.microsoft.com/office/drawing/2014/main" id="{C88FD383-82BD-7A5F-40B0-3DC1F4FF1CA5}"/>
              </a:ext>
            </a:extLst>
          </p:cNvPr>
          <p:cNvGraphicFramePr/>
          <p:nvPr>
            <p:extLst>
              <p:ext uri="{D42A27DB-BD31-4B8C-83A1-F6EECF244321}">
                <p14:modId xmlns:p14="http://schemas.microsoft.com/office/powerpoint/2010/main" val="2065643808"/>
              </p:ext>
            </p:extLst>
          </p:nvPr>
        </p:nvGraphicFramePr>
        <p:xfrm>
          <a:off x="3617091" y="1732954"/>
          <a:ext cx="2893512" cy="1929008"/>
        </p:xfrm>
        <a:graphic>
          <a:graphicData uri="http://schemas.openxmlformats.org/drawingml/2006/chart">
            <c:chart xmlns:c="http://schemas.openxmlformats.org/drawingml/2006/chart" xmlns:r="http://schemas.openxmlformats.org/officeDocument/2006/relationships" r:id="rId5"/>
          </a:graphicData>
        </a:graphic>
      </p:graphicFrame>
      <p:sp>
        <p:nvSpPr>
          <p:cNvPr id="94" name="Oval 93">
            <a:extLst>
              <a:ext uri="{FF2B5EF4-FFF2-40B4-BE49-F238E27FC236}">
                <a16:creationId xmlns:a16="http://schemas.microsoft.com/office/drawing/2014/main" id="{83D70F10-1C22-600D-9636-39CC2E9729C1}"/>
              </a:ext>
            </a:extLst>
          </p:cNvPr>
          <p:cNvSpPr/>
          <p:nvPr/>
        </p:nvSpPr>
        <p:spPr>
          <a:xfrm>
            <a:off x="4641217" y="2283495"/>
            <a:ext cx="850142" cy="85014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sz="800">
              <a:solidFill>
                <a:schemeClr val="tx2"/>
              </a:solidFill>
            </a:endParaRPr>
          </a:p>
        </p:txBody>
      </p:sp>
      <p:sp>
        <p:nvSpPr>
          <p:cNvPr id="95" name="TextBox 94">
            <a:extLst>
              <a:ext uri="{FF2B5EF4-FFF2-40B4-BE49-F238E27FC236}">
                <a16:creationId xmlns:a16="http://schemas.microsoft.com/office/drawing/2014/main" id="{DF80C50A-7221-3435-0723-6A0FDD79D64C}"/>
              </a:ext>
            </a:extLst>
          </p:cNvPr>
          <p:cNvSpPr txBox="1"/>
          <p:nvPr/>
        </p:nvSpPr>
        <p:spPr>
          <a:xfrm>
            <a:off x="4205814" y="2510836"/>
            <a:ext cx="1716066" cy="369332"/>
          </a:xfrm>
          <a:prstGeom prst="rect">
            <a:avLst/>
          </a:prstGeom>
          <a:noFill/>
        </p:spPr>
        <p:txBody>
          <a:bodyPr wrap="square" rtlCol="0">
            <a:spAutoFit/>
          </a:bodyPr>
          <a:lstStyle/>
          <a:p>
            <a:pPr algn="ctr"/>
            <a:r>
              <a:rPr lang="en-IN" sz="900" b="1" dirty="0"/>
              <a:t>FY25: </a:t>
            </a:r>
          </a:p>
          <a:p>
            <a:pPr algn="ctr"/>
            <a:r>
              <a:rPr lang="en-IN" sz="900" b="1" dirty="0"/>
              <a:t>INR 31,693 Cr</a:t>
            </a:r>
          </a:p>
        </p:txBody>
      </p:sp>
      <p:sp>
        <p:nvSpPr>
          <p:cNvPr id="96" name="TextBox 95">
            <a:extLst>
              <a:ext uri="{FF2B5EF4-FFF2-40B4-BE49-F238E27FC236}">
                <a16:creationId xmlns:a16="http://schemas.microsoft.com/office/drawing/2014/main" id="{E5FC1AD7-2041-C49F-8574-1C4EA2EA0A86}"/>
              </a:ext>
            </a:extLst>
          </p:cNvPr>
          <p:cNvSpPr txBox="1"/>
          <p:nvPr/>
        </p:nvSpPr>
        <p:spPr>
          <a:xfrm>
            <a:off x="1539689" y="3603745"/>
            <a:ext cx="92160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u="none" strike="noStrike" kern="1200" cap="none" spc="0" normalizeH="0" baseline="0" noProof="0">
                <a:ln>
                  <a:noFill/>
                </a:ln>
                <a:solidFill>
                  <a:srgbClr val="404040"/>
                </a:solidFill>
                <a:effectLst/>
                <a:uLnTx/>
                <a:uFillTx/>
                <a:latin typeface="Arial Narrow" panose="020B0606020202030204" pitchFamily="34" charset="0"/>
                <a:ea typeface="+mn-ea"/>
                <a:cs typeface="+mn-cs"/>
              </a:rPr>
              <a:t>API</a:t>
            </a:r>
          </a:p>
        </p:txBody>
      </p:sp>
      <p:sp>
        <p:nvSpPr>
          <p:cNvPr id="97" name="TextBox 96">
            <a:extLst>
              <a:ext uri="{FF2B5EF4-FFF2-40B4-BE49-F238E27FC236}">
                <a16:creationId xmlns:a16="http://schemas.microsoft.com/office/drawing/2014/main" id="{85F43F98-C3EE-80B1-258E-50A0937294FC}"/>
              </a:ext>
            </a:extLst>
          </p:cNvPr>
          <p:cNvSpPr txBox="1"/>
          <p:nvPr/>
        </p:nvSpPr>
        <p:spPr>
          <a:xfrm>
            <a:off x="2392933" y="3603804"/>
            <a:ext cx="92160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u="none" strike="noStrike" kern="1200" cap="none" spc="0" normalizeH="0" baseline="0" noProof="0">
                <a:ln>
                  <a:noFill/>
                </a:ln>
                <a:solidFill>
                  <a:srgbClr val="404040"/>
                </a:solidFill>
                <a:effectLst/>
                <a:uLnTx/>
                <a:uFillTx/>
                <a:latin typeface="Arial Narrow" panose="020B0606020202030204" pitchFamily="34" charset="0"/>
                <a:ea typeface="+mn-ea"/>
                <a:cs typeface="+mn-cs"/>
              </a:rPr>
              <a:t>Formulations</a:t>
            </a:r>
          </a:p>
        </p:txBody>
      </p:sp>
      <p:sp>
        <p:nvSpPr>
          <p:cNvPr id="98" name="TextBox 97">
            <a:extLst>
              <a:ext uri="{FF2B5EF4-FFF2-40B4-BE49-F238E27FC236}">
                <a16:creationId xmlns:a16="http://schemas.microsoft.com/office/drawing/2014/main" id="{B12CEB59-C4CA-D4E1-7071-AE2C24451471}"/>
              </a:ext>
            </a:extLst>
          </p:cNvPr>
          <p:cNvSpPr txBox="1"/>
          <p:nvPr/>
        </p:nvSpPr>
        <p:spPr>
          <a:xfrm>
            <a:off x="3171008" y="3603745"/>
            <a:ext cx="92160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u="none" strike="noStrike" kern="1200" cap="none" spc="0" normalizeH="0" baseline="0" noProof="0" dirty="0">
                <a:ln>
                  <a:noFill/>
                </a:ln>
                <a:solidFill>
                  <a:srgbClr val="404040"/>
                </a:solidFill>
                <a:effectLst/>
                <a:uLnTx/>
                <a:uFillTx/>
                <a:latin typeface="Arial Narrow" panose="020B0606020202030204" pitchFamily="34" charset="0"/>
                <a:ea typeface="+mn-ea"/>
                <a:cs typeface="+mn-cs"/>
              </a:rPr>
              <a:t>CDMO</a:t>
            </a:r>
          </a:p>
        </p:txBody>
      </p:sp>
      <p:sp>
        <p:nvSpPr>
          <p:cNvPr id="99" name="Rectangle 98">
            <a:extLst>
              <a:ext uri="{FF2B5EF4-FFF2-40B4-BE49-F238E27FC236}">
                <a16:creationId xmlns:a16="http://schemas.microsoft.com/office/drawing/2014/main" id="{2A88041E-81D4-C84E-0248-21EDB6E07E14}"/>
              </a:ext>
            </a:extLst>
          </p:cNvPr>
          <p:cNvSpPr/>
          <p:nvPr/>
        </p:nvSpPr>
        <p:spPr>
          <a:xfrm>
            <a:off x="1745624" y="3691595"/>
            <a:ext cx="72000" cy="72000"/>
          </a:xfrm>
          <a:prstGeom prst="rect">
            <a:avLst/>
          </a:prstGeom>
          <a:solidFill>
            <a:srgbClr val="ABD29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0" name="Rectangle 99">
            <a:extLst>
              <a:ext uri="{FF2B5EF4-FFF2-40B4-BE49-F238E27FC236}">
                <a16:creationId xmlns:a16="http://schemas.microsoft.com/office/drawing/2014/main" id="{C6DBA584-DCA7-ABA4-422E-11E1D706A9B1}"/>
              </a:ext>
            </a:extLst>
          </p:cNvPr>
          <p:cNvSpPr/>
          <p:nvPr/>
        </p:nvSpPr>
        <p:spPr>
          <a:xfrm>
            <a:off x="2377750" y="3691595"/>
            <a:ext cx="72000" cy="72000"/>
          </a:xfrm>
          <a:prstGeom prst="rect">
            <a:avLst/>
          </a:prstGeom>
          <a:solidFill>
            <a:srgbClr val="C0CFB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1" name="Rectangle 100">
            <a:extLst>
              <a:ext uri="{FF2B5EF4-FFF2-40B4-BE49-F238E27FC236}">
                <a16:creationId xmlns:a16="http://schemas.microsoft.com/office/drawing/2014/main" id="{69770E86-2BA9-933D-AF41-AAD10409C901}"/>
              </a:ext>
            </a:extLst>
          </p:cNvPr>
          <p:cNvSpPr/>
          <p:nvPr/>
        </p:nvSpPr>
        <p:spPr>
          <a:xfrm>
            <a:off x="3310331" y="3691595"/>
            <a:ext cx="72000" cy="72000"/>
          </a:xfrm>
          <a:prstGeom prst="rect">
            <a:avLst/>
          </a:prstGeom>
          <a:solidFill>
            <a:srgbClr val="E4F1D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39" name="Trapezoid 138">
            <a:extLst>
              <a:ext uri="{FF2B5EF4-FFF2-40B4-BE49-F238E27FC236}">
                <a16:creationId xmlns:a16="http://schemas.microsoft.com/office/drawing/2014/main" id="{29BEFF05-EAB0-557E-4370-40B7A263A55C}"/>
              </a:ext>
            </a:extLst>
          </p:cNvPr>
          <p:cNvSpPr/>
          <p:nvPr/>
        </p:nvSpPr>
        <p:spPr bwMode="gray">
          <a:xfrm rot="16200000" flipH="1">
            <a:off x="3738059" y="3696374"/>
            <a:ext cx="4963033" cy="464944"/>
          </a:xfrm>
          <a:prstGeom prst="trapezoid">
            <a:avLst>
              <a:gd name="adj" fmla="val 97264"/>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a:solidFill>
                <a:schemeClr val="tx1"/>
              </a:solidFill>
            </a:endParaRPr>
          </a:p>
        </p:txBody>
      </p:sp>
      <p:sp>
        <p:nvSpPr>
          <p:cNvPr id="140" name="Rectangle 139">
            <a:extLst>
              <a:ext uri="{FF2B5EF4-FFF2-40B4-BE49-F238E27FC236}">
                <a16:creationId xmlns:a16="http://schemas.microsoft.com/office/drawing/2014/main" id="{112D5E9A-7187-CD9D-E15B-165C9F632C36}"/>
              </a:ext>
            </a:extLst>
          </p:cNvPr>
          <p:cNvSpPr/>
          <p:nvPr/>
        </p:nvSpPr>
        <p:spPr>
          <a:xfrm>
            <a:off x="6640587" y="1306688"/>
            <a:ext cx="4976439" cy="33473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rgbClr val="404040"/>
                </a:solidFill>
                <a:effectLst/>
                <a:uLnTx/>
                <a:uFillTx/>
                <a:latin typeface="Segoe UI"/>
                <a:ea typeface="+mn-ea"/>
                <a:cs typeface="+mn-cs"/>
              </a:rPr>
              <a:t>Capital raise by transaction within sub-sector for FY25 (INR Crore)</a:t>
            </a:r>
          </a:p>
        </p:txBody>
      </p:sp>
      <p:grpSp>
        <p:nvGrpSpPr>
          <p:cNvPr id="23" name="Group 22">
            <a:extLst>
              <a:ext uri="{FF2B5EF4-FFF2-40B4-BE49-F238E27FC236}">
                <a16:creationId xmlns:a16="http://schemas.microsoft.com/office/drawing/2014/main" id="{026FFAD2-DE2F-E9C1-2F3D-6C7E7AB801D9}"/>
              </a:ext>
            </a:extLst>
          </p:cNvPr>
          <p:cNvGrpSpPr/>
          <p:nvPr/>
        </p:nvGrpSpPr>
        <p:grpSpPr>
          <a:xfrm>
            <a:off x="6580966" y="1676084"/>
            <a:ext cx="5208066" cy="3475983"/>
            <a:chOff x="6497023" y="1676084"/>
            <a:chExt cx="5293530" cy="3719444"/>
          </a:xfrm>
        </p:grpSpPr>
        <p:grpSp>
          <p:nvGrpSpPr>
            <p:cNvPr id="8" name="Group 7">
              <a:extLst>
                <a:ext uri="{FF2B5EF4-FFF2-40B4-BE49-F238E27FC236}">
                  <a16:creationId xmlns:a16="http://schemas.microsoft.com/office/drawing/2014/main" id="{41E17EF5-98DA-2220-2160-9E2F4A14376D}"/>
                </a:ext>
              </a:extLst>
            </p:cNvPr>
            <p:cNvGrpSpPr/>
            <p:nvPr/>
          </p:nvGrpSpPr>
          <p:grpSpPr>
            <a:xfrm>
              <a:off x="6497023" y="1717259"/>
              <a:ext cx="2627595" cy="1875940"/>
              <a:chOff x="6609826" y="1786022"/>
              <a:chExt cx="2894400" cy="2143416"/>
            </a:xfrm>
          </p:grpSpPr>
          <p:graphicFrame>
            <p:nvGraphicFramePr>
              <p:cNvPr id="144" name="Chart 143">
                <a:extLst>
                  <a:ext uri="{FF2B5EF4-FFF2-40B4-BE49-F238E27FC236}">
                    <a16:creationId xmlns:a16="http://schemas.microsoft.com/office/drawing/2014/main" id="{827EEA32-739E-F12C-DF8C-B2601D1C14EC}"/>
                  </a:ext>
                </a:extLst>
              </p:cNvPr>
              <p:cNvGraphicFramePr>
                <a:graphicFrameLocks/>
              </p:cNvGraphicFramePr>
              <p:nvPr/>
            </p:nvGraphicFramePr>
            <p:xfrm>
              <a:off x="6609826" y="1999838"/>
              <a:ext cx="2894400" cy="1929600"/>
            </p:xfrm>
            <a:graphic>
              <a:graphicData uri="http://schemas.openxmlformats.org/drawingml/2006/chart">
                <c:chart xmlns:c="http://schemas.openxmlformats.org/drawingml/2006/chart" xmlns:r="http://schemas.openxmlformats.org/officeDocument/2006/relationships" r:id="rId6"/>
              </a:graphicData>
            </a:graphic>
          </p:graphicFrame>
          <p:sp>
            <p:nvSpPr>
              <p:cNvPr id="108" name="Oval 107">
                <a:extLst>
                  <a:ext uri="{FF2B5EF4-FFF2-40B4-BE49-F238E27FC236}">
                    <a16:creationId xmlns:a16="http://schemas.microsoft.com/office/drawing/2014/main" id="{7EC1340A-BDC0-3179-A29E-7AA08CCAB66C}"/>
                  </a:ext>
                </a:extLst>
              </p:cNvPr>
              <p:cNvSpPr/>
              <p:nvPr/>
            </p:nvSpPr>
            <p:spPr>
              <a:xfrm>
                <a:off x="7632408" y="2520568"/>
                <a:ext cx="823773" cy="894558"/>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sz="800">
                  <a:solidFill>
                    <a:schemeClr val="tx2"/>
                  </a:solidFill>
                </a:endParaRPr>
              </a:p>
            </p:txBody>
          </p:sp>
          <p:sp>
            <p:nvSpPr>
              <p:cNvPr id="122" name="TextBox 121">
                <a:extLst>
                  <a:ext uri="{FF2B5EF4-FFF2-40B4-BE49-F238E27FC236}">
                    <a16:creationId xmlns:a16="http://schemas.microsoft.com/office/drawing/2014/main" id="{A7D3CBD1-ECB8-115B-6878-34AABC194FDF}"/>
                  </a:ext>
                </a:extLst>
              </p:cNvPr>
              <p:cNvSpPr txBox="1"/>
              <p:nvPr/>
            </p:nvSpPr>
            <p:spPr>
              <a:xfrm>
                <a:off x="7191973" y="2745696"/>
                <a:ext cx="1716066" cy="369332"/>
              </a:xfrm>
              <a:prstGeom prst="rect">
                <a:avLst/>
              </a:prstGeom>
              <a:noFill/>
            </p:spPr>
            <p:txBody>
              <a:bodyPr wrap="square" rtlCol="0">
                <a:spAutoFit/>
              </a:bodyPr>
              <a:lstStyle/>
              <a:p>
                <a:pPr algn="ctr"/>
                <a:r>
                  <a:rPr lang="en-IN" sz="900" b="1" dirty="0"/>
                  <a:t>FY25: </a:t>
                </a:r>
              </a:p>
              <a:p>
                <a:pPr algn="ctr"/>
                <a:r>
                  <a:rPr lang="en-IN" sz="900" b="1" dirty="0"/>
                  <a:t>INR 1,643 Cr</a:t>
                </a:r>
              </a:p>
            </p:txBody>
          </p:sp>
          <p:sp>
            <p:nvSpPr>
              <p:cNvPr id="141" name="Rectangle 140">
                <a:extLst>
                  <a:ext uri="{FF2B5EF4-FFF2-40B4-BE49-F238E27FC236}">
                    <a16:creationId xmlns:a16="http://schemas.microsoft.com/office/drawing/2014/main" id="{B72E012B-B140-8818-5CCD-F3575375CB58}"/>
                  </a:ext>
                </a:extLst>
              </p:cNvPr>
              <p:cNvSpPr/>
              <p:nvPr/>
            </p:nvSpPr>
            <p:spPr>
              <a:xfrm>
                <a:off x="7119262" y="1786022"/>
                <a:ext cx="1770345" cy="23603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1" u="none" strike="noStrike" kern="1200" cap="none" spc="0" normalizeH="0" baseline="0" noProof="0">
                    <a:ln>
                      <a:noFill/>
                    </a:ln>
                    <a:solidFill>
                      <a:srgbClr val="404040"/>
                    </a:solidFill>
                    <a:effectLst/>
                    <a:uLnTx/>
                    <a:uFillTx/>
                    <a:latin typeface="Segoe UI"/>
                    <a:ea typeface="+mn-ea"/>
                    <a:cs typeface="+mn-cs"/>
                  </a:rPr>
                  <a:t>API</a:t>
                </a:r>
              </a:p>
            </p:txBody>
          </p:sp>
        </p:grpSp>
        <p:grpSp>
          <p:nvGrpSpPr>
            <p:cNvPr id="14" name="Group 13">
              <a:extLst>
                <a:ext uri="{FF2B5EF4-FFF2-40B4-BE49-F238E27FC236}">
                  <a16:creationId xmlns:a16="http://schemas.microsoft.com/office/drawing/2014/main" id="{CA8DDA08-3ABD-DAA2-DE94-FC780A0CB332}"/>
                </a:ext>
              </a:extLst>
            </p:cNvPr>
            <p:cNvGrpSpPr/>
            <p:nvPr/>
          </p:nvGrpSpPr>
          <p:grpSpPr>
            <a:xfrm>
              <a:off x="9162957" y="1676084"/>
              <a:ext cx="2627596" cy="1864899"/>
              <a:chOff x="9301417" y="1786022"/>
              <a:chExt cx="3001100" cy="2048557"/>
            </a:xfrm>
          </p:grpSpPr>
          <p:graphicFrame>
            <p:nvGraphicFramePr>
              <p:cNvPr id="132" name="Chart 131">
                <a:extLst>
                  <a:ext uri="{FF2B5EF4-FFF2-40B4-BE49-F238E27FC236}">
                    <a16:creationId xmlns:a16="http://schemas.microsoft.com/office/drawing/2014/main" id="{692351A4-1395-549A-9399-BD26205FCE33}"/>
                  </a:ext>
                </a:extLst>
              </p:cNvPr>
              <p:cNvGraphicFramePr/>
              <p:nvPr/>
            </p:nvGraphicFramePr>
            <p:xfrm>
              <a:off x="9301417" y="1999838"/>
              <a:ext cx="3001100" cy="1834741"/>
            </p:xfrm>
            <a:graphic>
              <a:graphicData uri="http://schemas.openxmlformats.org/drawingml/2006/chart">
                <c:chart xmlns:c="http://schemas.openxmlformats.org/drawingml/2006/chart" xmlns:r="http://schemas.openxmlformats.org/officeDocument/2006/relationships" r:id="rId7"/>
              </a:graphicData>
            </a:graphic>
          </p:graphicFrame>
          <p:sp>
            <p:nvSpPr>
              <p:cNvPr id="133" name="Oval 132">
                <a:extLst>
                  <a:ext uri="{FF2B5EF4-FFF2-40B4-BE49-F238E27FC236}">
                    <a16:creationId xmlns:a16="http://schemas.microsoft.com/office/drawing/2014/main" id="{10535328-03E2-20BA-F38E-4B8D846454FD}"/>
                  </a:ext>
                </a:extLst>
              </p:cNvPr>
              <p:cNvSpPr/>
              <p:nvPr/>
            </p:nvSpPr>
            <p:spPr>
              <a:xfrm>
                <a:off x="10384516" y="2490667"/>
                <a:ext cx="850143" cy="85014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sz="800">
                  <a:solidFill>
                    <a:schemeClr val="tx2"/>
                  </a:solidFill>
                </a:endParaRPr>
              </a:p>
            </p:txBody>
          </p:sp>
          <p:sp>
            <p:nvSpPr>
              <p:cNvPr id="134" name="TextBox 133">
                <a:extLst>
                  <a:ext uri="{FF2B5EF4-FFF2-40B4-BE49-F238E27FC236}">
                    <a16:creationId xmlns:a16="http://schemas.microsoft.com/office/drawing/2014/main" id="{3A2AC29A-FBC0-9AFE-C711-45130637CD97}"/>
                  </a:ext>
                </a:extLst>
              </p:cNvPr>
              <p:cNvSpPr txBox="1"/>
              <p:nvPr/>
            </p:nvSpPr>
            <p:spPr>
              <a:xfrm>
                <a:off x="10069818" y="2685489"/>
                <a:ext cx="1474653" cy="434120"/>
              </a:xfrm>
              <a:prstGeom prst="rect">
                <a:avLst/>
              </a:prstGeom>
              <a:noFill/>
            </p:spPr>
            <p:txBody>
              <a:bodyPr wrap="square" rtlCol="0">
                <a:spAutoFit/>
              </a:bodyPr>
              <a:lstStyle/>
              <a:p>
                <a:pPr algn="ctr"/>
                <a:r>
                  <a:rPr lang="en-IN" sz="900" b="1" dirty="0"/>
                  <a:t>FY25: </a:t>
                </a:r>
              </a:p>
              <a:p>
                <a:pPr algn="ctr"/>
                <a:r>
                  <a:rPr lang="en-IN" sz="900" b="1" dirty="0"/>
                  <a:t>INR 23,090 Cr</a:t>
                </a:r>
              </a:p>
            </p:txBody>
          </p:sp>
          <p:sp>
            <p:nvSpPr>
              <p:cNvPr id="142" name="Rectangle 141">
                <a:extLst>
                  <a:ext uri="{FF2B5EF4-FFF2-40B4-BE49-F238E27FC236}">
                    <a16:creationId xmlns:a16="http://schemas.microsoft.com/office/drawing/2014/main" id="{11D20C41-D455-1A51-BBEB-D6509BC51C17}"/>
                  </a:ext>
                </a:extLst>
              </p:cNvPr>
              <p:cNvSpPr/>
              <p:nvPr/>
            </p:nvSpPr>
            <p:spPr>
              <a:xfrm>
                <a:off x="9863000" y="1786022"/>
                <a:ext cx="1770345" cy="23603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1" u="none" strike="noStrike" kern="1200" cap="none" spc="0" normalizeH="0" baseline="0" noProof="0">
                    <a:ln>
                      <a:noFill/>
                    </a:ln>
                    <a:solidFill>
                      <a:srgbClr val="404040"/>
                    </a:solidFill>
                    <a:effectLst/>
                    <a:uLnTx/>
                    <a:uFillTx/>
                    <a:latin typeface="Segoe UI"/>
                    <a:ea typeface="+mn-ea"/>
                    <a:cs typeface="+mn-cs"/>
                  </a:rPr>
                  <a:t>Formulations</a:t>
                </a:r>
              </a:p>
            </p:txBody>
          </p:sp>
        </p:grpSp>
        <p:grpSp>
          <p:nvGrpSpPr>
            <p:cNvPr id="19" name="Group 18">
              <a:extLst>
                <a:ext uri="{FF2B5EF4-FFF2-40B4-BE49-F238E27FC236}">
                  <a16:creationId xmlns:a16="http://schemas.microsoft.com/office/drawing/2014/main" id="{BF5E1F33-D876-3368-9F67-3692E8250A02}"/>
                </a:ext>
              </a:extLst>
            </p:cNvPr>
            <p:cNvGrpSpPr/>
            <p:nvPr/>
          </p:nvGrpSpPr>
          <p:grpSpPr>
            <a:xfrm>
              <a:off x="7818781" y="3384379"/>
              <a:ext cx="2627595" cy="2011149"/>
              <a:chOff x="7907673" y="3929911"/>
              <a:chExt cx="2894400" cy="2252228"/>
            </a:xfrm>
          </p:grpSpPr>
          <p:graphicFrame>
            <p:nvGraphicFramePr>
              <p:cNvPr id="145" name="Chart 144">
                <a:extLst>
                  <a:ext uri="{FF2B5EF4-FFF2-40B4-BE49-F238E27FC236}">
                    <a16:creationId xmlns:a16="http://schemas.microsoft.com/office/drawing/2014/main" id="{09A42042-5E0C-D59F-BC77-10D404D5C0B4}"/>
                  </a:ext>
                </a:extLst>
              </p:cNvPr>
              <p:cNvGraphicFramePr>
                <a:graphicFrameLocks/>
              </p:cNvGraphicFramePr>
              <p:nvPr/>
            </p:nvGraphicFramePr>
            <p:xfrm>
              <a:off x="7907673" y="4252539"/>
              <a:ext cx="2894400" cy="1929600"/>
            </p:xfrm>
            <a:graphic>
              <a:graphicData uri="http://schemas.openxmlformats.org/drawingml/2006/chart">
                <c:chart xmlns:c="http://schemas.openxmlformats.org/drawingml/2006/chart" xmlns:r="http://schemas.openxmlformats.org/officeDocument/2006/relationships" r:id="rId8"/>
              </a:graphicData>
            </a:graphic>
          </p:graphicFrame>
          <p:sp>
            <p:nvSpPr>
              <p:cNvPr id="137" name="Oval 136">
                <a:extLst>
                  <a:ext uri="{FF2B5EF4-FFF2-40B4-BE49-F238E27FC236}">
                    <a16:creationId xmlns:a16="http://schemas.microsoft.com/office/drawing/2014/main" id="{CD8532E5-5215-2CD1-A737-A70F48134CA1}"/>
                  </a:ext>
                </a:extLst>
              </p:cNvPr>
              <p:cNvSpPr/>
              <p:nvPr/>
            </p:nvSpPr>
            <p:spPr>
              <a:xfrm>
                <a:off x="8931287" y="4792290"/>
                <a:ext cx="850142" cy="85014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sz="800">
                  <a:solidFill>
                    <a:schemeClr val="tx2"/>
                  </a:solidFill>
                </a:endParaRPr>
              </a:p>
            </p:txBody>
          </p:sp>
          <p:sp>
            <p:nvSpPr>
              <p:cNvPr id="138" name="TextBox 137">
                <a:extLst>
                  <a:ext uri="{FF2B5EF4-FFF2-40B4-BE49-F238E27FC236}">
                    <a16:creationId xmlns:a16="http://schemas.microsoft.com/office/drawing/2014/main" id="{0A9E1C11-1ADD-B358-D990-857CE43B36D5}"/>
                  </a:ext>
                </a:extLst>
              </p:cNvPr>
              <p:cNvSpPr txBox="1"/>
              <p:nvPr/>
            </p:nvSpPr>
            <p:spPr>
              <a:xfrm>
                <a:off x="8492224" y="4989745"/>
                <a:ext cx="1716066" cy="369332"/>
              </a:xfrm>
              <a:prstGeom prst="rect">
                <a:avLst/>
              </a:prstGeom>
              <a:noFill/>
            </p:spPr>
            <p:txBody>
              <a:bodyPr wrap="square" rtlCol="0">
                <a:spAutoFit/>
              </a:bodyPr>
              <a:lstStyle/>
              <a:p>
                <a:pPr algn="ctr"/>
                <a:r>
                  <a:rPr lang="en-IN" sz="900" b="1" dirty="0"/>
                  <a:t>FY25: </a:t>
                </a:r>
              </a:p>
              <a:p>
                <a:pPr algn="ctr"/>
                <a:r>
                  <a:rPr lang="en-IN" sz="900" b="1" dirty="0"/>
                  <a:t>INR 6,960 Cr</a:t>
                </a:r>
              </a:p>
            </p:txBody>
          </p:sp>
          <p:sp>
            <p:nvSpPr>
              <p:cNvPr id="143" name="Rectangle 142">
                <a:extLst>
                  <a:ext uri="{FF2B5EF4-FFF2-40B4-BE49-F238E27FC236}">
                    <a16:creationId xmlns:a16="http://schemas.microsoft.com/office/drawing/2014/main" id="{BEAD9012-18B2-3CB4-DA89-4615EC33AA47}"/>
                  </a:ext>
                </a:extLst>
              </p:cNvPr>
              <p:cNvSpPr/>
              <p:nvPr/>
            </p:nvSpPr>
            <p:spPr>
              <a:xfrm>
                <a:off x="8416244" y="3929911"/>
                <a:ext cx="1770345" cy="23603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1" u="none" strike="noStrike" kern="1200" cap="none" spc="0" normalizeH="0" baseline="0" noProof="0">
                    <a:ln>
                      <a:noFill/>
                    </a:ln>
                    <a:solidFill>
                      <a:srgbClr val="404040"/>
                    </a:solidFill>
                    <a:effectLst/>
                    <a:uLnTx/>
                    <a:uFillTx/>
                    <a:latin typeface="Segoe UI"/>
                    <a:ea typeface="+mn-ea"/>
                    <a:cs typeface="+mn-cs"/>
                  </a:rPr>
                  <a:t>CDMO</a:t>
                </a:r>
              </a:p>
            </p:txBody>
          </p:sp>
        </p:grpSp>
      </p:grpSp>
      <p:sp>
        <p:nvSpPr>
          <p:cNvPr id="146" name="TextBox 145">
            <a:extLst>
              <a:ext uri="{FF2B5EF4-FFF2-40B4-BE49-F238E27FC236}">
                <a16:creationId xmlns:a16="http://schemas.microsoft.com/office/drawing/2014/main" id="{0BCDD43A-2878-95BA-07A6-08763BB011B2}"/>
              </a:ext>
            </a:extLst>
          </p:cNvPr>
          <p:cNvSpPr txBox="1"/>
          <p:nvPr/>
        </p:nvSpPr>
        <p:spPr>
          <a:xfrm>
            <a:off x="8165157" y="4972606"/>
            <a:ext cx="92160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u="none" strike="noStrike" kern="1200" cap="none" spc="0" normalizeH="0" baseline="0" noProof="0">
                <a:ln>
                  <a:noFill/>
                </a:ln>
                <a:solidFill>
                  <a:srgbClr val="404040"/>
                </a:solidFill>
                <a:effectLst/>
                <a:uLnTx/>
                <a:uFillTx/>
                <a:latin typeface="Arial Narrow" panose="020B0606020202030204" pitchFamily="34" charset="0"/>
                <a:ea typeface="+mn-ea"/>
                <a:cs typeface="+mn-cs"/>
              </a:rPr>
              <a:t>Private Equity</a:t>
            </a:r>
          </a:p>
        </p:txBody>
      </p:sp>
      <p:sp>
        <p:nvSpPr>
          <p:cNvPr id="147" name="TextBox 146">
            <a:extLst>
              <a:ext uri="{FF2B5EF4-FFF2-40B4-BE49-F238E27FC236}">
                <a16:creationId xmlns:a16="http://schemas.microsoft.com/office/drawing/2014/main" id="{6FF8A1A9-1D52-4E05-926D-517E3C135323}"/>
              </a:ext>
            </a:extLst>
          </p:cNvPr>
          <p:cNvSpPr txBox="1"/>
          <p:nvPr/>
        </p:nvSpPr>
        <p:spPr>
          <a:xfrm>
            <a:off x="8953086" y="4972665"/>
            <a:ext cx="92160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u="none" strike="noStrike" kern="1200" cap="none" spc="0" normalizeH="0" baseline="0" noProof="0" dirty="0">
                <a:ln>
                  <a:noFill/>
                </a:ln>
                <a:solidFill>
                  <a:srgbClr val="404040"/>
                </a:solidFill>
                <a:effectLst/>
                <a:uLnTx/>
                <a:uFillTx/>
                <a:latin typeface="Arial Narrow" panose="020B0606020202030204" pitchFamily="34" charset="0"/>
                <a:ea typeface="+mn-ea"/>
                <a:cs typeface="+mn-cs"/>
              </a:rPr>
              <a:t>M&amp;A</a:t>
            </a:r>
          </a:p>
        </p:txBody>
      </p:sp>
      <p:sp>
        <p:nvSpPr>
          <p:cNvPr id="148" name="TextBox 147">
            <a:extLst>
              <a:ext uri="{FF2B5EF4-FFF2-40B4-BE49-F238E27FC236}">
                <a16:creationId xmlns:a16="http://schemas.microsoft.com/office/drawing/2014/main" id="{AB765008-2898-8243-11C2-E8986B32CE49}"/>
              </a:ext>
            </a:extLst>
          </p:cNvPr>
          <p:cNvSpPr txBox="1"/>
          <p:nvPr/>
        </p:nvSpPr>
        <p:spPr>
          <a:xfrm>
            <a:off x="9639720" y="4972606"/>
            <a:ext cx="92160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u="none" strike="noStrike" kern="1200" cap="none" spc="0" normalizeH="0" baseline="0" noProof="0">
                <a:ln>
                  <a:noFill/>
                </a:ln>
                <a:solidFill>
                  <a:srgbClr val="404040"/>
                </a:solidFill>
                <a:effectLst/>
                <a:uLnTx/>
                <a:uFillTx/>
                <a:latin typeface="Arial Narrow" panose="020B0606020202030204" pitchFamily="34" charset="0"/>
                <a:ea typeface="+mn-ea"/>
                <a:cs typeface="+mn-cs"/>
              </a:rPr>
              <a:t>ECM</a:t>
            </a:r>
          </a:p>
        </p:txBody>
      </p:sp>
      <p:sp>
        <p:nvSpPr>
          <p:cNvPr id="149" name="Rectangle 148">
            <a:extLst>
              <a:ext uri="{FF2B5EF4-FFF2-40B4-BE49-F238E27FC236}">
                <a16:creationId xmlns:a16="http://schemas.microsoft.com/office/drawing/2014/main" id="{FE5B6851-7BA0-486E-70B2-8052CF6CD23C}"/>
              </a:ext>
            </a:extLst>
          </p:cNvPr>
          <p:cNvSpPr/>
          <p:nvPr/>
        </p:nvSpPr>
        <p:spPr>
          <a:xfrm>
            <a:off x="8122895" y="5060456"/>
            <a:ext cx="72000" cy="72000"/>
          </a:xfrm>
          <a:prstGeom prst="rect">
            <a:avLst/>
          </a:prstGeom>
          <a:solidFill>
            <a:srgbClr val="ABD29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50" name="Rectangle 149">
            <a:extLst>
              <a:ext uri="{FF2B5EF4-FFF2-40B4-BE49-F238E27FC236}">
                <a16:creationId xmlns:a16="http://schemas.microsoft.com/office/drawing/2014/main" id="{F8DA19B0-E266-DD71-369D-1B741897FD88}"/>
              </a:ext>
            </a:extLst>
          </p:cNvPr>
          <p:cNvSpPr/>
          <p:nvPr/>
        </p:nvSpPr>
        <p:spPr>
          <a:xfrm>
            <a:off x="9133848" y="5060456"/>
            <a:ext cx="72000" cy="72000"/>
          </a:xfrm>
          <a:prstGeom prst="rect">
            <a:avLst/>
          </a:prstGeom>
          <a:solidFill>
            <a:srgbClr val="C0CFB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51" name="Rectangle 150">
            <a:extLst>
              <a:ext uri="{FF2B5EF4-FFF2-40B4-BE49-F238E27FC236}">
                <a16:creationId xmlns:a16="http://schemas.microsoft.com/office/drawing/2014/main" id="{DC12B82E-05E6-7B2B-109F-68884FF1EA2E}"/>
              </a:ext>
            </a:extLst>
          </p:cNvPr>
          <p:cNvSpPr/>
          <p:nvPr/>
        </p:nvSpPr>
        <p:spPr>
          <a:xfrm>
            <a:off x="9687602" y="5060456"/>
            <a:ext cx="72000" cy="72000"/>
          </a:xfrm>
          <a:prstGeom prst="rect">
            <a:avLst/>
          </a:prstGeom>
          <a:solidFill>
            <a:srgbClr val="E4F1D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 name="TextBox 4">
            <a:extLst>
              <a:ext uri="{FF2B5EF4-FFF2-40B4-BE49-F238E27FC236}">
                <a16:creationId xmlns:a16="http://schemas.microsoft.com/office/drawing/2014/main" id="{FEA25DEB-C040-26A8-BB22-E6EED3F04688}"/>
              </a:ext>
            </a:extLst>
          </p:cNvPr>
          <p:cNvSpPr txBox="1"/>
          <p:nvPr/>
        </p:nvSpPr>
        <p:spPr>
          <a:xfrm>
            <a:off x="6693202" y="5245206"/>
            <a:ext cx="5292992" cy="1217834"/>
          </a:xfrm>
          <a:prstGeom prst="rect">
            <a:avLst/>
          </a:prstGeom>
          <a:solidFill>
            <a:schemeClr val="accent4"/>
          </a:solidFill>
        </p:spPr>
        <p:txBody>
          <a:bodyPr wrap="square" rtlCol="0">
            <a:spAutoFit/>
          </a:bodyPr>
          <a:lstStyle/>
          <a:p>
            <a:pPr marL="171450" indent="-171450">
              <a:lnSpc>
                <a:spcPct val="150000"/>
              </a:lnSpc>
              <a:buFont typeface="Wingdings" panose="05000000000000000000" pitchFamily="2" charset="2"/>
              <a:buChar char="ü"/>
            </a:pPr>
            <a:r>
              <a:rPr lang="en-US" sz="1000" dirty="0"/>
              <a:t>Rising prominence of CDMO – captured 25% share of total capital raised; stellar listing of Sai Lifesciences and Anthem Biosciences</a:t>
            </a:r>
          </a:p>
          <a:p>
            <a:pPr marL="171450" indent="-171450">
              <a:lnSpc>
                <a:spcPct val="150000"/>
              </a:lnSpc>
              <a:buFont typeface="Wingdings" panose="05000000000000000000" pitchFamily="2" charset="2"/>
              <a:buChar char="ü"/>
            </a:pPr>
            <a:r>
              <a:rPr lang="en-US" sz="1000" dirty="0"/>
              <a:t>Formulations continues to dominate the landscape driven primarily by consolidation in domestic branded formulations segment</a:t>
            </a:r>
          </a:p>
          <a:p>
            <a:pPr marL="171450" indent="-171450">
              <a:lnSpc>
                <a:spcPct val="150000"/>
              </a:lnSpc>
              <a:buFont typeface="Wingdings" panose="05000000000000000000" pitchFamily="2" charset="2"/>
              <a:buChar char="ü"/>
            </a:pPr>
            <a:r>
              <a:rPr lang="en-IN" sz="1000" dirty="0"/>
              <a:t>Select activity in API sector – increased transaction size and falling deal count</a:t>
            </a:r>
          </a:p>
        </p:txBody>
      </p:sp>
      <p:graphicFrame>
        <p:nvGraphicFramePr>
          <p:cNvPr id="24" name="Chart 23">
            <a:extLst>
              <a:ext uri="{FF2B5EF4-FFF2-40B4-BE49-F238E27FC236}">
                <a16:creationId xmlns:a16="http://schemas.microsoft.com/office/drawing/2014/main" id="{70F26786-8498-B566-8BB0-1670E128CB8E}"/>
              </a:ext>
            </a:extLst>
          </p:cNvPr>
          <p:cNvGraphicFramePr/>
          <p:nvPr>
            <p:extLst>
              <p:ext uri="{D42A27DB-BD31-4B8C-83A1-F6EECF244321}">
                <p14:modId xmlns:p14="http://schemas.microsoft.com/office/powerpoint/2010/main" val="3617207073"/>
              </p:ext>
            </p:extLst>
          </p:nvPr>
        </p:nvGraphicFramePr>
        <p:xfrm>
          <a:off x="1549747" y="4359115"/>
          <a:ext cx="2893512" cy="1929008"/>
        </p:xfrm>
        <a:graphic>
          <a:graphicData uri="http://schemas.openxmlformats.org/drawingml/2006/chart">
            <c:chart xmlns:c="http://schemas.openxmlformats.org/drawingml/2006/chart" xmlns:r="http://schemas.openxmlformats.org/officeDocument/2006/relationships" r:id="rId9"/>
          </a:graphicData>
        </a:graphic>
      </p:graphicFrame>
      <p:sp>
        <p:nvSpPr>
          <p:cNvPr id="25" name="Oval 24">
            <a:extLst>
              <a:ext uri="{FF2B5EF4-FFF2-40B4-BE49-F238E27FC236}">
                <a16:creationId xmlns:a16="http://schemas.microsoft.com/office/drawing/2014/main" id="{CE3B2332-3A90-44EB-221C-B7C126A84648}"/>
              </a:ext>
            </a:extLst>
          </p:cNvPr>
          <p:cNvSpPr/>
          <p:nvPr/>
        </p:nvSpPr>
        <p:spPr>
          <a:xfrm>
            <a:off x="2573873" y="4909656"/>
            <a:ext cx="850142" cy="85014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sz="800">
              <a:solidFill>
                <a:schemeClr val="tx2"/>
              </a:solidFill>
            </a:endParaRPr>
          </a:p>
        </p:txBody>
      </p:sp>
      <p:sp>
        <p:nvSpPr>
          <p:cNvPr id="26" name="TextBox 25">
            <a:extLst>
              <a:ext uri="{FF2B5EF4-FFF2-40B4-BE49-F238E27FC236}">
                <a16:creationId xmlns:a16="http://schemas.microsoft.com/office/drawing/2014/main" id="{78F0EF59-8C06-9A93-3BF0-C2C48F5DF4FD}"/>
              </a:ext>
            </a:extLst>
          </p:cNvPr>
          <p:cNvSpPr txBox="1"/>
          <p:nvPr/>
        </p:nvSpPr>
        <p:spPr>
          <a:xfrm>
            <a:off x="2138470" y="5136997"/>
            <a:ext cx="1716066" cy="369332"/>
          </a:xfrm>
          <a:prstGeom prst="rect">
            <a:avLst/>
          </a:prstGeom>
          <a:noFill/>
        </p:spPr>
        <p:txBody>
          <a:bodyPr wrap="square" rtlCol="0">
            <a:spAutoFit/>
          </a:bodyPr>
          <a:lstStyle/>
          <a:p>
            <a:pPr algn="ctr"/>
            <a:r>
              <a:rPr lang="en-IN" sz="900" b="1" dirty="0"/>
              <a:t>FY24: </a:t>
            </a:r>
          </a:p>
          <a:p>
            <a:pPr algn="ctr"/>
            <a:r>
              <a:rPr lang="en-IN" sz="900" b="1" dirty="0"/>
              <a:t>INR 22,172 Cr</a:t>
            </a:r>
          </a:p>
        </p:txBody>
      </p:sp>
      <p:graphicFrame>
        <p:nvGraphicFramePr>
          <p:cNvPr id="28" name="Chart 27">
            <a:extLst>
              <a:ext uri="{FF2B5EF4-FFF2-40B4-BE49-F238E27FC236}">
                <a16:creationId xmlns:a16="http://schemas.microsoft.com/office/drawing/2014/main" id="{CB652A69-0087-3500-24F1-1D7FD143A34F}"/>
              </a:ext>
            </a:extLst>
          </p:cNvPr>
          <p:cNvGraphicFramePr/>
          <p:nvPr>
            <p:extLst>
              <p:ext uri="{D42A27DB-BD31-4B8C-83A1-F6EECF244321}">
                <p14:modId xmlns:p14="http://schemas.microsoft.com/office/powerpoint/2010/main" val="1759597399"/>
              </p:ext>
            </p:extLst>
          </p:nvPr>
        </p:nvGraphicFramePr>
        <p:xfrm>
          <a:off x="1549747" y="1732954"/>
          <a:ext cx="2893512" cy="1929008"/>
        </p:xfrm>
        <a:graphic>
          <a:graphicData uri="http://schemas.openxmlformats.org/drawingml/2006/chart">
            <c:chart xmlns:c="http://schemas.openxmlformats.org/drawingml/2006/chart" xmlns:r="http://schemas.openxmlformats.org/officeDocument/2006/relationships" r:id="rId10"/>
          </a:graphicData>
        </a:graphic>
      </p:graphicFrame>
      <p:sp>
        <p:nvSpPr>
          <p:cNvPr id="29" name="Oval 28">
            <a:extLst>
              <a:ext uri="{FF2B5EF4-FFF2-40B4-BE49-F238E27FC236}">
                <a16:creationId xmlns:a16="http://schemas.microsoft.com/office/drawing/2014/main" id="{F82D6041-EA20-669E-ED77-DDB1E0838C2A}"/>
              </a:ext>
            </a:extLst>
          </p:cNvPr>
          <p:cNvSpPr/>
          <p:nvPr/>
        </p:nvSpPr>
        <p:spPr>
          <a:xfrm>
            <a:off x="2573873" y="2283495"/>
            <a:ext cx="850142" cy="85014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sz="800">
              <a:solidFill>
                <a:schemeClr val="tx2"/>
              </a:solidFill>
            </a:endParaRPr>
          </a:p>
        </p:txBody>
      </p:sp>
      <p:sp>
        <p:nvSpPr>
          <p:cNvPr id="30" name="TextBox 29">
            <a:extLst>
              <a:ext uri="{FF2B5EF4-FFF2-40B4-BE49-F238E27FC236}">
                <a16:creationId xmlns:a16="http://schemas.microsoft.com/office/drawing/2014/main" id="{C722E2A6-B40A-2914-E000-51C1D00B8DB5}"/>
              </a:ext>
            </a:extLst>
          </p:cNvPr>
          <p:cNvSpPr txBox="1"/>
          <p:nvPr/>
        </p:nvSpPr>
        <p:spPr>
          <a:xfrm>
            <a:off x="2138470" y="2510836"/>
            <a:ext cx="1716066" cy="369332"/>
          </a:xfrm>
          <a:prstGeom prst="rect">
            <a:avLst/>
          </a:prstGeom>
          <a:noFill/>
        </p:spPr>
        <p:txBody>
          <a:bodyPr wrap="square" rtlCol="0">
            <a:spAutoFit/>
          </a:bodyPr>
          <a:lstStyle/>
          <a:p>
            <a:pPr algn="ctr"/>
            <a:r>
              <a:rPr lang="en-IN" sz="900" b="1" dirty="0"/>
              <a:t>FY24: </a:t>
            </a:r>
          </a:p>
          <a:p>
            <a:pPr algn="ctr"/>
            <a:r>
              <a:rPr lang="en-IN" sz="900" b="1" dirty="0"/>
              <a:t>INR 22,172 Cr</a:t>
            </a:r>
          </a:p>
        </p:txBody>
      </p:sp>
    </p:spTree>
    <p:extLst>
      <p:ext uri="{BB962C8B-B14F-4D97-AF65-F5344CB8AC3E}">
        <p14:creationId xmlns:p14="http://schemas.microsoft.com/office/powerpoint/2010/main" val="8754039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4B1E81-4883-61A9-11AF-74E395365405}"/>
            </a:ext>
          </a:extLst>
        </p:cNvPr>
        <p:cNvGrpSpPr/>
        <p:nvPr/>
      </p:nvGrpSpPr>
      <p:grpSpPr>
        <a:xfrm>
          <a:off x="0" y="0"/>
          <a:ext cx="0" cy="0"/>
          <a:chOff x="0" y="0"/>
          <a:chExt cx="0" cy="0"/>
        </a:xfrm>
      </p:grpSpPr>
      <p:graphicFrame>
        <p:nvGraphicFramePr>
          <p:cNvPr id="12" name="Chart 11">
            <a:extLst>
              <a:ext uri="{FF2B5EF4-FFF2-40B4-BE49-F238E27FC236}">
                <a16:creationId xmlns:a16="http://schemas.microsoft.com/office/drawing/2014/main" id="{95341CAB-9FA4-E99E-F2A8-0F837F47D61A}"/>
              </a:ext>
            </a:extLst>
          </p:cNvPr>
          <p:cNvGraphicFramePr/>
          <p:nvPr/>
        </p:nvGraphicFramePr>
        <p:xfrm>
          <a:off x="7899734" y="4246120"/>
          <a:ext cx="2893512" cy="192900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Chart 8">
            <a:extLst>
              <a:ext uri="{FF2B5EF4-FFF2-40B4-BE49-F238E27FC236}">
                <a16:creationId xmlns:a16="http://schemas.microsoft.com/office/drawing/2014/main" id="{4FBE0F0C-BA59-8137-7846-CFF95FDA09EE}"/>
              </a:ext>
            </a:extLst>
          </p:cNvPr>
          <p:cNvGraphicFramePr/>
          <p:nvPr/>
        </p:nvGraphicFramePr>
        <p:xfrm>
          <a:off x="9301416" y="2009072"/>
          <a:ext cx="2893512" cy="192900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hart 7">
            <a:extLst>
              <a:ext uri="{FF2B5EF4-FFF2-40B4-BE49-F238E27FC236}">
                <a16:creationId xmlns:a16="http://schemas.microsoft.com/office/drawing/2014/main" id="{F1FCCEE8-960F-53A3-7B5B-311EC6CD9953}"/>
              </a:ext>
            </a:extLst>
          </p:cNvPr>
          <p:cNvGraphicFramePr/>
          <p:nvPr/>
        </p:nvGraphicFramePr>
        <p:xfrm>
          <a:off x="6609363" y="1999838"/>
          <a:ext cx="2893512" cy="1929008"/>
        </p:xfrm>
        <a:graphic>
          <a:graphicData uri="http://schemas.openxmlformats.org/drawingml/2006/chart">
            <c:chart xmlns:c="http://schemas.openxmlformats.org/drawingml/2006/chart" xmlns:r="http://schemas.openxmlformats.org/officeDocument/2006/relationships" r:id="rId4"/>
          </a:graphicData>
        </a:graphic>
      </p:graphicFrame>
      <p:sp>
        <p:nvSpPr>
          <p:cNvPr id="60" name="TextBox 59">
            <a:extLst>
              <a:ext uri="{FF2B5EF4-FFF2-40B4-BE49-F238E27FC236}">
                <a16:creationId xmlns:a16="http://schemas.microsoft.com/office/drawing/2014/main" id="{3F021EAE-A6B2-797D-9D56-2828E14139D7}"/>
              </a:ext>
            </a:extLst>
          </p:cNvPr>
          <p:cNvSpPr txBox="1"/>
          <p:nvPr/>
        </p:nvSpPr>
        <p:spPr>
          <a:xfrm>
            <a:off x="357186" y="863060"/>
            <a:ext cx="5441379" cy="357771"/>
          </a:xfrm>
          <a:prstGeom prst="rect">
            <a:avLst/>
          </a:prstGeom>
          <a:noFill/>
        </p:spPr>
        <p:txBody>
          <a:bodyPr wrap="square" lIns="0" tIns="0" rIns="0" bIns="0" anchor="ctr">
            <a:noAutofit/>
          </a:bodyPr>
          <a:lstStyle/>
          <a:p>
            <a:pPr marL="0" marR="0" lvl="0" indent="0" algn="l" defTabSz="958983"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385723"/>
                </a:solidFill>
                <a:effectLst/>
                <a:uLnTx/>
                <a:uFillTx/>
                <a:latin typeface="Segoe UI"/>
                <a:ea typeface="Verdana" panose="020B0604030504040204" pitchFamily="34" charset="0"/>
                <a:cs typeface="Verdana" panose="020B0604030504040204" pitchFamily="34" charset="0"/>
              </a:rPr>
              <a:t>Sub-sectors in healthcare: Fundraise breakdown</a:t>
            </a:r>
          </a:p>
        </p:txBody>
      </p:sp>
      <p:sp>
        <p:nvSpPr>
          <p:cNvPr id="2" name="Title 1">
            <a:extLst>
              <a:ext uri="{FF2B5EF4-FFF2-40B4-BE49-F238E27FC236}">
                <a16:creationId xmlns:a16="http://schemas.microsoft.com/office/drawing/2014/main" id="{3D801B67-F3A6-678F-4738-95C67827ED36}"/>
              </a:ext>
            </a:extLst>
          </p:cNvPr>
          <p:cNvSpPr>
            <a:spLocks noGrp="1"/>
          </p:cNvSpPr>
          <p:nvPr>
            <p:ph type="title"/>
          </p:nvPr>
        </p:nvSpPr>
        <p:spPr>
          <a:xfrm>
            <a:off x="344487" y="138940"/>
            <a:ext cx="11504613" cy="408795"/>
          </a:xfrm>
        </p:spPr>
        <p:txBody>
          <a:bodyPr/>
          <a:lstStyle/>
          <a:p>
            <a:r>
              <a:rPr lang="en-IN" dirty="0"/>
              <a:t>Healthcare – Buyout transaction </a:t>
            </a:r>
          </a:p>
        </p:txBody>
      </p:sp>
      <p:sp>
        <p:nvSpPr>
          <p:cNvPr id="3" name="Text Placeholder 2">
            <a:extLst>
              <a:ext uri="{FF2B5EF4-FFF2-40B4-BE49-F238E27FC236}">
                <a16:creationId xmlns:a16="http://schemas.microsoft.com/office/drawing/2014/main" id="{B472571B-ED79-31BC-EDAD-8E2E1379EE34}"/>
              </a:ext>
            </a:extLst>
          </p:cNvPr>
          <p:cNvSpPr>
            <a:spLocks noGrp="1"/>
          </p:cNvSpPr>
          <p:nvPr>
            <p:ph type="body" sz="quarter" idx="10"/>
          </p:nvPr>
        </p:nvSpPr>
        <p:spPr>
          <a:xfrm>
            <a:off x="344488" y="487848"/>
            <a:ext cx="11504612" cy="281861"/>
          </a:xfrm>
        </p:spPr>
        <p:txBody>
          <a:bodyPr/>
          <a:lstStyle/>
          <a:p>
            <a:endParaRPr lang="en-US"/>
          </a:p>
        </p:txBody>
      </p:sp>
      <p:sp>
        <p:nvSpPr>
          <p:cNvPr id="4" name="Text Placeholder 3">
            <a:extLst>
              <a:ext uri="{FF2B5EF4-FFF2-40B4-BE49-F238E27FC236}">
                <a16:creationId xmlns:a16="http://schemas.microsoft.com/office/drawing/2014/main" id="{B1D21DC4-E742-6B60-115C-56D036A77A9C}"/>
              </a:ext>
            </a:extLst>
          </p:cNvPr>
          <p:cNvSpPr>
            <a:spLocks noGrp="1"/>
          </p:cNvSpPr>
          <p:nvPr>
            <p:ph type="body" sz="quarter" idx="11"/>
          </p:nvPr>
        </p:nvSpPr>
        <p:spPr/>
        <p:txBody>
          <a:bodyPr/>
          <a:lstStyle/>
          <a:p>
            <a:r>
              <a:rPr lang="en-US"/>
              <a:t>Source: VCC Edge. Notes: Fundraise includes private equity above INR 80 crores, M&amp;A, IPOs and QIPs. Healthcare includes </a:t>
            </a:r>
            <a:r>
              <a:rPr lang="en-US" err="1"/>
              <a:t>hsspitals</a:t>
            </a:r>
            <a:r>
              <a:rPr lang="en-US"/>
              <a:t> and diagnostics.</a:t>
            </a:r>
          </a:p>
        </p:txBody>
      </p:sp>
      <p:cxnSp>
        <p:nvCxnSpPr>
          <p:cNvPr id="61" name="Straight Connector 60">
            <a:extLst>
              <a:ext uri="{FF2B5EF4-FFF2-40B4-BE49-F238E27FC236}">
                <a16:creationId xmlns:a16="http://schemas.microsoft.com/office/drawing/2014/main" id="{8F0B6461-A889-F0A2-7924-C687230D0203}"/>
              </a:ext>
            </a:extLst>
          </p:cNvPr>
          <p:cNvCxnSpPr>
            <a:cxnSpLocks/>
          </p:cNvCxnSpPr>
          <p:nvPr/>
        </p:nvCxnSpPr>
        <p:spPr>
          <a:xfrm>
            <a:off x="398565" y="1219735"/>
            <a:ext cx="11160000" cy="0"/>
          </a:xfrm>
          <a:prstGeom prst="line">
            <a:avLst/>
          </a:prstGeom>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9F8ED13F-EE11-70EE-B68E-65FCFB82CC9A}"/>
              </a:ext>
            </a:extLst>
          </p:cNvPr>
          <p:cNvSpPr/>
          <p:nvPr/>
        </p:nvSpPr>
        <p:spPr>
          <a:xfrm>
            <a:off x="344487" y="1191851"/>
            <a:ext cx="545724" cy="55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385723"/>
              </a:solidFill>
              <a:effectLst/>
              <a:uLnTx/>
              <a:uFillTx/>
              <a:latin typeface="Segoe UI"/>
              <a:ea typeface="+mn-ea"/>
              <a:cs typeface="+mn-cs"/>
            </a:endParaRPr>
          </a:p>
        </p:txBody>
      </p:sp>
      <p:sp>
        <p:nvSpPr>
          <p:cNvPr id="10" name="Rectangle 9">
            <a:extLst>
              <a:ext uri="{FF2B5EF4-FFF2-40B4-BE49-F238E27FC236}">
                <a16:creationId xmlns:a16="http://schemas.microsoft.com/office/drawing/2014/main" id="{CB4C7903-8B87-B932-B1FC-12FA2D18280C}"/>
              </a:ext>
            </a:extLst>
          </p:cNvPr>
          <p:cNvSpPr/>
          <p:nvPr/>
        </p:nvSpPr>
        <p:spPr>
          <a:xfrm>
            <a:off x="357185" y="1306688"/>
            <a:ext cx="5441379" cy="33473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rgbClr val="404040"/>
                </a:solidFill>
                <a:effectLst/>
                <a:uLnTx/>
                <a:uFillTx/>
                <a:latin typeface="Segoe UI"/>
                <a:ea typeface="+mn-ea"/>
                <a:cs typeface="+mn-cs"/>
              </a:rPr>
              <a:t>Capital raise by sub-sector (INR Crore)</a:t>
            </a:r>
          </a:p>
        </p:txBody>
      </p:sp>
      <p:sp>
        <p:nvSpPr>
          <p:cNvPr id="11" name="Rectangle 10">
            <a:extLst>
              <a:ext uri="{FF2B5EF4-FFF2-40B4-BE49-F238E27FC236}">
                <a16:creationId xmlns:a16="http://schemas.microsoft.com/office/drawing/2014/main" id="{8943BAB9-778F-0C9E-9816-E3CCEAEECC83}"/>
              </a:ext>
            </a:extLst>
          </p:cNvPr>
          <p:cNvSpPr/>
          <p:nvPr/>
        </p:nvSpPr>
        <p:spPr>
          <a:xfrm>
            <a:off x="357185" y="3906238"/>
            <a:ext cx="5441379" cy="33473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IN" sz="1200" b="1">
                <a:solidFill>
                  <a:srgbClr val="404040"/>
                </a:solidFill>
              </a:rPr>
              <a:t>Capital raise by transaction type (INR Crore)</a:t>
            </a:r>
            <a:endParaRPr kumimoji="0" lang="en-IN" sz="1200" b="1" i="0" u="none" strike="noStrike" kern="1200" cap="none" spc="0" normalizeH="0" baseline="0" noProof="0">
              <a:ln>
                <a:noFill/>
              </a:ln>
              <a:solidFill>
                <a:srgbClr val="404040"/>
              </a:solidFill>
              <a:effectLst/>
              <a:uLnTx/>
              <a:uFillTx/>
              <a:latin typeface="Segoe UI"/>
              <a:ea typeface="+mn-ea"/>
              <a:cs typeface="+mn-cs"/>
            </a:endParaRPr>
          </a:p>
        </p:txBody>
      </p:sp>
      <p:graphicFrame>
        <p:nvGraphicFramePr>
          <p:cNvPr id="7" name="Chart 6">
            <a:extLst>
              <a:ext uri="{FF2B5EF4-FFF2-40B4-BE49-F238E27FC236}">
                <a16:creationId xmlns:a16="http://schemas.microsoft.com/office/drawing/2014/main" id="{05934939-EDED-9A09-3930-EE4BB194850F}"/>
              </a:ext>
            </a:extLst>
          </p:cNvPr>
          <p:cNvGraphicFramePr>
            <a:graphicFrameLocks/>
          </p:cNvGraphicFramePr>
          <p:nvPr/>
        </p:nvGraphicFramePr>
        <p:xfrm>
          <a:off x="-185398" y="4385539"/>
          <a:ext cx="2894400" cy="1929600"/>
        </p:xfrm>
        <a:graphic>
          <a:graphicData uri="http://schemas.openxmlformats.org/drawingml/2006/chart">
            <c:chart xmlns:c="http://schemas.openxmlformats.org/drawingml/2006/chart" xmlns:r="http://schemas.openxmlformats.org/officeDocument/2006/relationships" r:id="rId5"/>
          </a:graphicData>
        </a:graphic>
      </p:graphicFrame>
      <p:sp>
        <p:nvSpPr>
          <p:cNvPr id="65" name="Oval 64">
            <a:extLst>
              <a:ext uri="{FF2B5EF4-FFF2-40B4-BE49-F238E27FC236}">
                <a16:creationId xmlns:a16="http://schemas.microsoft.com/office/drawing/2014/main" id="{875CE835-B5DA-7165-6FB5-1A213CE39FAD}"/>
              </a:ext>
            </a:extLst>
          </p:cNvPr>
          <p:cNvSpPr/>
          <p:nvPr/>
        </p:nvSpPr>
        <p:spPr>
          <a:xfrm>
            <a:off x="828347" y="4909656"/>
            <a:ext cx="850142" cy="85014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sz="800">
              <a:solidFill>
                <a:schemeClr val="tx2"/>
              </a:solidFill>
            </a:endParaRPr>
          </a:p>
        </p:txBody>
      </p:sp>
      <p:sp>
        <p:nvSpPr>
          <p:cNvPr id="66" name="TextBox 65">
            <a:extLst>
              <a:ext uri="{FF2B5EF4-FFF2-40B4-BE49-F238E27FC236}">
                <a16:creationId xmlns:a16="http://schemas.microsoft.com/office/drawing/2014/main" id="{82EAF2F1-7898-5ED6-8E51-165BBC76F76B}"/>
              </a:ext>
            </a:extLst>
          </p:cNvPr>
          <p:cNvSpPr txBox="1"/>
          <p:nvPr/>
        </p:nvSpPr>
        <p:spPr>
          <a:xfrm>
            <a:off x="392944" y="5164707"/>
            <a:ext cx="1716066" cy="369332"/>
          </a:xfrm>
          <a:prstGeom prst="rect">
            <a:avLst/>
          </a:prstGeom>
          <a:noFill/>
        </p:spPr>
        <p:txBody>
          <a:bodyPr wrap="square" rtlCol="0">
            <a:spAutoFit/>
          </a:bodyPr>
          <a:lstStyle/>
          <a:p>
            <a:pPr algn="ctr"/>
            <a:r>
              <a:rPr lang="en-IN" sz="900" b="1" dirty="0"/>
              <a:t>FY20:</a:t>
            </a:r>
          </a:p>
          <a:p>
            <a:pPr algn="ctr"/>
            <a:r>
              <a:rPr lang="en-IN" sz="900" b="1" dirty="0"/>
              <a:t>INR 6,642 Cr</a:t>
            </a:r>
          </a:p>
        </p:txBody>
      </p:sp>
      <p:graphicFrame>
        <p:nvGraphicFramePr>
          <p:cNvPr id="68" name="Chart 67">
            <a:extLst>
              <a:ext uri="{FF2B5EF4-FFF2-40B4-BE49-F238E27FC236}">
                <a16:creationId xmlns:a16="http://schemas.microsoft.com/office/drawing/2014/main" id="{3719A7D0-1F19-A7B9-1095-67EB2D3DCADB}"/>
              </a:ext>
            </a:extLst>
          </p:cNvPr>
          <p:cNvGraphicFramePr/>
          <p:nvPr>
            <p:extLst>
              <p:ext uri="{D42A27DB-BD31-4B8C-83A1-F6EECF244321}">
                <p14:modId xmlns:p14="http://schemas.microsoft.com/office/powerpoint/2010/main" val="649346413"/>
              </p:ext>
            </p:extLst>
          </p:nvPr>
        </p:nvGraphicFramePr>
        <p:xfrm>
          <a:off x="3516883" y="4359115"/>
          <a:ext cx="2893512" cy="1929008"/>
        </p:xfrm>
        <a:graphic>
          <a:graphicData uri="http://schemas.openxmlformats.org/drawingml/2006/chart">
            <c:chart xmlns:c="http://schemas.openxmlformats.org/drawingml/2006/chart" xmlns:r="http://schemas.openxmlformats.org/officeDocument/2006/relationships" r:id="rId6"/>
          </a:graphicData>
        </a:graphic>
      </p:graphicFrame>
      <p:sp>
        <p:nvSpPr>
          <p:cNvPr id="70" name="Oval 69">
            <a:extLst>
              <a:ext uri="{FF2B5EF4-FFF2-40B4-BE49-F238E27FC236}">
                <a16:creationId xmlns:a16="http://schemas.microsoft.com/office/drawing/2014/main" id="{01726814-0810-D05A-C81B-86E2FDBB2B1E}"/>
              </a:ext>
            </a:extLst>
          </p:cNvPr>
          <p:cNvSpPr/>
          <p:nvPr/>
        </p:nvSpPr>
        <p:spPr>
          <a:xfrm>
            <a:off x="4541009" y="4909656"/>
            <a:ext cx="850142" cy="85014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sz="800">
              <a:solidFill>
                <a:schemeClr val="tx2"/>
              </a:solidFill>
            </a:endParaRPr>
          </a:p>
        </p:txBody>
      </p:sp>
      <p:sp>
        <p:nvSpPr>
          <p:cNvPr id="71" name="TextBox 70">
            <a:extLst>
              <a:ext uri="{FF2B5EF4-FFF2-40B4-BE49-F238E27FC236}">
                <a16:creationId xmlns:a16="http://schemas.microsoft.com/office/drawing/2014/main" id="{6CB35578-0ECF-3D86-9BB3-3E4EF3B765BF}"/>
              </a:ext>
            </a:extLst>
          </p:cNvPr>
          <p:cNvSpPr txBox="1"/>
          <p:nvPr/>
        </p:nvSpPr>
        <p:spPr>
          <a:xfrm>
            <a:off x="4105606" y="5136997"/>
            <a:ext cx="1716066" cy="369332"/>
          </a:xfrm>
          <a:prstGeom prst="rect">
            <a:avLst/>
          </a:prstGeom>
          <a:noFill/>
        </p:spPr>
        <p:txBody>
          <a:bodyPr wrap="square" rtlCol="0">
            <a:spAutoFit/>
          </a:bodyPr>
          <a:lstStyle/>
          <a:p>
            <a:pPr algn="ctr"/>
            <a:r>
              <a:rPr lang="en-IN" sz="900" b="1" dirty="0"/>
              <a:t>FY25: </a:t>
            </a:r>
          </a:p>
          <a:p>
            <a:pPr algn="ctr"/>
            <a:r>
              <a:rPr lang="en-IN" sz="900" b="1" dirty="0"/>
              <a:t>INR 19,103 Cr</a:t>
            </a:r>
          </a:p>
        </p:txBody>
      </p:sp>
      <p:sp>
        <p:nvSpPr>
          <p:cNvPr id="108" name="Oval 107">
            <a:extLst>
              <a:ext uri="{FF2B5EF4-FFF2-40B4-BE49-F238E27FC236}">
                <a16:creationId xmlns:a16="http://schemas.microsoft.com/office/drawing/2014/main" id="{48100C1A-4DAE-08BB-6658-FDE62C04C361}"/>
              </a:ext>
            </a:extLst>
          </p:cNvPr>
          <p:cNvSpPr/>
          <p:nvPr/>
        </p:nvSpPr>
        <p:spPr>
          <a:xfrm>
            <a:off x="7619483" y="2550379"/>
            <a:ext cx="850142" cy="85014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sz="800">
              <a:solidFill>
                <a:schemeClr val="tx2"/>
              </a:solidFill>
            </a:endParaRPr>
          </a:p>
        </p:txBody>
      </p:sp>
      <p:sp>
        <p:nvSpPr>
          <p:cNvPr id="122" name="TextBox 121">
            <a:extLst>
              <a:ext uri="{FF2B5EF4-FFF2-40B4-BE49-F238E27FC236}">
                <a16:creationId xmlns:a16="http://schemas.microsoft.com/office/drawing/2014/main" id="{18B29EDB-AA03-5A2B-61AB-9D2AC366485A}"/>
              </a:ext>
            </a:extLst>
          </p:cNvPr>
          <p:cNvSpPr txBox="1"/>
          <p:nvPr/>
        </p:nvSpPr>
        <p:spPr>
          <a:xfrm>
            <a:off x="7194900" y="2785413"/>
            <a:ext cx="1716066" cy="369332"/>
          </a:xfrm>
          <a:prstGeom prst="rect">
            <a:avLst/>
          </a:prstGeom>
          <a:noFill/>
        </p:spPr>
        <p:txBody>
          <a:bodyPr wrap="square" rtlCol="0">
            <a:spAutoFit/>
          </a:bodyPr>
          <a:lstStyle/>
          <a:p>
            <a:pPr algn="ctr"/>
            <a:r>
              <a:rPr lang="en-IN" sz="900" b="1" dirty="0"/>
              <a:t>FY25: </a:t>
            </a:r>
          </a:p>
          <a:p>
            <a:pPr algn="ctr"/>
            <a:r>
              <a:rPr lang="en-IN" sz="900" b="1" dirty="0"/>
              <a:t>INR 2,362 Cr</a:t>
            </a:r>
          </a:p>
        </p:txBody>
      </p:sp>
      <p:sp>
        <p:nvSpPr>
          <p:cNvPr id="13" name="TextBox 12">
            <a:extLst>
              <a:ext uri="{FF2B5EF4-FFF2-40B4-BE49-F238E27FC236}">
                <a16:creationId xmlns:a16="http://schemas.microsoft.com/office/drawing/2014/main" id="{7C57C6D5-7FE8-60F8-0163-B2DCAA75E2FF}"/>
              </a:ext>
            </a:extLst>
          </p:cNvPr>
          <p:cNvSpPr txBox="1"/>
          <p:nvPr/>
        </p:nvSpPr>
        <p:spPr>
          <a:xfrm>
            <a:off x="1774825" y="6229906"/>
            <a:ext cx="92160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u="none" strike="noStrike" kern="1200" cap="none" spc="0" normalizeH="0" baseline="0" noProof="0" dirty="0">
                <a:ln>
                  <a:noFill/>
                </a:ln>
                <a:solidFill>
                  <a:srgbClr val="404040"/>
                </a:solidFill>
                <a:effectLst/>
                <a:uLnTx/>
                <a:uFillTx/>
                <a:latin typeface="Arial Narrow" panose="020B0606020202030204" pitchFamily="34" charset="0"/>
                <a:ea typeface="+mn-ea"/>
                <a:cs typeface="+mn-cs"/>
              </a:rPr>
              <a:t>Private Equity</a:t>
            </a:r>
          </a:p>
        </p:txBody>
      </p:sp>
      <p:sp>
        <p:nvSpPr>
          <p:cNvPr id="15" name="TextBox 14">
            <a:extLst>
              <a:ext uri="{FF2B5EF4-FFF2-40B4-BE49-F238E27FC236}">
                <a16:creationId xmlns:a16="http://schemas.microsoft.com/office/drawing/2014/main" id="{917E5430-EAF7-DCC3-971B-52BC4C0D8A7E}"/>
              </a:ext>
            </a:extLst>
          </p:cNvPr>
          <p:cNvSpPr txBox="1"/>
          <p:nvPr/>
        </p:nvSpPr>
        <p:spPr>
          <a:xfrm>
            <a:off x="2562754" y="6229965"/>
            <a:ext cx="92160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u="none" strike="noStrike" kern="1200" cap="none" spc="0" normalizeH="0" baseline="0" noProof="0">
                <a:ln>
                  <a:noFill/>
                </a:ln>
                <a:solidFill>
                  <a:srgbClr val="404040"/>
                </a:solidFill>
                <a:effectLst/>
                <a:uLnTx/>
                <a:uFillTx/>
                <a:latin typeface="Arial Narrow" panose="020B0606020202030204" pitchFamily="34" charset="0"/>
                <a:ea typeface="+mn-ea"/>
                <a:cs typeface="+mn-cs"/>
              </a:rPr>
              <a:t>M&amp;A</a:t>
            </a:r>
          </a:p>
        </p:txBody>
      </p:sp>
      <p:sp>
        <p:nvSpPr>
          <p:cNvPr id="16" name="TextBox 15">
            <a:extLst>
              <a:ext uri="{FF2B5EF4-FFF2-40B4-BE49-F238E27FC236}">
                <a16:creationId xmlns:a16="http://schemas.microsoft.com/office/drawing/2014/main" id="{E77ED345-7B1C-2A03-71C4-9F6B8182045C}"/>
              </a:ext>
            </a:extLst>
          </p:cNvPr>
          <p:cNvSpPr txBox="1"/>
          <p:nvPr/>
        </p:nvSpPr>
        <p:spPr>
          <a:xfrm>
            <a:off x="3249388" y="6229906"/>
            <a:ext cx="92160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u="none" strike="noStrike" kern="1200" cap="none" spc="0" normalizeH="0" baseline="0" noProof="0">
                <a:ln>
                  <a:noFill/>
                </a:ln>
                <a:solidFill>
                  <a:srgbClr val="404040"/>
                </a:solidFill>
                <a:effectLst/>
                <a:uLnTx/>
                <a:uFillTx/>
                <a:latin typeface="Arial Narrow" panose="020B0606020202030204" pitchFamily="34" charset="0"/>
                <a:ea typeface="+mn-ea"/>
                <a:cs typeface="+mn-cs"/>
              </a:rPr>
              <a:t>ECM</a:t>
            </a:r>
          </a:p>
        </p:txBody>
      </p:sp>
      <p:sp>
        <p:nvSpPr>
          <p:cNvPr id="17" name="Rectangle 16">
            <a:extLst>
              <a:ext uri="{FF2B5EF4-FFF2-40B4-BE49-F238E27FC236}">
                <a16:creationId xmlns:a16="http://schemas.microsoft.com/office/drawing/2014/main" id="{9F12129D-EE0D-ECD5-6910-E1B7FBE29AE9}"/>
              </a:ext>
            </a:extLst>
          </p:cNvPr>
          <p:cNvSpPr/>
          <p:nvPr/>
        </p:nvSpPr>
        <p:spPr>
          <a:xfrm>
            <a:off x="1732563" y="6317756"/>
            <a:ext cx="72000" cy="72000"/>
          </a:xfrm>
          <a:prstGeom prst="rect">
            <a:avLst/>
          </a:prstGeom>
          <a:solidFill>
            <a:srgbClr val="ABD29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1" name="Rectangle 20">
            <a:extLst>
              <a:ext uri="{FF2B5EF4-FFF2-40B4-BE49-F238E27FC236}">
                <a16:creationId xmlns:a16="http://schemas.microsoft.com/office/drawing/2014/main" id="{37CD5F37-2D14-7CB4-E47B-817D986AD634}"/>
              </a:ext>
            </a:extLst>
          </p:cNvPr>
          <p:cNvSpPr/>
          <p:nvPr/>
        </p:nvSpPr>
        <p:spPr>
          <a:xfrm>
            <a:off x="2743516" y="6317756"/>
            <a:ext cx="72000" cy="72000"/>
          </a:xfrm>
          <a:prstGeom prst="rect">
            <a:avLst/>
          </a:prstGeom>
          <a:solidFill>
            <a:srgbClr val="C0CFB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2" name="Rectangle 21">
            <a:extLst>
              <a:ext uri="{FF2B5EF4-FFF2-40B4-BE49-F238E27FC236}">
                <a16:creationId xmlns:a16="http://schemas.microsoft.com/office/drawing/2014/main" id="{6F778A5C-EF3F-4D65-9126-823B4BABAE0A}"/>
              </a:ext>
            </a:extLst>
          </p:cNvPr>
          <p:cNvSpPr/>
          <p:nvPr/>
        </p:nvSpPr>
        <p:spPr>
          <a:xfrm>
            <a:off x="3297270" y="6317756"/>
            <a:ext cx="72000" cy="72000"/>
          </a:xfrm>
          <a:prstGeom prst="rect">
            <a:avLst/>
          </a:prstGeom>
          <a:solidFill>
            <a:srgbClr val="E4F1D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graphicFrame>
        <p:nvGraphicFramePr>
          <p:cNvPr id="5" name="Chart 4">
            <a:extLst>
              <a:ext uri="{FF2B5EF4-FFF2-40B4-BE49-F238E27FC236}">
                <a16:creationId xmlns:a16="http://schemas.microsoft.com/office/drawing/2014/main" id="{ACC14BEA-B1B4-769D-353A-98CC6EED647F}"/>
              </a:ext>
            </a:extLst>
          </p:cNvPr>
          <p:cNvGraphicFramePr>
            <a:graphicFrameLocks/>
          </p:cNvGraphicFramePr>
          <p:nvPr/>
        </p:nvGraphicFramePr>
        <p:xfrm>
          <a:off x="-207325" y="1745633"/>
          <a:ext cx="2894400" cy="1929600"/>
        </p:xfrm>
        <a:graphic>
          <a:graphicData uri="http://schemas.openxmlformats.org/drawingml/2006/chart">
            <c:chart xmlns:c="http://schemas.openxmlformats.org/drawingml/2006/chart" xmlns:r="http://schemas.openxmlformats.org/officeDocument/2006/relationships" r:id="rId7"/>
          </a:graphicData>
        </a:graphic>
      </p:graphicFrame>
      <p:sp>
        <p:nvSpPr>
          <p:cNvPr id="91" name="Oval 90">
            <a:extLst>
              <a:ext uri="{FF2B5EF4-FFF2-40B4-BE49-F238E27FC236}">
                <a16:creationId xmlns:a16="http://schemas.microsoft.com/office/drawing/2014/main" id="{EAEC45D7-9D4C-6F8A-DF1F-ED0EBA8A88F3}"/>
              </a:ext>
            </a:extLst>
          </p:cNvPr>
          <p:cNvSpPr/>
          <p:nvPr/>
        </p:nvSpPr>
        <p:spPr>
          <a:xfrm>
            <a:off x="828347" y="2283495"/>
            <a:ext cx="850142" cy="85014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sz="800">
              <a:solidFill>
                <a:schemeClr val="tx2"/>
              </a:solidFill>
            </a:endParaRPr>
          </a:p>
        </p:txBody>
      </p:sp>
      <p:sp>
        <p:nvSpPr>
          <p:cNvPr id="92" name="TextBox 91">
            <a:extLst>
              <a:ext uri="{FF2B5EF4-FFF2-40B4-BE49-F238E27FC236}">
                <a16:creationId xmlns:a16="http://schemas.microsoft.com/office/drawing/2014/main" id="{A3856884-26D5-8C8C-66ED-59E02C02244B}"/>
              </a:ext>
            </a:extLst>
          </p:cNvPr>
          <p:cNvSpPr txBox="1"/>
          <p:nvPr/>
        </p:nvSpPr>
        <p:spPr>
          <a:xfrm>
            <a:off x="392944" y="2510836"/>
            <a:ext cx="1716066" cy="369332"/>
          </a:xfrm>
          <a:prstGeom prst="rect">
            <a:avLst/>
          </a:prstGeom>
          <a:noFill/>
        </p:spPr>
        <p:txBody>
          <a:bodyPr wrap="square" rtlCol="0">
            <a:spAutoFit/>
          </a:bodyPr>
          <a:lstStyle/>
          <a:p>
            <a:pPr algn="ctr"/>
            <a:r>
              <a:rPr lang="en-IN" sz="900" b="1" dirty="0"/>
              <a:t>FY20:</a:t>
            </a:r>
          </a:p>
          <a:p>
            <a:pPr algn="ctr"/>
            <a:r>
              <a:rPr lang="en-IN" sz="900" b="1" dirty="0"/>
              <a:t>INR 6,642 Cr</a:t>
            </a:r>
          </a:p>
        </p:txBody>
      </p:sp>
      <p:graphicFrame>
        <p:nvGraphicFramePr>
          <p:cNvPr id="93" name="Chart 92">
            <a:extLst>
              <a:ext uri="{FF2B5EF4-FFF2-40B4-BE49-F238E27FC236}">
                <a16:creationId xmlns:a16="http://schemas.microsoft.com/office/drawing/2014/main" id="{1901A6E5-543E-D156-6094-CC92E09292C1}"/>
              </a:ext>
            </a:extLst>
          </p:cNvPr>
          <p:cNvGraphicFramePr/>
          <p:nvPr>
            <p:extLst>
              <p:ext uri="{D42A27DB-BD31-4B8C-83A1-F6EECF244321}">
                <p14:modId xmlns:p14="http://schemas.microsoft.com/office/powerpoint/2010/main" val="3201940994"/>
              </p:ext>
            </p:extLst>
          </p:nvPr>
        </p:nvGraphicFramePr>
        <p:xfrm>
          <a:off x="3516883" y="1758354"/>
          <a:ext cx="2893512" cy="1929008"/>
        </p:xfrm>
        <a:graphic>
          <a:graphicData uri="http://schemas.openxmlformats.org/drawingml/2006/chart">
            <c:chart xmlns:c="http://schemas.openxmlformats.org/drawingml/2006/chart" xmlns:r="http://schemas.openxmlformats.org/officeDocument/2006/relationships" r:id="rId8"/>
          </a:graphicData>
        </a:graphic>
      </p:graphicFrame>
      <p:sp>
        <p:nvSpPr>
          <p:cNvPr id="94" name="Oval 93">
            <a:extLst>
              <a:ext uri="{FF2B5EF4-FFF2-40B4-BE49-F238E27FC236}">
                <a16:creationId xmlns:a16="http://schemas.microsoft.com/office/drawing/2014/main" id="{54B2BA2C-1EF1-61D2-70A2-9A080FEFA79E}"/>
              </a:ext>
            </a:extLst>
          </p:cNvPr>
          <p:cNvSpPr/>
          <p:nvPr/>
        </p:nvSpPr>
        <p:spPr>
          <a:xfrm>
            <a:off x="4541009" y="2283495"/>
            <a:ext cx="850142" cy="85014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sz="800">
              <a:solidFill>
                <a:schemeClr val="tx2"/>
              </a:solidFill>
            </a:endParaRPr>
          </a:p>
        </p:txBody>
      </p:sp>
      <p:sp>
        <p:nvSpPr>
          <p:cNvPr id="95" name="TextBox 94">
            <a:extLst>
              <a:ext uri="{FF2B5EF4-FFF2-40B4-BE49-F238E27FC236}">
                <a16:creationId xmlns:a16="http://schemas.microsoft.com/office/drawing/2014/main" id="{BEEF630C-12B5-0BF1-A51B-48F4BF28037F}"/>
              </a:ext>
            </a:extLst>
          </p:cNvPr>
          <p:cNvSpPr txBox="1"/>
          <p:nvPr/>
        </p:nvSpPr>
        <p:spPr>
          <a:xfrm>
            <a:off x="4105606" y="2510836"/>
            <a:ext cx="1716066" cy="369332"/>
          </a:xfrm>
          <a:prstGeom prst="rect">
            <a:avLst/>
          </a:prstGeom>
          <a:noFill/>
        </p:spPr>
        <p:txBody>
          <a:bodyPr wrap="square" rtlCol="0">
            <a:spAutoFit/>
          </a:bodyPr>
          <a:lstStyle/>
          <a:p>
            <a:pPr algn="ctr"/>
            <a:r>
              <a:rPr lang="en-IN" sz="900" b="1" dirty="0"/>
              <a:t>FY25: </a:t>
            </a:r>
          </a:p>
          <a:p>
            <a:pPr algn="ctr"/>
            <a:r>
              <a:rPr lang="en-IN" sz="900" b="1" dirty="0"/>
              <a:t>INR 19,103 Cr</a:t>
            </a:r>
          </a:p>
        </p:txBody>
      </p:sp>
      <p:sp>
        <p:nvSpPr>
          <p:cNvPr id="96" name="TextBox 95">
            <a:extLst>
              <a:ext uri="{FF2B5EF4-FFF2-40B4-BE49-F238E27FC236}">
                <a16:creationId xmlns:a16="http://schemas.microsoft.com/office/drawing/2014/main" id="{B3D32EB2-03FA-9B8C-5EB5-054D0E3C7EFD}"/>
              </a:ext>
            </a:extLst>
          </p:cNvPr>
          <p:cNvSpPr txBox="1"/>
          <p:nvPr/>
        </p:nvSpPr>
        <p:spPr>
          <a:xfrm>
            <a:off x="1474373" y="3603745"/>
            <a:ext cx="1716065"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u="none" strike="noStrike" kern="1200" cap="none" spc="0" normalizeH="0" baseline="0" noProof="0">
                <a:ln>
                  <a:noFill/>
                </a:ln>
                <a:solidFill>
                  <a:srgbClr val="404040"/>
                </a:solidFill>
                <a:effectLst/>
                <a:uLnTx/>
                <a:uFillTx/>
                <a:latin typeface="Arial Narrow" panose="020B0606020202030204" pitchFamily="34" charset="0"/>
                <a:ea typeface="+mn-ea"/>
                <a:cs typeface="+mn-cs"/>
              </a:rPr>
              <a:t>PAN India Hospitals</a:t>
            </a:r>
          </a:p>
        </p:txBody>
      </p:sp>
      <p:sp>
        <p:nvSpPr>
          <p:cNvPr id="97" name="TextBox 96">
            <a:extLst>
              <a:ext uri="{FF2B5EF4-FFF2-40B4-BE49-F238E27FC236}">
                <a16:creationId xmlns:a16="http://schemas.microsoft.com/office/drawing/2014/main" id="{C536C3E5-32AA-911C-CF23-0CDFC62F3212}"/>
              </a:ext>
            </a:extLst>
          </p:cNvPr>
          <p:cNvSpPr txBox="1"/>
          <p:nvPr/>
        </p:nvSpPr>
        <p:spPr>
          <a:xfrm>
            <a:off x="2732570" y="3603804"/>
            <a:ext cx="1386641"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u="none" strike="noStrike" kern="1200" cap="none" spc="0" normalizeH="0" baseline="0" noProof="0">
                <a:ln>
                  <a:noFill/>
                </a:ln>
                <a:solidFill>
                  <a:srgbClr val="404040"/>
                </a:solidFill>
                <a:effectLst/>
                <a:uLnTx/>
                <a:uFillTx/>
                <a:latin typeface="Arial Narrow" panose="020B0606020202030204" pitchFamily="34" charset="0"/>
                <a:ea typeface="+mn-ea"/>
                <a:cs typeface="+mn-cs"/>
              </a:rPr>
              <a:t>Regional Hospitals</a:t>
            </a:r>
          </a:p>
        </p:txBody>
      </p:sp>
      <p:sp>
        <p:nvSpPr>
          <p:cNvPr id="98" name="TextBox 97">
            <a:extLst>
              <a:ext uri="{FF2B5EF4-FFF2-40B4-BE49-F238E27FC236}">
                <a16:creationId xmlns:a16="http://schemas.microsoft.com/office/drawing/2014/main" id="{7F435445-68CD-3CE5-4B44-8DCBAC03F0C4}"/>
              </a:ext>
            </a:extLst>
          </p:cNvPr>
          <p:cNvSpPr txBox="1"/>
          <p:nvPr/>
        </p:nvSpPr>
        <p:spPr>
          <a:xfrm>
            <a:off x="3850277" y="3603745"/>
            <a:ext cx="92160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u="none" strike="noStrike" kern="1200" cap="none" spc="0" normalizeH="0" baseline="0" noProof="0">
                <a:ln>
                  <a:noFill/>
                </a:ln>
                <a:solidFill>
                  <a:srgbClr val="404040"/>
                </a:solidFill>
                <a:effectLst/>
                <a:uLnTx/>
                <a:uFillTx/>
                <a:latin typeface="Arial Narrow" panose="020B0606020202030204" pitchFamily="34" charset="0"/>
                <a:ea typeface="+mn-ea"/>
                <a:cs typeface="+mn-cs"/>
              </a:rPr>
              <a:t>Diagnostics</a:t>
            </a:r>
          </a:p>
        </p:txBody>
      </p:sp>
      <p:sp>
        <p:nvSpPr>
          <p:cNvPr id="99" name="Rectangle 98">
            <a:extLst>
              <a:ext uri="{FF2B5EF4-FFF2-40B4-BE49-F238E27FC236}">
                <a16:creationId xmlns:a16="http://schemas.microsoft.com/office/drawing/2014/main" id="{CBC02689-ABA8-A3D4-C396-5E60E53D72C6}"/>
              </a:ext>
            </a:extLst>
          </p:cNvPr>
          <p:cNvSpPr/>
          <p:nvPr/>
        </p:nvSpPr>
        <p:spPr>
          <a:xfrm>
            <a:off x="1745624" y="3691595"/>
            <a:ext cx="72000" cy="72000"/>
          </a:xfrm>
          <a:prstGeom prst="rect">
            <a:avLst/>
          </a:prstGeom>
          <a:solidFill>
            <a:srgbClr val="ABD29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0" name="Rectangle 99">
            <a:extLst>
              <a:ext uri="{FF2B5EF4-FFF2-40B4-BE49-F238E27FC236}">
                <a16:creationId xmlns:a16="http://schemas.microsoft.com/office/drawing/2014/main" id="{9349BDEF-C7E2-5267-3FB0-7E97E98745CE}"/>
              </a:ext>
            </a:extLst>
          </p:cNvPr>
          <p:cNvSpPr/>
          <p:nvPr/>
        </p:nvSpPr>
        <p:spPr>
          <a:xfrm>
            <a:off x="2861078" y="3691595"/>
            <a:ext cx="72000" cy="72000"/>
          </a:xfrm>
          <a:prstGeom prst="rect">
            <a:avLst/>
          </a:prstGeom>
          <a:solidFill>
            <a:srgbClr val="C0CFB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1" name="Rectangle 100">
            <a:extLst>
              <a:ext uri="{FF2B5EF4-FFF2-40B4-BE49-F238E27FC236}">
                <a16:creationId xmlns:a16="http://schemas.microsoft.com/office/drawing/2014/main" id="{576EE1CB-E03A-7CFA-D4D9-2A272492F1B2}"/>
              </a:ext>
            </a:extLst>
          </p:cNvPr>
          <p:cNvSpPr/>
          <p:nvPr/>
        </p:nvSpPr>
        <p:spPr>
          <a:xfrm>
            <a:off x="3937352" y="3691595"/>
            <a:ext cx="72000" cy="72000"/>
          </a:xfrm>
          <a:prstGeom prst="rect">
            <a:avLst/>
          </a:prstGeom>
          <a:solidFill>
            <a:srgbClr val="E4F1D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33" name="Oval 132">
            <a:extLst>
              <a:ext uri="{FF2B5EF4-FFF2-40B4-BE49-F238E27FC236}">
                <a16:creationId xmlns:a16="http://schemas.microsoft.com/office/drawing/2014/main" id="{0DC904BF-631D-8534-6E84-90B62A512B19}"/>
              </a:ext>
            </a:extLst>
          </p:cNvPr>
          <p:cNvSpPr/>
          <p:nvPr/>
        </p:nvSpPr>
        <p:spPr>
          <a:xfrm>
            <a:off x="10325543" y="2550379"/>
            <a:ext cx="850142" cy="85014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sz="800">
              <a:solidFill>
                <a:schemeClr val="tx2"/>
              </a:solidFill>
            </a:endParaRPr>
          </a:p>
        </p:txBody>
      </p:sp>
      <p:sp>
        <p:nvSpPr>
          <p:cNvPr id="134" name="TextBox 133">
            <a:extLst>
              <a:ext uri="{FF2B5EF4-FFF2-40B4-BE49-F238E27FC236}">
                <a16:creationId xmlns:a16="http://schemas.microsoft.com/office/drawing/2014/main" id="{846E827F-2060-64ED-6FF0-98696A40D1BE}"/>
              </a:ext>
            </a:extLst>
          </p:cNvPr>
          <p:cNvSpPr txBox="1"/>
          <p:nvPr/>
        </p:nvSpPr>
        <p:spPr>
          <a:xfrm>
            <a:off x="9900960" y="2785413"/>
            <a:ext cx="1716066" cy="369332"/>
          </a:xfrm>
          <a:prstGeom prst="rect">
            <a:avLst/>
          </a:prstGeom>
          <a:noFill/>
        </p:spPr>
        <p:txBody>
          <a:bodyPr wrap="square" rtlCol="0">
            <a:spAutoFit/>
          </a:bodyPr>
          <a:lstStyle/>
          <a:p>
            <a:pPr algn="ctr"/>
            <a:r>
              <a:rPr lang="en-IN" sz="900" b="1" dirty="0"/>
              <a:t>FY25: </a:t>
            </a:r>
          </a:p>
          <a:p>
            <a:pPr algn="ctr"/>
            <a:r>
              <a:rPr lang="en-IN" sz="900" b="1" dirty="0"/>
              <a:t>INR 10000 Cr</a:t>
            </a:r>
          </a:p>
        </p:txBody>
      </p:sp>
      <p:sp>
        <p:nvSpPr>
          <p:cNvPr id="137" name="Oval 136">
            <a:extLst>
              <a:ext uri="{FF2B5EF4-FFF2-40B4-BE49-F238E27FC236}">
                <a16:creationId xmlns:a16="http://schemas.microsoft.com/office/drawing/2014/main" id="{A6E93D1D-5768-71D4-FEA4-27654E0ADD98}"/>
              </a:ext>
            </a:extLst>
          </p:cNvPr>
          <p:cNvSpPr/>
          <p:nvPr/>
        </p:nvSpPr>
        <p:spPr>
          <a:xfrm>
            <a:off x="8917068" y="4777071"/>
            <a:ext cx="850142" cy="85014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sz="800">
              <a:solidFill>
                <a:schemeClr val="tx2"/>
              </a:solidFill>
            </a:endParaRPr>
          </a:p>
        </p:txBody>
      </p:sp>
      <p:sp>
        <p:nvSpPr>
          <p:cNvPr id="138" name="TextBox 137">
            <a:extLst>
              <a:ext uri="{FF2B5EF4-FFF2-40B4-BE49-F238E27FC236}">
                <a16:creationId xmlns:a16="http://schemas.microsoft.com/office/drawing/2014/main" id="{E4C8F855-9363-67E6-75CB-980CD39926B6}"/>
              </a:ext>
            </a:extLst>
          </p:cNvPr>
          <p:cNvSpPr txBox="1"/>
          <p:nvPr/>
        </p:nvSpPr>
        <p:spPr>
          <a:xfrm>
            <a:off x="8492485" y="5038231"/>
            <a:ext cx="1716066" cy="369332"/>
          </a:xfrm>
          <a:prstGeom prst="rect">
            <a:avLst/>
          </a:prstGeom>
          <a:noFill/>
        </p:spPr>
        <p:txBody>
          <a:bodyPr wrap="square" rtlCol="0">
            <a:spAutoFit/>
          </a:bodyPr>
          <a:lstStyle/>
          <a:p>
            <a:pPr algn="ctr"/>
            <a:r>
              <a:rPr lang="en-IN" sz="900" b="1" dirty="0"/>
              <a:t>FY25: </a:t>
            </a:r>
          </a:p>
          <a:p>
            <a:pPr algn="ctr"/>
            <a:r>
              <a:rPr lang="en-IN" sz="900" b="1" dirty="0"/>
              <a:t>INR 6.741 Cr</a:t>
            </a:r>
          </a:p>
        </p:txBody>
      </p:sp>
      <p:sp>
        <p:nvSpPr>
          <p:cNvPr id="139" name="Trapezoid 138">
            <a:extLst>
              <a:ext uri="{FF2B5EF4-FFF2-40B4-BE49-F238E27FC236}">
                <a16:creationId xmlns:a16="http://schemas.microsoft.com/office/drawing/2014/main" id="{D0D0BBC4-F705-9351-11E1-50B2AF80C927}"/>
              </a:ext>
            </a:extLst>
          </p:cNvPr>
          <p:cNvSpPr/>
          <p:nvPr/>
        </p:nvSpPr>
        <p:spPr bwMode="gray">
          <a:xfrm rot="16200000" flipH="1">
            <a:off x="3738059" y="3696374"/>
            <a:ext cx="4963033" cy="464944"/>
          </a:xfrm>
          <a:prstGeom prst="trapezoid">
            <a:avLst>
              <a:gd name="adj" fmla="val 97264"/>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a:solidFill>
                <a:schemeClr val="tx1"/>
              </a:solidFill>
            </a:endParaRPr>
          </a:p>
        </p:txBody>
      </p:sp>
      <p:sp>
        <p:nvSpPr>
          <p:cNvPr id="140" name="Rectangle 139">
            <a:extLst>
              <a:ext uri="{FF2B5EF4-FFF2-40B4-BE49-F238E27FC236}">
                <a16:creationId xmlns:a16="http://schemas.microsoft.com/office/drawing/2014/main" id="{8679BF24-8336-63C7-ADF9-7D4851CF5FFF}"/>
              </a:ext>
            </a:extLst>
          </p:cNvPr>
          <p:cNvSpPr/>
          <p:nvPr/>
        </p:nvSpPr>
        <p:spPr>
          <a:xfrm>
            <a:off x="6640587" y="1306688"/>
            <a:ext cx="4976439" cy="33473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rgbClr val="404040"/>
                </a:solidFill>
                <a:effectLst/>
                <a:uLnTx/>
                <a:uFillTx/>
                <a:latin typeface="Segoe UI"/>
                <a:ea typeface="+mn-ea"/>
                <a:cs typeface="+mn-cs"/>
              </a:rPr>
              <a:t>Capital raise by transaction within sub-sector for FY25 (INR Crore)</a:t>
            </a:r>
          </a:p>
        </p:txBody>
      </p:sp>
      <p:sp>
        <p:nvSpPr>
          <p:cNvPr id="141" name="Rectangle 140">
            <a:extLst>
              <a:ext uri="{FF2B5EF4-FFF2-40B4-BE49-F238E27FC236}">
                <a16:creationId xmlns:a16="http://schemas.microsoft.com/office/drawing/2014/main" id="{AEBAE8D2-77C3-DF59-D6CC-8ADC2CE4B1DE}"/>
              </a:ext>
            </a:extLst>
          </p:cNvPr>
          <p:cNvSpPr/>
          <p:nvPr/>
        </p:nvSpPr>
        <p:spPr>
          <a:xfrm>
            <a:off x="7119262" y="1786022"/>
            <a:ext cx="1770345" cy="23603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1" u="none" strike="noStrike" kern="1200" cap="none" spc="0" normalizeH="0" baseline="0" noProof="0">
                <a:ln>
                  <a:noFill/>
                </a:ln>
                <a:solidFill>
                  <a:srgbClr val="404040"/>
                </a:solidFill>
                <a:effectLst/>
                <a:uLnTx/>
                <a:uFillTx/>
                <a:latin typeface="Segoe UI"/>
                <a:ea typeface="+mn-ea"/>
                <a:cs typeface="+mn-cs"/>
              </a:rPr>
              <a:t>PAN India Hospitals</a:t>
            </a:r>
          </a:p>
        </p:txBody>
      </p:sp>
      <p:sp>
        <p:nvSpPr>
          <p:cNvPr id="142" name="Rectangle 141">
            <a:extLst>
              <a:ext uri="{FF2B5EF4-FFF2-40B4-BE49-F238E27FC236}">
                <a16:creationId xmlns:a16="http://schemas.microsoft.com/office/drawing/2014/main" id="{FEFDAC2F-AC06-79A8-9760-E73F7F33501E}"/>
              </a:ext>
            </a:extLst>
          </p:cNvPr>
          <p:cNvSpPr/>
          <p:nvPr/>
        </p:nvSpPr>
        <p:spPr>
          <a:xfrm>
            <a:off x="9863000" y="1786022"/>
            <a:ext cx="1770345" cy="23603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1" u="none" strike="noStrike" kern="1200" cap="none" spc="0" normalizeH="0" baseline="0" noProof="0" dirty="0">
                <a:ln>
                  <a:noFill/>
                </a:ln>
                <a:solidFill>
                  <a:srgbClr val="404040"/>
                </a:solidFill>
                <a:effectLst/>
                <a:uLnTx/>
                <a:uFillTx/>
                <a:latin typeface="Segoe UI"/>
                <a:ea typeface="+mn-ea"/>
                <a:cs typeface="+mn-cs"/>
              </a:rPr>
              <a:t>Regional/Single Speciality Hospitals</a:t>
            </a:r>
          </a:p>
        </p:txBody>
      </p:sp>
      <p:sp>
        <p:nvSpPr>
          <p:cNvPr id="143" name="Rectangle 142">
            <a:extLst>
              <a:ext uri="{FF2B5EF4-FFF2-40B4-BE49-F238E27FC236}">
                <a16:creationId xmlns:a16="http://schemas.microsoft.com/office/drawing/2014/main" id="{0BB4EEF0-D358-F3B7-845D-FE7E4170325C}"/>
              </a:ext>
            </a:extLst>
          </p:cNvPr>
          <p:cNvSpPr/>
          <p:nvPr/>
        </p:nvSpPr>
        <p:spPr>
          <a:xfrm>
            <a:off x="8416244" y="3929911"/>
            <a:ext cx="1770345" cy="23603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1" u="none" strike="noStrike" kern="1200" cap="none" spc="0" normalizeH="0" baseline="0" noProof="0" dirty="0">
                <a:ln>
                  <a:noFill/>
                </a:ln>
                <a:solidFill>
                  <a:srgbClr val="404040"/>
                </a:solidFill>
                <a:effectLst/>
                <a:uLnTx/>
                <a:uFillTx/>
                <a:latin typeface="Segoe UI"/>
                <a:ea typeface="+mn-ea"/>
                <a:cs typeface="+mn-cs"/>
              </a:rPr>
              <a:t>Others </a:t>
            </a:r>
          </a:p>
        </p:txBody>
      </p:sp>
      <p:sp>
        <p:nvSpPr>
          <p:cNvPr id="146" name="TextBox 145">
            <a:extLst>
              <a:ext uri="{FF2B5EF4-FFF2-40B4-BE49-F238E27FC236}">
                <a16:creationId xmlns:a16="http://schemas.microsoft.com/office/drawing/2014/main" id="{F9A943A8-1279-AFB4-CDBF-F21FFFB008C4}"/>
              </a:ext>
            </a:extLst>
          </p:cNvPr>
          <p:cNvSpPr txBox="1"/>
          <p:nvPr/>
        </p:nvSpPr>
        <p:spPr>
          <a:xfrm>
            <a:off x="8241357" y="6229906"/>
            <a:ext cx="92160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u="none" strike="noStrike" kern="1200" cap="none" spc="0" normalizeH="0" baseline="0" noProof="0">
                <a:ln>
                  <a:noFill/>
                </a:ln>
                <a:solidFill>
                  <a:srgbClr val="404040"/>
                </a:solidFill>
                <a:effectLst/>
                <a:uLnTx/>
                <a:uFillTx/>
                <a:latin typeface="Arial Narrow" panose="020B0606020202030204" pitchFamily="34" charset="0"/>
                <a:ea typeface="+mn-ea"/>
                <a:cs typeface="+mn-cs"/>
              </a:rPr>
              <a:t>Private Equity</a:t>
            </a:r>
          </a:p>
        </p:txBody>
      </p:sp>
      <p:sp>
        <p:nvSpPr>
          <p:cNvPr id="147" name="TextBox 146">
            <a:extLst>
              <a:ext uri="{FF2B5EF4-FFF2-40B4-BE49-F238E27FC236}">
                <a16:creationId xmlns:a16="http://schemas.microsoft.com/office/drawing/2014/main" id="{96C28034-A908-4F43-17E5-FA687583FC9B}"/>
              </a:ext>
            </a:extLst>
          </p:cNvPr>
          <p:cNvSpPr txBox="1"/>
          <p:nvPr/>
        </p:nvSpPr>
        <p:spPr>
          <a:xfrm>
            <a:off x="9029286" y="6229965"/>
            <a:ext cx="92160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u="none" strike="noStrike" kern="1200" cap="none" spc="0" normalizeH="0" baseline="0" noProof="0">
                <a:ln>
                  <a:noFill/>
                </a:ln>
                <a:solidFill>
                  <a:srgbClr val="404040"/>
                </a:solidFill>
                <a:effectLst/>
                <a:uLnTx/>
                <a:uFillTx/>
                <a:latin typeface="Arial Narrow" panose="020B0606020202030204" pitchFamily="34" charset="0"/>
                <a:ea typeface="+mn-ea"/>
                <a:cs typeface="+mn-cs"/>
              </a:rPr>
              <a:t>M&amp;A</a:t>
            </a:r>
          </a:p>
        </p:txBody>
      </p:sp>
      <p:sp>
        <p:nvSpPr>
          <p:cNvPr id="148" name="TextBox 147">
            <a:extLst>
              <a:ext uri="{FF2B5EF4-FFF2-40B4-BE49-F238E27FC236}">
                <a16:creationId xmlns:a16="http://schemas.microsoft.com/office/drawing/2014/main" id="{E326ED73-50CB-B0CB-2594-2A88597B12C5}"/>
              </a:ext>
            </a:extLst>
          </p:cNvPr>
          <p:cNvSpPr txBox="1"/>
          <p:nvPr/>
        </p:nvSpPr>
        <p:spPr>
          <a:xfrm>
            <a:off x="9715920" y="6229906"/>
            <a:ext cx="92160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u="none" strike="noStrike" kern="1200" cap="none" spc="0" normalizeH="0" baseline="0" noProof="0">
                <a:ln>
                  <a:noFill/>
                </a:ln>
                <a:solidFill>
                  <a:srgbClr val="404040"/>
                </a:solidFill>
                <a:effectLst/>
                <a:uLnTx/>
                <a:uFillTx/>
                <a:latin typeface="Arial Narrow" panose="020B0606020202030204" pitchFamily="34" charset="0"/>
                <a:ea typeface="+mn-ea"/>
                <a:cs typeface="+mn-cs"/>
              </a:rPr>
              <a:t>ECM</a:t>
            </a:r>
          </a:p>
        </p:txBody>
      </p:sp>
      <p:sp>
        <p:nvSpPr>
          <p:cNvPr id="149" name="Rectangle 148">
            <a:extLst>
              <a:ext uri="{FF2B5EF4-FFF2-40B4-BE49-F238E27FC236}">
                <a16:creationId xmlns:a16="http://schemas.microsoft.com/office/drawing/2014/main" id="{9AC0BDC3-9FC6-86AF-A370-78B7CE61CED3}"/>
              </a:ext>
            </a:extLst>
          </p:cNvPr>
          <p:cNvSpPr/>
          <p:nvPr/>
        </p:nvSpPr>
        <p:spPr>
          <a:xfrm>
            <a:off x="8199095" y="6317756"/>
            <a:ext cx="72000" cy="72000"/>
          </a:xfrm>
          <a:prstGeom prst="rect">
            <a:avLst/>
          </a:prstGeom>
          <a:solidFill>
            <a:srgbClr val="ABD29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50" name="Rectangle 149">
            <a:extLst>
              <a:ext uri="{FF2B5EF4-FFF2-40B4-BE49-F238E27FC236}">
                <a16:creationId xmlns:a16="http://schemas.microsoft.com/office/drawing/2014/main" id="{AC66450D-7B15-F7E8-F74C-FCEAAC6C4E8F}"/>
              </a:ext>
            </a:extLst>
          </p:cNvPr>
          <p:cNvSpPr/>
          <p:nvPr/>
        </p:nvSpPr>
        <p:spPr>
          <a:xfrm>
            <a:off x="9210048" y="6317756"/>
            <a:ext cx="72000" cy="72000"/>
          </a:xfrm>
          <a:prstGeom prst="rect">
            <a:avLst/>
          </a:prstGeom>
          <a:solidFill>
            <a:srgbClr val="C0CFB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51" name="Rectangle 150">
            <a:extLst>
              <a:ext uri="{FF2B5EF4-FFF2-40B4-BE49-F238E27FC236}">
                <a16:creationId xmlns:a16="http://schemas.microsoft.com/office/drawing/2014/main" id="{CAF21CCC-47D4-683D-9411-3C6F4E992C89}"/>
              </a:ext>
            </a:extLst>
          </p:cNvPr>
          <p:cNvSpPr/>
          <p:nvPr/>
        </p:nvSpPr>
        <p:spPr>
          <a:xfrm>
            <a:off x="9763802" y="6317756"/>
            <a:ext cx="72000" cy="72000"/>
          </a:xfrm>
          <a:prstGeom prst="rect">
            <a:avLst/>
          </a:prstGeom>
          <a:solidFill>
            <a:srgbClr val="E4F1D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graphicFrame>
        <p:nvGraphicFramePr>
          <p:cNvPr id="23" name="Chart 22">
            <a:extLst>
              <a:ext uri="{FF2B5EF4-FFF2-40B4-BE49-F238E27FC236}">
                <a16:creationId xmlns:a16="http://schemas.microsoft.com/office/drawing/2014/main" id="{EA7BC3C0-2088-8C04-6AB1-B99CF2E6501E}"/>
              </a:ext>
            </a:extLst>
          </p:cNvPr>
          <p:cNvGraphicFramePr/>
          <p:nvPr>
            <p:extLst>
              <p:ext uri="{D42A27DB-BD31-4B8C-83A1-F6EECF244321}">
                <p14:modId xmlns:p14="http://schemas.microsoft.com/office/powerpoint/2010/main" val="1330531633"/>
              </p:ext>
            </p:extLst>
          </p:nvPr>
        </p:nvGraphicFramePr>
        <p:xfrm>
          <a:off x="1651653" y="4359115"/>
          <a:ext cx="2893512" cy="1929008"/>
        </p:xfrm>
        <a:graphic>
          <a:graphicData uri="http://schemas.openxmlformats.org/drawingml/2006/chart">
            <c:chart xmlns:c="http://schemas.openxmlformats.org/drawingml/2006/chart" xmlns:r="http://schemas.openxmlformats.org/officeDocument/2006/relationships" r:id="rId9"/>
          </a:graphicData>
        </a:graphic>
      </p:graphicFrame>
      <p:sp>
        <p:nvSpPr>
          <p:cNvPr id="24" name="Oval 23">
            <a:extLst>
              <a:ext uri="{FF2B5EF4-FFF2-40B4-BE49-F238E27FC236}">
                <a16:creationId xmlns:a16="http://schemas.microsoft.com/office/drawing/2014/main" id="{93BC05DD-AE6A-6CCA-B5ED-0AC460330749}"/>
              </a:ext>
            </a:extLst>
          </p:cNvPr>
          <p:cNvSpPr/>
          <p:nvPr/>
        </p:nvSpPr>
        <p:spPr>
          <a:xfrm>
            <a:off x="2675779" y="4909656"/>
            <a:ext cx="850142" cy="85014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sz="800">
              <a:solidFill>
                <a:schemeClr val="tx2"/>
              </a:solidFill>
            </a:endParaRPr>
          </a:p>
        </p:txBody>
      </p:sp>
      <p:sp>
        <p:nvSpPr>
          <p:cNvPr id="25" name="TextBox 24">
            <a:extLst>
              <a:ext uri="{FF2B5EF4-FFF2-40B4-BE49-F238E27FC236}">
                <a16:creationId xmlns:a16="http://schemas.microsoft.com/office/drawing/2014/main" id="{B695ABB5-348C-B730-07FC-0891F0021A90}"/>
              </a:ext>
            </a:extLst>
          </p:cNvPr>
          <p:cNvSpPr txBox="1"/>
          <p:nvPr/>
        </p:nvSpPr>
        <p:spPr>
          <a:xfrm>
            <a:off x="2240376" y="5136997"/>
            <a:ext cx="1716066" cy="369332"/>
          </a:xfrm>
          <a:prstGeom prst="rect">
            <a:avLst/>
          </a:prstGeom>
          <a:noFill/>
        </p:spPr>
        <p:txBody>
          <a:bodyPr wrap="square" rtlCol="0">
            <a:spAutoFit/>
          </a:bodyPr>
          <a:lstStyle/>
          <a:p>
            <a:pPr algn="ctr"/>
            <a:r>
              <a:rPr lang="en-IN" sz="900" b="1" dirty="0"/>
              <a:t>FY24: </a:t>
            </a:r>
          </a:p>
          <a:p>
            <a:pPr algn="ctr"/>
            <a:r>
              <a:rPr lang="en-IN" sz="900" b="1" dirty="0"/>
              <a:t>INR 29,387 Cr</a:t>
            </a:r>
          </a:p>
        </p:txBody>
      </p:sp>
      <p:graphicFrame>
        <p:nvGraphicFramePr>
          <p:cNvPr id="27" name="Chart 26">
            <a:extLst>
              <a:ext uri="{FF2B5EF4-FFF2-40B4-BE49-F238E27FC236}">
                <a16:creationId xmlns:a16="http://schemas.microsoft.com/office/drawing/2014/main" id="{D5D6C158-7A8E-BA3E-6E40-DE1019049430}"/>
              </a:ext>
            </a:extLst>
          </p:cNvPr>
          <p:cNvGraphicFramePr/>
          <p:nvPr>
            <p:extLst>
              <p:ext uri="{D42A27DB-BD31-4B8C-83A1-F6EECF244321}">
                <p14:modId xmlns:p14="http://schemas.microsoft.com/office/powerpoint/2010/main" val="2191283466"/>
              </p:ext>
            </p:extLst>
          </p:nvPr>
        </p:nvGraphicFramePr>
        <p:xfrm>
          <a:off x="1651653" y="1758354"/>
          <a:ext cx="2893512" cy="1929008"/>
        </p:xfrm>
        <a:graphic>
          <a:graphicData uri="http://schemas.openxmlformats.org/drawingml/2006/chart">
            <c:chart xmlns:c="http://schemas.openxmlformats.org/drawingml/2006/chart" xmlns:r="http://schemas.openxmlformats.org/officeDocument/2006/relationships" r:id="rId10"/>
          </a:graphicData>
        </a:graphic>
      </p:graphicFrame>
      <p:sp>
        <p:nvSpPr>
          <p:cNvPr id="28" name="Oval 27">
            <a:extLst>
              <a:ext uri="{FF2B5EF4-FFF2-40B4-BE49-F238E27FC236}">
                <a16:creationId xmlns:a16="http://schemas.microsoft.com/office/drawing/2014/main" id="{00C93C9E-8BF4-9031-F6EF-F3C358155112}"/>
              </a:ext>
            </a:extLst>
          </p:cNvPr>
          <p:cNvSpPr/>
          <p:nvPr/>
        </p:nvSpPr>
        <p:spPr>
          <a:xfrm>
            <a:off x="2675779" y="2283495"/>
            <a:ext cx="850142" cy="85014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sz="800">
              <a:solidFill>
                <a:schemeClr val="tx2"/>
              </a:solidFill>
            </a:endParaRPr>
          </a:p>
        </p:txBody>
      </p:sp>
      <p:sp>
        <p:nvSpPr>
          <p:cNvPr id="29" name="TextBox 28">
            <a:extLst>
              <a:ext uri="{FF2B5EF4-FFF2-40B4-BE49-F238E27FC236}">
                <a16:creationId xmlns:a16="http://schemas.microsoft.com/office/drawing/2014/main" id="{188B72B2-4D23-DD6B-0942-B57412D51F96}"/>
              </a:ext>
            </a:extLst>
          </p:cNvPr>
          <p:cNvSpPr txBox="1"/>
          <p:nvPr/>
        </p:nvSpPr>
        <p:spPr>
          <a:xfrm>
            <a:off x="2240376" y="2510836"/>
            <a:ext cx="1716066" cy="369332"/>
          </a:xfrm>
          <a:prstGeom prst="rect">
            <a:avLst/>
          </a:prstGeom>
          <a:noFill/>
        </p:spPr>
        <p:txBody>
          <a:bodyPr wrap="square" rtlCol="0">
            <a:spAutoFit/>
          </a:bodyPr>
          <a:lstStyle/>
          <a:p>
            <a:pPr algn="ctr"/>
            <a:r>
              <a:rPr lang="en-IN" sz="900" b="1" dirty="0"/>
              <a:t>FY24: </a:t>
            </a:r>
          </a:p>
          <a:p>
            <a:pPr algn="ctr"/>
            <a:r>
              <a:rPr lang="en-IN" sz="900" b="1" dirty="0"/>
              <a:t>INR 29,387 Cr</a:t>
            </a:r>
          </a:p>
        </p:txBody>
      </p:sp>
    </p:spTree>
    <p:extLst>
      <p:ext uri="{BB962C8B-B14F-4D97-AF65-F5344CB8AC3E}">
        <p14:creationId xmlns:p14="http://schemas.microsoft.com/office/powerpoint/2010/main" val="35856382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C2899437-E95D-085B-7EFD-835D762ADA3C}"/>
              </a:ext>
            </a:extLst>
          </p:cNvPr>
          <p:cNvSpPr>
            <a:spLocks noGrp="1"/>
          </p:cNvSpPr>
          <p:nvPr>
            <p:ph type="title"/>
          </p:nvPr>
        </p:nvSpPr>
        <p:spPr/>
        <p:txBody>
          <a:bodyPr/>
          <a:lstStyle/>
          <a:p>
            <a:r>
              <a:rPr lang="en-US" dirty="0"/>
              <a:t>Public markets continue to enjoy a significant premium vis-à-vis private trade</a:t>
            </a:r>
            <a:endParaRPr lang="en-IN" dirty="0"/>
          </a:p>
        </p:txBody>
      </p:sp>
      <p:sp>
        <p:nvSpPr>
          <p:cNvPr id="15" name="Text Placeholder 14">
            <a:extLst>
              <a:ext uri="{FF2B5EF4-FFF2-40B4-BE49-F238E27FC236}">
                <a16:creationId xmlns:a16="http://schemas.microsoft.com/office/drawing/2014/main" id="{C50E3A70-554E-A554-602B-8EE02C23C84F}"/>
              </a:ext>
            </a:extLst>
          </p:cNvPr>
          <p:cNvSpPr>
            <a:spLocks noGrp="1"/>
          </p:cNvSpPr>
          <p:nvPr>
            <p:ph type="body" sz="quarter" idx="10"/>
          </p:nvPr>
        </p:nvSpPr>
        <p:spPr/>
        <p:txBody>
          <a:bodyPr/>
          <a:lstStyle/>
          <a:p>
            <a:r>
              <a:rPr lang="en-IN" dirty="0"/>
              <a:t>ECM activity is likely to intensify as public markets trade at a significant premium to private transactions</a:t>
            </a:r>
          </a:p>
        </p:txBody>
      </p:sp>
      <p:sp>
        <p:nvSpPr>
          <p:cNvPr id="16" name="Text Placeholder 15">
            <a:extLst>
              <a:ext uri="{FF2B5EF4-FFF2-40B4-BE49-F238E27FC236}">
                <a16:creationId xmlns:a16="http://schemas.microsoft.com/office/drawing/2014/main" id="{B3729716-3A75-CA89-B8F4-A9C4FEED3F31}"/>
              </a:ext>
            </a:extLst>
          </p:cNvPr>
          <p:cNvSpPr>
            <a:spLocks noGrp="1"/>
          </p:cNvSpPr>
          <p:nvPr>
            <p:ph type="body" sz="quarter" idx="11"/>
          </p:nvPr>
        </p:nvSpPr>
        <p:spPr/>
        <p:txBody>
          <a:bodyPr/>
          <a:lstStyle/>
          <a:p>
            <a:endParaRPr lang="en-IN"/>
          </a:p>
        </p:txBody>
      </p:sp>
      <p:sp>
        <p:nvSpPr>
          <p:cNvPr id="14" name="Text Placeholder 13">
            <a:extLst>
              <a:ext uri="{FF2B5EF4-FFF2-40B4-BE49-F238E27FC236}">
                <a16:creationId xmlns:a16="http://schemas.microsoft.com/office/drawing/2014/main" id="{B26F1E1F-3A6D-E6E1-DD4C-EE90CB1D2BAF}"/>
              </a:ext>
            </a:extLst>
          </p:cNvPr>
          <p:cNvSpPr>
            <a:spLocks noGrp="1"/>
          </p:cNvSpPr>
          <p:nvPr>
            <p:ph type="body" idx="1"/>
          </p:nvPr>
        </p:nvSpPr>
        <p:spPr/>
        <p:txBody>
          <a:bodyPr/>
          <a:lstStyle/>
          <a:p>
            <a:r>
              <a:rPr lang="en-US" dirty="0"/>
              <a:t>API</a:t>
            </a:r>
            <a:endParaRPr lang="en-IN" dirty="0"/>
          </a:p>
        </p:txBody>
      </p:sp>
      <p:sp>
        <p:nvSpPr>
          <p:cNvPr id="17" name="Text Placeholder 16">
            <a:extLst>
              <a:ext uri="{FF2B5EF4-FFF2-40B4-BE49-F238E27FC236}">
                <a16:creationId xmlns:a16="http://schemas.microsoft.com/office/drawing/2014/main" id="{87118B55-6250-5146-8AB5-D3C8BBDE2BF3}"/>
              </a:ext>
            </a:extLst>
          </p:cNvPr>
          <p:cNvSpPr>
            <a:spLocks noGrp="1"/>
          </p:cNvSpPr>
          <p:nvPr>
            <p:ph type="body" idx="12"/>
          </p:nvPr>
        </p:nvSpPr>
        <p:spPr/>
        <p:txBody>
          <a:bodyPr/>
          <a:lstStyle/>
          <a:p>
            <a:r>
              <a:rPr lang="en-US" dirty="0"/>
              <a:t>Formulations</a:t>
            </a:r>
            <a:endParaRPr lang="en-IN" dirty="0"/>
          </a:p>
        </p:txBody>
      </p:sp>
      <p:sp>
        <p:nvSpPr>
          <p:cNvPr id="18" name="Text Placeholder 17">
            <a:extLst>
              <a:ext uri="{FF2B5EF4-FFF2-40B4-BE49-F238E27FC236}">
                <a16:creationId xmlns:a16="http://schemas.microsoft.com/office/drawing/2014/main" id="{A2D3A3D2-F01E-E7FA-1559-EF4994AD5B0F}"/>
              </a:ext>
            </a:extLst>
          </p:cNvPr>
          <p:cNvSpPr>
            <a:spLocks noGrp="1"/>
          </p:cNvSpPr>
          <p:nvPr>
            <p:ph type="body" idx="13"/>
          </p:nvPr>
        </p:nvSpPr>
        <p:spPr/>
        <p:txBody>
          <a:bodyPr/>
          <a:lstStyle/>
          <a:p>
            <a:r>
              <a:rPr lang="en-US" dirty="0"/>
              <a:t>PAN India Hospitals</a:t>
            </a:r>
            <a:endParaRPr lang="en-IN" dirty="0"/>
          </a:p>
        </p:txBody>
      </p:sp>
      <p:sp>
        <p:nvSpPr>
          <p:cNvPr id="19" name="Text Placeholder 18">
            <a:extLst>
              <a:ext uri="{FF2B5EF4-FFF2-40B4-BE49-F238E27FC236}">
                <a16:creationId xmlns:a16="http://schemas.microsoft.com/office/drawing/2014/main" id="{B10D1B47-716C-E880-5286-EB7631774771}"/>
              </a:ext>
            </a:extLst>
          </p:cNvPr>
          <p:cNvSpPr>
            <a:spLocks noGrp="1"/>
          </p:cNvSpPr>
          <p:nvPr>
            <p:ph type="body" idx="14"/>
          </p:nvPr>
        </p:nvSpPr>
        <p:spPr/>
        <p:txBody>
          <a:bodyPr/>
          <a:lstStyle/>
          <a:p>
            <a:r>
              <a:rPr lang="en-IN" dirty="0"/>
              <a:t>Regional Hospitals</a:t>
            </a:r>
          </a:p>
        </p:txBody>
      </p:sp>
      <p:sp>
        <p:nvSpPr>
          <p:cNvPr id="26" name="Text Placeholder 25">
            <a:extLst>
              <a:ext uri="{FF2B5EF4-FFF2-40B4-BE49-F238E27FC236}">
                <a16:creationId xmlns:a16="http://schemas.microsoft.com/office/drawing/2014/main" id="{39C12874-B0C9-BD67-4D1C-88C5F623D15B}"/>
              </a:ext>
            </a:extLst>
          </p:cNvPr>
          <p:cNvSpPr>
            <a:spLocks noGrp="1"/>
          </p:cNvSpPr>
          <p:nvPr>
            <p:ph type="body" idx="21"/>
          </p:nvPr>
        </p:nvSpPr>
        <p:spPr/>
        <p:txBody>
          <a:bodyPr/>
          <a:lstStyle/>
          <a:p>
            <a:r>
              <a:rPr lang="en-IN" dirty="0"/>
              <a:t>CDMO</a:t>
            </a:r>
          </a:p>
        </p:txBody>
      </p:sp>
      <p:sp>
        <p:nvSpPr>
          <p:cNvPr id="27" name="Text Placeholder 26">
            <a:extLst>
              <a:ext uri="{FF2B5EF4-FFF2-40B4-BE49-F238E27FC236}">
                <a16:creationId xmlns:a16="http://schemas.microsoft.com/office/drawing/2014/main" id="{6EBFE571-30FD-27B9-1A94-B226849937C7}"/>
              </a:ext>
            </a:extLst>
          </p:cNvPr>
          <p:cNvSpPr>
            <a:spLocks noGrp="1"/>
          </p:cNvSpPr>
          <p:nvPr>
            <p:ph type="body" idx="22"/>
          </p:nvPr>
        </p:nvSpPr>
        <p:spPr/>
        <p:txBody>
          <a:bodyPr/>
          <a:lstStyle/>
          <a:p>
            <a:r>
              <a:rPr lang="en-IN" dirty="0"/>
              <a:t>Diagnostics</a:t>
            </a:r>
          </a:p>
        </p:txBody>
      </p:sp>
      <p:graphicFrame>
        <p:nvGraphicFramePr>
          <p:cNvPr id="4" name="Chart 3">
            <a:extLst>
              <a:ext uri="{FF2B5EF4-FFF2-40B4-BE49-F238E27FC236}">
                <a16:creationId xmlns:a16="http://schemas.microsoft.com/office/drawing/2014/main" id="{F1775563-EF49-5E8F-1021-84216A06939D}"/>
              </a:ext>
            </a:extLst>
          </p:cNvPr>
          <p:cNvGraphicFramePr/>
          <p:nvPr>
            <p:extLst>
              <p:ext uri="{D42A27DB-BD31-4B8C-83A1-F6EECF244321}">
                <p14:modId xmlns:p14="http://schemas.microsoft.com/office/powerpoint/2010/main" val="2043336675"/>
              </p:ext>
            </p:extLst>
          </p:nvPr>
        </p:nvGraphicFramePr>
        <p:xfrm>
          <a:off x="342900" y="1357654"/>
          <a:ext cx="3734425" cy="22860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Chart 4">
            <a:extLst>
              <a:ext uri="{FF2B5EF4-FFF2-40B4-BE49-F238E27FC236}">
                <a16:creationId xmlns:a16="http://schemas.microsoft.com/office/drawing/2014/main" id="{F8702EEC-BB8E-0ED9-D563-D3725958F626}"/>
              </a:ext>
            </a:extLst>
          </p:cNvPr>
          <p:cNvGraphicFramePr/>
          <p:nvPr>
            <p:extLst>
              <p:ext uri="{D42A27DB-BD31-4B8C-83A1-F6EECF244321}">
                <p14:modId xmlns:p14="http://schemas.microsoft.com/office/powerpoint/2010/main" val="2740750140"/>
              </p:ext>
            </p:extLst>
          </p:nvPr>
        </p:nvGraphicFramePr>
        <p:xfrm>
          <a:off x="4286400" y="1325879"/>
          <a:ext cx="3618900" cy="236058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6F99E8EC-92BC-1C94-D37A-C37C1897B341}"/>
              </a:ext>
            </a:extLst>
          </p:cNvPr>
          <p:cNvGraphicFramePr/>
          <p:nvPr>
            <p:extLst>
              <p:ext uri="{D42A27DB-BD31-4B8C-83A1-F6EECF244321}">
                <p14:modId xmlns:p14="http://schemas.microsoft.com/office/powerpoint/2010/main" val="3410072688"/>
              </p:ext>
            </p:extLst>
          </p:nvPr>
        </p:nvGraphicFramePr>
        <p:xfrm>
          <a:off x="8230198" y="1325880"/>
          <a:ext cx="3618901" cy="235191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 name="Chart 7">
            <a:extLst>
              <a:ext uri="{FF2B5EF4-FFF2-40B4-BE49-F238E27FC236}">
                <a16:creationId xmlns:a16="http://schemas.microsoft.com/office/drawing/2014/main" id="{562949FB-FEB2-DC31-9A6E-752CD55E3672}"/>
              </a:ext>
            </a:extLst>
          </p:cNvPr>
          <p:cNvGraphicFramePr/>
          <p:nvPr>
            <p:extLst>
              <p:ext uri="{D42A27DB-BD31-4B8C-83A1-F6EECF244321}">
                <p14:modId xmlns:p14="http://schemas.microsoft.com/office/powerpoint/2010/main" val="491020003"/>
              </p:ext>
            </p:extLst>
          </p:nvPr>
        </p:nvGraphicFramePr>
        <p:xfrm>
          <a:off x="342900" y="4458099"/>
          <a:ext cx="3618600" cy="1942969"/>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9" name="Chart 8">
            <a:extLst>
              <a:ext uri="{FF2B5EF4-FFF2-40B4-BE49-F238E27FC236}">
                <a16:creationId xmlns:a16="http://schemas.microsoft.com/office/drawing/2014/main" id="{D9B79B79-5CE5-8434-2779-F4AE9657CE1A}"/>
              </a:ext>
            </a:extLst>
          </p:cNvPr>
          <p:cNvGraphicFramePr/>
          <p:nvPr>
            <p:extLst>
              <p:ext uri="{D42A27DB-BD31-4B8C-83A1-F6EECF244321}">
                <p14:modId xmlns:p14="http://schemas.microsoft.com/office/powerpoint/2010/main" val="1477375823"/>
              </p:ext>
            </p:extLst>
          </p:nvPr>
        </p:nvGraphicFramePr>
        <p:xfrm>
          <a:off x="4286400" y="4356208"/>
          <a:ext cx="3618900" cy="196865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Chart 9">
            <a:extLst>
              <a:ext uri="{FF2B5EF4-FFF2-40B4-BE49-F238E27FC236}">
                <a16:creationId xmlns:a16="http://schemas.microsoft.com/office/drawing/2014/main" id="{1245F321-F64B-084B-13CB-079E9DFC7ED9}"/>
              </a:ext>
            </a:extLst>
          </p:cNvPr>
          <p:cNvGraphicFramePr/>
          <p:nvPr>
            <p:extLst>
              <p:ext uri="{D42A27DB-BD31-4B8C-83A1-F6EECF244321}">
                <p14:modId xmlns:p14="http://schemas.microsoft.com/office/powerpoint/2010/main" val="3954038211"/>
              </p:ext>
            </p:extLst>
          </p:nvPr>
        </p:nvGraphicFramePr>
        <p:xfrm>
          <a:off x="8230199" y="4356208"/>
          <a:ext cx="3618900" cy="1968659"/>
        </p:xfrm>
        <a:graphic>
          <a:graphicData uri="http://schemas.openxmlformats.org/drawingml/2006/chart">
            <c:chart xmlns:c="http://schemas.openxmlformats.org/drawingml/2006/chart" xmlns:r="http://schemas.openxmlformats.org/officeDocument/2006/relationships" r:id="rId7"/>
          </a:graphicData>
        </a:graphic>
      </p:graphicFrame>
      <p:grpSp>
        <p:nvGrpSpPr>
          <p:cNvPr id="55" name="Group 54">
            <a:extLst>
              <a:ext uri="{FF2B5EF4-FFF2-40B4-BE49-F238E27FC236}">
                <a16:creationId xmlns:a16="http://schemas.microsoft.com/office/drawing/2014/main" id="{89D65ED9-B584-BEFA-2654-42E42EFFD002}"/>
              </a:ext>
            </a:extLst>
          </p:cNvPr>
          <p:cNvGrpSpPr/>
          <p:nvPr/>
        </p:nvGrpSpPr>
        <p:grpSpPr>
          <a:xfrm>
            <a:off x="342900" y="2485698"/>
            <a:ext cx="3937075" cy="226292"/>
            <a:chOff x="762000" y="2344522"/>
            <a:chExt cx="3511550" cy="230832"/>
          </a:xfrm>
        </p:grpSpPr>
        <p:cxnSp>
          <p:nvCxnSpPr>
            <p:cNvPr id="12" name="Straight Connector 11">
              <a:extLst>
                <a:ext uri="{FF2B5EF4-FFF2-40B4-BE49-F238E27FC236}">
                  <a16:creationId xmlns:a16="http://schemas.microsoft.com/office/drawing/2014/main" id="{895453A5-EB9C-B568-CF90-70759DFB0DEA}"/>
                </a:ext>
              </a:extLst>
            </p:cNvPr>
            <p:cNvCxnSpPr>
              <a:cxnSpLocks/>
            </p:cNvCxnSpPr>
            <p:nvPr/>
          </p:nvCxnSpPr>
          <p:spPr>
            <a:xfrm>
              <a:off x="762000" y="2468879"/>
              <a:ext cx="3073400" cy="0"/>
            </a:xfrm>
            <a:prstGeom prst="line">
              <a:avLst/>
            </a:prstGeom>
            <a:ln w="19050" cap="flat" cmpd="sng" algn="ctr">
              <a:solidFill>
                <a:schemeClr val="bg2">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2" name="TextBox 31">
              <a:extLst>
                <a:ext uri="{FF2B5EF4-FFF2-40B4-BE49-F238E27FC236}">
                  <a16:creationId xmlns:a16="http://schemas.microsoft.com/office/drawing/2014/main" id="{3CE02699-0177-F998-8148-8390FB2CCF81}"/>
                </a:ext>
              </a:extLst>
            </p:cNvPr>
            <p:cNvSpPr txBox="1"/>
            <p:nvPr/>
          </p:nvSpPr>
          <p:spPr>
            <a:xfrm>
              <a:off x="3733800" y="2344522"/>
              <a:ext cx="539750" cy="230832"/>
            </a:xfrm>
            <a:prstGeom prst="rect">
              <a:avLst/>
            </a:prstGeom>
            <a:noFill/>
          </p:spPr>
          <p:txBody>
            <a:bodyPr wrap="square" rtlCol="0">
              <a:spAutoFit/>
            </a:bodyPr>
            <a:lstStyle/>
            <a:p>
              <a:r>
                <a:rPr lang="en-IN" sz="900" b="1" dirty="0">
                  <a:solidFill>
                    <a:schemeClr val="bg2"/>
                  </a:solidFill>
                </a:rPr>
                <a:t>21.4x</a:t>
              </a:r>
            </a:p>
          </p:txBody>
        </p:sp>
      </p:grpSp>
      <p:grpSp>
        <p:nvGrpSpPr>
          <p:cNvPr id="59" name="Group 58">
            <a:extLst>
              <a:ext uri="{FF2B5EF4-FFF2-40B4-BE49-F238E27FC236}">
                <a16:creationId xmlns:a16="http://schemas.microsoft.com/office/drawing/2014/main" id="{3CF32F5F-88DA-60DB-5F18-5050AC911160}"/>
              </a:ext>
            </a:extLst>
          </p:cNvPr>
          <p:cNvGrpSpPr/>
          <p:nvPr/>
        </p:nvGrpSpPr>
        <p:grpSpPr>
          <a:xfrm>
            <a:off x="342900" y="1990224"/>
            <a:ext cx="3904639" cy="195802"/>
            <a:chOff x="782475" y="1541399"/>
            <a:chExt cx="3487088" cy="230832"/>
          </a:xfrm>
        </p:grpSpPr>
        <p:cxnSp>
          <p:nvCxnSpPr>
            <p:cNvPr id="34" name="Straight Connector 33">
              <a:extLst>
                <a:ext uri="{FF2B5EF4-FFF2-40B4-BE49-F238E27FC236}">
                  <a16:creationId xmlns:a16="http://schemas.microsoft.com/office/drawing/2014/main" id="{888C84C6-CB17-E947-0B1C-B1E69981DA35}"/>
                </a:ext>
              </a:extLst>
            </p:cNvPr>
            <p:cNvCxnSpPr>
              <a:cxnSpLocks/>
              <a:endCxn id="36" idx="1"/>
            </p:cNvCxnSpPr>
            <p:nvPr/>
          </p:nvCxnSpPr>
          <p:spPr>
            <a:xfrm flipV="1">
              <a:off x="782475" y="1656815"/>
              <a:ext cx="2947338" cy="1900"/>
            </a:xfrm>
            <a:prstGeom prst="line">
              <a:avLst/>
            </a:prstGeom>
            <a:ln w="19050"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6" name="TextBox 35">
              <a:extLst>
                <a:ext uri="{FF2B5EF4-FFF2-40B4-BE49-F238E27FC236}">
                  <a16:creationId xmlns:a16="http://schemas.microsoft.com/office/drawing/2014/main" id="{93601C8A-E58E-6AF9-4862-9BE2DE527E12}"/>
                </a:ext>
              </a:extLst>
            </p:cNvPr>
            <p:cNvSpPr txBox="1"/>
            <p:nvPr/>
          </p:nvSpPr>
          <p:spPr>
            <a:xfrm>
              <a:off x="3729813" y="1541399"/>
              <a:ext cx="539750" cy="230832"/>
            </a:xfrm>
            <a:prstGeom prst="rect">
              <a:avLst/>
            </a:prstGeom>
            <a:noFill/>
          </p:spPr>
          <p:txBody>
            <a:bodyPr wrap="square" rtlCol="0">
              <a:spAutoFit/>
            </a:bodyPr>
            <a:lstStyle/>
            <a:p>
              <a:r>
                <a:rPr lang="en-IN" sz="900" b="1" dirty="0">
                  <a:solidFill>
                    <a:srgbClr val="FF0000"/>
                  </a:solidFill>
                </a:rPr>
                <a:t>40.0x</a:t>
              </a:r>
            </a:p>
          </p:txBody>
        </p:sp>
      </p:grpSp>
      <p:grpSp>
        <p:nvGrpSpPr>
          <p:cNvPr id="73" name="Group 72">
            <a:extLst>
              <a:ext uri="{FF2B5EF4-FFF2-40B4-BE49-F238E27FC236}">
                <a16:creationId xmlns:a16="http://schemas.microsoft.com/office/drawing/2014/main" id="{E2D7BDEE-08FB-FEB8-1067-DB11EB29CA49}"/>
              </a:ext>
            </a:extLst>
          </p:cNvPr>
          <p:cNvGrpSpPr/>
          <p:nvPr/>
        </p:nvGrpSpPr>
        <p:grpSpPr>
          <a:xfrm>
            <a:off x="342900" y="2750493"/>
            <a:ext cx="3911713" cy="199267"/>
            <a:chOff x="762000" y="2673875"/>
            <a:chExt cx="3511550" cy="230832"/>
          </a:xfrm>
        </p:grpSpPr>
        <p:cxnSp>
          <p:nvCxnSpPr>
            <p:cNvPr id="45" name="Straight Connector 44">
              <a:extLst>
                <a:ext uri="{FF2B5EF4-FFF2-40B4-BE49-F238E27FC236}">
                  <a16:creationId xmlns:a16="http://schemas.microsoft.com/office/drawing/2014/main" id="{D0D26836-59DE-E611-F4A3-91BFB1924E16}"/>
                </a:ext>
              </a:extLst>
            </p:cNvPr>
            <p:cNvCxnSpPr>
              <a:cxnSpLocks/>
            </p:cNvCxnSpPr>
            <p:nvPr/>
          </p:nvCxnSpPr>
          <p:spPr>
            <a:xfrm>
              <a:off x="762000" y="2794000"/>
              <a:ext cx="3022600" cy="7991"/>
            </a:xfrm>
            <a:prstGeom prst="line">
              <a:avLst/>
            </a:prstGeom>
            <a:ln w="19050" cap="flat" cmpd="sng" algn="ctr">
              <a:solidFill>
                <a:srgbClr val="FFC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7" name="TextBox 46">
              <a:extLst>
                <a:ext uri="{FF2B5EF4-FFF2-40B4-BE49-F238E27FC236}">
                  <a16:creationId xmlns:a16="http://schemas.microsoft.com/office/drawing/2014/main" id="{DCD3D6FF-C2BE-CF58-C284-B9312530C150}"/>
                </a:ext>
              </a:extLst>
            </p:cNvPr>
            <p:cNvSpPr txBox="1"/>
            <p:nvPr/>
          </p:nvSpPr>
          <p:spPr>
            <a:xfrm>
              <a:off x="3733800" y="2673875"/>
              <a:ext cx="539750" cy="230832"/>
            </a:xfrm>
            <a:prstGeom prst="rect">
              <a:avLst/>
            </a:prstGeom>
            <a:noFill/>
          </p:spPr>
          <p:txBody>
            <a:bodyPr wrap="square" rtlCol="0">
              <a:spAutoFit/>
            </a:bodyPr>
            <a:lstStyle/>
            <a:p>
              <a:r>
                <a:rPr lang="en-IN" sz="900" b="1" dirty="0">
                  <a:solidFill>
                    <a:srgbClr val="FFC000"/>
                  </a:solidFill>
                </a:rPr>
                <a:t>13.6x</a:t>
              </a:r>
            </a:p>
          </p:txBody>
        </p:sp>
      </p:grpSp>
      <p:grpSp>
        <p:nvGrpSpPr>
          <p:cNvPr id="56" name="Group 55">
            <a:extLst>
              <a:ext uri="{FF2B5EF4-FFF2-40B4-BE49-F238E27FC236}">
                <a16:creationId xmlns:a16="http://schemas.microsoft.com/office/drawing/2014/main" id="{C69AC462-2764-9382-D0CD-F7438187B1BF}"/>
              </a:ext>
            </a:extLst>
          </p:cNvPr>
          <p:cNvGrpSpPr/>
          <p:nvPr/>
        </p:nvGrpSpPr>
        <p:grpSpPr>
          <a:xfrm>
            <a:off x="4456614" y="2371342"/>
            <a:ext cx="3773584" cy="208100"/>
            <a:chOff x="762000" y="2344522"/>
            <a:chExt cx="3511550" cy="230832"/>
          </a:xfrm>
        </p:grpSpPr>
        <p:cxnSp>
          <p:nvCxnSpPr>
            <p:cNvPr id="57" name="Straight Connector 56">
              <a:extLst>
                <a:ext uri="{FF2B5EF4-FFF2-40B4-BE49-F238E27FC236}">
                  <a16:creationId xmlns:a16="http://schemas.microsoft.com/office/drawing/2014/main" id="{F1A6A1F4-D315-9EB5-A2A6-1ECC1EE89CAF}"/>
                </a:ext>
              </a:extLst>
            </p:cNvPr>
            <p:cNvCxnSpPr>
              <a:cxnSpLocks/>
            </p:cNvCxnSpPr>
            <p:nvPr/>
          </p:nvCxnSpPr>
          <p:spPr>
            <a:xfrm>
              <a:off x="762000" y="2468879"/>
              <a:ext cx="3073400" cy="0"/>
            </a:xfrm>
            <a:prstGeom prst="line">
              <a:avLst/>
            </a:prstGeom>
            <a:ln w="19050" cap="flat" cmpd="sng" algn="ctr">
              <a:solidFill>
                <a:schemeClr val="bg2">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8" name="TextBox 57">
              <a:extLst>
                <a:ext uri="{FF2B5EF4-FFF2-40B4-BE49-F238E27FC236}">
                  <a16:creationId xmlns:a16="http://schemas.microsoft.com/office/drawing/2014/main" id="{54570AAB-339A-25BA-6558-1D996AEFA0FE}"/>
                </a:ext>
              </a:extLst>
            </p:cNvPr>
            <p:cNvSpPr txBox="1"/>
            <p:nvPr/>
          </p:nvSpPr>
          <p:spPr>
            <a:xfrm>
              <a:off x="3733800" y="2344522"/>
              <a:ext cx="539750" cy="230832"/>
            </a:xfrm>
            <a:prstGeom prst="rect">
              <a:avLst/>
            </a:prstGeom>
            <a:noFill/>
          </p:spPr>
          <p:txBody>
            <a:bodyPr wrap="square" rtlCol="0">
              <a:spAutoFit/>
            </a:bodyPr>
            <a:lstStyle/>
            <a:p>
              <a:r>
                <a:rPr lang="en-IN" sz="900" b="1" dirty="0">
                  <a:solidFill>
                    <a:schemeClr val="bg2"/>
                  </a:solidFill>
                </a:rPr>
                <a:t>23.3x</a:t>
              </a:r>
            </a:p>
          </p:txBody>
        </p:sp>
      </p:grpSp>
      <p:grpSp>
        <p:nvGrpSpPr>
          <p:cNvPr id="66" name="Group 65">
            <a:extLst>
              <a:ext uri="{FF2B5EF4-FFF2-40B4-BE49-F238E27FC236}">
                <a16:creationId xmlns:a16="http://schemas.microsoft.com/office/drawing/2014/main" id="{D5895980-E1A4-EF3C-A512-03752443EB9E}"/>
              </a:ext>
            </a:extLst>
          </p:cNvPr>
          <p:cNvGrpSpPr/>
          <p:nvPr/>
        </p:nvGrpSpPr>
        <p:grpSpPr>
          <a:xfrm>
            <a:off x="4456614" y="2128609"/>
            <a:ext cx="3758255" cy="213668"/>
            <a:chOff x="762000" y="1559084"/>
            <a:chExt cx="3487088" cy="230832"/>
          </a:xfrm>
        </p:grpSpPr>
        <p:cxnSp>
          <p:nvCxnSpPr>
            <p:cNvPr id="67" name="Straight Connector 66">
              <a:extLst>
                <a:ext uri="{FF2B5EF4-FFF2-40B4-BE49-F238E27FC236}">
                  <a16:creationId xmlns:a16="http://schemas.microsoft.com/office/drawing/2014/main" id="{62059AD4-B58C-01BC-8210-15A6D8B3A896}"/>
                </a:ext>
              </a:extLst>
            </p:cNvPr>
            <p:cNvCxnSpPr>
              <a:cxnSpLocks/>
              <a:endCxn id="68" idx="1"/>
            </p:cNvCxnSpPr>
            <p:nvPr/>
          </p:nvCxnSpPr>
          <p:spPr>
            <a:xfrm flipV="1">
              <a:off x="762000" y="1674500"/>
              <a:ext cx="2947338" cy="1900"/>
            </a:xfrm>
            <a:prstGeom prst="line">
              <a:avLst/>
            </a:prstGeom>
            <a:ln w="19050"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68" name="TextBox 67">
              <a:extLst>
                <a:ext uri="{FF2B5EF4-FFF2-40B4-BE49-F238E27FC236}">
                  <a16:creationId xmlns:a16="http://schemas.microsoft.com/office/drawing/2014/main" id="{C4767D5A-AB6A-9B96-13E8-A9459E99D54D}"/>
                </a:ext>
              </a:extLst>
            </p:cNvPr>
            <p:cNvSpPr txBox="1"/>
            <p:nvPr/>
          </p:nvSpPr>
          <p:spPr>
            <a:xfrm>
              <a:off x="3709338" y="1559084"/>
              <a:ext cx="539750" cy="230832"/>
            </a:xfrm>
            <a:prstGeom prst="rect">
              <a:avLst/>
            </a:prstGeom>
            <a:noFill/>
          </p:spPr>
          <p:txBody>
            <a:bodyPr wrap="square" rtlCol="0">
              <a:spAutoFit/>
            </a:bodyPr>
            <a:lstStyle/>
            <a:p>
              <a:r>
                <a:rPr lang="en-IN" sz="900" b="1" dirty="0">
                  <a:solidFill>
                    <a:srgbClr val="FF0000"/>
                  </a:solidFill>
                </a:rPr>
                <a:t>32.5x</a:t>
              </a:r>
            </a:p>
          </p:txBody>
        </p:sp>
      </p:grpSp>
      <p:grpSp>
        <p:nvGrpSpPr>
          <p:cNvPr id="74" name="Group 73">
            <a:extLst>
              <a:ext uri="{FF2B5EF4-FFF2-40B4-BE49-F238E27FC236}">
                <a16:creationId xmlns:a16="http://schemas.microsoft.com/office/drawing/2014/main" id="{20F3BD47-1EEB-A7CA-35A9-861FF0F95310}"/>
              </a:ext>
            </a:extLst>
          </p:cNvPr>
          <p:cNvGrpSpPr/>
          <p:nvPr/>
        </p:nvGrpSpPr>
        <p:grpSpPr>
          <a:xfrm>
            <a:off x="4456614" y="2584843"/>
            <a:ext cx="3742926" cy="319753"/>
            <a:chOff x="762000" y="2673875"/>
            <a:chExt cx="3511550" cy="230832"/>
          </a:xfrm>
        </p:grpSpPr>
        <p:cxnSp>
          <p:nvCxnSpPr>
            <p:cNvPr id="75" name="Straight Connector 74">
              <a:extLst>
                <a:ext uri="{FF2B5EF4-FFF2-40B4-BE49-F238E27FC236}">
                  <a16:creationId xmlns:a16="http://schemas.microsoft.com/office/drawing/2014/main" id="{56AC6550-BCA6-A7E9-F1DE-D819C45896E2}"/>
                </a:ext>
              </a:extLst>
            </p:cNvPr>
            <p:cNvCxnSpPr>
              <a:cxnSpLocks/>
            </p:cNvCxnSpPr>
            <p:nvPr/>
          </p:nvCxnSpPr>
          <p:spPr>
            <a:xfrm>
              <a:off x="762000" y="2794000"/>
              <a:ext cx="3022600" cy="7991"/>
            </a:xfrm>
            <a:prstGeom prst="line">
              <a:avLst/>
            </a:prstGeom>
            <a:ln w="19050" cap="flat" cmpd="sng" algn="ctr">
              <a:solidFill>
                <a:srgbClr val="FFC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76" name="TextBox 75">
              <a:extLst>
                <a:ext uri="{FF2B5EF4-FFF2-40B4-BE49-F238E27FC236}">
                  <a16:creationId xmlns:a16="http://schemas.microsoft.com/office/drawing/2014/main" id="{442D0717-5F0D-C7C7-3C84-4EFC525119AA}"/>
                </a:ext>
              </a:extLst>
            </p:cNvPr>
            <p:cNvSpPr txBox="1"/>
            <p:nvPr/>
          </p:nvSpPr>
          <p:spPr>
            <a:xfrm>
              <a:off x="3733800" y="2673875"/>
              <a:ext cx="539750" cy="230832"/>
            </a:xfrm>
            <a:prstGeom prst="rect">
              <a:avLst/>
            </a:prstGeom>
            <a:noFill/>
          </p:spPr>
          <p:txBody>
            <a:bodyPr wrap="square" rtlCol="0">
              <a:spAutoFit/>
            </a:bodyPr>
            <a:lstStyle/>
            <a:p>
              <a:r>
                <a:rPr lang="en-IN" sz="900" b="1" dirty="0">
                  <a:solidFill>
                    <a:srgbClr val="FFC000"/>
                  </a:solidFill>
                </a:rPr>
                <a:t>18.2x</a:t>
              </a:r>
            </a:p>
          </p:txBody>
        </p:sp>
      </p:grpSp>
      <p:grpSp>
        <p:nvGrpSpPr>
          <p:cNvPr id="77" name="Group 76">
            <a:extLst>
              <a:ext uri="{FF2B5EF4-FFF2-40B4-BE49-F238E27FC236}">
                <a16:creationId xmlns:a16="http://schemas.microsoft.com/office/drawing/2014/main" id="{7737836D-B6BC-767A-13E6-5686B6F1AD73}"/>
              </a:ext>
            </a:extLst>
          </p:cNvPr>
          <p:cNvGrpSpPr/>
          <p:nvPr/>
        </p:nvGrpSpPr>
        <p:grpSpPr>
          <a:xfrm>
            <a:off x="8299450" y="2178946"/>
            <a:ext cx="3791581" cy="282563"/>
            <a:chOff x="762000" y="2344522"/>
            <a:chExt cx="3511550" cy="230832"/>
          </a:xfrm>
        </p:grpSpPr>
        <p:cxnSp>
          <p:nvCxnSpPr>
            <p:cNvPr id="78" name="Straight Connector 77">
              <a:extLst>
                <a:ext uri="{FF2B5EF4-FFF2-40B4-BE49-F238E27FC236}">
                  <a16:creationId xmlns:a16="http://schemas.microsoft.com/office/drawing/2014/main" id="{C4AF092C-F404-6695-FC47-69D8BEB61C50}"/>
                </a:ext>
              </a:extLst>
            </p:cNvPr>
            <p:cNvCxnSpPr>
              <a:cxnSpLocks/>
            </p:cNvCxnSpPr>
            <p:nvPr/>
          </p:nvCxnSpPr>
          <p:spPr>
            <a:xfrm>
              <a:off x="762000" y="2468879"/>
              <a:ext cx="3073400" cy="0"/>
            </a:xfrm>
            <a:prstGeom prst="line">
              <a:avLst/>
            </a:prstGeom>
            <a:ln w="19050" cap="flat" cmpd="sng" algn="ctr">
              <a:solidFill>
                <a:schemeClr val="bg2">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79" name="TextBox 78">
              <a:extLst>
                <a:ext uri="{FF2B5EF4-FFF2-40B4-BE49-F238E27FC236}">
                  <a16:creationId xmlns:a16="http://schemas.microsoft.com/office/drawing/2014/main" id="{A905F680-B3C7-54D6-140B-D28C0E13DC29}"/>
                </a:ext>
              </a:extLst>
            </p:cNvPr>
            <p:cNvSpPr txBox="1"/>
            <p:nvPr/>
          </p:nvSpPr>
          <p:spPr>
            <a:xfrm>
              <a:off x="3733800" y="2344522"/>
              <a:ext cx="539750" cy="230832"/>
            </a:xfrm>
            <a:prstGeom prst="rect">
              <a:avLst/>
            </a:prstGeom>
            <a:noFill/>
          </p:spPr>
          <p:txBody>
            <a:bodyPr wrap="square" rtlCol="0">
              <a:spAutoFit/>
            </a:bodyPr>
            <a:lstStyle/>
            <a:p>
              <a:r>
                <a:rPr lang="en-IN" sz="900" b="1" dirty="0">
                  <a:solidFill>
                    <a:schemeClr val="bg2"/>
                  </a:solidFill>
                </a:rPr>
                <a:t>29.6x</a:t>
              </a:r>
            </a:p>
          </p:txBody>
        </p:sp>
      </p:grpSp>
      <p:grpSp>
        <p:nvGrpSpPr>
          <p:cNvPr id="80" name="Group 79">
            <a:extLst>
              <a:ext uri="{FF2B5EF4-FFF2-40B4-BE49-F238E27FC236}">
                <a16:creationId xmlns:a16="http://schemas.microsoft.com/office/drawing/2014/main" id="{36941FF9-DAFC-E738-5E40-C86E067E3169}"/>
              </a:ext>
            </a:extLst>
          </p:cNvPr>
          <p:cNvGrpSpPr/>
          <p:nvPr/>
        </p:nvGrpSpPr>
        <p:grpSpPr>
          <a:xfrm>
            <a:off x="8299450" y="1787046"/>
            <a:ext cx="3791582" cy="341555"/>
            <a:chOff x="762000" y="1559084"/>
            <a:chExt cx="3487088" cy="230832"/>
          </a:xfrm>
        </p:grpSpPr>
        <p:cxnSp>
          <p:nvCxnSpPr>
            <p:cNvPr id="81" name="Straight Connector 80">
              <a:extLst>
                <a:ext uri="{FF2B5EF4-FFF2-40B4-BE49-F238E27FC236}">
                  <a16:creationId xmlns:a16="http://schemas.microsoft.com/office/drawing/2014/main" id="{0612543B-2E7E-5215-F566-C0A0ECEBEEE7}"/>
                </a:ext>
              </a:extLst>
            </p:cNvPr>
            <p:cNvCxnSpPr>
              <a:cxnSpLocks/>
              <a:endCxn id="82" idx="1"/>
            </p:cNvCxnSpPr>
            <p:nvPr/>
          </p:nvCxnSpPr>
          <p:spPr>
            <a:xfrm flipV="1">
              <a:off x="762000" y="1674500"/>
              <a:ext cx="2947338" cy="1900"/>
            </a:xfrm>
            <a:prstGeom prst="line">
              <a:avLst/>
            </a:prstGeom>
            <a:ln w="19050"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82" name="TextBox 81">
              <a:extLst>
                <a:ext uri="{FF2B5EF4-FFF2-40B4-BE49-F238E27FC236}">
                  <a16:creationId xmlns:a16="http://schemas.microsoft.com/office/drawing/2014/main" id="{21FDA428-15C0-5E13-D68B-A72E9EF3DAE0}"/>
                </a:ext>
              </a:extLst>
            </p:cNvPr>
            <p:cNvSpPr txBox="1"/>
            <p:nvPr/>
          </p:nvSpPr>
          <p:spPr>
            <a:xfrm>
              <a:off x="3709338" y="1559084"/>
              <a:ext cx="539750" cy="230832"/>
            </a:xfrm>
            <a:prstGeom prst="rect">
              <a:avLst/>
            </a:prstGeom>
            <a:noFill/>
          </p:spPr>
          <p:txBody>
            <a:bodyPr wrap="square" rtlCol="0">
              <a:spAutoFit/>
            </a:bodyPr>
            <a:lstStyle/>
            <a:p>
              <a:r>
                <a:rPr lang="en-IN" sz="900" b="1" dirty="0">
                  <a:solidFill>
                    <a:srgbClr val="FF0000"/>
                  </a:solidFill>
                </a:rPr>
                <a:t>45.9x</a:t>
              </a:r>
            </a:p>
          </p:txBody>
        </p:sp>
      </p:grpSp>
      <p:grpSp>
        <p:nvGrpSpPr>
          <p:cNvPr id="86" name="Group 85">
            <a:extLst>
              <a:ext uri="{FF2B5EF4-FFF2-40B4-BE49-F238E27FC236}">
                <a16:creationId xmlns:a16="http://schemas.microsoft.com/office/drawing/2014/main" id="{9A048413-66EF-E6A5-3E55-948C37416762}"/>
              </a:ext>
            </a:extLst>
          </p:cNvPr>
          <p:cNvGrpSpPr/>
          <p:nvPr/>
        </p:nvGrpSpPr>
        <p:grpSpPr>
          <a:xfrm>
            <a:off x="8299450" y="2461509"/>
            <a:ext cx="3791582" cy="295415"/>
            <a:chOff x="762000" y="2673875"/>
            <a:chExt cx="3511550" cy="230832"/>
          </a:xfrm>
        </p:grpSpPr>
        <p:cxnSp>
          <p:nvCxnSpPr>
            <p:cNvPr id="87" name="Straight Connector 86">
              <a:extLst>
                <a:ext uri="{FF2B5EF4-FFF2-40B4-BE49-F238E27FC236}">
                  <a16:creationId xmlns:a16="http://schemas.microsoft.com/office/drawing/2014/main" id="{667F520C-7403-A15F-5D2F-FFD76496FDD1}"/>
                </a:ext>
              </a:extLst>
            </p:cNvPr>
            <p:cNvCxnSpPr>
              <a:cxnSpLocks/>
            </p:cNvCxnSpPr>
            <p:nvPr/>
          </p:nvCxnSpPr>
          <p:spPr>
            <a:xfrm>
              <a:off x="762000" y="2794000"/>
              <a:ext cx="3022600" cy="7991"/>
            </a:xfrm>
            <a:prstGeom prst="line">
              <a:avLst/>
            </a:prstGeom>
            <a:ln w="19050" cap="flat" cmpd="sng" algn="ctr">
              <a:solidFill>
                <a:srgbClr val="FFC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88" name="TextBox 87">
              <a:extLst>
                <a:ext uri="{FF2B5EF4-FFF2-40B4-BE49-F238E27FC236}">
                  <a16:creationId xmlns:a16="http://schemas.microsoft.com/office/drawing/2014/main" id="{ADAB1419-1BA6-DD17-192A-84DEC87A455A}"/>
                </a:ext>
              </a:extLst>
            </p:cNvPr>
            <p:cNvSpPr txBox="1"/>
            <p:nvPr/>
          </p:nvSpPr>
          <p:spPr>
            <a:xfrm>
              <a:off x="3733800" y="2673875"/>
              <a:ext cx="539750" cy="230832"/>
            </a:xfrm>
            <a:prstGeom prst="rect">
              <a:avLst/>
            </a:prstGeom>
            <a:noFill/>
          </p:spPr>
          <p:txBody>
            <a:bodyPr wrap="square" rtlCol="0">
              <a:spAutoFit/>
            </a:bodyPr>
            <a:lstStyle/>
            <a:p>
              <a:r>
                <a:rPr lang="en-IN" sz="900" b="1" dirty="0">
                  <a:solidFill>
                    <a:srgbClr val="FFC000"/>
                  </a:solidFill>
                </a:rPr>
                <a:t>16.9x</a:t>
              </a:r>
            </a:p>
          </p:txBody>
        </p:sp>
      </p:grpSp>
      <p:grpSp>
        <p:nvGrpSpPr>
          <p:cNvPr id="92" name="Group 91">
            <a:extLst>
              <a:ext uri="{FF2B5EF4-FFF2-40B4-BE49-F238E27FC236}">
                <a16:creationId xmlns:a16="http://schemas.microsoft.com/office/drawing/2014/main" id="{8032DD6A-EF88-1AC0-BD8E-DF1F1DDDDD04}"/>
              </a:ext>
            </a:extLst>
          </p:cNvPr>
          <p:cNvGrpSpPr/>
          <p:nvPr/>
        </p:nvGrpSpPr>
        <p:grpSpPr>
          <a:xfrm>
            <a:off x="342900" y="4447098"/>
            <a:ext cx="3699344" cy="299225"/>
            <a:chOff x="762000" y="1559084"/>
            <a:chExt cx="3487088" cy="230832"/>
          </a:xfrm>
        </p:grpSpPr>
        <p:cxnSp>
          <p:nvCxnSpPr>
            <p:cNvPr id="93" name="Straight Connector 92">
              <a:extLst>
                <a:ext uri="{FF2B5EF4-FFF2-40B4-BE49-F238E27FC236}">
                  <a16:creationId xmlns:a16="http://schemas.microsoft.com/office/drawing/2014/main" id="{88E06843-BCFB-FB4E-7771-4F54B30E0009}"/>
                </a:ext>
              </a:extLst>
            </p:cNvPr>
            <p:cNvCxnSpPr>
              <a:cxnSpLocks/>
              <a:endCxn id="94" idx="1"/>
            </p:cNvCxnSpPr>
            <p:nvPr/>
          </p:nvCxnSpPr>
          <p:spPr>
            <a:xfrm flipV="1">
              <a:off x="762000" y="1674500"/>
              <a:ext cx="2947338" cy="1900"/>
            </a:xfrm>
            <a:prstGeom prst="line">
              <a:avLst/>
            </a:prstGeom>
            <a:ln w="19050"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94" name="TextBox 93">
              <a:extLst>
                <a:ext uri="{FF2B5EF4-FFF2-40B4-BE49-F238E27FC236}">
                  <a16:creationId xmlns:a16="http://schemas.microsoft.com/office/drawing/2014/main" id="{1FFF772D-D73B-B515-5D52-FC54BE364311}"/>
                </a:ext>
              </a:extLst>
            </p:cNvPr>
            <p:cNvSpPr txBox="1"/>
            <p:nvPr/>
          </p:nvSpPr>
          <p:spPr>
            <a:xfrm>
              <a:off x="3709338" y="1559084"/>
              <a:ext cx="539750" cy="230832"/>
            </a:xfrm>
            <a:prstGeom prst="rect">
              <a:avLst/>
            </a:prstGeom>
            <a:noFill/>
          </p:spPr>
          <p:txBody>
            <a:bodyPr wrap="square" rtlCol="0">
              <a:spAutoFit/>
            </a:bodyPr>
            <a:lstStyle/>
            <a:p>
              <a:r>
                <a:rPr lang="en-IN" sz="900" b="1" dirty="0">
                  <a:solidFill>
                    <a:srgbClr val="FF0000"/>
                  </a:solidFill>
                </a:rPr>
                <a:t>61.6x</a:t>
              </a:r>
            </a:p>
          </p:txBody>
        </p:sp>
      </p:grpSp>
      <p:grpSp>
        <p:nvGrpSpPr>
          <p:cNvPr id="95" name="Group 94">
            <a:extLst>
              <a:ext uri="{FF2B5EF4-FFF2-40B4-BE49-F238E27FC236}">
                <a16:creationId xmlns:a16="http://schemas.microsoft.com/office/drawing/2014/main" id="{5E423D05-7C88-FA58-E594-DD8C71ED373D}"/>
              </a:ext>
            </a:extLst>
          </p:cNvPr>
          <p:cNvGrpSpPr/>
          <p:nvPr/>
        </p:nvGrpSpPr>
        <p:grpSpPr>
          <a:xfrm>
            <a:off x="343908" y="5066568"/>
            <a:ext cx="3734425" cy="269614"/>
            <a:chOff x="762000" y="2344522"/>
            <a:chExt cx="3511550" cy="230832"/>
          </a:xfrm>
        </p:grpSpPr>
        <p:cxnSp>
          <p:nvCxnSpPr>
            <p:cNvPr id="96" name="Straight Connector 95">
              <a:extLst>
                <a:ext uri="{FF2B5EF4-FFF2-40B4-BE49-F238E27FC236}">
                  <a16:creationId xmlns:a16="http://schemas.microsoft.com/office/drawing/2014/main" id="{79BB4AA8-C4FB-1DF4-AE6B-6C9EEBBFC694}"/>
                </a:ext>
              </a:extLst>
            </p:cNvPr>
            <p:cNvCxnSpPr>
              <a:cxnSpLocks/>
            </p:cNvCxnSpPr>
            <p:nvPr/>
          </p:nvCxnSpPr>
          <p:spPr>
            <a:xfrm>
              <a:off x="762000" y="2468879"/>
              <a:ext cx="3073400" cy="0"/>
            </a:xfrm>
            <a:prstGeom prst="line">
              <a:avLst/>
            </a:prstGeom>
            <a:ln w="19050" cap="flat" cmpd="sng" algn="ctr">
              <a:solidFill>
                <a:schemeClr val="bg2">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97" name="TextBox 96">
              <a:extLst>
                <a:ext uri="{FF2B5EF4-FFF2-40B4-BE49-F238E27FC236}">
                  <a16:creationId xmlns:a16="http://schemas.microsoft.com/office/drawing/2014/main" id="{C067FC16-790C-0A31-5D76-4FAF2C7869D0}"/>
                </a:ext>
              </a:extLst>
            </p:cNvPr>
            <p:cNvSpPr txBox="1"/>
            <p:nvPr/>
          </p:nvSpPr>
          <p:spPr>
            <a:xfrm>
              <a:off x="3733800" y="2344522"/>
              <a:ext cx="539750" cy="230832"/>
            </a:xfrm>
            <a:prstGeom prst="rect">
              <a:avLst/>
            </a:prstGeom>
            <a:noFill/>
          </p:spPr>
          <p:txBody>
            <a:bodyPr wrap="square" rtlCol="0">
              <a:spAutoFit/>
            </a:bodyPr>
            <a:lstStyle/>
            <a:p>
              <a:r>
                <a:rPr lang="en-IN" sz="900" b="1" dirty="0">
                  <a:solidFill>
                    <a:schemeClr val="bg2"/>
                  </a:solidFill>
                </a:rPr>
                <a:t>37.2x</a:t>
              </a:r>
            </a:p>
          </p:txBody>
        </p:sp>
      </p:grpSp>
      <p:grpSp>
        <p:nvGrpSpPr>
          <p:cNvPr id="101" name="Group 100">
            <a:extLst>
              <a:ext uri="{FF2B5EF4-FFF2-40B4-BE49-F238E27FC236}">
                <a16:creationId xmlns:a16="http://schemas.microsoft.com/office/drawing/2014/main" id="{2C273480-1E0E-004B-AD1B-1FAB332B5379}"/>
              </a:ext>
            </a:extLst>
          </p:cNvPr>
          <p:cNvGrpSpPr/>
          <p:nvPr/>
        </p:nvGrpSpPr>
        <p:grpSpPr>
          <a:xfrm>
            <a:off x="342900" y="5354629"/>
            <a:ext cx="3744577" cy="228668"/>
            <a:chOff x="762000" y="2673875"/>
            <a:chExt cx="3511550" cy="230832"/>
          </a:xfrm>
        </p:grpSpPr>
        <p:cxnSp>
          <p:nvCxnSpPr>
            <p:cNvPr id="102" name="Straight Connector 101">
              <a:extLst>
                <a:ext uri="{FF2B5EF4-FFF2-40B4-BE49-F238E27FC236}">
                  <a16:creationId xmlns:a16="http://schemas.microsoft.com/office/drawing/2014/main" id="{69A9852F-90DD-B0FD-E17B-C3B60CFC2A06}"/>
                </a:ext>
              </a:extLst>
            </p:cNvPr>
            <p:cNvCxnSpPr>
              <a:cxnSpLocks/>
            </p:cNvCxnSpPr>
            <p:nvPr/>
          </p:nvCxnSpPr>
          <p:spPr>
            <a:xfrm>
              <a:off x="762000" y="2794000"/>
              <a:ext cx="3022600" cy="7991"/>
            </a:xfrm>
            <a:prstGeom prst="line">
              <a:avLst/>
            </a:prstGeom>
            <a:ln w="19050" cap="flat" cmpd="sng" algn="ctr">
              <a:solidFill>
                <a:srgbClr val="FFC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03" name="TextBox 102">
              <a:extLst>
                <a:ext uri="{FF2B5EF4-FFF2-40B4-BE49-F238E27FC236}">
                  <a16:creationId xmlns:a16="http://schemas.microsoft.com/office/drawing/2014/main" id="{800A343E-49E3-9347-7727-3FC2ECAC8576}"/>
                </a:ext>
              </a:extLst>
            </p:cNvPr>
            <p:cNvSpPr txBox="1"/>
            <p:nvPr/>
          </p:nvSpPr>
          <p:spPr>
            <a:xfrm>
              <a:off x="3733800" y="2673875"/>
              <a:ext cx="539750" cy="230832"/>
            </a:xfrm>
            <a:prstGeom prst="rect">
              <a:avLst/>
            </a:prstGeom>
            <a:noFill/>
          </p:spPr>
          <p:txBody>
            <a:bodyPr wrap="square" rtlCol="0">
              <a:spAutoFit/>
            </a:bodyPr>
            <a:lstStyle/>
            <a:p>
              <a:r>
                <a:rPr lang="en-IN" sz="900" b="1" dirty="0">
                  <a:solidFill>
                    <a:srgbClr val="FFC000"/>
                  </a:solidFill>
                </a:rPr>
                <a:t>22.1x</a:t>
              </a:r>
            </a:p>
          </p:txBody>
        </p:sp>
      </p:grpSp>
      <p:grpSp>
        <p:nvGrpSpPr>
          <p:cNvPr id="104" name="Group 103">
            <a:extLst>
              <a:ext uri="{FF2B5EF4-FFF2-40B4-BE49-F238E27FC236}">
                <a16:creationId xmlns:a16="http://schemas.microsoft.com/office/drawing/2014/main" id="{592BC9C2-F853-E968-649E-D8F454B3B6B5}"/>
              </a:ext>
            </a:extLst>
          </p:cNvPr>
          <p:cNvGrpSpPr/>
          <p:nvPr/>
        </p:nvGrpSpPr>
        <p:grpSpPr>
          <a:xfrm>
            <a:off x="4402223" y="5291722"/>
            <a:ext cx="3871999" cy="229212"/>
            <a:chOff x="762000" y="2344522"/>
            <a:chExt cx="3511550" cy="230832"/>
          </a:xfrm>
        </p:grpSpPr>
        <p:cxnSp>
          <p:nvCxnSpPr>
            <p:cNvPr id="105" name="Straight Connector 104">
              <a:extLst>
                <a:ext uri="{FF2B5EF4-FFF2-40B4-BE49-F238E27FC236}">
                  <a16:creationId xmlns:a16="http://schemas.microsoft.com/office/drawing/2014/main" id="{EE7E1200-2D0D-A02E-11A9-2B1CBE5EB8A9}"/>
                </a:ext>
              </a:extLst>
            </p:cNvPr>
            <p:cNvCxnSpPr>
              <a:cxnSpLocks/>
            </p:cNvCxnSpPr>
            <p:nvPr/>
          </p:nvCxnSpPr>
          <p:spPr>
            <a:xfrm>
              <a:off x="762000" y="2468879"/>
              <a:ext cx="3073400" cy="0"/>
            </a:xfrm>
            <a:prstGeom prst="line">
              <a:avLst/>
            </a:prstGeom>
            <a:ln w="19050" cap="flat" cmpd="sng" algn="ctr">
              <a:solidFill>
                <a:schemeClr val="bg2">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06" name="TextBox 105">
              <a:extLst>
                <a:ext uri="{FF2B5EF4-FFF2-40B4-BE49-F238E27FC236}">
                  <a16:creationId xmlns:a16="http://schemas.microsoft.com/office/drawing/2014/main" id="{68107C11-EAE2-3905-8A8B-6FFD5645C7FB}"/>
                </a:ext>
              </a:extLst>
            </p:cNvPr>
            <p:cNvSpPr txBox="1"/>
            <p:nvPr/>
          </p:nvSpPr>
          <p:spPr>
            <a:xfrm>
              <a:off x="3733800" y="2344522"/>
              <a:ext cx="539750" cy="230832"/>
            </a:xfrm>
            <a:prstGeom prst="rect">
              <a:avLst/>
            </a:prstGeom>
            <a:noFill/>
          </p:spPr>
          <p:txBody>
            <a:bodyPr wrap="square" rtlCol="0">
              <a:spAutoFit/>
            </a:bodyPr>
            <a:lstStyle/>
            <a:p>
              <a:r>
                <a:rPr lang="en-IN" sz="900" b="1" dirty="0">
                  <a:solidFill>
                    <a:schemeClr val="bg2"/>
                  </a:solidFill>
                </a:rPr>
                <a:t>23.1x</a:t>
              </a:r>
            </a:p>
          </p:txBody>
        </p:sp>
      </p:grpSp>
      <p:grpSp>
        <p:nvGrpSpPr>
          <p:cNvPr id="107" name="Group 106">
            <a:extLst>
              <a:ext uri="{FF2B5EF4-FFF2-40B4-BE49-F238E27FC236}">
                <a16:creationId xmlns:a16="http://schemas.microsoft.com/office/drawing/2014/main" id="{F94AAE65-B094-F3CF-446E-3CD6E9A174B4}"/>
              </a:ext>
            </a:extLst>
          </p:cNvPr>
          <p:cNvGrpSpPr/>
          <p:nvPr/>
        </p:nvGrpSpPr>
        <p:grpSpPr>
          <a:xfrm>
            <a:off x="4402223" y="5001096"/>
            <a:ext cx="3740187" cy="196666"/>
            <a:chOff x="762000" y="1559084"/>
            <a:chExt cx="3487088" cy="230832"/>
          </a:xfrm>
        </p:grpSpPr>
        <p:cxnSp>
          <p:nvCxnSpPr>
            <p:cNvPr id="108" name="Straight Connector 107">
              <a:extLst>
                <a:ext uri="{FF2B5EF4-FFF2-40B4-BE49-F238E27FC236}">
                  <a16:creationId xmlns:a16="http://schemas.microsoft.com/office/drawing/2014/main" id="{A1F7E320-5B74-BC6E-0D17-EC8BEB50B799}"/>
                </a:ext>
              </a:extLst>
            </p:cNvPr>
            <p:cNvCxnSpPr>
              <a:cxnSpLocks/>
              <a:endCxn id="109" idx="1"/>
            </p:cNvCxnSpPr>
            <p:nvPr/>
          </p:nvCxnSpPr>
          <p:spPr>
            <a:xfrm flipV="1">
              <a:off x="762000" y="1674500"/>
              <a:ext cx="2947338" cy="1900"/>
            </a:xfrm>
            <a:prstGeom prst="line">
              <a:avLst/>
            </a:prstGeom>
            <a:ln w="19050"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09" name="TextBox 108">
              <a:extLst>
                <a:ext uri="{FF2B5EF4-FFF2-40B4-BE49-F238E27FC236}">
                  <a16:creationId xmlns:a16="http://schemas.microsoft.com/office/drawing/2014/main" id="{10E39BC4-C709-E8D4-0C0B-54F50594B414}"/>
                </a:ext>
              </a:extLst>
            </p:cNvPr>
            <p:cNvSpPr txBox="1"/>
            <p:nvPr/>
          </p:nvSpPr>
          <p:spPr>
            <a:xfrm>
              <a:off x="3709338" y="1559084"/>
              <a:ext cx="539750" cy="230832"/>
            </a:xfrm>
            <a:prstGeom prst="rect">
              <a:avLst/>
            </a:prstGeom>
            <a:noFill/>
          </p:spPr>
          <p:txBody>
            <a:bodyPr wrap="square" rtlCol="0">
              <a:spAutoFit/>
            </a:bodyPr>
            <a:lstStyle/>
            <a:p>
              <a:r>
                <a:rPr lang="en-IN" sz="900" b="1" dirty="0">
                  <a:solidFill>
                    <a:srgbClr val="FF0000"/>
                  </a:solidFill>
                </a:rPr>
                <a:t>35.0x</a:t>
              </a:r>
            </a:p>
          </p:txBody>
        </p:sp>
      </p:grpSp>
      <p:grpSp>
        <p:nvGrpSpPr>
          <p:cNvPr id="113" name="Group 112">
            <a:extLst>
              <a:ext uri="{FF2B5EF4-FFF2-40B4-BE49-F238E27FC236}">
                <a16:creationId xmlns:a16="http://schemas.microsoft.com/office/drawing/2014/main" id="{38945ED3-44E8-94DD-22E5-9A172B4BDFBC}"/>
              </a:ext>
            </a:extLst>
          </p:cNvPr>
          <p:cNvGrpSpPr/>
          <p:nvPr/>
        </p:nvGrpSpPr>
        <p:grpSpPr>
          <a:xfrm>
            <a:off x="4422077" y="5456659"/>
            <a:ext cx="3782721" cy="296083"/>
            <a:chOff x="762000" y="2673875"/>
            <a:chExt cx="3511550" cy="253814"/>
          </a:xfrm>
        </p:grpSpPr>
        <p:cxnSp>
          <p:nvCxnSpPr>
            <p:cNvPr id="114" name="Straight Connector 113">
              <a:extLst>
                <a:ext uri="{FF2B5EF4-FFF2-40B4-BE49-F238E27FC236}">
                  <a16:creationId xmlns:a16="http://schemas.microsoft.com/office/drawing/2014/main" id="{396AF1B6-802E-9E2A-C441-5BCCDF1125C1}"/>
                </a:ext>
              </a:extLst>
            </p:cNvPr>
            <p:cNvCxnSpPr>
              <a:cxnSpLocks/>
            </p:cNvCxnSpPr>
            <p:nvPr/>
          </p:nvCxnSpPr>
          <p:spPr>
            <a:xfrm>
              <a:off x="762000" y="2794000"/>
              <a:ext cx="3022600" cy="7991"/>
            </a:xfrm>
            <a:prstGeom prst="line">
              <a:avLst/>
            </a:prstGeom>
            <a:ln w="19050" cap="flat" cmpd="sng" algn="ctr">
              <a:solidFill>
                <a:srgbClr val="FFC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15" name="TextBox 114">
              <a:extLst>
                <a:ext uri="{FF2B5EF4-FFF2-40B4-BE49-F238E27FC236}">
                  <a16:creationId xmlns:a16="http://schemas.microsoft.com/office/drawing/2014/main" id="{C50055BC-7270-A137-D31C-A5024FB081CC}"/>
                </a:ext>
              </a:extLst>
            </p:cNvPr>
            <p:cNvSpPr txBox="1"/>
            <p:nvPr/>
          </p:nvSpPr>
          <p:spPr>
            <a:xfrm>
              <a:off x="3733800" y="2673875"/>
              <a:ext cx="539750" cy="253814"/>
            </a:xfrm>
            <a:prstGeom prst="rect">
              <a:avLst/>
            </a:prstGeom>
            <a:noFill/>
          </p:spPr>
          <p:txBody>
            <a:bodyPr wrap="square" rtlCol="0">
              <a:spAutoFit/>
            </a:bodyPr>
            <a:lstStyle/>
            <a:p>
              <a:r>
                <a:rPr lang="en-IN" sz="900" b="1" dirty="0">
                  <a:solidFill>
                    <a:srgbClr val="FFC000"/>
                  </a:solidFill>
                </a:rPr>
                <a:t>18.1x</a:t>
              </a:r>
            </a:p>
          </p:txBody>
        </p:sp>
      </p:grpSp>
      <p:grpSp>
        <p:nvGrpSpPr>
          <p:cNvPr id="116" name="Group 115">
            <a:extLst>
              <a:ext uri="{FF2B5EF4-FFF2-40B4-BE49-F238E27FC236}">
                <a16:creationId xmlns:a16="http://schemas.microsoft.com/office/drawing/2014/main" id="{5FD196F0-3FF8-45A7-65FA-EA0C37FA57E1}"/>
              </a:ext>
            </a:extLst>
          </p:cNvPr>
          <p:cNvGrpSpPr/>
          <p:nvPr/>
        </p:nvGrpSpPr>
        <p:grpSpPr>
          <a:xfrm>
            <a:off x="8362011" y="5174602"/>
            <a:ext cx="3756963" cy="193092"/>
            <a:chOff x="762000" y="2344522"/>
            <a:chExt cx="3511550" cy="189041"/>
          </a:xfrm>
        </p:grpSpPr>
        <p:cxnSp>
          <p:nvCxnSpPr>
            <p:cNvPr id="117" name="Straight Connector 116">
              <a:extLst>
                <a:ext uri="{FF2B5EF4-FFF2-40B4-BE49-F238E27FC236}">
                  <a16:creationId xmlns:a16="http://schemas.microsoft.com/office/drawing/2014/main" id="{12F8DD46-C2B8-CC10-0790-AE115A2D7485}"/>
                </a:ext>
              </a:extLst>
            </p:cNvPr>
            <p:cNvCxnSpPr>
              <a:cxnSpLocks/>
            </p:cNvCxnSpPr>
            <p:nvPr/>
          </p:nvCxnSpPr>
          <p:spPr>
            <a:xfrm>
              <a:off x="762000" y="2468879"/>
              <a:ext cx="3073400" cy="0"/>
            </a:xfrm>
            <a:prstGeom prst="line">
              <a:avLst/>
            </a:prstGeom>
            <a:ln w="19050" cap="flat" cmpd="sng" algn="ctr">
              <a:solidFill>
                <a:schemeClr val="bg2">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18" name="TextBox 117">
              <a:extLst>
                <a:ext uri="{FF2B5EF4-FFF2-40B4-BE49-F238E27FC236}">
                  <a16:creationId xmlns:a16="http://schemas.microsoft.com/office/drawing/2014/main" id="{D9148179-1774-4BA3-1CB4-256F652B4064}"/>
                </a:ext>
              </a:extLst>
            </p:cNvPr>
            <p:cNvSpPr txBox="1"/>
            <p:nvPr/>
          </p:nvSpPr>
          <p:spPr>
            <a:xfrm>
              <a:off x="3733800" y="2344522"/>
              <a:ext cx="539750" cy="189041"/>
            </a:xfrm>
            <a:prstGeom prst="rect">
              <a:avLst/>
            </a:prstGeom>
            <a:noFill/>
          </p:spPr>
          <p:txBody>
            <a:bodyPr wrap="square" rtlCol="0">
              <a:spAutoFit/>
            </a:bodyPr>
            <a:lstStyle/>
            <a:p>
              <a:r>
                <a:rPr lang="en-IN" sz="900" b="1" dirty="0">
                  <a:solidFill>
                    <a:schemeClr val="bg2"/>
                  </a:solidFill>
                </a:rPr>
                <a:t>28.1x</a:t>
              </a:r>
            </a:p>
          </p:txBody>
        </p:sp>
      </p:grpSp>
      <p:cxnSp>
        <p:nvCxnSpPr>
          <p:cNvPr id="120" name="Straight Connector 119">
            <a:extLst>
              <a:ext uri="{FF2B5EF4-FFF2-40B4-BE49-F238E27FC236}">
                <a16:creationId xmlns:a16="http://schemas.microsoft.com/office/drawing/2014/main" id="{3A303D9C-5167-1645-B80E-C39B4573586C}"/>
              </a:ext>
            </a:extLst>
          </p:cNvPr>
          <p:cNvCxnSpPr>
            <a:cxnSpLocks/>
          </p:cNvCxnSpPr>
          <p:nvPr/>
        </p:nvCxnSpPr>
        <p:spPr>
          <a:xfrm>
            <a:off x="8343613" y="5027160"/>
            <a:ext cx="3317351" cy="0"/>
          </a:xfrm>
          <a:prstGeom prst="line">
            <a:avLst/>
          </a:prstGeom>
          <a:ln w="19050"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125" name="Group 124">
            <a:extLst>
              <a:ext uri="{FF2B5EF4-FFF2-40B4-BE49-F238E27FC236}">
                <a16:creationId xmlns:a16="http://schemas.microsoft.com/office/drawing/2014/main" id="{067598E0-5766-BA4C-058F-CAF660EE60A0}"/>
              </a:ext>
            </a:extLst>
          </p:cNvPr>
          <p:cNvGrpSpPr/>
          <p:nvPr/>
        </p:nvGrpSpPr>
        <p:grpSpPr>
          <a:xfrm>
            <a:off x="8343613" y="5341243"/>
            <a:ext cx="3781233" cy="211629"/>
            <a:chOff x="762000" y="2673875"/>
            <a:chExt cx="3511550" cy="218572"/>
          </a:xfrm>
        </p:grpSpPr>
        <p:cxnSp>
          <p:nvCxnSpPr>
            <p:cNvPr id="126" name="Straight Connector 125">
              <a:extLst>
                <a:ext uri="{FF2B5EF4-FFF2-40B4-BE49-F238E27FC236}">
                  <a16:creationId xmlns:a16="http://schemas.microsoft.com/office/drawing/2014/main" id="{8C1087FB-45FA-1790-1FAD-D156AC24D289}"/>
                </a:ext>
              </a:extLst>
            </p:cNvPr>
            <p:cNvCxnSpPr>
              <a:cxnSpLocks/>
            </p:cNvCxnSpPr>
            <p:nvPr/>
          </p:nvCxnSpPr>
          <p:spPr>
            <a:xfrm>
              <a:off x="762000" y="2794000"/>
              <a:ext cx="3022600" cy="7991"/>
            </a:xfrm>
            <a:prstGeom prst="line">
              <a:avLst/>
            </a:prstGeom>
            <a:ln w="19050" cap="flat" cmpd="sng" algn="ctr">
              <a:solidFill>
                <a:srgbClr val="FFC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27" name="TextBox 126">
              <a:extLst>
                <a:ext uri="{FF2B5EF4-FFF2-40B4-BE49-F238E27FC236}">
                  <a16:creationId xmlns:a16="http://schemas.microsoft.com/office/drawing/2014/main" id="{F5174B3A-F670-E217-980D-E5CDFCC8DC31}"/>
                </a:ext>
              </a:extLst>
            </p:cNvPr>
            <p:cNvSpPr txBox="1"/>
            <p:nvPr/>
          </p:nvSpPr>
          <p:spPr>
            <a:xfrm>
              <a:off x="3733800" y="2673875"/>
              <a:ext cx="539750" cy="218572"/>
            </a:xfrm>
            <a:prstGeom prst="rect">
              <a:avLst/>
            </a:prstGeom>
            <a:noFill/>
          </p:spPr>
          <p:txBody>
            <a:bodyPr wrap="square" rtlCol="0">
              <a:spAutoFit/>
            </a:bodyPr>
            <a:lstStyle/>
            <a:p>
              <a:r>
                <a:rPr lang="en-IN" sz="900" b="1" dirty="0">
                  <a:solidFill>
                    <a:srgbClr val="FFC000"/>
                  </a:solidFill>
                </a:rPr>
                <a:t>24.2x</a:t>
              </a:r>
            </a:p>
          </p:txBody>
        </p:sp>
      </p:grpSp>
      <p:grpSp>
        <p:nvGrpSpPr>
          <p:cNvPr id="156" name="Group 155">
            <a:extLst>
              <a:ext uri="{FF2B5EF4-FFF2-40B4-BE49-F238E27FC236}">
                <a16:creationId xmlns:a16="http://schemas.microsoft.com/office/drawing/2014/main" id="{7E173F87-A6B2-3305-FF16-04F0499CAC0D}"/>
              </a:ext>
            </a:extLst>
          </p:cNvPr>
          <p:cNvGrpSpPr/>
          <p:nvPr/>
        </p:nvGrpSpPr>
        <p:grpSpPr>
          <a:xfrm>
            <a:off x="1246231" y="6370012"/>
            <a:ext cx="2117526" cy="369332"/>
            <a:chOff x="323959" y="6267540"/>
            <a:chExt cx="1328294" cy="369332"/>
          </a:xfrm>
        </p:grpSpPr>
        <p:cxnSp>
          <p:nvCxnSpPr>
            <p:cNvPr id="129" name="Straight Connector 128">
              <a:extLst>
                <a:ext uri="{FF2B5EF4-FFF2-40B4-BE49-F238E27FC236}">
                  <a16:creationId xmlns:a16="http://schemas.microsoft.com/office/drawing/2014/main" id="{C97AF666-2C82-4608-CAB5-943DD7FB8FFE}"/>
                </a:ext>
              </a:extLst>
            </p:cNvPr>
            <p:cNvCxnSpPr>
              <a:cxnSpLocks/>
            </p:cNvCxnSpPr>
            <p:nvPr/>
          </p:nvCxnSpPr>
          <p:spPr>
            <a:xfrm>
              <a:off x="1215554" y="6402150"/>
              <a:ext cx="436699" cy="0"/>
            </a:xfrm>
            <a:prstGeom prst="line">
              <a:avLst/>
            </a:prstGeom>
            <a:ln w="19050"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36" name="TextBox 135">
              <a:extLst>
                <a:ext uri="{FF2B5EF4-FFF2-40B4-BE49-F238E27FC236}">
                  <a16:creationId xmlns:a16="http://schemas.microsoft.com/office/drawing/2014/main" id="{1EAAC407-86BF-D3DD-A92A-36F05686F322}"/>
                </a:ext>
              </a:extLst>
            </p:cNvPr>
            <p:cNvSpPr txBox="1"/>
            <p:nvPr/>
          </p:nvSpPr>
          <p:spPr>
            <a:xfrm>
              <a:off x="323959" y="6267540"/>
              <a:ext cx="1145056" cy="369332"/>
            </a:xfrm>
            <a:prstGeom prst="rect">
              <a:avLst/>
            </a:prstGeom>
            <a:noFill/>
          </p:spPr>
          <p:txBody>
            <a:bodyPr wrap="square" rtlCol="0">
              <a:spAutoFit/>
            </a:bodyPr>
            <a:lstStyle/>
            <a:p>
              <a:r>
                <a:rPr lang="en-IN" sz="900" dirty="0"/>
                <a:t>All-time High EV/EBITDA</a:t>
              </a:r>
            </a:p>
          </p:txBody>
        </p:sp>
      </p:grpSp>
      <p:grpSp>
        <p:nvGrpSpPr>
          <p:cNvPr id="154" name="Group 153">
            <a:extLst>
              <a:ext uri="{FF2B5EF4-FFF2-40B4-BE49-F238E27FC236}">
                <a16:creationId xmlns:a16="http://schemas.microsoft.com/office/drawing/2014/main" id="{901C49CA-DB04-A8EE-57F9-70F605659ADA}"/>
              </a:ext>
            </a:extLst>
          </p:cNvPr>
          <p:cNvGrpSpPr/>
          <p:nvPr/>
        </p:nvGrpSpPr>
        <p:grpSpPr>
          <a:xfrm>
            <a:off x="3433213" y="6370012"/>
            <a:ext cx="2008668" cy="369332"/>
            <a:chOff x="2688093" y="6268449"/>
            <a:chExt cx="1472096" cy="369332"/>
          </a:xfrm>
        </p:grpSpPr>
        <p:cxnSp>
          <p:nvCxnSpPr>
            <p:cNvPr id="132" name="Straight Connector 131">
              <a:extLst>
                <a:ext uri="{FF2B5EF4-FFF2-40B4-BE49-F238E27FC236}">
                  <a16:creationId xmlns:a16="http://schemas.microsoft.com/office/drawing/2014/main" id="{BA5BE338-FB32-C8A5-8029-849EE200D7D2}"/>
                </a:ext>
              </a:extLst>
            </p:cNvPr>
            <p:cNvCxnSpPr>
              <a:cxnSpLocks/>
            </p:cNvCxnSpPr>
            <p:nvPr/>
          </p:nvCxnSpPr>
          <p:spPr>
            <a:xfrm>
              <a:off x="3524848" y="6398136"/>
              <a:ext cx="635341" cy="4923"/>
            </a:xfrm>
            <a:prstGeom prst="line">
              <a:avLst/>
            </a:prstGeom>
            <a:ln w="19050" cap="flat" cmpd="sng" algn="ctr">
              <a:solidFill>
                <a:schemeClr val="bg2">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39" name="TextBox 138">
              <a:extLst>
                <a:ext uri="{FF2B5EF4-FFF2-40B4-BE49-F238E27FC236}">
                  <a16:creationId xmlns:a16="http://schemas.microsoft.com/office/drawing/2014/main" id="{629A8498-2168-E560-74ED-46D2C3BB569E}"/>
                </a:ext>
              </a:extLst>
            </p:cNvPr>
            <p:cNvSpPr txBox="1"/>
            <p:nvPr/>
          </p:nvSpPr>
          <p:spPr>
            <a:xfrm>
              <a:off x="2688093" y="6268449"/>
              <a:ext cx="1145056" cy="369332"/>
            </a:xfrm>
            <a:prstGeom prst="rect">
              <a:avLst/>
            </a:prstGeom>
            <a:noFill/>
          </p:spPr>
          <p:txBody>
            <a:bodyPr wrap="square" rtlCol="0">
              <a:spAutoFit/>
            </a:bodyPr>
            <a:lstStyle/>
            <a:p>
              <a:r>
                <a:rPr lang="en-IN" sz="900" dirty="0"/>
                <a:t>Average EV/EBITDA</a:t>
              </a:r>
            </a:p>
          </p:txBody>
        </p:sp>
      </p:grpSp>
      <p:grpSp>
        <p:nvGrpSpPr>
          <p:cNvPr id="153" name="Group 152">
            <a:extLst>
              <a:ext uri="{FF2B5EF4-FFF2-40B4-BE49-F238E27FC236}">
                <a16:creationId xmlns:a16="http://schemas.microsoft.com/office/drawing/2014/main" id="{74FEDA32-3D10-D4FD-A603-56CAC067202B}"/>
              </a:ext>
            </a:extLst>
          </p:cNvPr>
          <p:cNvGrpSpPr/>
          <p:nvPr/>
        </p:nvGrpSpPr>
        <p:grpSpPr>
          <a:xfrm>
            <a:off x="5496402" y="6360246"/>
            <a:ext cx="2468240" cy="369332"/>
            <a:chOff x="9615263" y="6230536"/>
            <a:chExt cx="1750602" cy="369332"/>
          </a:xfrm>
        </p:grpSpPr>
        <p:sp>
          <p:nvSpPr>
            <p:cNvPr id="146" name="TextBox 145">
              <a:extLst>
                <a:ext uri="{FF2B5EF4-FFF2-40B4-BE49-F238E27FC236}">
                  <a16:creationId xmlns:a16="http://schemas.microsoft.com/office/drawing/2014/main" id="{BBC8FA0D-9572-DBA8-D510-77D2C17FC274}"/>
                </a:ext>
              </a:extLst>
            </p:cNvPr>
            <p:cNvSpPr txBox="1"/>
            <p:nvPr/>
          </p:nvSpPr>
          <p:spPr>
            <a:xfrm>
              <a:off x="9615263" y="6230536"/>
              <a:ext cx="1570732" cy="369332"/>
            </a:xfrm>
            <a:prstGeom prst="rect">
              <a:avLst/>
            </a:prstGeom>
            <a:noFill/>
          </p:spPr>
          <p:txBody>
            <a:bodyPr wrap="square" rtlCol="0">
              <a:spAutoFit/>
            </a:bodyPr>
            <a:lstStyle/>
            <a:p>
              <a:r>
                <a:rPr lang="en-IN" sz="900" dirty="0"/>
                <a:t>Precedent Transaction EV/EBITDA</a:t>
              </a:r>
            </a:p>
          </p:txBody>
        </p:sp>
        <p:cxnSp>
          <p:nvCxnSpPr>
            <p:cNvPr id="148" name="Straight Connector 147">
              <a:extLst>
                <a:ext uri="{FF2B5EF4-FFF2-40B4-BE49-F238E27FC236}">
                  <a16:creationId xmlns:a16="http://schemas.microsoft.com/office/drawing/2014/main" id="{02CA6FFD-2C16-8521-9F6B-7649F54EFBF7}"/>
                </a:ext>
              </a:extLst>
            </p:cNvPr>
            <p:cNvCxnSpPr>
              <a:cxnSpLocks/>
            </p:cNvCxnSpPr>
            <p:nvPr/>
          </p:nvCxnSpPr>
          <p:spPr>
            <a:xfrm>
              <a:off x="10905384" y="6331889"/>
              <a:ext cx="460481" cy="1455"/>
            </a:xfrm>
            <a:prstGeom prst="line">
              <a:avLst/>
            </a:prstGeom>
            <a:ln w="19050" cap="flat" cmpd="sng" algn="ctr">
              <a:solidFill>
                <a:srgbClr val="FFC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sp>
        <p:nvSpPr>
          <p:cNvPr id="159" name="TextBox 158">
            <a:extLst>
              <a:ext uri="{FF2B5EF4-FFF2-40B4-BE49-F238E27FC236}">
                <a16:creationId xmlns:a16="http://schemas.microsoft.com/office/drawing/2014/main" id="{F0CD467F-85DC-ED31-0B25-142DD45801ED}"/>
              </a:ext>
            </a:extLst>
          </p:cNvPr>
          <p:cNvSpPr txBox="1"/>
          <p:nvPr/>
        </p:nvSpPr>
        <p:spPr>
          <a:xfrm>
            <a:off x="11579224" y="4886457"/>
            <a:ext cx="539750" cy="230832"/>
          </a:xfrm>
          <a:prstGeom prst="rect">
            <a:avLst/>
          </a:prstGeom>
          <a:noFill/>
        </p:spPr>
        <p:txBody>
          <a:bodyPr wrap="square" rtlCol="0">
            <a:spAutoFit/>
          </a:bodyPr>
          <a:lstStyle/>
          <a:p>
            <a:r>
              <a:rPr lang="en-IN" sz="900" b="1" dirty="0">
                <a:solidFill>
                  <a:srgbClr val="FF0000"/>
                </a:solidFill>
              </a:rPr>
              <a:t>37.2x</a:t>
            </a:r>
          </a:p>
        </p:txBody>
      </p:sp>
      <p:sp>
        <p:nvSpPr>
          <p:cNvPr id="6" name="TextBox 5">
            <a:extLst>
              <a:ext uri="{FF2B5EF4-FFF2-40B4-BE49-F238E27FC236}">
                <a16:creationId xmlns:a16="http://schemas.microsoft.com/office/drawing/2014/main" id="{8F68E573-A7EE-C886-A62A-7C2BAA10F4A7}"/>
              </a:ext>
            </a:extLst>
          </p:cNvPr>
          <p:cNvSpPr txBox="1"/>
          <p:nvPr/>
        </p:nvSpPr>
        <p:spPr>
          <a:xfrm>
            <a:off x="1574635" y="1316914"/>
            <a:ext cx="982359" cy="346234"/>
          </a:xfrm>
          <a:prstGeom prst="ellipse">
            <a:avLst/>
          </a:prstGeom>
          <a:solidFill>
            <a:schemeClr val="bg2">
              <a:lumMod val="20000"/>
              <a:lumOff val="80000"/>
            </a:schemeClr>
          </a:solidFill>
        </p:spPr>
        <p:txBody>
          <a:bodyPr wrap="square" rtlCol="0">
            <a:spAutoFit/>
          </a:bodyPr>
          <a:lstStyle/>
          <a:p>
            <a:r>
              <a:rPr lang="en-IN" sz="1000" b="1" dirty="0"/>
              <a:t> 36.5%</a:t>
            </a:r>
          </a:p>
        </p:txBody>
      </p:sp>
      <p:sp>
        <p:nvSpPr>
          <p:cNvPr id="11" name="TextBox 10">
            <a:extLst>
              <a:ext uri="{FF2B5EF4-FFF2-40B4-BE49-F238E27FC236}">
                <a16:creationId xmlns:a16="http://schemas.microsoft.com/office/drawing/2014/main" id="{733EA5B4-991E-2EE0-2C12-25E6BDF83F39}"/>
              </a:ext>
            </a:extLst>
          </p:cNvPr>
          <p:cNvSpPr txBox="1"/>
          <p:nvPr/>
        </p:nvSpPr>
        <p:spPr>
          <a:xfrm>
            <a:off x="5553700" y="1285600"/>
            <a:ext cx="982359" cy="346234"/>
          </a:xfrm>
          <a:prstGeom prst="ellipse">
            <a:avLst/>
          </a:prstGeom>
          <a:solidFill>
            <a:schemeClr val="bg2">
              <a:lumMod val="20000"/>
              <a:lumOff val="80000"/>
            </a:schemeClr>
          </a:solidFill>
        </p:spPr>
        <p:txBody>
          <a:bodyPr wrap="square" rtlCol="0">
            <a:spAutoFit/>
          </a:bodyPr>
          <a:lstStyle/>
          <a:p>
            <a:r>
              <a:rPr lang="en-IN" sz="1000" b="1" dirty="0"/>
              <a:t> 21.9%</a:t>
            </a:r>
          </a:p>
        </p:txBody>
      </p:sp>
      <p:sp>
        <p:nvSpPr>
          <p:cNvPr id="20" name="TextBox 19">
            <a:extLst>
              <a:ext uri="{FF2B5EF4-FFF2-40B4-BE49-F238E27FC236}">
                <a16:creationId xmlns:a16="http://schemas.microsoft.com/office/drawing/2014/main" id="{42FED1E4-C092-FE36-0F0B-EA224630EEE1}"/>
              </a:ext>
            </a:extLst>
          </p:cNvPr>
          <p:cNvSpPr txBox="1"/>
          <p:nvPr/>
        </p:nvSpPr>
        <p:spPr>
          <a:xfrm>
            <a:off x="9514927" y="1297203"/>
            <a:ext cx="982359" cy="346234"/>
          </a:xfrm>
          <a:prstGeom prst="ellipse">
            <a:avLst/>
          </a:prstGeom>
          <a:solidFill>
            <a:schemeClr val="bg2">
              <a:lumMod val="20000"/>
              <a:lumOff val="80000"/>
            </a:schemeClr>
          </a:solidFill>
        </p:spPr>
        <p:txBody>
          <a:bodyPr wrap="square" rtlCol="0">
            <a:spAutoFit/>
          </a:bodyPr>
          <a:lstStyle/>
          <a:p>
            <a:r>
              <a:rPr lang="en-IN" sz="1000" b="1" dirty="0"/>
              <a:t> 42.9%</a:t>
            </a:r>
          </a:p>
        </p:txBody>
      </p:sp>
      <p:sp>
        <p:nvSpPr>
          <p:cNvPr id="21" name="TextBox 20">
            <a:extLst>
              <a:ext uri="{FF2B5EF4-FFF2-40B4-BE49-F238E27FC236}">
                <a16:creationId xmlns:a16="http://schemas.microsoft.com/office/drawing/2014/main" id="{6455C1D4-8D16-019B-C846-46938C470C4C}"/>
              </a:ext>
            </a:extLst>
          </p:cNvPr>
          <p:cNvSpPr txBox="1"/>
          <p:nvPr/>
        </p:nvSpPr>
        <p:spPr>
          <a:xfrm>
            <a:off x="1501850" y="4185653"/>
            <a:ext cx="919794" cy="346234"/>
          </a:xfrm>
          <a:prstGeom prst="ellipse">
            <a:avLst/>
          </a:prstGeom>
          <a:solidFill>
            <a:schemeClr val="bg2">
              <a:lumMod val="20000"/>
              <a:lumOff val="80000"/>
            </a:schemeClr>
          </a:solidFill>
        </p:spPr>
        <p:txBody>
          <a:bodyPr wrap="square" rtlCol="0">
            <a:spAutoFit/>
          </a:bodyPr>
          <a:lstStyle/>
          <a:p>
            <a:r>
              <a:rPr lang="en-IN" sz="1000" b="1" dirty="0"/>
              <a:t> 40.6%</a:t>
            </a:r>
          </a:p>
        </p:txBody>
      </p:sp>
      <p:sp>
        <p:nvSpPr>
          <p:cNvPr id="22" name="TextBox 21">
            <a:extLst>
              <a:ext uri="{FF2B5EF4-FFF2-40B4-BE49-F238E27FC236}">
                <a16:creationId xmlns:a16="http://schemas.microsoft.com/office/drawing/2014/main" id="{AF36392A-932D-CA6D-7267-4874F7F7A605}"/>
              </a:ext>
            </a:extLst>
          </p:cNvPr>
          <p:cNvSpPr txBox="1"/>
          <p:nvPr/>
        </p:nvSpPr>
        <p:spPr>
          <a:xfrm>
            <a:off x="5613634" y="4200167"/>
            <a:ext cx="919794" cy="346234"/>
          </a:xfrm>
          <a:prstGeom prst="ellipse">
            <a:avLst/>
          </a:prstGeom>
          <a:solidFill>
            <a:schemeClr val="bg2">
              <a:lumMod val="20000"/>
              <a:lumOff val="80000"/>
            </a:schemeClr>
          </a:solidFill>
        </p:spPr>
        <p:txBody>
          <a:bodyPr wrap="square" rtlCol="0">
            <a:spAutoFit/>
          </a:bodyPr>
          <a:lstStyle/>
          <a:p>
            <a:r>
              <a:rPr lang="en-IN" sz="1000" b="1" dirty="0"/>
              <a:t> 21.7%</a:t>
            </a:r>
          </a:p>
        </p:txBody>
      </p:sp>
      <p:sp>
        <p:nvSpPr>
          <p:cNvPr id="30" name="TextBox 29">
            <a:extLst>
              <a:ext uri="{FF2B5EF4-FFF2-40B4-BE49-F238E27FC236}">
                <a16:creationId xmlns:a16="http://schemas.microsoft.com/office/drawing/2014/main" id="{64A85140-94F9-10D9-9BB2-494FFCFB5B8D}"/>
              </a:ext>
            </a:extLst>
          </p:cNvPr>
          <p:cNvSpPr txBox="1"/>
          <p:nvPr/>
        </p:nvSpPr>
        <p:spPr>
          <a:xfrm>
            <a:off x="9545005" y="4215336"/>
            <a:ext cx="919794" cy="346234"/>
          </a:xfrm>
          <a:prstGeom prst="ellipse">
            <a:avLst/>
          </a:prstGeom>
          <a:solidFill>
            <a:schemeClr val="bg2">
              <a:lumMod val="20000"/>
              <a:lumOff val="80000"/>
            </a:schemeClr>
          </a:solidFill>
        </p:spPr>
        <p:txBody>
          <a:bodyPr wrap="square" rtlCol="0">
            <a:spAutoFit/>
          </a:bodyPr>
          <a:lstStyle/>
          <a:p>
            <a:r>
              <a:rPr lang="en-IN" sz="1000" b="1" dirty="0"/>
              <a:t> 13.9%</a:t>
            </a:r>
          </a:p>
        </p:txBody>
      </p:sp>
      <p:sp>
        <p:nvSpPr>
          <p:cNvPr id="31" name="TextBox 30">
            <a:extLst>
              <a:ext uri="{FF2B5EF4-FFF2-40B4-BE49-F238E27FC236}">
                <a16:creationId xmlns:a16="http://schemas.microsoft.com/office/drawing/2014/main" id="{EBD21317-F344-69C8-8F70-BE1A23689161}"/>
              </a:ext>
            </a:extLst>
          </p:cNvPr>
          <p:cNvSpPr txBox="1"/>
          <p:nvPr/>
        </p:nvSpPr>
        <p:spPr>
          <a:xfrm>
            <a:off x="9314372" y="6208444"/>
            <a:ext cx="474508" cy="346234"/>
          </a:xfrm>
          <a:prstGeom prst="ellipse">
            <a:avLst/>
          </a:prstGeom>
          <a:solidFill>
            <a:schemeClr val="bg2">
              <a:lumMod val="20000"/>
              <a:lumOff val="80000"/>
            </a:schemeClr>
          </a:solidFill>
        </p:spPr>
        <p:txBody>
          <a:bodyPr wrap="square" rtlCol="0">
            <a:spAutoFit/>
          </a:bodyPr>
          <a:lstStyle/>
          <a:p>
            <a:r>
              <a:rPr lang="en-IN" sz="1000" b="1" dirty="0"/>
              <a:t> x     </a:t>
            </a:r>
          </a:p>
        </p:txBody>
      </p:sp>
      <p:sp>
        <p:nvSpPr>
          <p:cNvPr id="33" name="TextBox 32">
            <a:extLst>
              <a:ext uri="{FF2B5EF4-FFF2-40B4-BE49-F238E27FC236}">
                <a16:creationId xmlns:a16="http://schemas.microsoft.com/office/drawing/2014/main" id="{BBCFD597-83BE-C1E9-0564-BE3B6609BAD0}"/>
              </a:ext>
            </a:extLst>
          </p:cNvPr>
          <p:cNvSpPr txBox="1"/>
          <p:nvPr/>
        </p:nvSpPr>
        <p:spPr>
          <a:xfrm>
            <a:off x="8008272" y="6343279"/>
            <a:ext cx="1933768" cy="230832"/>
          </a:xfrm>
          <a:prstGeom prst="rect">
            <a:avLst/>
          </a:prstGeom>
          <a:noFill/>
        </p:spPr>
        <p:txBody>
          <a:bodyPr wrap="square" rtlCol="0">
            <a:spAutoFit/>
          </a:bodyPr>
          <a:lstStyle/>
          <a:p>
            <a:r>
              <a:rPr lang="en-IN" sz="900" dirty="0"/>
              <a:t>Premium over Private</a:t>
            </a:r>
          </a:p>
        </p:txBody>
      </p:sp>
    </p:spTree>
    <p:extLst>
      <p:ext uri="{BB962C8B-B14F-4D97-AF65-F5344CB8AC3E}">
        <p14:creationId xmlns:p14="http://schemas.microsoft.com/office/powerpoint/2010/main" val="1659647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Custom 23">
      <a:dk1>
        <a:srgbClr val="404040"/>
      </a:dk1>
      <a:lt1>
        <a:sysClr val="window" lastClr="FFFFFF"/>
      </a:lt1>
      <a:dk2>
        <a:srgbClr val="000000"/>
      </a:dk2>
      <a:lt2>
        <a:srgbClr val="385723"/>
      </a:lt2>
      <a:accent1>
        <a:srgbClr val="ABD290"/>
      </a:accent1>
      <a:accent2>
        <a:srgbClr val="C0CFB2"/>
      </a:accent2>
      <a:accent3>
        <a:srgbClr val="E4F1D9"/>
      </a:accent3>
      <a:accent4>
        <a:srgbClr val="D7E2DC"/>
      </a:accent4>
      <a:accent5>
        <a:srgbClr val="E4E6D9"/>
      </a:accent5>
      <a:accent6>
        <a:srgbClr val="D9D9D9"/>
      </a:accent6>
      <a:hlink>
        <a:srgbClr val="789BBA"/>
      </a:hlink>
      <a:folHlink>
        <a:srgbClr val="00B0F0"/>
      </a:folHlink>
    </a:clrScheme>
    <a:fontScheme name="Equirus Capital">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Theme">
  <a:themeElements>
    <a:clrScheme name="Custom 23">
      <a:dk1>
        <a:srgbClr val="404040"/>
      </a:dk1>
      <a:lt1>
        <a:sysClr val="window" lastClr="FFFFFF"/>
      </a:lt1>
      <a:dk2>
        <a:srgbClr val="000000"/>
      </a:dk2>
      <a:lt2>
        <a:srgbClr val="385723"/>
      </a:lt2>
      <a:accent1>
        <a:srgbClr val="ABD290"/>
      </a:accent1>
      <a:accent2>
        <a:srgbClr val="C0CFB2"/>
      </a:accent2>
      <a:accent3>
        <a:srgbClr val="E4F1D9"/>
      </a:accent3>
      <a:accent4>
        <a:srgbClr val="D7E2DC"/>
      </a:accent4>
      <a:accent5>
        <a:srgbClr val="E4E6D9"/>
      </a:accent5>
      <a:accent6>
        <a:srgbClr val="D9D9D9"/>
      </a:accent6>
      <a:hlink>
        <a:srgbClr val="789BBA"/>
      </a:hlink>
      <a:folHlink>
        <a:srgbClr val="00B0F0"/>
      </a:folHlink>
    </a:clrScheme>
    <a:fontScheme name="Equirus Capital">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4_Office Theme">
  <a:themeElements>
    <a:clrScheme name="Custom 23">
      <a:dk1>
        <a:srgbClr val="404040"/>
      </a:dk1>
      <a:lt1>
        <a:sysClr val="window" lastClr="FFFFFF"/>
      </a:lt1>
      <a:dk2>
        <a:srgbClr val="000000"/>
      </a:dk2>
      <a:lt2>
        <a:srgbClr val="385723"/>
      </a:lt2>
      <a:accent1>
        <a:srgbClr val="ABD290"/>
      </a:accent1>
      <a:accent2>
        <a:srgbClr val="C0CFB2"/>
      </a:accent2>
      <a:accent3>
        <a:srgbClr val="E4F1D9"/>
      </a:accent3>
      <a:accent4>
        <a:srgbClr val="D7E2DC"/>
      </a:accent4>
      <a:accent5>
        <a:srgbClr val="E4E6D9"/>
      </a:accent5>
      <a:accent6>
        <a:srgbClr val="D9D9D9"/>
      </a:accent6>
      <a:hlink>
        <a:srgbClr val="789BBA"/>
      </a:hlink>
      <a:folHlink>
        <a:srgbClr val="00B0F0"/>
      </a:folHlink>
    </a:clrScheme>
    <a:fontScheme name="Equirus Capital">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616</TotalTime>
  <Words>1999</Words>
  <Application>Microsoft Office PowerPoint</Application>
  <PresentationFormat>Widescreen</PresentationFormat>
  <Paragraphs>413</Paragraphs>
  <Slides>13</Slides>
  <Notes>2</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25" baseType="lpstr">
      <vt:lpstr>Aptos Narrow</vt:lpstr>
      <vt:lpstr>Arial</vt:lpstr>
      <vt:lpstr>Arial Narrow</vt:lpstr>
      <vt:lpstr>Calibri</vt:lpstr>
      <vt:lpstr>EYInterstate</vt:lpstr>
      <vt:lpstr>Segoe UI</vt:lpstr>
      <vt:lpstr>Segoe UI Semibold</vt:lpstr>
      <vt:lpstr>Wingdings</vt:lpstr>
      <vt:lpstr>2_Office Theme</vt:lpstr>
      <vt:lpstr>3_Office Theme</vt:lpstr>
      <vt:lpstr>4_Office Theme</vt:lpstr>
      <vt:lpstr>think-cell Slide</vt:lpstr>
      <vt:lpstr>Lifesciences Sector Presentation</vt:lpstr>
      <vt:lpstr>Indian Lifesciences : Sector for all seasons </vt:lpstr>
      <vt:lpstr>Lifesciences - back at the peak of fundraise seen in the aftermath of Covid</vt:lpstr>
      <vt:lpstr>Consolidation driving M&amp;A transactions across sub-sectors</vt:lpstr>
      <vt:lpstr>Key trends in pharmaceuticals</vt:lpstr>
      <vt:lpstr>Key trends in healthcare</vt:lpstr>
      <vt:lpstr>Pharmaceuticals – CDMOs gaining traction among investors</vt:lpstr>
      <vt:lpstr>Healthcare – Buyout transaction </vt:lpstr>
      <vt:lpstr>Public markets continue to enjoy a significant premium vis-à-vis private trade</vt:lpstr>
      <vt:lpstr>Expected transaction activity</vt:lpstr>
      <vt:lpstr>Healthcare and Pharma ECM to see a growth momentum in medium term</vt:lpstr>
      <vt:lpstr>Healthcare and Pharma ECM to see a growth momentum in medium term</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eve Bert</dc:creator>
  <cp:lastModifiedBy>Naman Gupta</cp:lastModifiedBy>
  <cp:revision>69</cp:revision>
  <cp:lastPrinted>2023-06-19T13:37:24Z</cp:lastPrinted>
  <dcterms:created xsi:type="dcterms:W3CDTF">2023-04-12T08:26:52Z</dcterms:created>
  <dcterms:modified xsi:type="dcterms:W3CDTF">2025-11-13T02:51:30Z</dcterms:modified>
</cp:coreProperties>
</file>